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haansoftxlsx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3" r:id="rId4"/>
    <p:sldMasterId id="2147483648" r:id="rId5"/>
  </p:sldMasterIdLst>
  <p:notesMasterIdLst>
    <p:notesMasterId r:id="rId23"/>
  </p:notesMasterIdLst>
  <p:handoutMasterIdLst>
    <p:handoutMasterId r:id="rId24"/>
  </p:handoutMasterIdLst>
  <p:sldIdLst>
    <p:sldId id="1151" r:id="rId6"/>
    <p:sldId id="1589" r:id="rId7"/>
    <p:sldId id="1597" r:id="rId8"/>
    <p:sldId id="1598" r:id="rId9"/>
    <p:sldId id="1599" r:id="rId10"/>
    <p:sldId id="1590" r:id="rId11"/>
    <p:sldId id="1591" r:id="rId12"/>
    <p:sldId id="1600" r:id="rId13"/>
    <p:sldId id="1570" r:id="rId14"/>
    <p:sldId id="1533" r:id="rId15"/>
    <p:sldId id="1537" r:id="rId16"/>
    <p:sldId id="1580" r:id="rId17"/>
    <p:sldId id="1532" r:id="rId18"/>
    <p:sldId id="1545" r:id="rId19"/>
    <p:sldId id="1538" r:id="rId20"/>
    <p:sldId id="1559" r:id="rId21"/>
    <p:sldId id="1594" r:id="rId22"/>
  </p:sldIdLst>
  <p:sldSz cx="9906000" cy="6858000" type="A4"/>
  <p:notesSz cx="6797675" cy="9926638"/>
  <p:custDataLst>
    <p:tags r:id="rId25"/>
  </p:custDataLst>
  <p:defaultTextStyle>
    <a:defPPr>
      <a:defRPr lang="ko-KR"/>
    </a:defPPr>
    <a:lvl1pPr marL="0" algn="l" defTabSz="914235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7" algn="l" defTabSz="914235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35" algn="l" defTabSz="914235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53" algn="l" defTabSz="914235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70" algn="l" defTabSz="914235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88" algn="l" defTabSz="914235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05" algn="l" defTabSz="914235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23" algn="l" defTabSz="914235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40" algn="l" defTabSz="914235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3" orient="horz" pos="2115" userDrawn="1">
          <p15:clr>
            <a:srgbClr val="A4A3A4"/>
          </p15:clr>
        </p15:guide>
        <p15:guide id="19" pos="6068" userDrawn="1">
          <p15:clr>
            <a:srgbClr val="A4A3A4"/>
          </p15:clr>
        </p15:guide>
        <p15:guide id="23" orient="horz" pos="255" userDrawn="1">
          <p15:clr>
            <a:srgbClr val="A4A3A4"/>
          </p15:clr>
        </p15:guide>
        <p15:guide id="30" pos="3528" userDrawn="1">
          <p15:clr>
            <a:srgbClr val="A4A3A4"/>
          </p15:clr>
        </p15:guide>
        <p15:guide id="31" pos="3120" userDrawn="1">
          <p15:clr>
            <a:srgbClr val="A4A3A4"/>
          </p15:clr>
        </p15:guide>
        <p15:guide id="33" pos="2712" userDrawn="1">
          <p15:clr>
            <a:srgbClr val="A4A3A4"/>
          </p15:clr>
        </p15:guide>
        <p15:guide id="34" orient="horz" pos="4020" userDrawn="1">
          <p15:clr>
            <a:srgbClr val="A4A3A4"/>
          </p15:clr>
        </p15:guide>
        <p15:guide id="35" orient="horz" pos="424" userDrawn="1">
          <p15:clr>
            <a:srgbClr val="A4A3A4"/>
          </p15:clr>
        </p15:guide>
        <p15:guide id="36" pos="761" userDrawn="1">
          <p15:clr>
            <a:srgbClr val="A4A3A4"/>
          </p15:clr>
        </p15:guide>
        <p15:guide id="37" pos="172" userDrawn="1">
          <p15:clr>
            <a:srgbClr val="A4A3A4"/>
          </p15:clr>
        </p15:guide>
        <p15:guide id="38" orient="horz" pos="675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2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CDED"/>
    <a:srgbClr val="71B000"/>
    <a:srgbClr val="0000FF"/>
    <a:srgbClr val="B2C1E8"/>
    <a:srgbClr val="FFCDCD"/>
    <a:srgbClr val="CDD6E5"/>
    <a:srgbClr val="CDD6DB"/>
    <a:srgbClr val="ECF2FA"/>
    <a:srgbClr val="D1DEF3"/>
    <a:srgbClr val="E4EC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20" autoAdjust="0"/>
    <p:restoredTop sz="94652" autoAdjust="0"/>
  </p:normalViewPr>
  <p:slideViewPr>
    <p:cSldViewPr>
      <p:cViewPr varScale="1">
        <p:scale>
          <a:sx n="87" d="100"/>
          <a:sy n="87" d="100"/>
        </p:scale>
        <p:origin x="-1560" y="-84"/>
      </p:cViewPr>
      <p:guideLst>
        <p:guide orient="horz" pos="2115"/>
        <p:guide orient="horz" pos="255"/>
        <p:guide orient="horz" pos="4020"/>
        <p:guide orient="horz" pos="424"/>
        <p:guide orient="horz" pos="675"/>
        <p:guide pos="6068"/>
        <p:guide pos="3528"/>
        <p:guide pos="3120"/>
        <p:guide pos="2712"/>
        <p:guide pos="761"/>
        <p:guide pos="1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9" d="100"/>
          <a:sy n="79" d="100"/>
        </p:scale>
        <p:origin x="2970" y="102"/>
      </p:cViewPr>
      <p:guideLst>
        <p:guide orient="horz" pos="3126"/>
        <p:guide orient="horz" pos="3127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11111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21122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31133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portion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B$2:$B$6</c:f>
              <c:numCache>
                <c:formatCode>0.0%</c:formatCode>
                <c:ptCount val="5"/>
                <c:pt idx="0">
                  <c:v>0.14899999999999999</c:v>
                </c:pt>
                <c:pt idx="1">
                  <c:v>0.14699999999999999</c:v>
                </c:pt>
                <c:pt idx="2">
                  <c:v>0.14899999999999999</c:v>
                </c:pt>
                <c:pt idx="3">
                  <c:v>0.157</c:v>
                </c:pt>
                <c:pt idx="4">
                  <c:v>0.1660000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889216"/>
        <c:axId val="94987776"/>
      </c:lineChart>
      <c:catAx>
        <c:axId val="90889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aseline="0">
                <a:latin typeface="Arial" panose="020B0604020202020204" pitchFamily="34" charset="0"/>
              </a:defRPr>
            </a:pPr>
            <a:endParaRPr lang="fr-FR"/>
          </a:p>
        </c:txPr>
        <c:crossAx val="94987776"/>
        <c:crosses val="autoZero"/>
        <c:auto val="1"/>
        <c:lblAlgn val="ctr"/>
        <c:lblOffset val="100"/>
        <c:noMultiLvlLbl val="0"/>
      </c:catAx>
      <c:valAx>
        <c:axId val="94987776"/>
        <c:scaling>
          <c:orientation val="minMax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200" baseline="0">
                <a:latin typeface="Arial" panose="020B0604020202020204" pitchFamily="34" charset="0"/>
              </a:defRPr>
            </a:pPr>
            <a:endParaRPr lang="fr-FR"/>
          </a:p>
        </c:txPr>
        <c:crossAx val="908892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ousing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B$2:$B$6</c:f>
              <c:numCache>
                <c:formatCode>0.0%</c:formatCode>
                <c:ptCount val="5"/>
                <c:pt idx="0">
                  <c:v>0.26</c:v>
                </c:pt>
                <c:pt idx="1">
                  <c:v>0.28699999999999998</c:v>
                </c:pt>
                <c:pt idx="2">
                  <c:v>0.32</c:v>
                </c:pt>
                <c:pt idx="3">
                  <c:v>0.35099999999999998</c:v>
                </c:pt>
                <c:pt idx="4">
                  <c:v>0.37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n-residential building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C$2:$C$6</c:f>
              <c:numCache>
                <c:formatCode>0.0%</c:formatCode>
                <c:ptCount val="5"/>
                <c:pt idx="0">
                  <c:v>0.35699999999999998</c:v>
                </c:pt>
                <c:pt idx="1">
                  <c:v>0.36399999999999999</c:v>
                </c:pt>
                <c:pt idx="2">
                  <c:v>0.35099999999999998</c:v>
                </c:pt>
                <c:pt idx="3">
                  <c:v>0.35899999999999999</c:v>
                </c:pt>
                <c:pt idx="4">
                  <c:v>0.3649999999999999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ivil engineering</c:v>
                </c:pt>
              </c:strCache>
            </c:strRef>
          </c:tx>
          <c:marker>
            <c:symbol val="none"/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D$2:$D$6</c:f>
              <c:numCache>
                <c:formatCode>0.0%</c:formatCode>
                <c:ptCount val="5"/>
                <c:pt idx="0">
                  <c:v>0.38300000000000001</c:v>
                </c:pt>
                <c:pt idx="1">
                  <c:v>0.35</c:v>
                </c:pt>
                <c:pt idx="2">
                  <c:v>0.32700000000000001</c:v>
                </c:pt>
                <c:pt idx="3">
                  <c:v>0.28999999999999998</c:v>
                </c:pt>
                <c:pt idx="4">
                  <c:v>0.2610000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4975488"/>
        <c:axId val="94977024"/>
      </c:lineChart>
      <c:catAx>
        <c:axId val="94975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94977024"/>
        <c:crosses val="autoZero"/>
        <c:auto val="1"/>
        <c:lblAlgn val="ctr"/>
        <c:lblOffset val="100"/>
        <c:noMultiLvlLbl val="0"/>
      </c:catAx>
      <c:valAx>
        <c:axId val="94977024"/>
        <c:scaling>
          <c:orientation val="minMax"/>
          <c:max val="0.5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crossAx val="94975488"/>
        <c:crosses val="autoZero"/>
        <c:crossBetween val="between"/>
        <c:majorUnit val="0.1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200" baseline="0">
          <a:latin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ivate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B$2:$B$6</c:f>
              <c:numCache>
                <c:formatCode>0.0%</c:formatCode>
                <c:ptCount val="5"/>
                <c:pt idx="0">
                  <c:v>0.78200000000000003</c:v>
                </c:pt>
                <c:pt idx="1">
                  <c:v>0.80200000000000005</c:v>
                </c:pt>
                <c:pt idx="2">
                  <c:v>0.80700000000000005</c:v>
                </c:pt>
                <c:pt idx="3">
                  <c:v>0.81100000000000005</c:v>
                </c:pt>
                <c:pt idx="4">
                  <c:v>0.8110000000000000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ublic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C$2:$C$6</c:f>
              <c:numCache>
                <c:formatCode>0.0%</c:formatCode>
                <c:ptCount val="5"/>
                <c:pt idx="0">
                  <c:v>0.218</c:v>
                </c:pt>
                <c:pt idx="1">
                  <c:v>0.19800000000000001</c:v>
                </c:pt>
                <c:pt idx="2">
                  <c:v>0.193</c:v>
                </c:pt>
                <c:pt idx="3">
                  <c:v>0.189</c:v>
                </c:pt>
                <c:pt idx="4">
                  <c:v>0.1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896192"/>
        <c:axId val="39897728"/>
      </c:barChart>
      <c:catAx>
        <c:axId val="398961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9897728"/>
        <c:crosses val="autoZero"/>
        <c:auto val="1"/>
        <c:lblAlgn val="ctr"/>
        <c:lblOffset val="100"/>
        <c:noMultiLvlLbl val="0"/>
      </c:catAx>
      <c:valAx>
        <c:axId val="39897728"/>
        <c:scaling>
          <c:orientation val="minMax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crossAx val="39896192"/>
        <c:crosses val="autoZero"/>
        <c:crossBetween val="between"/>
        <c:majorUnit val="0.30000000000000004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050"/>
      </a:pPr>
      <a:endParaRPr lang="fr-F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91" y="0"/>
            <a:ext cx="2946400" cy="496888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r">
              <a:defRPr sz="1200"/>
            </a:lvl1pPr>
          </a:lstStyle>
          <a:p>
            <a:fld id="{9602C668-3249-4DE6-9FA8-2E847487A18F}" type="datetimeFigureOut">
              <a:rPr lang="ko-KR" altLang="en-US" smtClean="0"/>
              <a:t>2018-04-27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28167"/>
            <a:ext cx="2946400" cy="496887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91" y="9428167"/>
            <a:ext cx="2946400" cy="496887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r">
              <a:defRPr sz="1200"/>
            </a:lvl1pPr>
          </a:lstStyle>
          <a:p>
            <a:fld id="{3F8BA987-85A0-4F8D-914D-DF3A25FCAD5B}" type="slidenum">
              <a:rPr lang="ko-KR" altLang="en-US" smtClean="0"/>
              <a:t>‹N°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133163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6400" cy="496888"/>
          </a:xfrm>
          <a:prstGeom prst="rect">
            <a:avLst/>
          </a:prstGeom>
        </p:spPr>
        <p:txBody>
          <a:bodyPr vert="horz" lIns="91396" tIns="45699" rIns="91396" bIns="45699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49694" y="3"/>
            <a:ext cx="2946400" cy="496888"/>
          </a:xfrm>
          <a:prstGeom prst="rect">
            <a:avLst/>
          </a:prstGeom>
        </p:spPr>
        <p:txBody>
          <a:bodyPr vert="horz" lIns="91396" tIns="45699" rIns="91396" bIns="45699" rtlCol="0"/>
          <a:lstStyle>
            <a:lvl1pPr algn="r">
              <a:defRPr sz="1200"/>
            </a:lvl1pPr>
          </a:lstStyle>
          <a:p>
            <a:fld id="{56F65B3A-5DE1-49DA-AA5B-F07C5750CC91}" type="datetimeFigureOut">
              <a:rPr lang="ko-KR" altLang="en-US" smtClean="0"/>
              <a:t>2018-04-2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96" tIns="45699" rIns="91396" bIns="45699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458" y="4714885"/>
            <a:ext cx="5438775" cy="4467225"/>
          </a:xfrm>
          <a:prstGeom prst="rect">
            <a:avLst/>
          </a:prstGeom>
        </p:spPr>
        <p:txBody>
          <a:bodyPr vert="horz" lIns="91396" tIns="45699" rIns="91396" bIns="45699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28170"/>
            <a:ext cx="2946400" cy="496887"/>
          </a:xfrm>
          <a:prstGeom prst="rect">
            <a:avLst/>
          </a:prstGeom>
        </p:spPr>
        <p:txBody>
          <a:bodyPr vert="horz" lIns="91396" tIns="45699" rIns="91396" bIns="45699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49694" y="9428170"/>
            <a:ext cx="2946400" cy="496887"/>
          </a:xfrm>
          <a:prstGeom prst="rect">
            <a:avLst/>
          </a:prstGeom>
        </p:spPr>
        <p:txBody>
          <a:bodyPr vert="horz" lIns="91396" tIns="45699" rIns="91396" bIns="45699" rtlCol="0" anchor="b"/>
          <a:lstStyle>
            <a:lvl1pPr algn="r">
              <a:defRPr sz="1200"/>
            </a:lvl1pPr>
          </a:lstStyle>
          <a:p>
            <a:fld id="{324D4951-15C2-4EC8-9BFE-A8770D39BC8F}" type="slidenum">
              <a:rPr lang="ko-KR" altLang="en-US" smtClean="0"/>
              <a:t>‹N°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3633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7" algn="l" defTabSz="9142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35" algn="l" defTabSz="9142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53" algn="l" defTabSz="9142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70" algn="l" defTabSz="9142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88" algn="l" defTabSz="9142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05" algn="l" defTabSz="9142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23" algn="l" defTabSz="9142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40" algn="l" defTabSz="914235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4D4951-15C2-4EC8-9BFE-A8770D39BC8F}" type="slidenum">
              <a:rPr lang="ko-KR" altLang="en-US" smtClean="0"/>
              <a:t>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76158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4D4951-15C2-4EC8-9BFE-A8770D39BC8F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815647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4D4951-15C2-4EC8-9BFE-A8770D39BC8F}" type="slidenum">
              <a:rPr lang="ko-KR" altLang="en-US" smtClean="0"/>
              <a:t>1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342941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4D4951-15C2-4EC8-9BFE-A8770D39BC8F}" type="slidenum">
              <a:rPr lang="ko-KR" altLang="en-US" smtClean="0"/>
              <a:t>1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070913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4D4951-15C2-4EC8-9BFE-A8770D39BC8F}" type="slidenum">
              <a:rPr lang="ko-KR" altLang="en-US" smtClean="0">
                <a:solidFill>
                  <a:prstClr val="black"/>
                </a:solidFill>
              </a:rPr>
              <a:pPr/>
              <a:t>16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0913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4D4951-15C2-4EC8-9BFE-A8770D39BC8F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4436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4C26B8B-1F12-4698-B933-B3E213785A62}" type="slidenum">
              <a:rPr lang="ko-KR" altLang="en-US">
                <a:solidFill>
                  <a:prstClr val="black"/>
                </a:solidFill>
              </a:rPr>
              <a:pPr/>
              <a:t>5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4538"/>
            <a:ext cx="5375275" cy="3722687"/>
          </a:xfrm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5785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4C26B8B-1F12-4698-B933-B3E213785A62}" type="slidenum">
              <a:rPr lang="ko-KR" altLang="en-US">
                <a:solidFill>
                  <a:prstClr val="black"/>
                </a:solidFill>
              </a:rPr>
              <a:pPr/>
              <a:t>6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4538"/>
            <a:ext cx="5375275" cy="3722687"/>
          </a:xfrm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5785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4C26B8B-1F12-4698-B933-B3E213785A62}" type="slidenum">
              <a:rPr lang="ko-KR" altLang="en-US">
                <a:solidFill>
                  <a:prstClr val="black"/>
                </a:solidFill>
              </a:rPr>
              <a:pPr/>
              <a:t>7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4538"/>
            <a:ext cx="5375275" cy="3722687"/>
          </a:xfrm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957853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4D4951-15C2-4EC8-9BFE-A8770D39BC8F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06380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4D4951-15C2-4EC8-9BFE-A8770D39BC8F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06331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4D4951-15C2-4EC8-9BFE-A8770D39BC8F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049960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업무분장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4D4951-15C2-4EC8-9BFE-A8770D39BC8F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19978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/>
        </p:nvCxnSpPr>
        <p:spPr bwMode="auto">
          <a:xfrm>
            <a:off x="273000" y="2570135"/>
            <a:ext cx="9360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42763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273001" y="57095"/>
            <a:ext cx="1038253" cy="318912"/>
          </a:xfrm>
          <a:prstGeom prst="rect">
            <a:avLst/>
          </a:prstGeom>
          <a:noFill/>
        </p:spPr>
        <p:txBody>
          <a:bodyPr wrap="none" lIns="71987" tIns="35994" rIns="71987" bIns="35994" anchor="ctr">
            <a:spAutoFit/>
          </a:bodyPr>
          <a:lstStyle>
            <a:lvl1pPr algn="l" eaLnBrk="1" latinLnBrk="0" hangingPunct="1">
              <a:defRPr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err="1" smtClean="0"/>
              <a:t>장표</a:t>
            </a:r>
            <a:r>
              <a:rPr lang="ko-KR" altLang="en-US" dirty="0" smtClean="0"/>
              <a:t> 제목</a:t>
            </a:r>
            <a:endParaRPr lang="ko-KR" altLang="en-US" dirty="0"/>
          </a:p>
        </p:txBody>
      </p:sp>
      <p:sp>
        <p:nvSpPr>
          <p:cNvPr id="10" name="텍스트 개체 틀 24"/>
          <p:cNvSpPr>
            <a:spLocks noGrp="1"/>
          </p:cNvSpPr>
          <p:nvPr>
            <p:ph type="body" sz="quarter" idx="12" hasCustomPrompt="1"/>
          </p:nvPr>
        </p:nvSpPr>
        <p:spPr>
          <a:xfrm>
            <a:off x="273000" y="505223"/>
            <a:ext cx="9360000" cy="318912"/>
          </a:xfrm>
          <a:prstGeom prst="rect">
            <a:avLst/>
          </a:prstGeom>
        </p:spPr>
        <p:txBody>
          <a:bodyPr lIns="71987" tIns="35994" rIns="71987" bIns="35994">
            <a:spAutoFit/>
          </a:bodyPr>
          <a:lstStyle>
            <a:lvl1pPr marL="0" indent="0" eaLnBrk="1" latinLnBrk="0" hangingPunct="1">
              <a:buFontTx/>
              <a:buNone/>
              <a:defRPr sz="1600" b="1" baseline="0"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5pPr marL="1828470" indent="0">
              <a:buNone/>
              <a:defRPr/>
            </a:lvl5pPr>
          </a:lstStyle>
          <a:p>
            <a:pPr lvl="0"/>
            <a:r>
              <a:rPr lang="ko-KR" altLang="en-US" dirty="0" smtClean="0"/>
              <a:t>본문의 핵심사항을 요약 </a:t>
            </a:r>
            <a:r>
              <a:rPr lang="en-US" altLang="ko-KR" dirty="0" smtClean="0"/>
              <a:t>/ </a:t>
            </a:r>
            <a:r>
              <a:rPr lang="ko-KR" altLang="en-US" dirty="0" smtClean="0"/>
              <a:t>강조하는</a:t>
            </a:r>
            <a:r>
              <a:rPr lang="en-US" altLang="ko-KR" dirty="0" smtClean="0"/>
              <a:t>, 2</a:t>
            </a:r>
            <a:r>
              <a:rPr lang="ko-KR" altLang="en-US" dirty="0" smtClean="0"/>
              <a:t>줄 이내의 </a:t>
            </a:r>
            <a:r>
              <a:rPr lang="en-US" altLang="ko-KR" dirty="0" smtClean="0"/>
              <a:t>Headline</a:t>
            </a:r>
            <a:endParaRPr lang="ko-KR" altLang="en-US" dirty="0" smtClean="0"/>
          </a:p>
        </p:txBody>
      </p:sp>
      <p:pic>
        <p:nvPicPr>
          <p:cNvPr id="12" name="Picture 2" descr="C:\Users\20121487\Downloads\CI\CI.jpg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56" y="6668938"/>
            <a:ext cx="1076400" cy="14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8"/>
          <p:cNvSpPr>
            <a:spLocks noChangeArrowheads="1"/>
          </p:cNvSpPr>
          <p:nvPr/>
        </p:nvSpPr>
        <p:spPr bwMode="auto">
          <a:xfrm>
            <a:off x="9667168" y="6659447"/>
            <a:ext cx="16831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fontAlgn="b" latinLnBrk="0" hangingPunct="0"/>
            <a:fld id="{FEB5F6A5-EF32-478A-91D3-6932E69F7DCE}" type="slidenum">
              <a:rPr lang="en-US" altLang="ko-KR" sz="1000" b="1" smtClean="0">
                <a:latin typeface="맑은 고딕" pitchFamily="50" charset="-127"/>
                <a:ea typeface="맑은 고딕" pitchFamily="50" charset="-127"/>
              </a:rPr>
              <a:pPr algn="r" eaLnBrk="0" fontAlgn="b" latinLnBrk="0" hangingPunct="0"/>
              <a:t>‹N°›</a:t>
            </a:fld>
            <a:endParaRPr lang="en-US" altLang="ko-KR" sz="1000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5290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>
            <a:spLocks noChangeArrowheads="1"/>
          </p:cNvSpPr>
          <p:nvPr userDrawn="1"/>
        </p:nvSpPr>
        <p:spPr bwMode="auto">
          <a:xfrm>
            <a:off x="9667167" y="6659447"/>
            <a:ext cx="1683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fontAlgn="b" latinLnBrk="0" hangingPunct="0"/>
            <a:fld id="{FEB5F6A5-EF32-478A-91D3-6932E69F7DCE}" type="slidenum">
              <a:rPr lang="en-US" altLang="ko-KR" sz="1000" b="1" smtClean="0">
                <a:latin typeface="+mn-ea"/>
                <a:ea typeface="+mn-ea"/>
                <a:cs typeface="Arial" panose="020B0604020202020204" pitchFamily="34" charset="0"/>
              </a:rPr>
              <a:pPr algn="r" eaLnBrk="0" fontAlgn="b" latinLnBrk="0" hangingPunct="0"/>
              <a:t>‹N°›</a:t>
            </a:fld>
            <a:endParaRPr lang="en-US" altLang="ko-KR" sz="1000" b="1" dirty="0"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273001" y="57095"/>
            <a:ext cx="1038253" cy="318912"/>
          </a:xfrm>
          <a:prstGeom prst="rect">
            <a:avLst/>
          </a:prstGeom>
          <a:noFill/>
        </p:spPr>
        <p:txBody>
          <a:bodyPr wrap="none" lIns="71987" tIns="35994" rIns="71987" bIns="35994" anchor="ctr">
            <a:spAutoFit/>
          </a:bodyPr>
          <a:lstStyle>
            <a:lvl1pPr algn="l" eaLnBrk="1" latinLnBrk="0" hangingPunct="1">
              <a:defRPr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err="1" smtClean="0"/>
              <a:t>장표</a:t>
            </a:r>
            <a:r>
              <a:rPr lang="ko-KR" altLang="en-US" dirty="0" smtClean="0"/>
              <a:t> 제목</a:t>
            </a:r>
            <a:endParaRPr lang="ko-KR" altLang="en-US" dirty="0"/>
          </a:p>
        </p:txBody>
      </p:sp>
      <p:sp>
        <p:nvSpPr>
          <p:cNvPr id="10" name="텍스트 개체 틀 24"/>
          <p:cNvSpPr>
            <a:spLocks noGrp="1"/>
          </p:cNvSpPr>
          <p:nvPr>
            <p:ph type="body" sz="quarter" idx="12" hasCustomPrompt="1"/>
          </p:nvPr>
        </p:nvSpPr>
        <p:spPr>
          <a:xfrm>
            <a:off x="273000" y="505223"/>
            <a:ext cx="9360000" cy="318912"/>
          </a:xfrm>
          <a:prstGeom prst="rect">
            <a:avLst/>
          </a:prstGeom>
        </p:spPr>
        <p:txBody>
          <a:bodyPr lIns="71987" tIns="35994" rIns="71987" bIns="35994">
            <a:spAutoFit/>
          </a:bodyPr>
          <a:lstStyle>
            <a:lvl1pPr marL="0" indent="0" eaLnBrk="1" latinLnBrk="0" hangingPunct="1">
              <a:buFontTx/>
              <a:buNone/>
              <a:defRPr sz="1600" b="1" baseline="0"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5pPr marL="1828470" indent="0">
              <a:buNone/>
              <a:defRPr/>
            </a:lvl5pPr>
          </a:lstStyle>
          <a:p>
            <a:pPr lvl="0"/>
            <a:r>
              <a:rPr lang="ko-KR" altLang="en-US" dirty="0" smtClean="0"/>
              <a:t>본문의 핵심사항을 요약 </a:t>
            </a:r>
            <a:r>
              <a:rPr lang="en-US" altLang="ko-KR" dirty="0" smtClean="0"/>
              <a:t>/ </a:t>
            </a:r>
            <a:r>
              <a:rPr lang="ko-KR" altLang="en-US" dirty="0" smtClean="0"/>
              <a:t>강조하는</a:t>
            </a:r>
            <a:r>
              <a:rPr lang="en-US" altLang="ko-KR" dirty="0" smtClean="0"/>
              <a:t>, 2</a:t>
            </a:r>
            <a:r>
              <a:rPr lang="ko-KR" altLang="en-US" dirty="0" smtClean="0"/>
              <a:t>줄 이내의 </a:t>
            </a:r>
            <a:r>
              <a:rPr lang="en-US" altLang="ko-KR" dirty="0" smtClean="0"/>
              <a:t>Headline</a:t>
            </a:r>
            <a:endParaRPr lang="ko-KR" altLang="en-US" dirty="0" smtClean="0"/>
          </a:p>
        </p:txBody>
      </p:sp>
      <p:sp>
        <p:nvSpPr>
          <p:cNvPr id="13" name="바닥글 개체 틀 1"/>
          <p:cNvSpPr txBox="1">
            <a:spLocks/>
          </p:cNvSpPr>
          <p:nvPr userDrawn="1"/>
        </p:nvSpPr>
        <p:spPr>
          <a:xfrm>
            <a:off x="1238068" y="6660414"/>
            <a:ext cx="3864841" cy="15234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ko-KR"/>
            </a:defPPr>
            <a:lvl1pPr algn="r" fontAlgn="ctr">
              <a:lnSpc>
                <a:spcPct val="110000"/>
              </a:lnSpc>
              <a:defRPr sz="900">
                <a:solidFill>
                  <a:schemeClr val="bg2"/>
                </a:solidFill>
                <a:latin typeface="맑은 고딕" pitchFamily="50" charset="-127"/>
                <a:ea typeface="맑은 고딕" pitchFamily="50" charset="-127"/>
              </a:defRPr>
            </a:lvl1pPr>
            <a:lvl2pPr algn="ctr" fontAlgn="ctr">
              <a:lnSpc>
                <a:spcPct val="110000"/>
              </a:lnSpc>
              <a:defRPr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ctr" fontAlgn="ctr">
              <a:lnSpc>
                <a:spcPct val="110000"/>
              </a:lnSpc>
              <a:defRPr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ctr" fontAlgn="ctr">
              <a:lnSpc>
                <a:spcPct val="110000"/>
              </a:lnSpc>
              <a:defRPr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ctr" fontAlgn="ctr">
              <a:lnSpc>
                <a:spcPct val="110000"/>
              </a:lnSpc>
              <a:defRPr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5pPr>
            <a:lvl6pPr>
              <a:defRPr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6pPr>
            <a:lvl7pPr>
              <a:defRPr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7pPr>
            <a:lvl8pPr>
              <a:defRPr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8pPr>
            <a:lvl9pPr>
              <a:defRPr sz="13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lvl="0" algn="l"/>
            <a:r>
              <a:rPr lang="ko-KR" altLang="ko-KR" dirty="0" smtClean="0">
                <a:solidFill>
                  <a:schemeClr val="bg2"/>
                </a:solidFill>
              </a:rPr>
              <a:t>이 정보</a:t>
            </a:r>
            <a:r>
              <a:rPr lang="en-US" altLang="ko-KR" dirty="0" smtClean="0">
                <a:solidFill>
                  <a:schemeClr val="bg2"/>
                </a:solidFill>
              </a:rPr>
              <a:t>(</a:t>
            </a:r>
            <a:r>
              <a:rPr lang="ko-KR" altLang="ko-KR" dirty="0" smtClean="0">
                <a:solidFill>
                  <a:schemeClr val="bg2"/>
                </a:solidFill>
              </a:rPr>
              <a:t>문서</a:t>
            </a:r>
            <a:r>
              <a:rPr lang="en-US" altLang="ko-KR" dirty="0" smtClean="0">
                <a:solidFill>
                  <a:schemeClr val="bg2"/>
                </a:solidFill>
              </a:rPr>
              <a:t>)</a:t>
            </a:r>
            <a:r>
              <a:rPr lang="ko-KR" altLang="ko-KR" dirty="0" smtClean="0">
                <a:solidFill>
                  <a:schemeClr val="bg2"/>
                </a:solidFill>
              </a:rPr>
              <a:t>는 대림산업의 자산으로서</a:t>
            </a:r>
            <a:r>
              <a:rPr lang="en-US" altLang="ko-KR" dirty="0" smtClean="0">
                <a:solidFill>
                  <a:schemeClr val="bg2"/>
                </a:solidFill>
              </a:rPr>
              <a:t>, </a:t>
            </a:r>
            <a:r>
              <a:rPr lang="ko-KR" altLang="ko-KR" dirty="0" smtClean="0">
                <a:solidFill>
                  <a:schemeClr val="bg2"/>
                </a:solidFill>
              </a:rPr>
              <a:t>허가 없는 사외반출을 금지합니다</a:t>
            </a:r>
            <a:r>
              <a:rPr lang="en-US" altLang="ko-KR" dirty="0" smtClean="0">
                <a:solidFill>
                  <a:schemeClr val="bg2"/>
                </a:solidFill>
              </a:rPr>
              <a:t>.</a:t>
            </a:r>
            <a:endParaRPr lang="ko-KR" altLang="ko-KR" dirty="0" smtClean="0">
              <a:solidFill>
                <a:schemeClr val="bg2"/>
              </a:solidFill>
            </a:endParaRPr>
          </a:p>
        </p:txBody>
      </p:sp>
      <p:pic>
        <p:nvPicPr>
          <p:cNvPr id="12" name="Picture 2" descr="C:\Users\20121487\Downloads\CI\CI.jpg"/>
          <p:cNvPicPr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56" y="6668938"/>
            <a:ext cx="1076400" cy="144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124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8"/>
          <p:cNvSpPr>
            <a:spLocks noChangeArrowheads="1"/>
          </p:cNvSpPr>
          <p:nvPr userDrawn="1"/>
        </p:nvSpPr>
        <p:spPr bwMode="auto">
          <a:xfrm>
            <a:off x="9667167" y="6659446"/>
            <a:ext cx="16831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fontAlgn="b" latinLnBrk="0" hangingPunct="0"/>
            <a:fld id="{FEB5F6A5-EF32-478A-91D3-6932E69F7DCE}" type="slidenum">
              <a:rPr lang="en-US" altLang="ko-KR" sz="1000" b="1" smtClean="0">
                <a:latin typeface="맑은 고딕" pitchFamily="50" charset="-127"/>
                <a:ea typeface="맑은 고딕" pitchFamily="50" charset="-127"/>
              </a:rPr>
              <a:pPr algn="r" eaLnBrk="0" fontAlgn="b" latinLnBrk="0" hangingPunct="0"/>
              <a:t>‹N°›</a:t>
            </a:fld>
            <a:endParaRPr lang="en-US" altLang="ko-KR" sz="1000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9" name="제목 1"/>
          <p:cNvSpPr>
            <a:spLocks noGrp="1"/>
          </p:cNvSpPr>
          <p:nvPr>
            <p:ph type="title" hasCustomPrompt="1"/>
          </p:nvPr>
        </p:nvSpPr>
        <p:spPr>
          <a:xfrm>
            <a:off x="273000" y="57089"/>
            <a:ext cx="1038279" cy="318924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36000" rIns="72000" bIns="36000" anchor="ctr">
            <a:spAutoFit/>
          </a:bodyPr>
          <a:lstStyle>
            <a:lvl1pPr algn="l" eaLnBrk="1" latinLnBrk="0" hangingPunct="1">
              <a:defRPr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err="1" smtClean="0"/>
              <a:t>장표</a:t>
            </a:r>
            <a:r>
              <a:rPr lang="ko-KR" altLang="en-US" dirty="0" smtClean="0"/>
              <a:t> 제목</a:t>
            </a:r>
            <a:endParaRPr lang="ko-KR" altLang="en-US" dirty="0"/>
          </a:p>
        </p:txBody>
      </p:sp>
      <p:sp>
        <p:nvSpPr>
          <p:cNvPr id="10" name="텍스트 개체 틀 24"/>
          <p:cNvSpPr>
            <a:spLocks noGrp="1"/>
          </p:cNvSpPr>
          <p:nvPr>
            <p:ph type="body" sz="quarter" idx="12" hasCustomPrompt="1"/>
          </p:nvPr>
        </p:nvSpPr>
        <p:spPr>
          <a:xfrm>
            <a:off x="273000" y="505223"/>
            <a:ext cx="9360000" cy="319738"/>
          </a:xfrm>
          <a:prstGeom prst="rect">
            <a:avLst/>
          </a:prstGeom>
        </p:spPr>
        <p:txBody>
          <a:bodyPr lIns="72000" tIns="36000" rIns="72000" bIns="36000">
            <a:spAutoFit/>
          </a:bodyPr>
          <a:lstStyle>
            <a:lvl1pPr marL="0" indent="0" eaLnBrk="1" latinLnBrk="0" hangingPunct="1">
              <a:buFontTx/>
              <a:buNone/>
              <a:defRPr sz="1600" b="1" baseline="0"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ko-KR" altLang="en-US" dirty="0" smtClean="0"/>
              <a:t>본문의 핵심사항을 요약 </a:t>
            </a:r>
            <a:r>
              <a:rPr lang="en-US" altLang="ko-KR" dirty="0" smtClean="0"/>
              <a:t>/ </a:t>
            </a:r>
            <a:r>
              <a:rPr lang="ko-KR" altLang="en-US" dirty="0" smtClean="0"/>
              <a:t>강조하는</a:t>
            </a:r>
            <a:r>
              <a:rPr lang="en-US" altLang="ko-KR" dirty="0" smtClean="0"/>
              <a:t>, 2</a:t>
            </a:r>
            <a:r>
              <a:rPr lang="ko-KR" altLang="en-US" dirty="0" smtClean="0"/>
              <a:t>줄 이내의 </a:t>
            </a:r>
            <a:r>
              <a:rPr lang="en-US" altLang="ko-KR" dirty="0" smtClean="0"/>
              <a:t>Headline</a:t>
            </a:r>
            <a:endParaRPr lang="ko-KR" altLang="en-US" dirty="0" smtClean="0"/>
          </a:p>
        </p:txBody>
      </p:sp>
      <p:sp>
        <p:nvSpPr>
          <p:cNvPr id="11" name="내용 개체 틀 7"/>
          <p:cNvSpPr>
            <a:spLocks noGrp="1"/>
          </p:cNvSpPr>
          <p:nvPr>
            <p:ph sz="quarter" idx="17" hasCustomPrompt="1"/>
          </p:nvPr>
        </p:nvSpPr>
        <p:spPr>
          <a:xfrm>
            <a:off x="7663376" y="87867"/>
            <a:ext cx="1969624" cy="257369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36000" rIns="72000" bIns="36000" anchor="ctr">
            <a:spAutoFit/>
          </a:bodyPr>
          <a:lstStyle>
            <a:lvl1pPr marL="0" indent="0" algn="r" eaLnBrk="1" latinLnBrk="0" hangingPunct="1">
              <a:buNone/>
              <a:defRPr lang="ko-KR" altLang="en-US" sz="1200" b="1" baseline="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+mj-cs"/>
              </a:defRPr>
            </a:lvl1pPr>
          </a:lstStyle>
          <a:p>
            <a:pPr lvl="0" fontAlgn="base">
              <a:spcBef>
                <a:spcPct val="0"/>
              </a:spcBef>
            </a:pPr>
            <a:r>
              <a:rPr lang="ko-KR" altLang="en-US" dirty="0" smtClean="0"/>
              <a:t>보고서</a:t>
            </a:r>
            <a:r>
              <a:rPr lang="en-US" altLang="ko-KR" dirty="0" smtClean="0"/>
              <a:t>/</a:t>
            </a:r>
            <a:r>
              <a:rPr lang="ko-KR" altLang="en-US" dirty="0" err="1" smtClean="0"/>
              <a:t>챕터</a:t>
            </a:r>
            <a:r>
              <a:rPr lang="ko-KR" altLang="en-US" dirty="0" smtClean="0"/>
              <a:t> 제목 </a:t>
            </a:r>
            <a:r>
              <a:rPr lang="en-US" altLang="ko-KR" dirty="0" smtClean="0"/>
              <a:t>(</a:t>
            </a:r>
            <a:r>
              <a:rPr lang="ko-KR" altLang="en-US" dirty="0" smtClean="0"/>
              <a:t>선택적</a:t>
            </a:r>
            <a:r>
              <a:rPr lang="en-US" altLang="ko-KR" dirty="0" smtClean="0"/>
              <a:t>)</a:t>
            </a:r>
            <a:endParaRPr lang="ko-KR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268780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533400" y="265113"/>
            <a:ext cx="8420100" cy="431800"/>
          </a:xfrm>
          <a:prstGeom prst="rect">
            <a:avLst/>
          </a:prstGeom>
        </p:spPr>
        <p:txBody>
          <a:bodyPr/>
          <a:lstStyle>
            <a:lvl1pPr>
              <a:defRPr b="1" baseline="0">
                <a:latin typeface="+mj-lt"/>
                <a:ea typeface="+mj-ea"/>
              </a:defRPr>
            </a:lvl1pPr>
          </a:lstStyle>
          <a:p>
            <a:r>
              <a:rPr lang="ko-KR" altLang="en-US" dirty="0" smtClean="0"/>
              <a:t>제목을 입력하십시오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636588" y="1874838"/>
            <a:ext cx="8558212" cy="4148137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defRPr baseline="0">
                <a:latin typeface="+mn-lt"/>
                <a:ea typeface="+mn-ea"/>
              </a:defRPr>
            </a:lvl2pPr>
            <a:lvl3pPr>
              <a:defRPr baseline="0">
                <a:latin typeface="+mn-lt"/>
                <a:ea typeface="+mn-ea"/>
              </a:defRPr>
            </a:lvl3pPr>
            <a:lvl4pPr>
              <a:defRPr baseline="0">
                <a:latin typeface="+mn-lt"/>
                <a:ea typeface="+mn-ea"/>
              </a:defRPr>
            </a:lvl4pPr>
            <a:lvl5pPr>
              <a:defRPr baseline="0">
                <a:latin typeface="+mn-lt"/>
                <a:ea typeface="+mn-ea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78736" y="6472906"/>
            <a:ext cx="212027" cy="13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 baseline="0">
                <a:solidFill>
                  <a:srgbClr val="333333"/>
                </a:solidFill>
                <a:latin typeface="+mn-lt"/>
                <a:ea typeface="+mn-ea"/>
              </a:defRPr>
            </a:lvl1pPr>
          </a:lstStyle>
          <a:p>
            <a:fld id="{431EF591-919B-48DA-BCE4-71E82F2EA76B}" type="slidenum">
              <a:rPr lang="ko-KR" altLang="en-US" smtClean="0"/>
              <a:pPr/>
              <a:t>‹N°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675863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3385665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 userDrawn="1"/>
        </p:nvSpPr>
        <p:spPr bwMode="auto">
          <a:xfrm>
            <a:off x="0" y="0"/>
            <a:ext cx="9906000" cy="432000"/>
          </a:xfrm>
          <a:prstGeom prst="rect">
            <a:avLst/>
          </a:prstGeom>
          <a:gradFill>
            <a:gsLst>
              <a:gs pos="59000">
                <a:srgbClr val="4A6093"/>
              </a:gs>
              <a:gs pos="27000">
                <a:schemeClr val="accent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/>
        </p:spPr>
        <p:txBody>
          <a:bodyPr wrap="none" lIns="91423" tIns="45712" rIns="91423" bIns="45712" anchor="ctr"/>
          <a:lstStyle/>
          <a:p>
            <a:pPr algn="ctr"/>
            <a:endParaRPr lang="ko-KR" altLang="ko-KR" sz="1800" dirty="0">
              <a:ea typeface="맑은 고딕" pitchFamily="50" charset="-127"/>
            </a:endParaRPr>
          </a:p>
        </p:txBody>
      </p:sp>
      <p:grpSp>
        <p:nvGrpSpPr>
          <p:cNvPr id="6" name="Group 398"/>
          <p:cNvGrpSpPr/>
          <p:nvPr userDrawn="1"/>
        </p:nvGrpSpPr>
        <p:grpSpPr>
          <a:xfrm>
            <a:off x="9140637" y="16669"/>
            <a:ext cx="764103" cy="415331"/>
            <a:chOff x="1124867" y="3167149"/>
            <a:chExt cx="1196851" cy="650553"/>
          </a:xfrm>
        </p:grpSpPr>
        <p:sp>
          <p:nvSpPr>
            <p:cNvPr id="8" name="Freeform 399"/>
            <p:cNvSpPr/>
            <p:nvPr/>
          </p:nvSpPr>
          <p:spPr>
            <a:xfrm>
              <a:off x="1148586" y="3167149"/>
              <a:ext cx="1170752" cy="501468"/>
            </a:xfrm>
            <a:custGeom>
              <a:avLst/>
              <a:gdLst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926975 w 6168044"/>
                <a:gd name="connsiteY24" fmla="*/ 2144683 h 2460567"/>
                <a:gd name="connsiteX25" fmla="*/ 5652655 w 6168044"/>
                <a:gd name="connsiteY25" fmla="*/ 1911927 h 2460567"/>
                <a:gd name="connsiteX26" fmla="*/ 5095702 w 6168044"/>
                <a:gd name="connsiteY26" fmla="*/ 1363287 h 2460567"/>
                <a:gd name="connsiteX27" fmla="*/ 4713317 w 6168044"/>
                <a:gd name="connsiteY27" fmla="*/ 897774 h 2460567"/>
                <a:gd name="connsiteX28" fmla="*/ 4305993 w 6168044"/>
                <a:gd name="connsiteY28" fmla="*/ 340822 h 2460567"/>
                <a:gd name="connsiteX29" fmla="*/ 4305993 w 6168044"/>
                <a:gd name="connsiteY29" fmla="*/ 2128058 h 2460567"/>
                <a:gd name="connsiteX30" fmla="*/ 4181302 w 6168044"/>
                <a:gd name="connsiteY30" fmla="*/ 2128058 h 2460567"/>
                <a:gd name="connsiteX31" fmla="*/ 4181302 w 6168044"/>
                <a:gd name="connsiteY31" fmla="*/ 266007 h 2460567"/>
                <a:gd name="connsiteX32" fmla="*/ 3840480 w 6168044"/>
                <a:gd name="connsiteY32" fmla="*/ 748145 h 2460567"/>
                <a:gd name="connsiteX33" fmla="*/ 3449782 w 6168044"/>
                <a:gd name="connsiteY33" fmla="*/ 1246909 h 2460567"/>
                <a:gd name="connsiteX34" fmla="*/ 3084022 w 6168044"/>
                <a:gd name="connsiteY34" fmla="*/ 1654233 h 2460567"/>
                <a:gd name="connsiteX35" fmla="*/ 2601884 w 6168044"/>
                <a:gd name="connsiteY35" fmla="*/ 2061556 h 2460567"/>
                <a:gd name="connsiteX36" fmla="*/ 2385753 w 6168044"/>
                <a:gd name="connsiteY36" fmla="*/ 2244436 h 2460567"/>
                <a:gd name="connsiteX37" fmla="*/ 2003367 w 6168044"/>
                <a:gd name="connsiteY37" fmla="*/ 2377440 h 2460567"/>
                <a:gd name="connsiteX38" fmla="*/ 1695797 w 6168044"/>
                <a:gd name="connsiteY38" fmla="*/ 2294313 h 2460567"/>
                <a:gd name="connsiteX39" fmla="*/ 1379913 w 6168044"/>
                <a:gd name="connsiteY39" fmla="*/ 2103120 h 2460567"/>
                <a:gd name="connsiteX40" fmla="*/ 1105593 w 6168044"/>
                <a:gd name="connsiteY40" fmla="*/ 1878676 h 2460567"/>
                <a:gd name="connsiteX41" fmla="*/ 914400 w 6168044"/>
                <a:gd name="connsiteY41" fmla="*/ 1670858 h 2460567"/>
                <a:gd name="connsiteX42" fmla="*/ 665018 w 6168044"/>
                <a:gd name="connsiteY42" fmla="*/ 1305098 h 2460567"/>
                <a:gd name="connsiteX43" fmla="*/ 665018 w 6168044"/>
                <a:gd name="connsiteY43" fmla="*/ 2460567 h 2460567"/>
                <a:gd name="connsiteX44" fmla="*/ 532015 w 6168044"/>
                <a:gd name="connsiteY44" fmla="*/ 2460567 h 2460567"/>
                <a:gd name="connsiteX45" fmla="*/ 540327 w 6168044"/>
                <a:gd name="connsiteY45" fmla="*/ 1596043 h 2460567"/>
                <a:gd name="connsiteX46" fmla="*/ 482138 w 6168044"/>
                <a:gd name="connsiteY46" fmla="*/ 1654233 h 2460567"/>
                <a:gd name="connsiteX47" fmla="*/ 299258 w 6168044"/>
                <a:gd name="connsiteY47" fmla="*/ 2044931 h 2460567"/>
                <a:gd name="connsiteX48" fmla="*/ 116378 w 6168044"/>
                <a:gd name="connsiteY48" fmla="*/ 2360814 h 2460567"/>
                <a:gd name="connsiteX49" fmla="*/ 74815 w 6168044"/>
                <a:gd name="connsiteY49" fmla="*/ 2452254 h 2460567"/>
                <a:gd name="connsiteX50" fmla="*/ 0 w 6168044"/>
                <a:gd name="connsiteY50" fmla="*/ 2377440 h 2460567"/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926975 w 6168044"/>
                <a:gd name="connsiteY24" fmla="*/ 2144683 h 2460567"/>
                <a:gd name="connsiteX25" fmla="*/ 5744564 w 6168044"/>
                <a:gd name="connsiteY25" fmla="*/ 1985880 h 2460567"/>
                <a:gd name="connsiteX26" fmla="*/ 5652655 w 6168044"/>
                <a:gd name="connsiteY26" fmla="*/ 1911927 h 2460567"/>
                <a:gd name="connsiteX27" fmla="*/ 5095702 w 6168044"/>
                <a:gd name="connsiteY27" fmla="*/ 1363287 h 2460567"/>
                <a:gd name="connsiteX28" fmla="*/ 4713317 w 6168044"/>
                <a:gd name="connsiteY28" fmla="*/ 897774 h 2460567"/>
                <a:gd name="connsiteX29" fmla="*/ 4305993 w 6168044"/>
                <a:gd name="connsiteY29" fmla="*/ 340822 h 2460567"/>
                <a:gd name="connsiteX30" fmla="*/ 4305993 w 6168044"/>
                <a:gd name="connsiteY30" fmla="*/ 2128058 h 2460567"/>
                <a:gd name="connsiteX31" fmla="*/ 4181302 w 6168044"/>
                <a:gd name="connsiteY31" fmla="*/ 2128058 h 2460567"/>
                <a:gd name="connsiteX32" fmla="*/ 4181302 w 6168044"/>
                <a:gd name="connsiteY32" fmla="*/ 266007 h 2460567"/>
                <a:gd name="connsiteX33" fmla="*/ 3840480 w 6168044"/>
                <a:gd name="connsiteY33" fmla="*/ 748145 h 2460567"/>
                <a:gd name="connsiteX34" fmla="*/ 3449782 w 6168044"/>
                <a:gd name="connsiteY34" fmla="*/ 1246909 h 2460567"/>
                <a:gd name="connsiteX35" fmla="*/ 3084022 w 6168044"/>
                <a:gd name="connsiteY35" fmla="*/ 1654233 h 2460567"/>
                <a:gd name="connsiteX36" fmla="*/ 2601884 w 6168044"/>
                <a:gd name="connsiteY36" fmla="*/ 2061556 h 2460567"/>
                <a:gd name="connsiteX37" fmla="*/ 2385753 w 6168044"/>
                <a:gd name="connsiteY37" fmla="*/ 2244436 h 2460567"/>
                <a:gd name="connsiteX38" fmla="*/ 2003367 w 6168044"/>
                <a:gd name="connsiteY38" fmla="*/ 2377440 h 2460567"/>
                <a:gd name="connsiteX39" fmla="*/ 1695797 w 6168044"/>
                <a:gd name="connsiteY39" fmla="*/ 2294313 h 2460567"/>
                <a:gd name="connsiteX40" fmla="*/ 1379913 w 6168044"/>
                <a:gd name="connsiteY40" fmla="*/ 2103120 h 2460567"/>
                <a:gd name="connsiteX41" fmla="*/ 1105593 w 6168044"/>
                <a:gd name="connsiteY41" fmla="*/ 1878676 h 2460567"/>
                <a:gd name="connsiteX42" fmla="*/ 914400 w 6168044"/>
                <a:gd name="connsiteY42" fmla="*/ 1670858 h 2460567"/>
                <a:gd name="connsiteX43" fmla="*/ 665018 w 6168044"/>
                <a:gd name="connsiteY43" fmla="*/ 1305098 h 2460567"/>
                <a:gd name="connsiteX44" fmla="*/ 665018 w 6168044"/>
                <a:gd name="connsiteY44" fmla="*/ 2460567 h 2460567"/>
                <a:gd name="connsiteX45" fmla="*/ 532015 w 6168044"/>
                <a:gd name="connsiteY45" fmla="*/ 2460567 h 2460567"/>
                <a:gd name="connsiteX46" fmla="*/ 540327 w 6168044"/>
                <a:gd name="connsiteY46" fmla="*/ 1596043 h 2460567"/>
                <a:gd name="connsiteX47" fmla="*/ 482138 w 6168044"/>
                <a:gd name="connsiteY47" fmla="*/ 1654233 h 2460567"/>
                <a:gd name="connsiteX48" fmla="*/ 299258 w 6168044"/>
                <a:gd name="connsiteY48" fmla="*/ 2044931 h 2460567"/>
                <a:gd name="connsiteX49" fmla="*/ 116378 w 6168044"/>
                <a:gd name="connsiteY49" fmla="*/ 2360814 h 2460567"/>
                <a:gd name="connsiteX50" fmla="*/ 74815 w 6168044"/>
                <a:gd name="connsiteY50" fmla="*/ 2452254 h 2460567"/>
                <a:gd name="connsiteX51" fmla="*/ 0 w 6168044"/>
                <a:gd name="connsiteY51" fmla="*/ 2377440 h 2460567"/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744564 w 6168044"/>
                <a:gd name="connsiteY24" fmla="*/ 1985880 h 2460567"/>
                <a:gd name="connsiteX25" fmla="*/ 5652655 w 6168044"/>
                <a:gd name="connsiteY25" fmla="*/ 1911927 h 2460567"/>
                <a:gd name="connsiteX26" fmla="*/ 5095702 w 6168044"/>
                <a:gd name="connsiteY26" fmla="*/ 1363287 h 2460567"/>
                <a:gd name="connsiteX27" fmla="*/ 4713317 w 6168044"/>
                <a:gd name="connsiteY27" fmla="*/ 897774 h 2460567"/>
                <a:gd name="connsiteX28" fmla="*/ 4305993 w 6168044"/>
                <a:gd name="connsiteY28" fmla="*/ 340822 h 2460567"/>
                <a:gd name="connsiteX29" fmla="*/ 4305993 w 6168044"/>
                <a:gd name="connsiteY29" fmla="*/ 2128058 h 2460567"/>
                <a:gd name="connsiteX30" fmla="*/ 4181302 w 6168044"/>
                <a:gd name="connsiteY30" fmla="*/ 2128058 h 2460567"/>
                <a:gd name="connsiteX31" fmla="*/ 4181302 w 6168044"/>
                <a:gd name="connsiteY31" fmla="*/ 266007 h 2460567"/>
                <a:gd name="connsiteX32" fmla="*/ 3840480 w 6168044"/>
                <a:gd name="connsiteY32" fmla="*/ 748145 h 2460567"/>
                <a:gd name="connsiteX33" fmla="*/ 3449782 w 6168044"/>
                <a:gd name="connsiteY33" fmla="*/ 1246909 h 2460567"/>
                <a:gd name="connsiteX34" fmla="*/ 3084022 w 6168044"/>
                <a:gd name="connsiteY34" fmla="*/ 1654233 h 2460567"/>
                <a:gd name="connsiteX35" fmla="*/ 2601884 w 6168044"/>
                <a:gd name="connsiteY35" fmla="*/ 2061556 h 2460567"/>
                <a:gd name="connsiteX36" fmla="*/ 2385753 w 6168044"/>
                <a:gd name="connsiteY36" fmla="*/ 2244436 h 2460567"/>
                <a:gd name="connsiteX37" fmla="*/ 2003367 w 6168044"/>
                <a:gd name="connsiteY37" fmla="*/ 2377440 h 2460567"/>
                <a:gd name="connsiteX38" fmla="*/ 1695797 w 6168044"/>
                <a:gd name="connsiteY38" fmla="*/ 2294313 h 2460567"/>
                <a:gd name="connsiteX39" fmla="*/ 1379913 w 6168044"/>
                <a:gd name="connsiteY39" fmla="*/ 2103120 h 2460567"/>
                <a:gd name="connsiteX40" fmla="*/ 1105593 w 6168044"/>
                <a:gd name="connsiteY40" fmla="*/ 1878676 h 2460567"/>
                <a:gd name="connsiteX41" fmla="*/ 914400 w 6168044"/>
                <a:gd name="connsiteY41" fmla="*/ 1670858 h 2460567"/>
                <a:gd name="connsiteX42" fmla="*/ 665018 w 6168044"/>
                <a:gd name="connsiteY42" fmla="*/ 1305098 h 2460567"/>
                <a:gd name="connsiteX43" fmla="*/ 665018 w 6168044"/>
                <a:gd name="connsiteY43" fmla="*/ 2460567 h 2460567"/>
                <a:gd name="connsiteX44" fmla="*/ 532015 w 6168044"/>
                <a:gd name="connsiteY44" fmla="*/ 2460567 h 2460567"/>
                <a:gd name="connsiteX45" fmla="*/ 540327 w 6168044"/>
                <a:gd name="connsiteY45" fmla="*/ 1596043 h 2460567"/>
                <a:gd name="connsiteX46" fmla="*/ 482138 w 6168044"/>
                <a:gd name="connsiteY46" fmla="*/ 1654233 h 2460567"/>
                <a:gd name="connsiteX47" fmla="*/ 299258 w 6168044"/>
                <a:gd name="connsiteY47" fmla="*/ 2044931 h 2460567"/>
                <a:gd name="connsiteX48" fmla="*/ 116378 w 6168044"/>
                <a:gd name="connsiteY48" fmla="*/ 2360814 h 2460567"/>
                <a:gd name="connsiteX49" fmla="*/ 74815 w 6168044"/>
                <a:gd name="connsiteY49" fmla="*/ 2452254 h 2460567"/>
                <a:gd name="connsiteX50" fmla="*/ 0 w 6168044"/>
                <a:gd name="connsiteY50" fmla="*/ 2377440 h 2460567"/>
                <a:gd name="connsiteX0" fmla="*/ 0 w 5744564"/>
                <a:gd name="connsiteY0" fmla="*/ 2377440 h 2460567"/>
                <a:gd name="connsiteX1" fmla="*/ 290946 w 5744564"/>
                <a:gd name="connsiteY1" fmla="*/ 1812174 h 2460567"/>
                <a:gd name="connsiteX2" fmla="*/ 565266 w 5744564"/>
                <a:gd name="connsiteY2" fmla="*/ 1130531 h 2460567"/>
                <a:gd name="connsiteX3" fmla="*/ 590204 w 5744564"/>
                <a:gd name="connsiteY3" fmla="*/ 1014153 h 2460567"/>
                <a:gd name="connsiteX4" fmla="*/ 665018 w 5744564"/>
                <a:gd name="connsiteY4" fmla="*/ 1005840 h 2460567"/>
                <a:gd name="connsiteX5" fmla="*/ 756458 w 5744564"/>
                <a:gd name="connsiteY5" fmla="*/ 1246909 h 2460567"/>
                <a:gd name="connsiteX6" fmla="*/ 964277 w 5744564"/>
                <a:gd name="connsiteY6" fmla="*/ 1554480 h 2460567"/>
                <a:gd name="connsiteX7" fmla="*/ 1263535 w 5744564"/>
                <a:gd name="connsiteY7" fmla="*/ 1886989 h 2460567"/>
                <a:gd name="connsiteX8" fmla="*/ 1612669 w 5744564"/>
                <a:gd name="connsiteY8" fmla="*/ 2128058 h 2460567"/>
                <a:gd name="connsiteX9" fmla="*/ 1928553 w 5744564"/>
                <a:gd name="connsiteY9" fmla="*/ 2252749 h 2460567"/>
                <a:gd name="connsiteX10" fmla="*/ 2144684 w 5744564"/>
                <a:gd name="connsiteY10" fmla="*/ 2227811 h 2460567"/>
                <a:gd name="connsiteX11" fmla="*/ 2452255 w 5744564"/>
                <a:gd name="connsiteY11" fmla="*/ 2044931 h 2460567"/>
                <a:gd name="connsiteX12" fmla="*/ 2743200 w 5744564"/>
                <a:gd name="connsiteY12" fmla="*/ 1795549 h 2460567"/>
                <a:gd name="connsiteX13" fmla="*/ 3158837 w 5744564"/>
                <a:gd name="connsiteY13" fmla="*/ 1371600 h 2460567"/>
                <a:gd name="connsiteX14" fmla="*/ 3474720 w 5744564"/>
                <a:gd name="connsiteY14" fmla="*/ 1005840 h 2460567"/>
                <a:gd name="connsiteX15" fmla="*/ 3898669 w 5744564"/>
                <a:gd name="connsiteY15" fmla="*/ 440574 h 2460567"/>
                <a:gd name="connsiteX16" fmla="*/ 4148051 w 5744564"/>
                <a:gd name="connsiteY16" fmla="*/ 24938 h 2460567"/>
                <a:gd name="connsiteX17" fmla="*/ 4197927 w 5744564"/>
                <a:gd name="connsiteY17" fmla="*/ 0 h 2460567"/>
                <a:gd name="connsiteX18" fmla="*/ 4272742 w 5744564"/>
                <a:gd name="connsiteY18" fmla="*/ 24938 h 2460567"/>
                <a:gd name="connsiteX19" fmla="*/ 4447309 w 5744564"/>
                <a:gd name="connsiteY19" fmla="*/ 299258 h 2460567"/>
                <a:gd name="connsiteX20" fmla="*/ 4862946 w 5744564"/>
                <a:gd name="connsiteY20" fmla="*/ 856211 h 2460567"/>
                <a:gd name="connsiteX21" fmla="*/ 5261957 w 5744564"/>
                <a:gd name="connsiteY21" fmla="*/ 1330036 h 2460567"/>
                <a:gd name="connsiteX22" fmla="*/ 5735782 w 5744564"/>
                <a:gd name="connsiteY22" fmla="*/ 1778923 h 2460567"/>
                <a:gd name="connsiteX23" fmla="*/ 5744564 w 5744564"/>
                <a:gd name="connsiteY23" fmla="*/ 1985880 h 2460567"/>
                <a:gd name="connsiteX24" fmla="*/ 5652655 w 5744564"/>
                <a:gd name="connsiteY24" fmla="*/ 1911927 h 2460567"/>
                <a:gd name="connsiteX25" fmla="*/ 5095702 w 5744564"/>
                <a:gd name="connsiteY25" fmla="*/ 1363287 h 2460567"/>
                <a:gd name="connsiteX26" fmla="*/ 4713317 w 5744564"/>
                <a:gd name="connsiteY26" fmla="*/ 897774 h 2460567"/>
                <a:gd name="connsiteX27" fmla="*/ 4305993 w 5744564"/>
                <a:gd name="connsiteY27" fmla="*/ 340822 h 2460567"/>
                <a:gd name="connsiteX28" fmla="*/ 4305993 w 5744564"/>
                <a:gd name="connsiteY28" fmla="*/ 2128058 h 2460567"/>
                <a:gd name="connsiteX29" fmla="*/ 4181302 w 5744564"/>
                <a:gd name="connsiteY29" fmla="*/ 2128058 h 2460567"/>
                <a:gd name="connsiteX30" fmla="*/ 4181302 w 5744564"/>
                <a:gd name="connsiteY30" fmla="*/ 266007 h 2460567"/>
                <a:gd name="connsiteX31" fmla="*/ 3840480 w 5744564"/>
                <a:gd name="connsiteY31" fmla="*/ 748145 h 2460567"/>
                <a:gd name="connsiteX32" fmla="*/ 3449782 w 5744564"/>
                <a:gd name="connsiteY32" fmla="*/ 1246909 h 2460567"/>
                <a:gd name="connsiteX33" fmla="*/ 3084022 w 5744564"/>
                <a:gd name="connsiteY33" fmla="*/ 1654233 h 2460567"/>
                <a:gd name="connsiteX34" fmla="*/ 2601884 w 5744564"/>
                <a:gd name="connsiteY34" fmla="*/ 2061556 h 2460567"/>
                <a:gd name="connsiteX35" fmla="*/ 2385753 w 5744564"/>
                <a:gd name="connsiteY35" fmla="*/ 2244436 h 2460567"/>
                <a:gd name="connsiteX36" fmla="*/ 2003367 w 5744564"/>
                <a:gd name="connsiteY36" fmla="*/ 2377440 h 2460567"/>
                <a:gd name="connsiteX37" fmla="*/ 1695797 w 5744564"/>
                <a:gd name="connsiteY37" fmla="*/ 2294313 h 2460567"/>
                <a:gd name="connsiteX38" fmla="*/ 1379913 w 5744564"/>
                <a:gd name="connsiteY38" fmla="*/ 2103120 h 2460567"/>
                <a:gd name="connsiteX39" fmla="*/ 1105593 w 5744564"/>
                <a:gd name="connsiteY39" fmla="*/ 1878676 h 2460567"/>
                <a:gd name="connsiteX40" fmla="*/ 914400 w 5744564"/>
                <a:gd name="connsiteY40" fmla="*/ 1670858 h 2460567"/>
                <a:gd name="connsiteX41" fmla="*/ 665018 w 5744564"/>
                <a:gd name="connsiteY41" fmla="*/ 1305098 h 2460567"/>
                <a:gd name="connsiteX42" fmla="*/ 665018 w 5744564"/>
                <a:gd name="connsiteY42" fmla="*/ 2460567 h 2460567"/>
                <a:gd name="connsiteX43" fmla="*/ 532015 w 5744564"/>
                <a:gd name="connsiteY43" fmla="*/ 2460567 h 2460567"/>
                <a:gd name="connsiteX44" fmla="*/ 540327 w 5744564"/>
                <a:gd name="connsiteY44" fmla="*/ 1596043 h 2460567"/>
                <a:gd name="connsiteX45" fmla="*/ 482138 w 5744564"/>
                <a:gd name="connsiteY45" fmla="*/ 1654233 h 2460567"/>
                <a:gd name="connsiteX46" fmla="*/ 299258 w 5744564"/>
                <a:gd name="connsiteY46" fmla="*/ 2044931 h 2460567"/>
                <a:gd name="connsiteX47" fmla="*/ 116378 w 5744564"/>
                <a:gd name="connsiteY47" fmla="*/ 2360814 h 2460567"/>
                <a:gd name="connsiteX48" fmla="*/ 74815 w 5744564"/>
                <a:gd name="connsiteY48" fmla="*/ 2452254 h 2460567"/>
                <a:gd name="connsiteX49" fmla="*/ 0 w 5744564"/>
                <a:gd name="connsiteY49" fmla="*/ 2377440 h 2460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744564" h="2460567">
                  <a:moveTo>
                    <a:pt x="0" y="2377440"/>
                  </a:moveTo>
                  <a:lnTo>
                    <a:pt x="290946" y="1812174"/>
                  </a:lnTo>
                  <a:lnTo>
                    <a:pt x="565266" y="1130531"/>
                  </a:lnTo>
                  <a:lnTo>
                    <a:pt x="590204" y="1014153"/>
                  </a:lnTo>
                  <a:lnTo>
                    <a:pt x="665018" y="1005840"/>
                  </a:lnTo>
                  <a:lnTo>
                    <a:pt x="756458" y="1246909"/>
                  </a:lnTo>
                  <a:lnTo>
                    <a:pt x="964277" y="1554480"/>
                  </a:lnTo>
                  <a:lnTo>
                    <a:pt x="1263535" y="1886989"/>
                  </a:lnTo>
                  <a:lnTo>
                    <a:pt x="1612669" y="2128058"/>
                  </a:lnTo>
                  <a:lnTo>
                    <a:pt x="1928553" y="2252749"/>
                  </a:lnTo>
                  <a:lnTo>
                    <a:pt x="2144684" y="2227811"/>
                  </a:lnTo>
                  <a:lnTo>
                    <a:pt x="2452255" y="2044931"/>
                  </a:lnTo>
                  <a:lnTo>
                    <a:pt x="2743200" y="1795549"/>
                  </a:lnTo>
                  <a:lnTo>
                    <a:pt x="3158837" y="1371600"/>
                  </a:lnTo>
                  <a:lnTo>
                    <a:pt x="3474720" y="1005840"/>
                  </a:lnTo>
                  <a:lnTo>
                    <a:pt x="3898669" y="440574"/>
                  </a:lnTo>
                  <a:lnTo>
                    <a:pt x="4148051" y="24938"/>
                  </a:lnTo>
                  <a:lnTo>
                    <a:pt x="4197927" y="0"/>
                  </a:lnTo>
                  <a:lnTo>
                    <a:pt x="4272742" y="24938"/>
                  </a:lnTo>
                  <a:lnTo>
                    <a:pt x="4447309" y="299258"/>
                  </a:lnTo>
                  <a:lnTo>
                    <a:pt x="4862946" y="856211"/>
                  </a:lnTo>
                  <a:lnTo>
                    <a:pt x="5261957" y="1330036"/>
                  </a:lnTo>
                  <a:lnTo>
                    <a:pt x="5735782" y="1778923"/>
                  </a:lnTo>
                  <a:lnTo>
                    <a:pt x="5744564" y="1985880"/>
                  </a:lnTo>
                  <a:lnTo>
                    <a:pt x="5652655" y="1911927"/>
                  </a:lnTo>
                  <a:lnTo>
                    <a:pt x="5095702" y="1363287"/>
                  </a:lnTo>
                  <a:lnTo>
                    <a:pt x="4713317" y="897774"/>
                  </a:lnTo>
                  <a:lnTo>
                    <a:pt x="4305993" y="340822"/>
                  </a:lnTo>
                  <a:lnTo>
                    <a:pt x="4305993" y="2128058"/>
                  </a:lnTo>
                  <a:lnTo>
                    <a:pt x="4181302" y="2128058"/>
                  </a:lnTo>
                  <a:lnTo>
                    <a:pt x="4181302" y="266007"/>
                  </a:lnTo>
                  <a:lnTo>
                    <a:pt x="3840480" y="748145"/>
                  </a:lnTo>
                  <a:lnTo>
                    <a:pt x="3449782" y="1246909"/>
                  </a:lnTo>
                  <a:lnTo>
                    <a:pt x="3084022" y="1654233"/>
                  </a:lnTo>
                  <a:lnTo>
                    <a:pt x="2601884" y="2061556"/>
                  </a:lnTo>
                  <a:lnTo>
                    <a:pt x="2385753" y="2244436"/>
                  </a:lnTo>
                  <a:lnTo>
                    <a:pt x="2003367" y="2377440"/>
                  </a:lnTo>
                  <a:lnTo>
                    <a:pt x="1695797" y="2294313"/>
                  </a:lnTo>
                  <a:lnTo>
                    <a:pt x="1379913" y="2103120"/>
                  </a:lnTo>
                  <a:lnTo>
                    <a:pt x="1105593" y="1878676"/>
                  </a:lnTo>
                  <a:lnTo>
                    <a:pt x="914400" y="1670858"/>
                  </a:lnTo>
                  <a:lnTo>
                    <a:pt x="665018" y="1305098"/>
                  </a:lnTo>
                  <a:lnTo>
                    <a:pt x="665018" y="2460567"/>
                  </a:lnTo>
                  <a:lnTo>
                    <a:pt x="532015" y="2460567"/>
                  </a:lnTo>
                  <a:cubicBezTo>
                    <a:pt x="534786" y="2172392"/>
                    <a:pt x="537556" y="1884218"/>
                    <a:pt x="540327" y="1596043"/>
                  </a:cubicBezTo>
                  <a:lnTo>
                    <a:pt x="482138" y="1654233"/>
                  </a:lnTo>
                  <a:lnTo>
                    <a:pt x="299258" y="2044931"/>
                  </a:lnTo>
                  <a:lnTo>
                    <a:pt x="116378" y="2360814"/>
                  </a:lnTo>
                  <a:lnTo>
                    <a:pt x="74815" y="2452254"/>
                  </a:lnTo>
                  <a:lnTo>
                    <a:pt x="0" y="2377440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 400"/>
            <p:cNvSpPr/>
            <p:nvPr/>
          </p:nvSpPr>
          <p:spPr>
            <a:xfrm>
              <a:off x="2039707" y="3168843"/>
              <a:ext cx="279630" cy="294047"/>
            </a:xfrm>
            <a:custGeom>
              <a:avLst/>
              <a:gdLst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554480 w 2219498"/>
                <a:gd name="connsiteY4" fmla="*/ 1512916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837112 w 2219498"/>
                <a:gd name="connsiteY8" fmla="*/ 1928552 h 2161309"/>
                <a:gd name="connsiteX9" fmla="*/ 1413163 w 2219498"/>
                <a:gd name="connsiteY9" fmla="*/ 1512916 h 2161309"/>
                <a:gd name="connsiteX10" fmla="*/ 897774 w 2219498"/>
                <a:gd name="connsiteY10" fmla="*/ 964276 h 2161309"/>
                <a:gd name="connsiteX11" fmla="*/ 523702 w 2219498"/>
                <a:gd name="connsiteY11" fmla="*/ 507076 h 2161309"/>
                <a:gd name="connsiteX12" fmla="*/ 290945 w 2219498"/>
                <a:gd name="connsiteY12" fmla="*/ 216130 h 2161309"/>
                <a:gd name="connsiteX13" fmla="*/ 290945 w 2219498"/>
                <a:gd name="connsiteY13" fmla="*/ 423949 h 2161309"/>
                <a:gd name="connsiteX14" fmla="*/ 157942 w 2219498"/>
                <a:gd name="connsiteY14" fmla="*/ 266007 h 2161309"/>
                <a:gd name="connsiteX15" fmla="*/ 157942 w 2219498"/>
                <a:gd name="connsiteY15" fmla="*/ 141316 h 2161309"/>
                <a:gd name="connsiteX16" fmla="*/ 58189 w 2219498"/>
                <a:gd name="connsiteY16" fmla="*/ 141316 h 2161309"/>
                <a:gd name="connsiteX17" fmla="*/ 0 w 2219498"/>
                <a:gd name="connsiteY17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1554480 w 2219498"/>
                <a:gd name="connsiteY5" fmla="*/ 1512916 h 2161309"/>
                <a:gd name="connsiteX6" fmla="*/ 2044931 w 2219498"/>
                <a:gd name="connsiteY6" fmla="*/ 1978429 h 2161309"/>
                <a:gd name="connsiteX7" fmla="*/ 2219498 w 2219498"/>
                <a:gd name="connsiteY7" fmla="*/ 2103120 h 2161309"/>
                <a:gd name="connsiteX8" fmla="*/ 2177934 w 2219498"/>
                <a:gd name="connsiteY8" fmla="*/ 2161309 h 2161309"/>
                <a:gd name="connsiteX9" fmla="*/ 1837112 w 2219498"/>
                <a:gd name="connsiteY9" fmla="*/ 1928552 h 2161309"/>
                <a:gd name="connsiteX10" fmla="*/ 1413163 w 2219498"/>
                <a:gd name="connsiteY10" fmla="*/ 1512916 h 2161309"/>
                <a:gd name="connsiteX11" fmla="*/ 897774 w 2219498"/>
                <a:gd name="connsiteY11" fmla="*/ 964276 h 2161309"/>
                <a:gd name="connsiteX12" fmla="*/ 523702 w 2219498"/>
                <a:gd name="connsiteY12" fmla="*/ 507076 h 2161309"/>
                <a:gd name="connsiteX13" fmla="*/ 290945 w 2219498"/>
                <a:gd name="connsiteY13" fmla="*/ 216130 h 2161309"/>
                <a:gd name="connsiteX14" fmla="*/ 290945 w 2219498"/>
                <a:gd name="connsiteY14" fmla="*/ 423949 h 2161309"/>
                <a:gd name="connsiteX15" fmla="*/ 157942 w 2219498"/>
                <a:gd name="connsiteY15" fmla="*/ 266007 h 2161309"/>
                <a:gd name="connsiteX16" fmla="*/ 157942 w 2219498"/>
                <a:gd name="connsiteY16" fmla="*/ 141316 h 2161309"/>
                <a:gd name="connsiteX17" fmla="*/ 58189 w 2219498"/>
                <a:gd name="connsiteY17" fmla="*/ 141316 h 2161309"/>
                <a:gd name="connsiteX18" fmla="*/ 0 w 2219498"/>
                <a:gd name="connsiteY18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1554480 w 2219498"/>
                <a:gd name="connsiteY5" fmla="*/ 1512916 h 2161309"/>
                <a:gd name="connsiteX6" fmla="*/ 2044931 w 2219498"/>
                <a:gd name="connsiteY6" fmla="*/ 1978429 h 2161309"/>
                <a:gd name="connsiteX7" fmla="*/ 2219498 w 2219498"/>
                <a:gd name="connsiteY7" fmla="*/ 2103120 h 2161309"/>
                <a:gd name="connsiteX8" fmla="*/ 2177934 w 2219498"/>
                <a:gd name="connsiteY8" fmla="*/ 2161309 h 2161309"/>
                <a:gd name="connsiteX9" fmla="*/ 1837112 w 2219498"/>
                <a:gd name="connsiteY9" fmla="*/ 1928552 h 2161309"/>
                <a:gd name="connsiteX10" fmla="*/ 1366425 w 2219498"/>
                <a:gd name="connsiteY10" fmla="*/ 1442808 h 2161309"/>
                <a:gd name="connsiteX11" fmla="*/ 897774 w 2219498"/>
                <a:gd name="connsiteY11" fmla="*/ 964276 h 2161309"/>
                <a:gd name="connsiteX12" fmla="*/ 523702 w 2219498"/>
                <a:gd name="connsiteY12" fmla="*/ 507076 h 2161309"/>
                <a:gd name="connsiteX13" fmla="*/ 290945 w 2219498"/>
                <a:gd name="connsiteY13" fmla="*/ 216130 h 2161309"/>
                <a:gd name="connsiteX14" fmla="*/ 290945 w 2219498"/>
                <a:gd name="connsiteY14" fmla="*/ 423949 h 2161309"/>
                <a:gd name="connsiteX15" fmla="*/ 157942 w 2219498"/>
                <a:gd name="connsiteY15" fmla="*/ 266007 h 2161309"/>
                <a:gd name="connsiteX16" fmla="*/ 157942 w 2219498"/>
                <a:gd name="connsiteY16" fmla="*/ 141316 h 2161309"/>
                <a:gd name="connsiteX17" fmla="*/ 58189 w 2219498"/>
                <a:gd name="connsiteY17" fmla="*/ 141316 h 2161309"/>
                <a:gd name="connsiteX18" fmla="*/ 0 w 2219498"/>
                <a:gd name="connsiteY18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837112 w 2219498"/>
                <a:gd name="connsiteY8" fmla="*/ 1928552 h 2161309"/>
                <a:gd name="connsiteX9" fmla="*/ 1366425 w 2219498"/>
                <a:gd name="connsiteY9" fmla="*/ 1442808 h 2161309"/>
                <a:gd name="connsiteX10" fmla="*/ 897774 w 2219498"/>
                <a:gd name="connsiteY10" fmla="*/ 964276 h 2161309"/>
                <a:gd name="connsiteX11" fmla="*/ 523702 w 2219498"/>
                <a:gd name="connsiteY11" fmla="*/ 507076 h 2161309"/>
                <a:gd name="connsiteX12" fmla="*/ 290945 w 2219498"/>
                <a:gd name="connsiteY12" fmla="*/ 216130 h 2161309"/>
                <a:gd name="connsiteX13" fmla="*/ 290945 w 2219498"/>
                <a:gd name="connsiteY13" fmla="*/ 423949 h 2161309"/>
                <a:gd name="connsiteX14" fmla="*/ 157942 w 2219498"/>
                <a:gd name="connsiteY14" fmla="*/ 266007 h 2161309"/>
                <a:gd name="connsiteX15" fmla="*/ 157942 w 2219498"/>
                <a:gd name="connsiteY15" fmla="*/ 141316 h 2161309"/>
                <a:gd name="connsiteX16" fmla="*/ 58189 w 2219498"/>
                <a:gd name="connsiteY16" fmla="*/ 141316 h 2161309"/>
                <a:gd name="connsiteX17" fmla="*/ 0 w 2219498"/>
                <a:gd name="connsiteY17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366425 w 2219498"/>
                <a:gd name="connsiteY8" fmla="*/ 1442808 h 2161309"/>
                <a:gd name="connsiteX9" fmla="*/ 897774 w 2219498"/>
                <a:gd name="connsiteY9" fmla="*/ 964276 h 2161309"/>
                <a:gd name="connsiteX10" fmla="*/ 523702 w 2219498"/>
                <a:gd name="connsiteY10" fmla="*/ 507076 h 2161309"/>
                <a:gd name="connsiteX11" fmla="*/ 290945 w 2219498"/>
                <a:gd name="connsiteY11" fmla="*/ 216130 h 2161309"/>
                <a:gd name="connsiteX12" fmla="*/ 290945 w 2219498"/>
                <a:gd name="connsiteY12" fmla="*/ 423949 h 2161309"/>
                <a:gd name="connsiteX13" fmla="*/ 157942 w 2219498"/>
                <a:gd name="connsiteY13" fmla="*/ 266007 h 2161309"/>
                <a:gd name="connsiteX14" fmla="*/ 157942 w 2219498"/>
                <a:gd name="connsiteY14" fmla="*/ 141316 h 2161309"/>
                <a:gd name="connsiteX15" fmla="*/ 58189 w 2219498"/>
                <a:gd name="connsiteY15" fmla="*/ 141316 h 2161309"/>
                <a:gd name="connsiteX16" fmla="*/ 0 w 2219498"/>
                <a:gd name="connsiteY16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219498 w 2219498"/>
                <a:gd name="connsiteY5" fmla="*/ 2103120 h 2161309"/>
                <a:gd name="connsiteX6" fmla="*/ 2177934 w 2219498"/>
                <a:gd name="connsiteY6" fmla="*/ 2161309 h 2161309"/>
                <a:gd name="connsiteX7" fmla="*/ 1366425 w 2219498"/>
                <a:gd name="connsiteY7" fmla="*/ 1442808 h 2161309"/>
                <a:gd name="connsiteX8" fmla="*/ 897774 w 2219498"/>
                <a:gd name="connsiteY8" fmla="*/ 964276 h 2161309"/>
                <a:gd name="connsiteX9" fmla="*/ 523702 w 2219498"/>
                <a:gd name="connsiteY9" fmla="*/ 507076 h 2161309"/>
                <a:gd name="connsiteX10" fmla="*/ 290945 w 2219498"/>
                <a:gd name="connsiteY10" fmla="*/ 216130 h 2161309"/>
                <a:gd name="connsiteX11" fmla="*/ 290945 w 2219498"/>
                <a:gd name="connsiteY11" fmla="*/ 423949 h 2161309"/>
                <a:gd name="connsiteX12" fmla="*/ 157942 w 2219498"/>
                <a:gd name="connsiteY12" fmla="*/ 266007 h 2161309"/>
                <a:gd name="connsiteX13" fmla="*/ 157942 w 2219498"/>
                <a:gd name="connsiteY13" fmla="*/ 141316 h 2161309"/>
                <a:gd name="connsiteX14" fmla="*/ 58189 w 2219498"/>
                <a:gd name="connsiteY14" fmla="*/ 141316 h 2161309"/>
                <a:gd name="connsiteX15" fmla="*/ 0 w 2219498"/>
                <a:gd name="connsiteY15" fmla="*/ 0 h 2161309"/>
                <a:gd name="connsiteX0" fmla="*/ 0 w 2177933"/>
                <a:gd name="connsiteY0" fmla="*/ 0 h 2161309"/>
                <a:gd name="connsiteX1" fmla="*/ 290945 w 2177933"/>
                <a:gd name="connsiteY1" fmla="*/ 0 h 2161309"/>
                <a:gd name="connsiteX2" fmla="*/ 681643 w 2177933"/>
                <a:gd name="connsiteY2" fmla="*/ 532014 h 2161309"/>
                <a:gd name="connsiteX3" fmla="*/ 1147156 w 2177933"/>
                <a:gd name="connsiteY3" fmla="*/ 1080654 h 2161309"/>
                <a:gd name="connsiteX4" fmla="*/ 1372067 w 2177933"/>
                <a:gd name="connsiteY4" fmla="*/ 1334938 h 2161309"/>
                <a:gd name="connsiteX5" fmla="*/ 2177934 w 2177933"/>
                <a:gd name="connsiteY5" fmla="*/ 2161309 h 2161309"/>
                <a:gd name="connsiteX6" fmla="*/ 1366425 w 2177933"/>
                <a:gd name="connsiteY6" fmla="*/ 1442808 h 2161309"/>
                <a:gd name="connsiteX7" fmla="*/ 897774 w 2177933"/>
                <a:gd name="connsiteY7" fmla="*/ 964276 h 2161309"/>
                <a:gd name="connsiteX8" fmla="*/ 523702 w 2177933"/>
                <a:gd name="connsiteY8" fmla="*/ 507076 h 2161309"/>
                <a:gd name="connsiteX9" fmla="*/ 290945 w 2177933"/>
                <a:gd name="connsiteY9" fmla="*/ 216130 h 2161309"/>
                <a:gd name="connsiteX10" fmla="*/ 290945 w 2177933"/>
                <a:gd name="connsiteY10" fmla="*/ 423949 h 2161309"/>
                <a:gd name="connsiteX11" fmla="*/ 157942 w 2177933"/>
                <a:gd name="connsiteY11" fmla="*/ 266007 h 2161309"/>
                <a:gd name="connsiteX12" fmla="*/ 157942 w 2177933"/>
                <a:gd name="connsiteY12" fmla="*/ 141316 h 2161309"/>
                <a:gd name="connsiteX13" fmla="*/ 58189 w 2177933"/>
                <a:gd name="connsiteY13" fmla="*/ 141316 h 2161309"/>
                <a:gd name="connsiteX14" fmla="*/ 0 w 2177933"/>
                <a:gd name="connsiteY14" fmla="*/ 0 h 2161309"/>
                <a:gd name="connsiteX0" fmla="*/ 0 w 1372067"/>
                <a:gd name="connsiteY0" fmla="*/ 0 h 1442808"/>
                <a:gd name="connsiteX1" fmla="*/ 290945 w 1372067"/>
                <a:gd name="connsiteY1" fmla="*/ 0 h 1442808"/>
                <a:gd name="connsiteX2" fmla="*/ 681643 w 1372067"/>
                <a:gd name="connsiteY2" fmla="*/ 532014 h 1442808"/>
                <a:gd name="connsiteX3" fmla="*/ 1147156 w 1372067"/>
                <a:gd name="connsiteY3" fmla="*/ 1080654 h 1442808"/>
                <a:gd name="connsiteX4" fmla="*/ 1372067 w 1372067"/>
                <a:gd name="connsiteY4" fmla="*/ 1334938 h 1442808"/>
                <a:gd name="connsiteX5" fmla="*/ 1366425 w 1372067"/>
                <a:gd name="connsiteY5" fmla="*/ 1442808 h 1442808"/>
                <a:gd name="connsiteX6" fmla="*/ 897774 w 1372067"/>
                <a:gd name="connsiteY6" fmla="*/ 964276 h 1442808"/>
                <a:gd name="connsiteX7" fmla="*/ 523702 w 1372067"/>
                <a:gd name="connsiteY7" fmla="*/ 507076 h 1442808"/>
                <a:gd name="connsiteX8" fmla="*/ 290945 w 1372067"/>
                <a:gd name="connsiteY8" fmla="*/ 216130 h 1442808"/>
                <a:gd name="connsiteX9" fmla="*/ 290945 w 1372067"/>
                <a:gd name="connsiteY9" fmla="*/ 423949 h 1442808"/>
                <a:gd name="connsiteX10" fmla="*/ 157942 w 1372067"/>
                <a:gd name="connsiteY10" fmla="*/ 266007 h 1442808"/>
                <a:gd name="connsiteX11" fmla="*/ 157942 w 1372067"/>
                <a:gd name="connsiteY11" fmla="*/ 141316 h 1442808"/>
                <a:gd name="connsiteX12" fmla="*/ 58189 w 1372067"/>
                <a:gd name="connsiteY12" fmla="*/ 141316 h 1442808"/>
                <a:gd name="connsiteX13" fmla="*/ 0 w 1372067"/>
                <a:gd name="connsiteY13" fmla="*/ 0 h 144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72067" h="1442808">
                  <a:moveTo>
                    <a:pt x="0" y="0"/>
                  </a:moveTo>
                  <a:lnTo>
                    <a:pt x="290945" y="0"/>
                  </a:lnTo>
                  <a:lnTo>
                    <a:pt x="681643" y="532014"/>
                  </a:lnTo>
                  <a:lnTo>
                    <a:pt x="1147156" y="1080654"/>
                  </a:lnTo>
                  <a:lnTo>
                    <a:pt x="1372067" y="1334938"/>
                  </a:lnTo>
                  <a:lnTo>
                    <a:pt x="1366425" y="1442808"/>
                  </a:lnTo>
                  <a:lnTo>
                    <a:pt x="897774" y="964276"/>
                  </a:lnTo>
                  <a:lnTo>
                    <a:pt x="523702" y="507076"/>
                  </a:lnTo>
                  <a:lnTo>
                    <a:pt x="290945" y="216130"/>
                  </a:lnTo>
                  <a:lnTo>
                    <a:pt x="290945" y="423949"/>
                  </a:lnTo>
                  <a:lnTo>
                    <a:pt x="157942" y="266007"/>
                  </a:lnTo>
                  <a:lnTo>
                    <a:pt x="157942" y="141316"/>
                  </a:lnTo>
                  <a:lnTo>
                    <a:pt x="58189" y="1413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 401"/>
            <p:cNvSpPr/>
            <p:nvPr/>
          </p:nvSpPr>
          <p:spPr>
            <a:xfrm>
              <a:off x="1295977" y="3375529"/>
              <a:ext cx="149085" cy="177886"/>
            </a:xfrm>
            <a:custGeom>
              <a:avLst/>
              <a:gdLst>
                <a:gd name="connsiteX0" fmla="*/ 0 w 731520"/>
                <a:gd name="connsiteY0" fmla="*/ 0 h 872837"/>
                <a:gd name="connsiteX1" fmla="*/ 157942 w 731520"/>
                <a:gd name="connsiteY1" fmla="*/ 0 h 872837"/>
                <a:gd name="connsiteX2" fmla="*/ 299259 w 731520"/>
                <a:gd name="connsiteY2" fmla="*/ 274320 h 872837"/>
                <a:gd name="connsiteX3" fmla="*/ 482139 w 731520"/>
                <a:gd name="connsiteY3" fmla="*/ 565266 h 872837"/>
                <a:gd name="connsiteX4" fmla="*/ 731520 w 731520"/>
                <a:gd name="connsiteY4" fmla="*/ 872837 h 872837"/>
                <a:gd name="connsiteX5" fmla="*/ 648393 w 731520"/>
                <a:gd name="connsiteY5" fmla="*/ 864524 h 872837"/>
                <a:gd name="connsiteX6" fmla="*/ 415637 w 731520"/>
                <a:gd name="connsiteY6" fmla="*/ 606829 h 872837"/>
                <a:gd name="connsiteX7" fmla="*/ 191193 w 731520"/>
                <a:gd name="connsiteY7" fmla="*/ 257695 h 872837"/>
                <a:gd name="connsiteX8" fmla="*/ 149630 w 731520"/>
                <a:gd name="connsiteY8" fmla="*/ 274320 h 872837"/>
                <a:gd name="connsiteX9" fmla="*/ 58190 w 731520"/>
                <a:gd name="connsiteY9" fmla="*/ 124691 h 872837"/>
                <a:gd name="connsiteX10" fmla="*/ 0 w 731520"/>
                <a:gd name="connsiteY10" fmla="*/ 0 h 87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1520" h="872837">
                  <a:moveTo>
                    <a:pt x="0" y="0"/>
                  </a:moveTo>
                  <a:lnTo>
                    <a:pt x="157942" y="0"/>
                  </a:lnTo>
                  <a:lnTo>
                    <a:pt x="299259" y="274320"/>
                  </a:lnTo>
                  <a:lnTo>
                    <a:pt x="482139" y="565266"/>
                  </a:lnTo>
                  <a:lnTo>
                    <a:pt x="731520" y="872837"/>
                  </a:lnTo>
                  <a:lnTo>
                    <a:pt x="648393" y="864524"/>
                  </a:lnTo>
                  <a:lnTo>
                    <a:pt x="415637" y="606829"/>
                  </a:lnTo>
                  <a:lnTo>
                    <a:pt x="191193" y="257695"/>
                  </a:lnTo>
                  <a:lnTo>
                    <a:pt x="149630" y="274320"/>
                  </a:lnTo>
                  <a:lnTo>
                    <a:pt x="58190" y="1246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 402"/>
            <p:cNvSpPr/>
            <p:nvPr/>
          </p:nvSpPr>
          <p:spPr>
            <a:xfrm>
              <a:off x="1124867" y="3268798"/>
              <a:ext cx="1196851" cy="548904"/>
            </a:xfrm>
            <a:custGeom>
              <a:avLst/>
              <a:gdLst>
                <a:gd name="connsiteX0" fmla="*/ 4414058 w 6567055"/>
                <a:gd name="connsiteY0" fmla="*/ 0 h 2693324"/>
                <a:gd name="connsiteX1" fmla="*/ 4663440 w 6567055"/>
                <a:gd name="connsiteY1" fmla="*/ 0 h 2693324"/>
                <a:gd name="connsiteX2" fmla="*/ 4779818 w 6567055"/>
                <a:gd name="connsiteY2" fmla="*/ 307571 h 2693324"/>
                <a:gd name="connsiteX3" fmla="*/ 4779818 w 6567055"/>
                <a:gd name="connsiteY3" fmla="*/ 1612670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6442364 w 6567055"/>
                <a:gd name="connsiteY3" fmla="*/ 1637608 h 2693324"/>
                <a:gd name="connsiteX4" fmla="*/ 6567055 w 6567055"/>
                <a:gd name="connsiteY4" fmla="*/ 1712422 h 2693324"/>
                <a:gd name="connsiteX5" fmla="*/ 6567055 w 6567055"/>
                <a:gd name="connsiteY5" fmla="*/ 1778924 h 2693324"/>
                <a:gd name="connsiteX6" fmla="*/ 4763193 w 6567055"/>
                <a:gd name="connsiteY6" fmla="*/ 1778924 h 2693324"/>
                <a:gd name="connsiteX7" fmla="*/ 4779818 w 6567055"/>
                <a:gd name="connsiteY7" fmla="*/ 2094808 h 2693324"/>
                <a:gd name="connsiteX8" fmla="*/ 4846320 w 6567055"/>
                <a:gd name="connsiteY8" fmla="*/ 2593571 h 2693324"/>
                <a:gd name="connsiteX9" fmla="*/ 4879571 w 6567055"/>
                <a:gd name="connsiteY9" fmla="*/ 2693324 h 2693324"/>
                <a:gd name="connsiteX10" fmla="*/ 4164676 w 6567055"/>
                <a:gd name="connsiteY10" fmla="*/ 2693324 h 2693324"/>
                <a:gd name="connsiteX11" fmla="*/ 4256116 w 6567055"/>
                <a:gd name="connsiteY11" fmla="*/ 2327564 h 2693324"/>
                <a:gd name="connsiteX12" fmla="*/ 4297680 w 6567055"/>
                <a:gd name="connsiteY12" fmla="*/ 1803862 h 2693324"/>
                <a:gd name="connsiteX13" fmla="*/ 3940233 w 6567055"/>
                <a:gd name="connsiteY13" fmla="*/ 1795550 h 2693324"/>
                <a:gd name="connsiteX14" fmla="*/ 2651760 w 6567055"/>
                <a:gd name="connsiteY14" fmla="*/ 1886990 h 2693324"/>
                <a:gd name="connsiteX15" fmla="*/ 1604356 w 6567055"/>
                <a:gd name="connsiteY15" fmla="*/ 1986742 h 2693324"/>
                <a:gd name="connsiteX16" fmla="*/ 1014153 w 6567055"/>
                <a:gd name="connsiteY16" fmla="*/ 2086495 h 2693324"/>
                <a:gd name="connsiteX17" fmla="*/ 1014153 w 6567055"/>
                <a:gd name="connsiteY17" fmla="*/ 2402379 h 2693324"/>
                <a:gd name="connsiteX18" fmla="*/ 1072342 w 6567055"/>
                <a:gd name="connsiteY18" fmla="*/ 2693324 h 2693324"/>
                <a:gd name="connsiteX19" fmla="*/ 606829 w 6567055"/>
                <a:gd name="connsiteY19" fmla="*/ 2693324 h 2693324"/>
                <a:gd name="connsiteX20" fmla="*/ 665018 w 6567055"/>
                <a:gd name="connsiteY20" fmla="*/ 2385753 h 2693324"/>
                <a:gd name="connsiteX21" fmla="*/ 665018 w 6567055"/>
                <a:gd name="connsiteY21" fmla="*/ 2169622 h 2693324"/>
                <a:gd name="connsiteX22" fmla="*/ 274320 w 6567055"/>
                <a:gd name="connsiteY22" fmla="*/ 2219499 h 2693324"/>
                <a:gd name="connsiteX23" fmla="*/ 0 w 6567055"/>
                <a:gd name="connsiteY23" fmla="*/ 2269375 h 2693324"/>
                <a:gd name="connsiteX24" fmla="*/ 8313 w 6567055"/>
                <a:gd name="connsiteY24" fmla="*/ 2186248 h 2693324"/>
                <a:gd name="connsiteX25" fmla="*/ 324196 w 6567055"/>
                <a:gd name="connsiteY25" fmla="*/ 2069870 h 2693324"/>
                <a:gd name="connsiteX26" fmla="*/ 656705 w 6567055"/>
                <a:gd name="connsiteY26" fmla="*/ 1978430 h 2693324"/>
                <a:gd name="connsiteX27" fmla="*/ 897775 w 6567055"/>
                <a:gd name="connsiteY27" fmla="*/ 1920240 h 2693324"/>
                <a:gd name="connsiteX28" fmla="*/ 897775 w 6567055"/>
                <a:gd name="connsiteY28" fmla="*/ 931026 h 2693324"/>
                <a:gd name="connsiteX29" fmla="*/ 997527 w 6567055"/>
                <a:gd name="connsiteY29" fmla="*/ 1047404 h 2693324"/>
                <a:gd name="connsiteX30" fmla="*/ 997527 w 6567055"/>
                <a:gd name="connsiteY30" fmla="*/ 1920240 h 2693324"/>
                <a:gd name="connsiteX31" fmla="*/ 1704109 w 6567055"/>
                <a:gd name="connsiteY31" fmla="*/ 1828800 h 2693324"/>
                <a:gd name="connsiteX32" fmla="*/ 2651760 w 6567055"/>
                <a:gd name="connsiteY32" fmla="*/ 1712422 h 2693324"/>
                <a:gd name="connsiteX33" fmla="*/ 4056611 w 6567055"/>
                <a:gd name="connsiteY33" fmla="*/ 1620982 h 2693324"/>
                <a:gd name="connsiteX34" fmla="*/ 4663440 w 6567055"/>
                <a:gd name="connsiteY34" fmla="*/ 1604357 h 2693324"/>
                <a:gd name="connsiteX35" fmla="*/ 4663440 w 6567055"/>
                <a:gd name="connsiteY35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5860938 w 6567055"/>
                <a:gd name="connsiteY7" fmla="*/ 1779220 h 2693324"/>
                <a:gd name="connsiteX8" fmla="*/ 4763193 w 6567055"/>
                <a:gd name="connsiteY8" fmla="*/ 1778924 h 2693324"/>
                <a:gd name="connsiteX9" fmla="*/ 4779818 w 6567055"/>
                <a:gd name="connsiteY9" fmla="*/ 2094808 h 2693324"/>
                <a:gd name="connsiteX10" fmla="*/ 4846320 w 6567055"/>
                <a:gd name="connsiteY10" fmla="*/ 2593571 h 2693324"/>
                <a:gd name="connsiteX11" fmla="*/ 4879571 w 6567055"/>
                <a:gd name="connsiteY11" fmla="*/ 2693324 h 2693324"/>
                <a:gd name="connsiteX12" fmla="*/ 4164676 w 6567055"/>
                <a:gd name="connsiteY12" fmla="*/ 2693324 h 2693324"/>
                <a:gd name="connsiteX13" fmla="*/ 4256116 w 6567055"/>
                <a:gd name="connsiteY13" fmla="*/ 2327564 h 2693324"/>
                <a:gd name="connsiteX14" fmla="*/ 4297680 w 6567055"/>
                <a:gd name="connsiteY14" fmla="*/ 1803862 h 2693324"/>
                <a:gd name="connsiteX15" fmla="*/ 3940233 w 6567055"/>
                <a:gd name="connsiteY15" fmla="*/ 1795550 h 2693324"/>
                <a:gd name="connsiteX16" fmla="*/ 2651760 w 6567055"/>
                <a:gd name="connsiteY16" fmla="*/ 1886990 h 2693324"/>
                <a:gd name="connsiteX17" fmla="*/ 1604356 w 6567055"/>
                <a:gd name="connsiteY17" fmla="*/ 1986742 h 2693324"/>
                <a:gd name="connsiteX18" fmla="*/ 1014153 w 6567055"/>
                <a:gd name="connsiteY18" fmla="*/ 2086495 h 2693324"/>
                <a:gd name="connsiteX19" fmla="*/ 1014153 w 6567055"/>
                <a:gd name="connsiteY19" fmla="*/ 2402379 h 2693324"/>
                <a:gd name="connsiteX20" fmla="*/ 1072342 w 6567055"/>
                <a:gd name="connsiteY20" fmla="*/ 2693324 h 2693324"/>
                <a:gd name="connsiteX21" fmla="*/ 606829 w 6567055"/>
                <a:gd name="connsiteY21" fmla="*/ 2693324 h 2693324"/>
                <a:gd name="connsiteX22" fmla="*/ 665018 w 6567055"/>
                <a:gd name="connsiteY22" fmla="*/ 2385753 h 2693324"/>
                <a:gd name="connsiteX23" fmla="*/ 665018 w 6567055"/>
                <a:gd name="connsiteY23" fmla="*/ 2169622 h 2693324"/>
                <a:gd name="connsiteX24" fmla="*/ 274320 w 6567055"/>
                <a:gd name="connsiteY24" fmla="*/ 2219499 h 2693324"/>
                <a:gd name="connsiteX25" fmla="*/ 0 w 6567055"/>
                <a:gd name="connsiteY25" fmla="*/ 2269375 h 2693324"/>
                <a:gd name="connsiteX26" fmla="*/ 8313 w 6567055"/>
                <a:gd name="connsiteY26" fmla="*/ 2186248 h 2693324"/>
                <a:gd name="connsiteX27" fmla="*/ 324196 w 6567055"/>
                <a:gd name="connsiteY27" fmla="*/ 2069870 h 2693324"/>
                <a:gd name="connsiteX28" fmla="*/ 656705 w 6567055"/>
                <a:gd name="connsiteY28" fmla="*/ 1978430 h 2693324"/>
                <a:gd name="connsiteX29" fmla="*/ 897775 w 6567055"/>
                <a:gd name="connsiteY29" fmla="*/ 1920240 h 2693324"/>
                <a:gd name="connsiteX30" fmla="*/ 897775 w 6567055"/>
                <a:gd name="connsiteY30" fmla="*/ 931026 h 2693324"/>
                <a:gd name="connsiteX31" fmla="*/ 997527 w 6567055"/>
                <a:gd name="connsiteY31" fmla="*/ 1047404 h 2693324"/>
                <a:gd name="connsiteX32" fmla="*/ 997527 w 6567055"/>
                <a:gd name="connsiteY32" fmla="*/ 1920240 h 2693324"/>
                <a:gd name="connsiteX33" fmla="*/ 1704109 w 6567055"/>
                <a:gd name="connsiteY33" fmla="*/ 1828800 h 2693324"/>
                <a:gd name="connsiteX34" fmla="*/ 2651760 w 6567055"/>
                <a:gd name="connsiteY34" fmla="*/ 1712422 h 2693324"/>
                <a:gd name="connsiteX35" fmla="*/ 4056611 w 6567055"/>
                <a:gd name="connsiteY35" fmla="*/ 1620982 h 2693324"/>
                <a:gd name="connsiteX36" fmla="*/ 4663440 w 6567055"/>
                <a:gd name="connsiteY36" fmla="*/ 1604357 h 2693324"/>
                <a:gd name="connsiteX37" fmla="*/ 4663440 w 6567055"/>
                <a:gd name="connsiteY37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567055 w 6567055"/>
                <a:gd name="connsiteY4" fmla="*/ 1712422 h 2693324"/>
                <a:gd name="connsiteX5" fmla="*/ 6567055 w 6567055"/>
                <a:gd name="connsiteY5" fmla="*/ 1778924 h 2693324"/>
                <a:gd name="connsiteX6" fmla="*/ 5860938 w 6567055"/>
                <a:gd name="connsiteY6" fmla="*/ 1779220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567055 w 6567055"/>
                <a:gd name="connsiteY4" fmla="*/ 1778924 h 2693324"/>
                <a:gd name="connsiteX5" fmla="*/ 5860938 w 6567055"/>
                <a:gd name="connsiteY5" fmla="*/ 1779220 h 2693324"/>
                <a:gd name="connsiteX6" fmla="*/ 4763193 w 6567055"/>
                <a:gd name="connsiteY6" fmla="*/ 1778924 h 2693324"/>
                <a:gd name="connsiteX7" fmla="*/ 4779818 w 6567055"/>
                <a:gd name="connsiteY7" fmla="*/ 2094808 h 2693324"/>
                <a:gd name="connsiteX8" fmla="*/ 4846320 w 6567055"/>
                <a:gd name="connsiteY8" fmla="*/ 2593571 h 2693324"/>
                <a:gd name="connsiteX9" fmla="*/ 4879571 w 6567055"/>
                <a:gd name="connsiteY9" fmla="*/ 2693324 h 2693324"/>
                <a:gd name="connsiteX10" fmla="*/ 4164676 w 6567055"/>
                <a:gd name="connsiteY10" fmla="*/ 2693324 h 2693324"/>
                <a:gd name="connsiteX11" fmla="*/ 4256116 w 6567055"/>
                <a:gd name="connsiteY11" fmla="*/ 2327564 h 2693324"/>
                <a:gd name="connsiteX12" fmla="*/ 4297680 w 6567055"/>
                <a:gd name="connsiteY12" fmla="*/ 1803862 h 2693324"/>
                <a:gd name="connsiteX13" fmla="*/ 3940233 w 6567055"/>
                <a:gd name="connsiteY13" fmla="*/ 1795550 h 2693324"/>
                <a:gd name="connsiteX14" fmla="*/ 2651760 w 6567055"/>
                <a:gd name="connsiteY14" fmla="*/ 1886990 h 2693324"/>
                <a:gd name="connsiteX15" fmla="*/ 1604356 w 6567055"/>
                <a:gd name="connsiteY15" fmla="*/ 1986742 h 2693324"/>
                <a:gd name="connsiteX16" fmla="*/ 1014153 w 6567055"/>
                <a:gd name="connsiteY16" fmla="*/ 2086495 h 2693324"/>
                <a:gd name="connsiteX17" fmla="*/ 1014153 w 6567055"/>
                <a:gd name="connsiteY17" fmla="*/ 2402379 h 2693324"/>
                <a:gd name="connsiteX18" fmla="*/ 1072342 w 6567055"/>
                <a:gd name="connsiteY18" fmla="*/ 2693324 h 2693324"/>
                <a:gd name="connsiteX19" fmla="*/ 606829 w 6567055"/>
                <a:gd name="connsiteY19" fmla="*/ 2693324 h 2693324"/>
                <a:gd name="connsiteX20" fmla="*/ 665018 w 6567055"/>
                <a:gd name="connsiteY20" fmla="*/ 2385753 h 2693324"/>
                <a:gd name="connsiteX21" fmla="*/ 665018 w 6567055"/>
                <a:gd name="connsiteY21" fmla="*/ 2169622 h 2693324"/>
                <a:gd name="connsiteX22" fmla="*/ 274320 w 6567055"/>
                <a:gd name="connsiteY22" fmla="*/ 2219499 h 2693324"/>
                <a:gd name="connsiteX23" fmla="*/ 0 w 6567055"/>
                <a:gd name="connsiteY23" fmla="*/ 2269375 h 2693324"/>
                <a:gd name="connsiteX24" fmla="*/ 8313 w 6567055"/>
                <a:gd name="connsiteY24" fmla="*/ 2186248 h 2693324"/>
                <a:gd name="connsiteX25" fmla="*/ 324196 w 6567055"/>
                <a:gd name="connsiteY25" fmla="*/ 2069870 h 2693324"/>
                <a:gd name="connsiteX26" fmla="*/ 656705 w 6567055"/>
                <a:gd name="connsiteY26" fmla="*/ 1978430 h 2693324"/>
                <a:gd name="connsiteX27" fmla="*/ 897775 w 6567055"/>
                <a:gd name="connsiteY27" fmla="*/ 1920240 h 2693324"/>
                <a:gd name="connsiteX28" fmla="*/ 897775 w 6567055"/>
                <a:gd name="connsiteY28" fmla="*/ 931026 h 2693324"/>
                <a:gd name="connsiteX29" fmla="*/ 997527 w 6567055"/>
                <a:gd name="connsiteY29" fmla="*/ 1047404 h 2693324"/>
                <a:gd name="connsiteX30" fmla="*/ 997527 w 6567055"/>
                <a:gd name="connsiteY30" fmla="*/ 1920240 h 2693324"/>
                <a:gd name="connsiteX31" fmla="*/ 1704109 w 6567055"/>
                <a:gd name="connsiteY31" fmla="*/ 1828800 h 2693324"/>
                <a:gd name="connsiteX32" fmla="*/ 2651760 w 6567055"/>
                <a:gd name="connsiteY32" fmla="*/ 1712422 h 2693324"/>
                <a:gd name="connsiteX33" fmla="*/ 4056611 w 6567055"/>
                <a:gd name="connsiteY33" fmla="*/ 1620982 h 2693324"/>
                <a:gd name="connsiteX34" fmla="*/ 4663440 w 6567055"/>
                <a:gd name="connsiteY34" fmla="*/ 1604357 h 2693324"/>
                <a:gd name="connsiteX35" fmla="*/ 4663440 w 6567055"/>
                <a:gd name="connsiteY35" fmla="*/ 157942 h 2693324"/>
                <a:gd name="connsiteX0" fmla="*/ 4663440 w 5872621"/>
                <a:gd name="connsiteY0" fmla="*/ 0 h 2693324"/>
                <a:gd name="connsiteX1" fmla="*/ 4779818 w 5872621"/>
                <a:gd name="connsiteY1" fmla="*/ 307571 h 2693324"/>
                <a:gd name="connsiteX2" fmla="*/ 4779818 w 5872621"/>
                <a:gd name="connsiteY2" fmla="*/ 1612670 h 2693324"/>
                <a:gd name="connsiteX3" fmla="*/ 5872621 w 5872621"/>
                <a:gd name="connsiteY3" fmla="*/ 1615644 h 2693324"/>
                <a:gd name="connsiteX4" fmla="*/ 5860938 w 5872621"/>
                <a:gd name="connsiteY4" fmla="*/ 1779220 h 2693324"/>
                <a:gd name="connsiteX5" fmla="*/ 4763193 w 5872621"/>
                <a:gd name="connsiteY5" fmla="*/ 1778924 h 2693324"/>
                <a:gd name="connsiteX6" fmla="*/ 4779818 w 5872621"/>
                <a:gd name="connsiteY6" fmla="*/ 2094808 h 2693324"/>
                <a:gd name="connsiteX7" fmla="*/ 4846320 w 5872621"/>
                <a:gd name="connsiteY7" fmla="*/ 2593571 h 2693324"/>
                <a:gd name="connsiteX8" fmla="*/ 4879571 w 5872621"/>
                <a:gd name="connsiteY8" fmla="*/ 2693324 h 2693324"/>
                <a:gd name="connsiteX9" fmla="*/ 4164676 w 5872621"/>
                <a:gd name="connsiteY9" fmla="*/ 2693324 h 2693324"/>
                <a:gd name="connsiteX10" fmla="*/ 4256116 w 5872621"/>
                <a:gd name="connsiteY10" fmla="*/ 2327564 h 2693324"/>
                <a:gd name="connsiteX11" fmla="*/ 4297680 w 5872621"/>
                <a:gd name="connsiteY11" fmla="*/ 1803862 h 2693324"/>
                <a:gd name="connsiteX12" fmla="*/ 3940233 w 5872621"/>
                <a:gd name="connsiteY12" fmla="*/ 1795550 h 2693324"/>
                <a:gd name="connsiteX13" fmla="*/ 2651760 w 5872621"/>
                <a:gd name="connsiteY13" fmla="*/ 1886990 h 2693324"/>
                <a:gd name="connsiteX14" fmla="*/ 1604356 w 5872621"/>
                <a:gd name="connsiteY14" fmla="*/ 1986742 h 2693324"/>
                <a:gd name="connsiteX15" fmla="*/ 1014153 w 5872621"/>
                <a:gd name="connsiteY15" fmla="*/ 2086495 h 2693324"/>
                <a:gd name="connsiteX16" fmla="*/ 1014153 w 5872621"/>
                <a:gd name="connsiteY16" fmla="*/ 2402379 h 2693324"/>
                <a:gd name="connsiteX17" fmla="*/ 1072342 w 5872621"/>
                <a:gd name="connsiteY17" fmla="*/ 2693324 h 2693324"/>
                <a:gd name="connsiteX18" fmla="*/ 606829 w 5872621"/>
                <a:gd name="connsiteY18" fmla="*/ 2693324 h 2693324"/>
                <a:gd name="connsiteX19" fmla="*/ 665018 w 5872621"/>
                <a:gd name="connsiteY19" fmla="*/ 2385753 h 2693324"/>
                <a:gd name="connsiteX20" fmla="*/ 665018 w 5872621"/>
                <a:gd name="connsiteY20" fmla="*/ 2169622 h 2693324"/>
                <a:gd name="connsiteX21" fmla="*/ 274320 w 5872621"/>
                <a:gd name="connsiteY21" fmla="*/ 2219499 h 2693324"/>
                <a:gd name="connsiteX22" fmla="*/ 0 w 5872621"/>
                <a:gd name="connsiteY22" fmla="*/ 2269375 h 2693324"/>
                <a:gd name="connsiteX23" fmla="*/ 8313 w 5872621"/>
                <a:gd name="connsiteY23" fmla="*/ 2186248 h 2693324"/>
                <a:gd name="connsiteX24" fmla="*/ 324196 w 5872621"/>
                <a:gd name="connsiteY24" fmla="*/ 2069870 h 2693324"/>
                <a:gd name="connsiteX25" fmla="*/ 656705 w 5872621"/>
                <a:gd name="connsiteY25" fmla="*/ 1978430 h 2693324"/>
                <a:gd name="connsiteX26" fmla="*/ 897775 w 5872621"/>
                <a:gd name="connsiteY26" fmla="*/ 1920240 h 2693324"/>
                <a:gd name="connsiteX27" fmla="*/ 897775 w 5872621"/>
                <a:gd name="connsiteY27" fmla="*/ 931026 h 2693324"/>
                <a:gd name="connsiteX28" fmla="*/ 997527 w 5872621"/>
                <a:gd name="connsiteY28" fmla="*/ 1047404 h 2693324"/>
                <a:gd name="connsiteX29" fmla="*/ 997527 w 5872621"/>
                <a:gd name="connsiteY29" fmla="*/ 1920240 h 2693324"/>
                <a:gd name="connsiteX30" fmla="*/ 1704109 w 5872621"/>
                <a:gd name="connsiteY30" fmla="*/ 1828800 h 2693324"/>
                <a:gd name="connsiteX31" fmla="*/ 2651760 w 5872621"/>
                <a:gd name="connsiteY31" fmla="*/ 1712422 h 2693324"/>
                <a:gd name="connsiteX32" fmla="*/ 4056611 w 5872621"/>
                <a:gd name="connsiteY32" fmla="*/ 1620982 h 2693324"/>
                <a:gd name="connsiteX33" fmla="*/ 4663440 w 5872621"/>
                <a:gd name="connsiteY33" fmla="*/ 1604357 h 2693324"/>
                <a:gd name="connsiteX34" fmla="*/ 4663440 w 5872621"/>
                <a:gd name="connsiteY34" fmla="*/ 157942 h 269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872621" h="2693324">
                  <a:moveTo>
                    <a:pt x="4663440" y="0"/>
                  </a:moveTo>
                  <a:lnTo>
                    <a:pt x="4779818" y="307571"/>
                  </a:lnTo>
                  <a:lnTo>
                    <a:pt x="4779818" y="1612670"/>
                  </a:lnTo>
                  <a:lnTo>
                    <a:pt x="5872621" y="1615644"/>
                  </a:lnTo>
                  <a:lnTo>
                    <a:pt x="5860938" y="1779220"/>
                  </a:lnTo>
                  <a:lnTo>
                    <a:pt x="4763193" y="1778924"/>
                  </a:lnTo>
                  <a:lnTo>
                    <a:pt x="4779818" y="2094808"/>
                  </a:lnTo>
                  <a:lnTo>
                    <a:pt x="4846320" y="2593571"/>
                  </a:lnTo>
                  <a:lnTo>
                    <a:pt x="4879571" y="2693324"/>
                  </a:lnTo>
                  <a:lnTo>
                    <a:pt x="4164676" y="2693324"/>
                  </a:lnTo>
                  <a:lnTo>
                    <a:pt x="4256116" y="2327564"/>
                  </a:lnTo>
                  <a:lnTo>
                    <a:pt x="4297680" y="1803862"/>
                  </a:lnTo>
                  <a:lnTo>
                    <a:pt x="3940233" y="1795550"/>
                  </a:lnTo>
                  <a:lnTo>
                    <a:pt x="2651760" y="1886990"/>
                  </a:lnTo>
                  <a:lnTo>
                    <a:pt x="1604356" y="1986742"/>
                  </a:lnTo>
                  <a:lnTo>
                    <a:pt x="1014153" y="2086495"/>
                  </a:lnTo>
                  <a:lnTo>
                    <a:pt x="1014153" y="2402379"/>
                  </a:lnTo>
                  <a:lnTo>
                    <a:pt x="1072342" y="2693324"/>
                  </a:lnTo>
                  <a:lnTo>
                    <a:pt x="606829" y="2693324"/>
                  </a:lnTo>
                  <a:lnTo>
                    <a:pt x="665018" y="2385753"/>
                  </a:lnTo>
                  <a:lnTo>
                    <a:pt x="665018" y="2169622"/>
                  </a:lnTo>
                  <a:lnTo>
                    <a:pt x="274320" y="2219499"/>
                  </a:lnTo>
                  <a:lnTo>
                    <a:pt x="0" y="2269375"/>
                  </a:lnTo>
                  <a:lnTo>
                    <a:pt x="8313" y="2186248"/>
                  </a:lnTo>
                  <a:lnTo>
                    <a:pt x="324196" y="2069870"/>
                  </a:lnTo>
                  <a:lnTo>
                    <a:pt x="656705" y="1978430"/>
                  </a:lnTo>
                  <a:lnTo>
                    <a:pt x="897775" y="1920240"/>
                  </a:lnTo>
                  <a:lnTo>
                    <a:pt x="897775" y="931026"/>
                  </a:lnTo>
                  <a:lnTo>
                    <a:pt x="997527" y="1047404"/>
                  </a:lnTo>
                  <a:lnTo>
                    <a:pt x="997527" y="1920240"/>
                  </a:lnTo>
                  <a:lnTo>
                    <a:pt x="1704109" y="1828800"/>
                  </a:lnTo>
                  <a:lnTo>
                    <a:pt x="2651760" y="1712422"/>
                  </a:lnTo>
                  <a:lnTo>
                    <a:pt x="4056611" y="1620982"/>
                  </a:lnTo>
                  <a:lnTo>
                    <a:pt x="4663440" y="1604357"/>
                  </a:lnTo>
                  <a:lnTo>
                    <a:pt x="4663440" y="157942"/>
                  </a:lnTo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 403"/>
            <p:cNvSpPr/>
            <p:nvPr/>
          </p:nvSpPr>
          <p:spPr>
            <a:xfrm>
              <a:off x="1196022" y="3529697"/>
              <a:ext cx="74543" cy="133838"/>
            </a:xfrm>
            <a:custGeom>
              <a:avLst/>
              <a:gdLst>
                <a:gd name="connsiteX0" fmla="*/ 0 w 365760"/>
                <a:gd name="connsiteY0" fmla="*/ 656706 h 656706"/>
                <a:gd name="connsiteX1" fmla="*/ 182880 w 365760"/>
                <a:gd name="connsiteY1" fmla="*/ 365760 h 656706"/>
                <a:gd name="connsiteX2" fmla="*/ 365760 w 365760"/>
                <a:gd name="connsiteY2" fmla="*/ 0 h 656706"/>
                <a:gd name="connsiteX3" fmla="*/ 357447 w 365760"/>
                <a:gd name="connsiteY3" fmla="*/ 207819 h 656706"/>
                <a:gd name="connsiteX4" fmla="*/ 166254 w 365760"/>
                <a:gd name="connsiteY4" fmla="*/ 532015 h 656706"/>
                <a:gd name="connsiteX5" fmla="*/ 0 w 365760"/>
                <a:gd name="connsiteY5" fmla="*/ 656706 h 656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760" h="656706">
                  <a:moveTo>
                    <a:pt x="0" y="656706"/>
                  </a:moveTo>
                  <a:lnTo>
                    <a:pt x="182880" y="365760"/>
                  </a:lnTo>
                  <a:lnTo>
                    <a:pt x="365760" y="0"/>
                  </a:lnTo>
                  <a:lnTo>
                    <a:pt x="357447" y="207819"/>
                  </a:lnTo>
                  <a:lnTo>
                    <a:pt x="166254" y="532015"/>
                  </a:lnTo>
                  <a:lnTo>
                    <a:pt x="0" y="656706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 404"/>
            <p:cNvSpPr/>
            <p:nvPr/>
          </p:nvSpPr>
          <p:spPr>
            <a:xfrm>
              <a:off x="1736456" y="3285739"/>
              <a:ext cx="277840" cy="308335"/>
            </a:xfrm>
            <a:custGeom>
              <a:avLst/>
              <a:gdLst>
                <a:gd name="connsiteX0" fmla="*/ 0 w 1363287"/>
                <a:gd name="connsiteY0" fmla="*/ 1512916 h 1512916"/>
                <a:gd name="connsiteX1" fmla="*/ 490450 w 1363287"/>
                <a:gd name="connsiteY1" fmla="*/ 1039091 h 1512916"/>
                <a:gd name="connsiteX2" fmla="*/ 1064029 w 1363287"/>
                <a:gd name="connsiteY2" fmla="*/ 415636 h 1512916"/>
                <a:gd name="connsiteX3" fmla="*/ 1363287 w 1363287"/>
                <a:gd name="connsiteY3" fmla="*/ 0 h 1512916"/>
                <a:gd name="connsiteX4" fmla="*/ 1330036 w 1363287"/>
                <a:gd name="connsiteY4" fmla="*/ 249382 h 1512916"/>
                <a:gd name="connsiteX5" fmla="*/ 889461 w 1363287"/>
                <a:gd name="connsiteY5" fmla="*/ 756458 h 1512916"/>
                <a:gd name="connsiteX6" fmla="*/ 457200 w 1363287"/>
                <a:gd name="connsiteY6" fmla="*/ 1180407 h 1512916"/>
                <a:gd name="connsiteX7" fmla="*/ 74814 w 1363287"/>
                <a:gd name="connsiteY7" fmla="*/ 1512916 h 1512916"/>
                <a:gd name="connsiteX8" fmla="*/ 0 w 1363287"/>
                <a:gd name="connsiteY8" fmla="*/ 1512916 h 151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3287" h="1512916">
                  <a:moveTo>
                    <a:pt x="0" y="1512916"/>
                  </a:moveTo>
                  <a:lnTo>
                    <a:pt x="490450" y="1039091"/>
                  </a:lnTo>
                  <a:lnTo>
                    <a:pt x="1064029" y="415636"/>
                  </a:lnTo>
                  <a:lnTo>
                    <a:pt x="1363287" y="0"/>
                  </a:lnTo>
                  <a:lnTo>
                    <a:pt x="1330036" y="249382"/>
                  </a:lnTo>
                  <a:lnTo>
                    <a:pt x="889461" y="756458"/>
                  </a:lnTo>
                  <a:lnTo>
                    <a:pt x="457200" y="1180407"/>
                  </a:lnTo>
                  <a:lnTo>
                    <a:pt x="74814" y="1512916"/>
                  </a:lnTo>
                  <a:lnTo>
                    <a:pt x="0" y="1512916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59623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txStyles>
    <p:titleStyle>
      <a:lvl1pPr algn="ctr" defTabSz="914235" rtl="0" eaLnBrk="1" latinLnBrk="1" hangingPunct="1">
        <a:spcBef>
          <a:spcPct val="0"/>
        </a:spcBef>
        <a:buNone/>
        <a:defRPr kumimoji="1" lang="ko-KR" altLang="en-US" sz="1600" b="1" kern="1200" baseline="0">
          <a:solidFill>
            <a:schemeClr val="tx1"/>
          </a:solidFill>
          <a:latin typeface="Arial" pitchFamily="34" charset="0"/>
          <a:ea typeface="HY헤드라인M" pitchFamily="18" charset="-127"/>
          <a:cs typeface="Arial" pitchFamily="34" charset="0"/>
        </a:defRPr>
      </a:lvl1pPr>
    </p:titleStyle>
    <p:bodyStyle>
      <a:lvl1pPr marL="342838" indent="-342838" algn="l" defTabSz="914235" rtl="0" eaLnBrk="1" latinLnBrk="1" hangingPunct="1">
        <a:spcBef>
          <a:spcPct val="20000"/>
        </a:spcBef>
        <a:buSzPct val="70000"/>
        <a:buFont typeface="Wingdings" pitchFamily="2" charset="2"/>
        <a:buChar char=""/>
        <a:defRPr kumimoji="1" lang="ko-KR" altLang="en-US" sz="12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742816" indent="-285699" algn="l" defTabSz="914235" rtl="0" eaLnBrk="1" latinLnBrk="1" hangingPunct="1">
        <a:spcBef>
          <a:spcPct val="20000"/>
        </a:spcBef>
        <a:buFont typeface="Arial" pitchFamily="34" charset="0"/>
        <a:buChar char="–"/>
        <a:defRPr kumimoji="1" lang="ko-KR" altLang="en-US" sz="11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2pPr>
      <a:lvl3pPr marL="1142794" indent="-228559" algn="l" defTabSz="914235" rtl="0" eaLnBrk="1" latinLnBrk="1" hangingPunct="1">
        <a:spcBef>
          <a:spcPct val="20000"/>
        </a:spcBef>
        <a:buFont typeface="Arial" pitchFamily="34" charset="0"/>
        <a:buChar char="•"/>
        <a:defRPr kumimoji="1" lang="ko-KR" altLang="en-US" sz="10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3pPr>
      <a:lvl4pPr marL="1599911" indent="-228559" algn="l" defTabSz="914235" rtl="0" eaLnBrk="1" latinLnBrk="1" hangingPunct="1">
        <a:spcBef>
          <a:spcPct val="20000"/>
        </a:spcBef>
        <a:buFont typeface="Arial" pitchFamily="34" charset="0"/>
        <a:buChar char="–"/>
        <a:defRPr kumimoji="1" lang="ko-KR" altLang="en-US" sz="9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4pPr>
      <a:lvl5pPr marL="2057029" indent="-228559" algn="l" defTabSz="914235" rtl="0" eaLnBrk="1" latinLnBrk="1" hangingPunct="1">
        <a:spcBef>
          <a:spcPct val="20000"/>
        </a:spcBef>
        <a:buFont typeface="Arial" pitchFamily="34" charset="0"/>
        <a:buChar char="»"/>
        <a:defRPr kumimoji="1" lang="ko-KR" altLang="en-US" sz="1400" kern="1200">
          <a:solidFill>
            <a:schemeClr val="tx1"/>
          </a:solidFill>
          <a:latin typeface="+mn-lt"/>
          <a:ea typeface="돋움" pitchFamily="50" charset="-127"/>
          <a:cs typeface="+mn-cs"/>
        </a:defRPr>
      </a:lvl5pPr>
      <a:lvl6pPr marL="2514147" indent="-228559" algn="l" defTabSz="91423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64" indent="-228559" algn="l" defTabSz="91423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82" indent="-228559" algn="l" defTabSz="91423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99" indent="-228559" algn="l" defTabSz="91423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23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7" algn="l" defTabSz="91423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5" algn="l" defTabSz="91423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3" algn="l" defTabSz="91423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0" algn="l" defTabSz="91423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88" algn="l" defTabSz="91423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05" algn="l" defTabSz="91423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23" algn="l" defTabSz="91423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40" algn="l" defTabSz="91423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eg"/><Relationship Id="rId7" Type="http://schemas.openxmlformats.org/officeDocument/2006/relationships/image" Target="../media/image31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jpeg"/><Relationship Id="rId4" Type="http://schemas.openxmlformats.org/officeDocument/2006/relationships/image" Target="../media/image28.png"/><Relationship Id="rId9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tags" Target="../tags/tag172.xml"/><Relationship Id="rId39" Type="http://schemas.openxmlformats.org/officeDocument/2006/relationships/tags" Target="../tags/tag185.xml"/><Relationship Id="rId21" Type="http://schemas.openxmlformats.org/officeDocument/2006/relationships/tags" Target="../tags/tag167.xml"/><Relationship Id="rId34" Type="http://schemas.openxmlformats.org/officeDocument/2006/relationships/tags" Target="../tags/tag180.xml"/><Relationship Id="rId42" Type="http://schemas.openxmlformats.org/officeDocument/2006/relationships/tags" Target="../tags/tag188.xml"/><Relationship Id="rId47" Type="http://schemas.openxmlformats.org/officeDocument/2006/relationships/tags" Target="../tags/tag193.xml"/><Relationship Id="rId50" Type="http://schemas.openxmlformats.org/officeDocument/2006/relationships/tags" Target="../tags/tag196.xml"/><Relationship Id="rId55" Type="http://schemas.openxmlformats.org/officeDocument/2006/relationships/tags" Target="../tags/tag201.xml"/><Relationship Id="rId63" Type="http://schemas.openxmlformats.org/officeDocument/2006/relationships/oleObject" Target="../embeddings/oleObject7.bin"/><Relationship Id="rId68" Type="http://schemas.openxmlformats.org/officeDocument/2006/relationships/image" Target="../media/image32.png"/><Relationship Id="rId7" Type="http://schemas.openxmlformats.org/officeDocument/2006/relationships/tags" Target="../tags/tag153.xml"/><Relationship Id="rId71" Type="http://schemas.openxmlformats.org/officeDocument/2006/relationships/image" Target="../media/image40.png"/><Relationship Id="rId2" Type="http://schemas.openxmlformats.org/officeDocument/2006/relationships/tags" Target="../tags/tag148.xml"/><Relationship Id="rId16" Type="http://schemas.openxmlformats.org/officeDocument/2006/relationships/tags" Target="../tags/tag162.xml"/><Relationship Id="rId29" Type="http://schemas.openxmlformats.org/officeDocument/2006/relationships/tags" Target="../tags/tag175.xml"/><Relationship Id="rId11" Type="http://schemas.openxmlformats.org/officeDocument/2006/relationships/tags" Target="../tags/tag157.xml"/><Relationship Id="rId24" Type="http://schemas.openxmlformats.org/officeDocument/2006/relationships/tags" Target="../tags/tag170.xml"/><Relationship Id="rId32" Type="http://schemas.openxmlformats.org/officeDocument/2006/relationships/tags" Target="../tags/tag178.xml"/><Relationship Id="rId37" Type="http://schemas.openxmlformats.org/officeDocument/2006/relationships/tags" Target="../tags/tag183.xml"/><Relationship Id="rId40" Type="http://schemas.openxmlformats.org/officeDocument/2006/relationships/tags" Target="../tags/tag186.xml"/><Relationship Id="rId45" Type="http://schemas.openxmlformats.org/officeDocument/2006/relationships/tags" Target="../tags/tag191.xml"/><Relationship Id="rId53" Type="http://schemas.openxmlformats.org/officeDocument/2006/relationships/tags" Target="../tags/tag199.xml"/><Relationship Id="rId58" Type="http://schemas.openxmlformats.org/officeDocument/2006/relationships/tags" Target="../tags/tag204.xml"/><Relationship Id="rId66" Type="http://schemas.openxmlformats.org/officeDocument/2006/relationships/image" Target="../media/image37.png"/><Relationship Id="rId74" Type="http://schemas.openxmlformats.org/officeDocument/2006/relationships/image" Target="../media/image43.png"/><Relationship Id="rId5" Type="http://schemas.openxmlformats.org/officeDocument/2006/relationships/tags" Target="../tags/tag151.xml"/><Relationship Id="rId15" Type="http://schemas.openxmlformats.org/officeDocument/2006/relationships/tags" Target="../tags/tag161.xml"/><Relationship Id="rId23" Type="http://schemas.openxmlformats.org/officeDocument/2006/relationships/tags" Target="../tags/tag169.xml"/><Relationship Id="rId28" Type="http://schemas.openxmlformats.org/officeDocument/2006/relationships/tags" Target="../tags/tag174.xml"/><Relationship Id="rId36" Type="http://schemas.openxmlformats.org/officeDocument/2006/relationships/tags" Target="../tags/tag182.xml"/><Relationship Id="rId49" Type="http://schemas.openxmlformats.org/officeDocument/2006/relationships/tags" Target="../tags/tag195.xml"/><Relationship Id="rId57" Type="http://schemas.openxmlformats.org/officeDocument/2006/relationships/tags" Target="../tags/tag203.xml"/><Relationship Id="rId61" Type="http://schemas.openxmlformats.org/officeDocument/2006/relationships/slideLayout" Target="../slideLayouts/slideLayout3.xml"/><Relationship Id="rId10" Type="http://schemas.openxmlformats.org/officeDocument/2006/relationships/tags" Target="../tags/tag156.xml"/><Relationship Id="rId19" Type="http://schemas.openxmlformats.org/officeDocument/2006/relationships/tags" Target="../tags/tag165.xml"/><Relationship Id="rId31" Type="http://schemas.openxmlformats.org/officeDocument/2006/relationships/tags" Target="../tags/tag177.xml"/><Relationship Id="rId44" Type="http://schemas.openxmlformats.org/officeDocument/2006/relationships/tags" Target="../tags/tag190.xml"/><Relationship Id="rId52" Type="http://schemas.openxmlformats.org/officeDocument/2006/relationships/tags" Target="../tags/tag198.xml"/><Relationship Id="rId60" Type="http://schemas.openxmlformats.org/officeDocument/2006/relationships/tags" Target="../tags/tag206.xml"/><Relationship Id="rId65" Type="http://schemas.openxmlformats.org/officeDocument/2006/relationships/image" Target="../media/image36.jpeg"/><Relationship Id="rId73" Type="http://schemas.openxmlformats.org/officeDocument/2006/relationships/image" Target="../media/image42.png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Relationship Id="rId22" Type="http://schemas.openxmlformats.org/officeDocument/2006/relationships/tags" Target="../tags/tag168.xml"/><Relationship Id="rId27" Type="http://schemas.openxmlformats.org/officeDocument/2006/relationships/tags" Target="../tags/tag173.xml"/><Relationship Id="rId30" Type="http://schemas.openxmlformats.org/officeDocument/2006/relationships/tags" Target="../tags/tag176.xml"/><Relationship Id="rId35" Type="http://schemas.openxmlformats.org/officeDocument/2006/relationships/tags" Target="../tags/tag181.xml"/><Relationship Id="rId43" Type="http://schemas.openxmlformats.org/officeDocument/2006/relationships/tags" Target="../tags/tag189.xml"/><Relationship Id="rId48" Type="http://schemas.openxmlformats.org/officeDocument/2006/relationships/tags" Target="../tags/tag194.xml"/><Relationship Id="rId56" Type="http://schemas.openxmlformats.org/officeDocument/2006/relationships/tags" Target="../tags/tag202.xml"/><Relationship Id="rId64" Type="http://schemas.openxmlformats.org/officeDocument/2006/relationships/image" Target="../media/image6.emf"/><Relationship Id="rId69" Type="http://schemas.openxmlformats.org/officeDocument/2006/relationships/image" Target="../media/image38.png"/><Relationship Id="rId8" Type="http://schemas.openxmlformats.org/officeDocument/2006/relationships/tags" Target="../tags/tag154.xml"/><Relationship Id="rId51" Type="http://schemas.openxmlformats.org/officeDocument/2006/relationships/tags" Target="../tags/tag197.xml"/><Relationship Id="rId72" Type="http://schemas.openxmlformats.org/officeDocument/2006/relationships/image" Target="../media/image41.png"/><Relationship Id="rId3" Type="http://schemas.openxmlformats.org/officeDocument/2006/relationships/tags" Target="../tags/tag149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tags" Target="../tags/tag171.xml"/><Relationship Id="rId33" Type="http://schemas.openxmlformats.org/officeDocument/2006/relationships/tags" Target="../tags/tag179.xml"/><Relationship Id="rId38" Type="http://schemas.openxmlformats.org/officeDocument/2006/relationships/tags" Target="../tags/tag184.xml"/><Relationship Id="rId46" Type="http://schemas.openxmlformats.org/officeDocument/2006/relationships/tags" Target="../tags/tag192.xml"/><Relationship Id="rId59" Type="http://schemas.openxmlformats.org/officeDocument/2006/relationships/tags" Target="../tags/tag205.xml"/><Relationship Id="rId67" Type="http://schemas.microsoft.com/office/2007/relationships/hdphoto" Target="../media/hdphoto3.wdp"/><Relationship Id="rId20" Type="http://schemas.openxmlformats.org/officeDocument/2006/relationships/tags" Target="../tags/tag166.xml"/><Relationship Id="rId41" Type="http://schemas.openxmlformats.org/officeDocument/2006/relationships/tags" Target="../tags/tag187.xml"/><Relationship Id="rId54" Type="http://schemas.openxmlformats.org/officeDocument/2006/relationships/tags" Target="../tags/tag200.xml"/><Relationship Id="rId62" Type="http://schemas.openxmlformats.org/officeDocument/2006/relationships/notesSlide" Target="../notesSlides/notesSlide9.xml"/><Relationship Id="rId70" Type="http://schemas.openxmlformats.org/officeDocument/2006/relationships/image" Target="../media/image39.gif"/><Relationship Id="rId75" Type="http://schemas.openxmlformats.org/officeDocument/2006/relationships/image" Target="../media/image44.png"/><Relationship Id="rId1" Type="http://schemas.openxmlformats.org/officeDocument/2006/relationships/vmlDrawing" Target="../drawings/vmlDrawing4.vml"/><Relationship Id="rId6" Type="http://schemas.openxmlformats.org/officeDocument/2006/relationships/tags" Target="../tags/tag15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8.jpeg"/><Relationship Id="rId5" Type="http://schemas.openxmlformats.org/officeDocument/2006/relationships/image" Target="../media/image47.png"/><Relationship Id="rId4" Type="http://schemas.openxmlformats.org/officeDocument/2006/relationships/image" Target="../media/image46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2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1.png"/><Relationship Id="rId11" Type="http://schemas.openxmlformats.org/officeDocument/2006/relationships/image" Target="../media/image3.png"/><Relationship Id="rId5" Type="http://schemas.openxmlformats.org/officeDocument/2006/relationships/image" Target="../media/image50.jpeg"/><Relationship Id="rId10" Type="http://schemas.openxmlformats.org/officeDocument/2006/relationships/image" Target="../media/image55.png"/><Relationship Id="rId4" Type="http://schemas.microsoft.com/office/2007/relationships/hdphoto" Target="../media/hdphoto4.wdp"/><Relationship Id="rId9" Type="http://schemas.openxmlformats.org/officeDocument/2006/relationships/image" Target="../media/image5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microsoft.com/office/2007/relationships/hdphoto" Target="../media/hdphoto4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8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image" Target="../media/image7.jpeg"/><Relationship Id="rId38" Type="http://schemas.openxmlformats.org/officeDocument/2006/relationships/image" Target="../media/image12.jpe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slideLayout" Target="../slideLayouts/slideLayout5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image" Target="../media/image6.emf"/><Relationship Id="rId37" Type="http://schemas.openxmlformats.org/officeDocument/2006/relationships/image" Target="../media/image11.jpe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10.jpe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notesSlide" Target="../notesSlides/notesSlide3.xml"/><Relationship Id="rId35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9" Type="http://schemas.openxmlformats.org/officeDocument/2006/relationships/tags" Target="../tags/tag66.xml"/><Relationship Id="rId21" Type="http://schemas.openxmlformats.org/officeDocument/2006/relationships/tags" Target="../tags/tag48.xml"/><Relationship Id="rId34" Type="http://schemas.openxmlformats.org/officeDocument/2006/relationships/tags" Target="../tags/tag61.xml"/><Relationship Id="rId42" Type="http://schemas.openxmlformats.org/officeDocument/2006/relationships/tags" Target="../tags/tag69.xml"/><Relationship Id="rId47" Type="http://schemas.openxmlformats.org/officeDocument/2006/relationships/tags" Target="../tags/tag74.xml"/><Relationship Id="rId50" Type="http://schemas.openxmlformats.org/officeDocument/2006/relationships/tags" Target="../tags/tag77.xml"/><Relationship Id="rId55" Type="http://schemas.openxmlformats.org/officeDocument/2006/relationships/slideLayout" Target="../slideLayouts/slideLayout5.xml"/><Relationship Id="rId63" Type="http://schemas.openxmlformats.org/officeDocument/2006/relationships/image" Target="../media/image17.png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9" Type="http://schemas.openxmlformats.org/officeDocument/2006/relationships/tags" Target="../tags/tag56.xml"/><Relationship Id="rId1" Type="http://schemas.openxmlformats.org/officeDocument/2006/relationships/vmlDrawing" Target="../drawings/vmlDrawing2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tags" Target="../tags/tag59.xml"/><Relationship Id="rId37" Type="http://schemas.openxmlformats.org/officeDocument/2006/relationships/tags" Target="../tags/tag64.xml"/><Relationship Id="rId40" Type="http://schemas.openxmlformats.org/officeDocument/2006/relationships/tags" Target="../tags/tag67.xml"/><Relationship Id="rId45" Type="http://schemas.openxmlformats.org/officeDocument/2006/relationships/tags" Target="../tags/tag72.xml"/><Relationship Id="rId53" Type="http://schemas.openxmlformats.org/officeDocument/2006/relationships/tags" Target="../tags/tag80.xml"/><Relationship Id="rId58" Type="http://schemas.openxmlformats.org/officeDocument/2006/relationships/image" Target="../media/image6.emf"/><Relationship Id="rId66" Type="http://schemas.openxmlformats.org/officeDocument/2006/relationships/oleObject" Target="../embeddings/oleObject3.bin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tags" Target="../tags/tag63.xml"/><Relationship Id="rId49" Type="http://schemas.openxmlformats.org/officeDocument/2006/relationships/tags" Target="../tags/tag76.xml"/><Relationship Id="rId57" Type="http://schemas.openxmlformats.org/officeDocument/2006/relationships/oleObject" Target="../embeddings/oleObject2.bin"/><Relationship Id="rId61" Type="http://schemas.openxmlformats.org/officeDocument/2006/relationships/image" Target="../media/image15.jpeg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31" Type="http://schemas.openxmlformats.org/officeDocument/2006/relationships/tags" Target="../tags/tag58.xml"/><Relationship Id="rId44" Type="http://schemas.openxmlformats.org/officeDocument/2006/relationships/tags" Target="../tags/tag71.xml"/><Relationship Id="rId52" Type="http://schemas.openxmlformats.org/officeDocument/2006/relationships/tags" Target="../tags/tag79.xml"/><Relationship Id="rId60" Type="http://schemas.microsoft.com/office/2007/relationships/hdphoto" Target="../media/hdphoto1.wdp"/><Relationship Id="rId65" Type="http://schemas.openxmlformats.org/officeDocument/2006/relationships/image" Target="../media/image19.jpeg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tags" Target="../tags/tag62.xml"/><Relationship Id="rId43" Type="http://schemas.openxmlformats.org/officeDocument/2006/relationships/tags" Target="../tags/tag70.xml"/><Relationship Id="rId48" Type="http://schemas.openxmlformats.org/officeDocument/2006/relationships/tags" Target="../tags/tag75.xml"/><Relationship Id="rId56" Type="http://schemas.openxmlformats.org/officeDocument/2006/relationships/notesSlide" Target="../notesSlides/notesSlide4.xml"/><Relationship Id="rId64" Type="http://schemas.openxmlformats.org/officeDocument/2006/relationships/image" Target="../media/image18.jpeg"/><Relationship Id="rId8" Type="http://schemas.openxmlformats.org/officeDocument/2006/relationships/tags" Target="../tags/tag35.xml"/><Relationship Id="rId51" Type="http://schemas.openxmlformats.org/officeDocument/2006/relationships/tags" Target="../tags/tag78.xml"/><Relationship Id="rId3" Type="http://schemas.openxmlformats.org/officeDocument/2006/relationships/tags" Target="../tags/tag30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tags" Target="../tags/tag60.xml"/><Relationship Id="rId38" Type="http://schemas.openxmlformats.org/officeDocument/2006/relationships/tags" Target="../tags/tag65.xml"/><Relationship Id="rId46" Type="http://schemas.openxmlformats.org/officeDocument/2006/relationships/tags" Target="../tags/tag73.xml"/><Relationship Id="rId59" Type="http://schemas.openxmlformats.org/officeDocument/2006/relationships/image" Target="../media/image14.jpeg"/><Relationship Id="rId67" Type="http://schemas.openxmlformats.org/officeDocument/2006/relationships/image" Target="../media/image13.emf"/><Relationship Id="rId20" Type="http://schemas.openxmlformats.org/officeDocument/2006/relationships/tags" Target="../tags/tag47.xml"/><Relationship Id="rId41" Type="http://schemas.openxmlformats.org/officeDocument/2006/relationships/tags" Target="../tags/tag68.xml"/><Relationship Id="rId54" Type="http://schemas.openxmlformats.org/officeDocument/2006/relationships/tags" Target="../tags/tag81.xml"/><Relationship Id="rId62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tags" Target="../tags/tag106.xml"/><Relationship Id="rId39" Type="http://schemas.openxmlformats.org/officeDocument/2006/relationships/tags" Target="../tags/tag119.xml"/><Relationship Id="rId21" Type="http://schemas.openxmlformats.org/officeDocument/2006/relationships/tags" Target="../tags/tag101.xml"/><Relationship Id="rId34" Type="http://schemas.openxmlformats.org/officeDocument/2006/relationships/tags" Target="../tags/tag114.xml"/><Relationship Id="rId42" Type="http://schemas.openxmlformats.org/officeDocument/2006/relationships/tags" Target="../tags/tag122.xml"/><Relationship Id="rId47" Type="http://schemas.openxmlformats.org/officeDocument/2006/relationships/tags" Target="../tags/tag127.xml"/><Relationship Id="rId50" Type="http://schemas.openxmlformats.org/officeDocument/2006/relationships/tags" Target="../tags/tag130.xml"/><Relationship Id="rId55" Type="http://schemas.openxmlformats.org/officeDocument/2006/relationships/tags" Target="../tags/tag135.xml"/><Relationship Id="rId63" Type="http://schemas.openxmlformats.org/officeDocument/2006/relationships/tags" Target="../tags/tag143.xml"/><Relationship Id="rId68" Type="http://schemas.openxmlformats.org/officeDocument/2006/relationships/slideLayout" Target="../slideLayouts/slideLayout5.xml"/><Relationship Id="rId76" Type="http://schemas.openxmlformats.org/officeDocument/2006/relationships/image" Target="../media/image15.jpeg"/><Relationship Id="rId7" Type="http://schemas.openxmlformats.org/officeDocument/2006/relationships/tags" Target="../tags/tag87.xml"/><Relationship Id="rId71" Type="http://schemas.openxmlformats.org/officeDocument/2006/relationships/image" Target="../media/image6.emf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9" Type="http://schemas.openxmlformats.org/officeDocument/2006/relationships/tags" Target="../tags/tag109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32" Type="http://schemas.openxmlformats.org/officeDocument/2006/relationships/tags" Target="../tags/tag112.xml"/><Relationship Id="rId37" Type="http://schemas.openxmlformats.org/officeDocument/2006/relationships/tags" Target="../tags/tag117.xml"/><Relationship Id="rId40" Type="http://schemas.openxmlformats.org/officeDocument/2006/relationships/tags" Target="../tags/tag120.xml"/><Relationship Id="rId45" Type="http://schemas.openxmlformats.org/officeDocument/2006/relationships/tags" Target="../tags/tag125.xml"/><Relationship Id="rId53" Type="http://schemas.openxmlformats.org/officeDocument/2006/relationships/tags" Target="../tags/tag133.xml"/><Relationship Id="rId58" Type="http://schemas.openxmlformats.org/officeDocument/2006/relationships/tags" Target="../tags/tag138.xml"/><Relationship Id="rId66" Type="http://schemas.openxmlformats.org/officeDocument/2006/relationships/tags" Target="../tags/tag146.xml"/><Relationship Id="rId74" Type="http://schemas.openxmlformats.org/officeDocument/2006/relationships/oleObject" Target="../embeddings/oleObject6.bin"/><Relationship Id="rId79" Type="http://schemas.openxmlformats.org/officeDocument/2006/relationships/image" Target="../media/image23.png"/><Relationship Id="rId5" Type="http://schemas.openxmlformats.org/officeDocument/2006/relationships/tags" Target="../tags/tag85.xml"/><Relationship Id="rId61" Type="http://schemas.openxmlformats.org/officeDocument/2006/relationships/tags" Target="../tags/tag141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31" Type="http://schemas.openxmlformats.org/officeDocument/2006/relationships/tags" Target="../tags/tag111.xml"/><Relationship Id="rId44" Type="http://schemas.openxmlformats.org/officeDocument/2006/relationships/tags" Target="../tags/tag124.xml"/><Relationship Id="rId52" Type="http://schemas.openxmlformats.org/officeDocument/2006/relationships/tags" Target="../tags/tag132.xml"/><Relationship Id="rId60" Type="http://schemas.openxmlformats.org/officeDocument/2006/relationships/tags" Target="../tags/tag140.xml"/><Relationship Id="rId65" Type="http://schemas.openxmlformats.org/officeDocument/2006/relationships/tags" Target="../tags/tag145.xml"/><Relationship Id="rId73" Type="http://schemas.openxmlformats.org/officeDocument/2006/relationships/image" Target="../media/image20.emf"/><Relationship Id="rId78" Type="http://schemas.openxmlformats.org/officeDocument/2006/relationships/image" Target="../media/image22.png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30" Type="http://schemas.openxmlformats.org/officeDocument/2006/relationships/tags" Target="../tags/tag110.xml"/><Relationship Id="rId35" Type="http://schemas.openxmlformats.org/officeDocument/2006/relationships/tags" Target="../tags/tag115.xml"/><Relationship Id="rId43" Type="http://schemas.openxmlformats.org/officeDocument/2006/relationships/tags" Target="../tags/tag123.xml"/><Relationship Id="rId48" Type="http://schemas.openxmlformats.org/officeDocument/2006/relationships/tags" Target="../tags/tag128.xml"/><Relationship Id="rId56" Type="http://schemas.openxmlformats.org/officeDocument/2006/relationships/tags" Target="../tags/tag136.xml"/><Relationship Id="rId64" Type="http://schemas.openxmlformats.org/officeDocument/2006/relationships/tags" Target="../tags/tag144.xml"/><Relationship Id="rId69" Type="http://schemas.openxmlformats.org/officeDocument/2006/relationships/notesSlide" Target="../notesSlides/notesSlide5.xml"/><Relationship Id="rId77" Type="http://schemas.openxmlformats.org/officeDocument/2006/relationships/image" Target="../media/image19.jpeg"/><Relationship Id="rId8" Type="http://schemas.openxmlformats.org/officeDocument/2006/relationships/tags" Target="../tags/tag88.xml"/><Relationship Id="rId51" Type="http://schemas.openxmlformats.org/officeDocument/2006/relationships/tags" Target="../tags/tag131.xml"/><Relationship Id="rId72" Type="http://schemas.openxmlformats.org/officeDocument/2006/relationships/oleObject" Target="../embeddings/oleObject5.bin"/><Relationship Id="rId3" Type="http://schemas.openxmlformats.org/officeDocument/2006/relationships/tags" Target="../tags/tag83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33" Type="http://schemas.openxmlformats.org/officeDocument/2006/relationships/tags" Target="../tags/tag113.xml"/><Relationship Id="rId38" Type="http://schemas.openxmlformats.org/officeDocument/2006/relationships/tags" Target="../tags/tag118.xml"/><Relationship Id="rId46" Type="http://schemas.openxmlformats.org/officeDocument/2006/relationships/tags" Target="../tags/tag126.xml"/><Relationship Id="rId59" Type="http://schemas.openxmlformats.org/officeDocument/2006/relationships/tags" Target="../tags/tag139.xml"/><Relationship Id="rId67" Type="http://schemas.openxmlformats.org/officeDocument/2006/relationships/tags" Target="../tags/tag147.xml"/><Relationship Id="rId20" Type="http://schemas.openxmlformats.org/officeDocument/2006/relationships/tags" Target="../tags/tag100.xml"/><Relationship Id="rId41" Type="http://schemas.openxmlformats.org/officeDocument/2006/relationships/tags" Target="../tags/tag121.xml"/><Relationship Id="rId54" Type="http://schemas.openxmlformats.org/officeDocument/2006/relationships/tags" Target="../tags/tag134.xml"/><Relationship Id="rId62" Type="http://schemas.openxmlformats.org/officeDocument/2006/relationships/tags" Target="../tags/tag142.xml"/><Relationship Id="rId70" Type="http://schemas.openxmlformats.org/officeDocument/2006/relationships/oleObject" Target="../embeddings/oleObject4.bin"/><Relationship Id="rId75" Type="http://schemas.openxmlformats.org/officeDocument/2006/relationships/image" Target="../media/image21.emf"/><Relationship Id="rId1" Type="http://schemas.openxmlformats.org/officeDocument/2006/relationships/vmlDrawing" Target="../drawings/vmlDrawing3.vml"/><Relationship Id="rId6" Type="http://schemas.openxmlformats.org/officeDocument/2006/relationships/tags" Target="../tags/tag86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36" Type="http://schemas.openxmlformats.org/officeDocument/2006/relationships/tags" Target="../tags/tag116.xml"/><Relationship Id="rId49" Type="http://schemas.openxmlformats.org/officeDocument/2006/relationships/tags" Target="../tags/tag129.xml"/><Relationship Id="rId57" Type="http://schemas.openxmlformats.org/officeDocument/2006/relationships/tags" Target="../tags/tag1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0.xml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</a:ln>
          <a:effectLst/>
          <a:extLst/>
        </p:spPr>
        <p:txBody>
          <a:bodyPr lIns="45720" tIns="27432" rIns="45720" bIns="27432" rtlCol="0" anchor="ctr"/>
          <a:lstStyle/>
          <a:p>
            <a:pPr algn="ctr" defTabSz="914400" latinLnBrk="0">
              <a:lnSpc>
                <a:spcPct val="90000"/>
              </a:lnSpc>
            </a:pPr>
            <a:endParaRPr lang="ko-KR" altLang="en-US" sz="1200" b="1" kern="0" dirty="0" smtClean="0">
              <a:solidFill>
                <a:schemeClr val="bg1"/>
              </a:solidFill>
            </a:endParaRPr>
          </a:p>
        </p:txBody>
      </p:sp>
      <p:grpSp>
        <p:nvGrpSpPr>
          <p:cNvPr id="8" name="그룹 7"/>
          <p:cNvGrpSpPr/>
          <p:nvPr/>
        </p:nvGrpSpPr>
        <p:grpSpPr>
          <a:xfrm>
            <a:off x="1" y="496504"/>
            <a:ext cx="9906000" cy="4833355"/>
            <a:chOff x="1" y="620610"/>
            <a:chExt cx="9906000" cy="4833355"/>
          </a:xfrm>
        </p:grpSpPr>
        <p:pic>
          <p:nvPicPr>
            <p:cNvPr id="9" name="Picture 2" descr="C:\Users\20150080\Desktop\BlankMap-World-v2.png"/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83" r="4827"/>
            <a:stretch/>
          </p:blipFill>
          <p:spPr bwMode="auto">
            <a:xfrm>
              <a:off x="1" y="620610"/>
              <a:ext cx="9906000" cy="48333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Freeform 230"/>
            <p:cNvSpPr/>
            <p:nvPr/>
          </p:nvSpPr>
          <p:spPr bwMode="auto">
            <a:xfrm>
              <a:off x="5217227" y="1468577"/>
              <a:ext cx="2976095" cy="678279"/>
            </a:xfrm>
            <a:custGeom>
              <a:avLst/>
              <a:gdLst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62795"/>
                <a:gd name="connsiteY0" fmla="*/ 200496 h 1208029"/>
                <a:gd name="connsiteX1" fmla="*/ 0 w 1562795"/>
                <a:gd name="connsiteY1" fmla="*/ 1208029 h 1208029"/>
                <a:gd name="connsiteX0" fmla="*/ 1507066 w 1561196"/>
                <a:gd name="connsiteY0" fmla="*/ 211896 h 1219429"/>
                <a:gd name="connsiteX1" fmla="*/ 0 w 1561196"/>
                <a:gd name="connsiteY1" fmla="*/ 1219429 h 1219429"/>
                <a:gd name="connsiteX0" fmla="*/ 1507066 w 1507066"/>
                <a:gd name="connsiteY0" fmla="*/ 12997611 h 14005144"/>
                <a:gd name="connsiteX1" fmla="*/ 0 w 1507066"/>
                <a:gd name="connsiteY1" fmla="*/ 14005144 h 14005144"/>
                <a:gd name="connsiteX0" fmla="*/ 1510821 w 1510821"/>
                <a:gd name="connsiteY0" fmla="*/ 15148014 h 16155547"/>
                <a:gd name="connsiteX1" fmla="*/ 3755 w 1510821"/>
                <a:gd name="connsiteY1" fmla="*/ 16155547 h 16155547"/>
                <a:gd name="connsiteX0" fmla="*/ 1532961 w 1532961"/>
                <a:gd name="connsiteY0" fmla="*/ 16595816 h 16595816"/>
                <a:gd name="connsiteX1" fmla="*/ 3692 w 1532961"/>
                <a:gd name="connsiteY1" fmla="*/ 13501469 h 16595816"/>
                <a:gd name="connsiteX0" fmla="*/ 1529269 w 1529269"/>
                <a:gd name="connsiteY0" fmla="*/ 16411399 h 16411399"/>
                <a:gd name="connsiteX1" fmla="*/ 0 w 1529269"/>
                <a:gd name="connsiteY1" fmla="*/ 13317052 h 16411399"/>
                <a:gd name="connsiteX0" fmla="*/ 1541604 w 1541604"/>
                <a:gd name="connsiteY0" fmla="*/ 16594676 h 16594676"/>
                <a:gd name="connsiteX1" fmla="*/ 0 w 1541604"/>
                <a:gd name="connsiteY1" fmla="*/ 13017755 h 16594676"/>
                <a:gd name="connsiteX0" fmla="*/ 1541604 w 1541604"/>
                <a:gd name="connsiteY0" fmla="*/ 17182124 h 17182124"/>
                <a:gd name="connsiteX1" fmla="*/ 0 w 1541604"/>
                <a:gd name="connsiteY1" fmla="*/ 13605203 h 1718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1604" h="17182124">
                  <a:moveTo>
                    <a:pt x="1541604" y="17182124"/>
                  </a:moveTo>
                  <a:cubicBezTo>
                    <a:pt x="1192031" y="-12281021"/>
                    <a:pt x="26774" y="2797736"/>
                    <a:pt x="0" y="13605203"/>
                  </a:cubicBezTo>
                </a:path>
              </a:pathLst>
            </a:custGeom>
            <a:noFill/>
            <a:ln w="19050">
              <a:solidFill>
                <a:srgbClr val="C2E0DB"/>
              </a:solidFill>
              <a:miter lim="800000"/>
              <a:headEnd type="none"/>
              <a:tailEnd type="stealth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pic>
          <p:nvPicPr>
            <p:cNvPr id="18" name="Picture 2"/>
            <p:cNvPicPr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6251" y="1844557"/>
              <a:ext cx="465075" cy="302299"/>
            </a:xfrm>
            <a:prstGeom prst="rect">
              <a:avLst/>
            </a:prstGeom>
            <a:noFill/>
            <a:ln w="31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19" name="Freeform 230"/>
            <p:cNvSpPr/>
            <p:nvPr/>
          </p:nvSpPr>
          <p:spPr bwMode="auto">
            <a:xfrm>
              <a:off x="6612987" y="1818597"/>
              <a:ext cx="1594969" cy="402197"/>
            </a:xfrm>
            <a:custGeom>
              <a:avLst/>
              <a:gdLst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62795"/>
                <a:gd name="connsiteY0" fmla="*/ 200496 h 1208029"/>
                <a:gd name="connsiteX1" fmla="*/ 0 w 1562795"/>
                <a:gd name="connsiteY1" fmla="*/ 1208029 h 1208029"/>
                <a:gd name="connsiteX0" fmla="*/ 1507066 w 1561196"/>
                <a:gd name="connsiteY0" fmla="*/ 211896 h 1219429"/>
                <a:gd name="connsiteX1" fmla="*/ 0 w 1561196"/>
                <a:gd name="connsiteY1" fmla="*/ 1219429 h 1219429"/>
                <a:gd name="connsiteX0" fmla="*/ 1507066 w 1507066"/>
                <a:gd name="connsiteY0" fmla="*/ 12997611 h 14005144"/>
                <a:gd name="connsiteX1" fmla="*/ 0 w 1507066"/>
                <a:gd name="connsiteY1" fmla="*/ 14005144 h 14005144"/>
                <a:gd name="connsiteX0" fmla="*/ 1510821 w 1510821"/>
                <a:gd name="connsiteY0" fmla="*/ 15148014 h 16155547"/>
                <a:gd name="connsiteX1" fmla="*/ 3755 w 1510821"/>
                <a:gd name="connsiteY1" fmla="*/ 16155547 h 16155547"/>
                <a:gd name="connsiteX0" fmla="*/ 1532961 w 1532961"/>
                <a:gd name="connsiteY0" fmla="*/ 16595816 h 16595816"/>
                <a:gd name="connsiteX1" fmla="*/ 3692 w 1532961"/>
                <a:gd name="connsiteY1" fmla="*/ 13501469 h 16595816"/>
                <a:gd name="connsiteX0" fmla="*/ 1529269 w 1529269"/>
                <a:gd name="connsiteY0" fmla="*/ 16411399 h 16411399"/>
                <a:gd name="connsiteX1" fmla="*/ 0 w 1529269"/>
                <a:gd name="connsiteY1" fmla="*/ 13317052 h 16411399"/>
                <a:gd name="connsiteX0" fmla="*/ 1450326 w 1450326"/>
                <a:gd name="connsiteY0" fmla="*/ 13475883 h 19671088"/>
                <a:gd name="connsiteX1" fmla="*/ 0 w 1450326"/>
                <a:gd name="connsiteY1" fmla="*/ 19671088 h 19671088"/>
                <a:gd name="connsiteX0" fmla="*/ 843455 w 843455"/>
                <a:gd name="connsiteY0" fmla="*/ 14498179 h 17074083"/>
                <a:gd name="connsiteX1" fmla="*/ 0 w 843455"/>
                <a:gd name="connsiteY1" fmla="*/ 17074083 h 17074083"/>
                <a:gd name="connsiteX0" fmla="*/ 874593 w 874593"/>
                <a:gd name="connsiteY0" fmla="*/ 14196628 h 16772532"/>
                <a:gd name="connsiteX1" fmla="*/ 31138 w 874593"/>
                <a:gd name="connsiteY1" fmla="*/ 16772532 h 16772532"/>
                <a:gd name="connsiteX0" fmla="*/ 843455 w 843455"/>
                <a:gd name="connsiteY0" fmla="*/ 13788505 h 16364409"/>
                <a:gd name="connsiteX1" fmla="*/ 0 w 843455"/>
                <a:gd name="connsiteY1" fmla="*/ 16364409 h 16364409"/>
                <a:gd name="connsiteX0" fmla="*/ 843455 w 843455"/>
                <a:gd name="connsiteY0" fmla="*/ 8065462 h 10641366"/>
                <a:gd name="connsiteX1" fmla="*/ 0 w 843455"/>
                <a:gd name="connsiteY1" fmla="*/ 10641366 h 10641366"/>
                <a:gd name="connsiteX0" fmla="*/ 822486 w 822486"/>
                <a:gd name="connsiteY0" fmla="*/ 8264926 h 10177285"/>
                <a:gd name="connsiteX1" fmla="*/ 0 w 822486"/>
                <a:gd name="connsiteY1" fmla="*/ 10177285 h 10177285"/>
                <a:gd name="connsiteX0" fmla="*/ 826187 w 826187"/>
                <a:gd name="connsiteY0" fmla="*/ 8415600 h 9845386"/>
                <a:gd name="connsiteX1" fmla="*/ 0 w 826187"/>
                <a:gd name="connsiteY1" fmla="*/ 9845386 h 9845386"/>
                <a:gd name="connsiteX0" fmla="*/ 826187 w 826187"/>
                <a:gd name="connsiteY0" fmla="*/ 8758645 h 10188431"/>
                <a:gd name="connsiteX1" fmla="*/ 0 w 826187"/>
                <a:gd name="connsiteY1" fmla="*/ 10188431 h 1018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6187" h="10188431">
                  <a:moveTo>
                    <a:pt x="826187" y="8758645"/>
                  </a:moveTo>
                  <a:cubicBezTo>
                    <a:pt x="377936" y="-7795677"/>
                    <a:pt x="61311" y="2879634"/>
                    <a:pt x="0" y="10188431"/>
                  </a:cubicBezTo>
                </a:path>
              </a:pathLst>
            </a:custGeom>
            <a:noFill/>
            <a:ln w="19050">
              <a:solidFill>
                <a:srgbClr val="C2E0DB"/>
              </a:solidFill>
              <a:miter lim="800000"/>
              <a:headEnd type="none"/>
              <a:tailEnd type="stealth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1" name="4-Point Star 280"/>
            <p:cNvSpPr/>
            <p:nvPr/>
          </p:nvSpPr>
          <p:spPr bwMode="auto">
            <a:xfrm rot="2700000">
              <a:off x="6553420" y="2196342"/>
              <a:ext cx="122917" cy="122917"/>
            </a:xfrm>
            <a:prstGeom prst="star4">
              <a:avLst/>
            </a:prstGeom>
            <a:solidFill>
              <a:srgbClr val="C2E0DB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en-US" sz="1200" b="0" smtClean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2" name="Freeform 230"/>
            <p:cNvSpPr/>
            <p:nvPr/>
          </p:nvSpPr>
          <p:spPr bwMode="auto">
            <a:xfrm>
              <a:off x="992451" y="1191422"/>
              <a:ext cx="4152592" cy="803227"/>
            </a:xfrm>
            <a:custGeom>
              <a:avLst/>
              <a:gdLst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62795"/>
                <a:gd name="connsiteY0" fmla="*/ 200496 h 1208029"/>
                <a:gd name="connsiteX1" fmla="*/ 0 w 1562795"/>
                <a:gd name="connsiteY1" fmla="*/ 1208029 h 1208029"/>
                <a:gd name="connsiteX0" fmla="*/ 1507066 w 1561196"/>
                <a:gd name="connsiteY0" fmla="*/ 211896 h 1219429"/>
                <a:gd name="connsiteX1" fmla="*/ 0 w 1561196"/>
                <a:gd name="connsiteY1" fmla="*/ 1219429 h 1219429"/>
                <a:gd name="connsiteX0" fmla="*/ 1507066 w 1507066"/>
                <a:gd name="connsiteY0" fmla="*/ 12997611 h 14005144"/>
                <a:gd name="connsiteX1" fmla="*/ 0 w 1507066"/>
                <a:gd name="connsiteY1" fmla="*/ 14005144 h 14005144"/>
                <a:gd name="connsiteX0" fmla="*/ 1510821 w 1510821"/>
                <a:gd name="connsiteY0" fmla="*/ 15148014 h 16155547"/>
                <a:gd name="connsiteX1" fmla="*/ 3755 w 1510821"/>
                <a:gd name="connsiteY1" fmla="*/ 16155547 h 16155547"/>
                <a:gd name="connsiteX0" fmla="*/ 1532961 w 1532961"/>
                <a:gd name="connsiteY0" fmla="*/ 16595816 h 16595816"/>
                <a:gd name="connsiteX1" fmla="*/ 3692 w 1532961"/>
                <a:gd name="connsiteY1" fmla="*/ 13501469 h 16595816"/>
                <a:gd name="connsiteX0" fmla="*/ 1529269 w 1529269"/>
                <a:gd name="connsiteY0" fmla="*/ 16411399 h 16411399"/>
                <a:gd name="connsiteX1" fmla="*/ 0 w 1529269"/>
                <a:gd name="connsiteY1" fmla="*/ 13317052 h 16411399"/>
                <a:gd name="connsiteX0" fmla="*/ 1541604 w 1541604"/>
                <a:gd name="connsiteY0" fmla="*/ 16594676 h 16594676"/>
                <a:gd name="connsiteX1" fmla="*/ 0 w 1541604"/>
                <a:gd name="connsiteY1" fmla="*/ 13017755 h 16594676"/>
                <a:gd name="connsiteX0" fmla="*/ 1541604 w 1541604"/>
                <a:gd name="connsiteY0" fmla="*/ 17182124 h 17182124"/>
                <a:gd name="connsiteX1" fmla="*/ 0 w 1541604"/>
                <a:gd name="connsiteY1" fmla="*/ 13605203 h 17182124"/>
                <a:gd name="connsiteX0" fmla="*/ 1541604 w 1541604"/>
                <a:gd name="connsiteY0" fmla="*/ 27353535 h 27353535"/>
                <a:gd name="connsiteX1" fmla="*/ 0 w 1541604"/>
                <a:gd name="connsiteY1" fmla="*/ 5752415 h 27353535"/>
                <a:gd name="connsiteX0" fmla="*/ 1541604 w 1541604"/>
                <a:gd name="connsiteY0" fmla="*/ 44184592 h 44184592"/>
                <a:gd name="connsiteX1" fmla="*/ 0 w 1541604"/>
                <a:gd name="connsiteY1" fmla="*/ 22583472 h 4418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1604" h="44184592">
                  <a:moveTo>
                    <a:pt x="1541604" y="44184592"/>
                  </a:moveTo>
                  <a:cubicBezTo>
                    <a:pt x="911976" y="-32644451"/>
                    <a:pt x="26774" y="11776005"/>
                    <a:pt x="0" y="22583472"/>
                  </a:cubicBezTo>
                </a:path>
              </a:pathLst>
            </a:custGeom>
            <a:noFill/>
            <a:ln w="9525">
              <a:solidFill>
                <a:srgbClr val="AED6CF"/>
              </a:solidFill>
              <a:prstDash val="sysDash"/>
              <a:miter lim="800000"/>
              <a:headEnd type="none"/>
              <a:tailEnd type="stealth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3" name="Freeform 230"/>
            <p:cNvSpPr/>
            <p:nvPr/>
          </p:nvSpPr>
          <p:spPr bwMode="auto">
            <a:xfrm>
              <a:off x="1686259" y="1667357"/>
              <a:ext cx="3485053" cy="670585"/>
            </a:xfrm>
            <a:custGeom>
              <a:avLst/>
              <a:gdLst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62795"/>
                <a:gd name="connsiteY0" fmla="*/ 200496 h 1208029"/>
                <a:gd name="connsiteX1" fmla="*/ 0 w 1562795"/>
                <a:gd name="connsiteY1" fmla="*/ 1208029 h 1208029"/>
                <a:gd name="connsiteX0" fmla="*/ 1507066 w 1561196"/>
                <a:gd name="connsiteY0" fmla="*/ 211896 h 1219429"/>
                <a:gd name="connsiteX1" fmla="*/ 0 w 1561196"/>
                <a:gd name="connsiteY1" fmla="*/ 1219429 h 1219429"/>
                <a:gd name="connsiteX0" fmla="*/ 1507066 w 1507066"/>
                <a:gd name="connsiteY0" fmla="*/ 12997611 h 14005144"/>
                <a:gd name="connsiteX1" fmla="*/ 0 w 1507066"/>
                <a:gd name="connsiteY1" fmla="*/ 14005144 h 14005144"/>
                <a:gd name="connsiteX0" fmla="*/ 1510821 w 1510821"/>
                <a:gd name="connsiteY0" fmla="*/ 15148014 h 16155547"/>
                <a:gd name="connsiteX1" fmla="*/ 3755 w 1510821"/>
                <a:gd name="connsiteY1" fmla="*/ 16155547 h 16155547"/>
                <a:gd name="connsiteX0" fmla="*/ 1532961 w 1532961"/>
                <a:gd name="connsiteY0" fmla="*/ 16595816 h 16595816"/>
                <a:gd name="connsiteX1" fmla="*/ 3692 w 1532961"/>
                <a:gd name="connsiteY1" fmla="*/ 13501469 h 16595816"/>
                <a:gd name="connsiteX0" fmla="*/ 1529269 w 1529269"/>
                <a:gd name="connsiteY0" fmla="*/ 16411399 h 16411399"/>
                <a:gd name="connsiteX1" fmla="*/ 0 w 1529269"/>
                <a:gd name="connsiteY1" fmla="*/ 13317052 h 16411399"/>
                <a:gd name="connsiteX0" fmla="*/ 1541604 w 1541604"/>
                <a:gd name="connsiteY0" fmla="*/ 16594676 h 16594676"/>
                <a:gd name="connsiteX1" fmla="*/ 0 w 1541604"/>
                <a:gd name="connsiteY1" fmla="*/ 13017755 h 16594676"/>
                <a:gd name="connsiteX0" fmla="*/ 1541604 w 1541604"/>
                <a:gd name="connsiteY0" fmla="*/ 17182124 h 17182124"/>
                <a:gd name="connsiteX1" fmla="*/ 0 w 1541604"/>
                <a:gd name="connsiteY1" fmla="*/ 13605203 h 17182124"/>
                <a:gd name="connsiteX0" fmla="*/ 1541604 w 1541604"/>
                <a:gd name="connsiteY0" fmla="*/ 27353535 h 27353535"/>
                <a:gd name="connsiteX1" fmla="*/ 0 w 1541604"/>
                <a:gd name="connsiteY1" fmla="*/ 5752415 h 27353535"/>
                <a:gd name="connsiteX0" fmla="*/ 1541604 w 1541604"/>
                <a:gd name="connsiteY0" fmla="*/ 44184592 h 44184592"/>
                <a:gd name="connsiteX1" fmla="*/ 0 w 1541604"/>
                <a:gd name="connsiteY1" fmla="*/ 22583472 h 44184592"/>
                <a:gd name="connsiteX0" fmla="*/ 1521685 w 1521685"/>
                <a:gd name="connsiteY0" fmla="*/ 37517972 h 37517972"/>
                <a:gd name="connsiteX1" fmla="*/ 0 w 1521685"/>
                <a:gd name="connsiteY1" fmla="*/ 34700634 h 37517972"/>
                <a:gd name="connsiteX0" fmla="*/ 1521685 w 1521685"/>
                <a:gd name="connsiteY0" fmla="*/ 42084358 h 42084358"/>
                <a:gd name="connsiteX1" fmla="*/ 0 w 1521685"/>
                <a:gd name="connsiteY1" fmla="*/ 39267020 h 42084358"/>
                <a:gd name="connsiteX0" fmla="*/ 1518365 w 1518365"/>
                <a:gd name="connsiteY0" fmla="*/ 35895732 h 52735838"/>
                <a:gd name="connsiteX1" fmla="*/ 0 w 1518365"/>
                <a:gd name="connsiteY1" fmla="*/ 52735838 h 52735838"/>
                <a:gd name="connsiteX0" fmla="*/ 1518365 w 1518365"/>
                <a:gd name="connsiteY0" fmla="*/ 22514052 h 39354158"/>
                <a:gd name="connsiteX1" fmla="*/ 0 w 1518365"/>
                <a:gd name="connsiteY1" fmla="*/ 39354158 h 39354158"/>
                <a:gd name="connsiteX0" fmla="*/ 1518365 w 1518365"/>
                <a:gd name="connsiteY0" fmla="*/ 21602552 h 38442658"/>
                <a:gd name="connsiteX1" fmla="*/ 0 w 1518365"/>
                <a:gd name="connsiteY1" fmla="*/ 38442658 h 38442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8365" h="38442658">
                  <a:moveTo>
                    <a:pt x="1518365" y="21602552"/>
                  </a:moveTo>
                  <a:cubicBezTo>
                    <a:pt x="350917" y="-25085054"/>
                    <a:pt x="133010" y="14967060"/>
                    <a:pt x="0" y="38442658"/>
                  </a:cubicBezTo>
                </a:path>
              </a:pathLst>
            </a:custGeom>
            <a:noFill/>
            <a:ln w="9525">
              <a:solidFill>
                <a:srgbClr val="AED6CF"/>
              </a:solidFill>
              <a:prstDash val="sysDash"/>
              <a:miter lim="800000"/>
              <a:headEnd type="none"/>
              <a:tailEnd type="stealth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4" name="Freeform 230"/>
            <p:cNvSpPr/>
            <p:nvPr/>
          </p:nvSpPr>
          <p:spPr bwMode="auto">
            <a:xfrm>
              <a:off x="2216620" y="2035310"/>
              <a:ext cx="2992987" cy="2764233"/>
            </a:xfrm>
            <a:custGeom>
              <a:avLst/>
              <a:gdLst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62795"/>
                <a:gd name="connsiteY0" fmla="*/ 200496 h 1208029"/>
                <a:gd name="connsiteX1" fmla="*/ 0 w 1562795"/>
                <a:gd name="connsiteY1" fmla="*/ 1208029 h 1208029"/>
                <a:gd name="connsiteX0" fmla="*/ 1507066 w 1561196"/>
                <a:gd name="connsiteY0" fmla="*/ 211896 h 1219429"/>
                <a:gd name="connsiteX1" fmla="*/ 0 w 1561196"/>
                <a:gd name="connsiteY1" fmla="*/ 1219429 h 1219429"/>
                <a:gd name="connsiteX0" fmla="*/ 1507066 w 1507066"/>
                <a:gd name="connsiteY0" fmla="*/ 12997611 h 14005144"/>
                <a:gd name="connsiteX1" fmla="*/ 0 w 1507066"/>
                <a:gd name="connsiteY1" fmla="*/ 14005144 h 14005144"/>
                <a:gd name="connsiteX0" fmla="*/ 1510821 w 1510821"/>
                <a:gd name="connsiteY0" fmla="*/ 15148014 h 16155547"/>
                <a:gd name="connsiteX1" fmla="*/ 3755 w 1510821"/>
                <a:gd name="connsiteY1" fmla="*/ 16155547 h 16155547"/>
                <a:gd name="connsiteX0" fmla="*/ 1532961 w 1532961"/>
                <a:gd name="connsiteY0" fmla="*/ 16595816 h 16595816"/>
                <a:gd name="connsiteX1" fmla="*/ 3692 w 1532961"/>
                <a:gd name="connsiteY1" fmla="*/ 13501469 h 16595816"/>
                <a:gd name="connsiteX0" fmla="*/ 1529269 w 1529269"/>
                <a:gd name="connsiteY0" fmla="*/ 16411399 h 16411399"/>
                <a:gd name="connsiteX1" fmla="*/ 0 w 1529269"/>
                <a:gd name="connsiteY1" fmla="*/ 13317052 h 16411399"/>
                <a:gd name="connsiteX0" fmla="*/ 1541604 w 1541604"/>
                <a:gd name="connsiteY0" fmla="*/ 16594676 h 16594676"/>
                <a:gd name="connsiteX1" fmla="*/ 0 w 1541604"/>
                <a:gd name="connsiteY1" fmla="*/ 13017755 h 16594676"/>
                <a:gd name="connsiteX0" fmla="*/ 1541604 w 1541604"/>
                <a:gd name="connsiteY0" fmla="*/ 17182124 h 17182124"/>
                <a:gd name="connsiteX1" fmla="*/ 0 w 1541604"/>
                <a:gd name="connsiteY1" fmla="*/ 13605203 h 17182124"/>
                <a:gd name="connsiteX0" fmla="*/ 1541604 w 1541604"/>
                <a:gd name="connsiteY0" fmla="*/ 27353535 h 27353535"/>
                <a:gd name="connsiteX1" fmla="*/ 0 w 1541604"/>
                <a:gd name="connsiteY1" fmla="*/ 5752415 h 27353535"/>
                <a:gd name="connsiteX0" fmla="*/ 1541604 w 1541604"/>
                <a:gd name="connsiteY0" fmla="*/ 44184592 h 44184592"/>
                <a:gd name="connsiteX1" fmla="*/ 0 w 1541604"/>
                <a:gd name="connsiteY1" fmla="*/ 22583472 h 44184592"/>
                <a:gd name="connsiteX0" fmla="*/ 1521685 w 1521685"/>
                <a:gd name="connsiteY0" fmla="*/ 37517972 h 37517972"/>
                <a:gd name="connsiteX1" fmla="*/ 0 w 1521685"/>
                <a:gd name="connsiteY1" fmla="*/ 34700634 h 37517972"/>
                <a:gd name="connsiteX0" fmla="*/ 1521685 w 1521685"/>
                <a:gd name="connsiteY0" fmla="*/ 42084358 h 42084358"/>
                <a:gd name="connsiteX1" fmla="*/ 0 w 1521685"/>
                <a:gd name="connsiteY1" fmla="*/ 39267020 h 42084358"/>
                <a:gd name="connsiteX0" fmla="*/ 1518365 w 1518365"/>
                <a:gd name="connsiteY0" fmla="*/ 35895732 h 52735838"/>
                <a:gd name="connsiteX1" fmla="*/ 0 w 1518365"/>
                <a:gd name="connsiteY1" fmla="*/ 52735838 h 52735838"/>
                <a:gd name="connsiteX0" fmla="*/ 1518365 w 1518365"/>
                <a:gd name="connsiteY0" fmla="*/ 22514052 h 39354158"/>
                <a:gd name="connsiteX1" fmla="*/ 0 w 1518365"/>
                <a:gd name="connsiteY1" fmla="*/ 39354158 h 39354158"/>
                <a:gd name="connsiteX0" fmla="*/ 1518365 w 1518365"/>
                <a:gd name="connsiteY0" fmla="*/ 21602552 h 38442658"/>
                <a:gd name="connsiteX1" fmla="*/ 0 w 1518365"/>
                <a:gd name="connsiteY1" fmla="*/ 38442658 h 38442658"/>
                <a:gd name="connsiteX0" fmla="*/ 1514509 w 1514509"/>
                <a:gd name="connsiteY0" fmla="*/ 15772970 h 62115246"/>
                <a:gd name="connsiteX1" fmla="*/ 0 w 1514509"/>
                <a:gd name="connsiteY1" fmla="*/ 62115246 h 62115246"/>
                <a:gd name="connsiteX0" fmla="*/ 1514509 w 1514509"/>
                <a:gd name="connsiteY0" fmla="*/ 804046 h 47146322"/>
                <a:gd name="connsiteX1" fmla="*/ 0 w 1514509"/>
                <a:gd name="connsiteY1" fmla="*/ 47146322 h 47146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4509" h="47146322">
                  <a:moveTo>
                    <a:pt x="1514509" y="804046"/>
                  </a:moveTo>
                  <a:cubicBezTo>
                    <a:pt x="1006414" y="-5204352"/>
                    <a:pt x="133010" y="23670724"/>
                    <a:pt x="0" y="47146322"/>
                  </a:cubicBezTo>
                </a:path>
              </a:pathLst>
            </a:custGeom>
            <a:noFill/>
            <a:ln w="9525">
              <a:solidFill>
                <a:srgbClr val="AED6CF"/>
              </a:solidFill>
              <a:prstDash val="sysDash"/>
              <a:miter lim="800000"/>
              <a:headEnd type="none"/>
              <a:tailEnd type="stealth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5" name="Freeform 230"/>
            <p:cNvSpPr/>
            <p:nvPr/>
          </p:nvSpPr>
          <p:spPr bwMode="auto">
            <a:xfrm flipH="1" flipV="1">
              <a:off x="5227120" y="2056076"/>
              <a:ext cx="2534268" cy="990118"/>
            </a:xfrm>
            <a:custGeom>
              <a:avLst/>
              <a:gdLst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62795"/>
                <a:gd name="connsiteY0" fmla="*/ 200496 h 1208029"/>
                <a:gd name="connsiteX1" fmla="*/ 0 w 1562795"/>
                <a:gd name="connsiteY1" fmla="*/ 1208029 h 1208029"/>
                <a:gd name="connsiteX0" fmla="*/ 1507066 w 1561196"/>
                <a:gd name="connsiteY0" fmla="*/ 211896 h 1219429"/>
                <a:gd name="connsiteX1" fmla="*/ 0 w 1561196"/>
                <a:gd name="connsiteY1" fmla="*/ 1219429 h 1219429"/>
                <a:gd name="connsiteX0" fmla="*/ 1507066 w 1507066"/>
                <a:gd name="connsiteY0" fmla="*/ 12997611 h 14005144"/>
                <a:gd name="connsiteX1" fmla="*/ 0 w 1507066"/>
                <a:gd name="connsiteY1" fmla="*/ 14005144 h 14005144"/>
                <a:gd name="connsiteX0" fmla="*/ 1510821 w 1510821"/>
                <a:gd name="connsiteY0" fmla="*/ 15148014 h 16155547"/>
                <a:gd name="connsiteX1" fmla="*/ 3755 w 1510821"/>
                <a:gd name="connsiteY1" fmla="*/ 16155547 h 16155547"/>
                <a:gd name="connsiteX0" fmla="*/ 1532961 w 1532961"/>
                <a:gd name="connsiteY0" fmla="*/ 16595816 h 16595816"/>
                <a:gd name="connsiteX1" fmla="*/ 3692 w 1532961"/>
                <a:gd name="connsiteY1" fmla="*/ 13501469 h 16595816"/>
                <a:gd name="connsiteX0" fmla="*/ 1529269 w 1529269"/>
                <a:gd name="connsiteY0" fmla="*/ 16411399 h 16411399"/>
                <a:gd name="connsiteX1" fmla="*/ 0 w 1529269"/>
                <a:gd name="connsiteY1" fmla="*/ 13317052 h 16411399"/>
                <a:gd name="connsiteX0" fmla="*/ 1541604 w 1541604"/>
                <a:gd name="connsiteY0" fmla="*/ 16594676 h 16594676"/>
                <a:gd name="connsiteX1" fmla="*/ 0 w 1541604"/>
                <a:gd name="connsiteY1" fmla="*/ 13017755 h 16594676"/>
                <a:gd name="connsiteX0" fmla="*/ 1541604 w 1541604"/>
                <a:gd name="connsiteY0" fmla="*/ 17182124 h 17182124"/>
                <a:gd name="connsiteX1" fmla="*/ 0 w 1541604"/>
                <a:gd name="connsiteY1" fmla="*/ 13605203 h 17182124"/>
                <a:gd name="connsiteX0" fmla="*/ 1541604 w 1541604"/>
                <a:gd name="connsiteY0" fmla="*/ 27353535 h 27353535"/>
                <a:gd name="connsiteX1" fmla="*/ 0 w 1541604"/>
                <a:gd name="connsiteY1" fmla="*/ 5752415 h 27353535"/>
                <a:gd name="connsiteX0" fmla="*/ 1541604 w 1541604"/>
                <a:gd name="connsiteY0" fmla="*/ 44184592 h 44184592"/>
                <a:gd name="connsiteX1" fmla="*/ 0 w 1541604"/>
                <a:gd name="connsiteY1" fmla="*/ 22583472 h 44184592"/>
                <a:gd name="connsiteX0" fmla="*/ 1521685 w 1521685"/>
                <a:gd name="connsiteY0" fmla="*/ 37517972 h 37517972"/>
                <a:gd name="connsiteX1" fmla="*/ 0 w 1521685"/>
                <a:gd name="connsiteY1" fmla="*/ 34700634 h 37517972"/>
                <a:gd name="connsiteX0" fmla="*/ 1521685 w 1521685"/>
                <a:gd name="connsiteY0" fmla="*/ 42084358 h 42084358"/>
                <a:gd name="connsiteX1" fmla="*/ 0 w 1521685"/>
                <a:gd name="connsiteY1" fmla="*/ 39267020 h 42084358"/>
                <a:gd name="connsiteX0" fmla="*/ 1518365 w 1518365"/>
                <a:gd name="connsiteY0" fmla="*/ 35895732 h 52735838"/>
                <a:gd name="connsiteX1" fmla="*/ 0 w 1518365"/>
                <a:gd name="connsiteY1" fmla="*/ 52735838 h 52735838"/>
                <a:gd name="connsiteX0" fmla="*/ 1518365 w 1518365"/>
                <a:gd name="connsiteY0" fmla="*/ 22514052 h 39354158"/>
                <a:gd name="connsiteX1" fmla="*/ 0 w 1518365"/>
                <a:gd name="connsiteY1" fmla="*/ 39354158 h 39354158"/>
                <a:gd name="connsiteX0" fmla="*/ 1518365 w 1518365"/>
                <a:gd name="connsiteY0" fmla="*/ 21602552 h 38442658"/>
                <a:gd name="connsiteX1" fmla="*/ 0 w 1518365"/>
                <a:gd name="connsiteY1" fmla="*/ 38442658 h 38442658"/>
                <a:gd name="connsiteX0" fmla="*/ 1514509 w 1514509"/>
                <a:gd name="connsiteY0" fmla="*/ 15772970 h 62115246"/>
                <a:gd name="connsiteX1" fmla="*/ 0 w 1514509"/>
                <a:gd name="connsiteY1" fmla="*/ 62115246 h 62115246"/>
                <a:gd name="connsiteX0" fmla="*/ 1514509 w 1514509"/>
                <a:gd name="connsiteY0" fmla="*/ 804046 h 47146322"/>
                <a:gd name="connsiteX1" fmla="*/ 0 w 1514509"/>
                <a:gd name="connsiteY1" fmla="*/ 47146322 h 47146322"/>
                <a:gd name="connsiteX0" fmla="*/ 1537626 w 1537626"/>
                <a:gd name="connsiteY0" fmla="*/ 55487432 h 55487432"/>
                <a:gd name="connsiteX1" fmla="*/ 0 w 1537626"/>
                <a:gd name="connsiteY1" fmla="*/ 4907526 h 55487432"/>
                <a:gd name="connsiteX0" fmla="*/ 1537626 w 1537626"/>
                <a:gd name="connsiteY0" fmla="*/ 59970249 h 59970249"/>
                <a:gd name="connsiteX1" fmla="*/ 0 w 1537626"/>
                <a:gd name="connsiteY1" fmla="*/ 9390343 h 59970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7626" h="59970249">
                  <a:moveTo>
                    <a:pt x="1537626" y="59970249"/>
                  </a:moveTo>
                  <a:cubicBezTo>
                    <a:pt x="1505732" y="7808407"/>
                    <a:pt x="133010" y="-14085255"/>
                    <a:pt x="0" y="9390343"/>
                  </a:cubicBezTo>
                </a:path>
              </a:pathLst>
            </a:custGeom>
            <a:noFill/>
            <a:ln w="9525">
              <a:solidFill>
                <a:srgbClr val="AED6CF"/>
              </a:solidFill>
              <a:prstDash val="sysDash"/>
              <a:miter lim="800000"/>
              <a:headEnd type="none"/>
              <a:tailEnd type="stealth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26" name="Freeform 230"/>
            <p:cNvSpPr/>
            <p:nvPr/>
          </p:nvSpPr>
          <p:spPr bwMode="auto">
            <a:xfrm flipH="1">
              <a:off x="6678960" y="2250957"/>
              <a:ext cx="1244344" cy="1409323"/>
            </a:xfrm>
            <a:custGeom>
              <a:avLst/>
              <a:gdLst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62795"/>
                <a:gd name="connsiteY0" fmla="*/ 200496 h 1208029"/>
                <a:gd name="connsiteX1" fmla="*/ 0 w 1562795"/>
                <a:gd name="connsiteY1" fmla="*/ 1208029 h 1208029"/>
                <a:gd name="connsiteX0" fmla="*/ 1507066 w 1561196"/>
                <a:gd name="connsiteY0" fmla="*/ 211896 h 1219429"/>
                <a:gd name="connsiteX1" fmla="*/ 0 w 1561196"/>
                <a:gd name="connsiteY1" fmla="*/ 1219429 h 1219429"/>
                <a:gd name="connsiteX0" fmla="*/ 1507066 w 1507066"/>
                <a:gd name="connsiteY0" fmla="*/ 12997611 h 14005144"/>
                <a:gd name="connsiteX1" fmla="*/ 0 w 1507066"/>
                <a:gd name="connsiteY1" fmla="*/ 14005144 h 14005144"/>
                <a:gd name="connsiteX0" fmla="*/ 1510821 w 1510821"/>
                <a:gd name="connsiteY0" fmla="*/ 15148014 h 16155547"/>
                <a:gd name="connsiteX1" fmla="*/ 3755 w 1510821"/>
                <a:gd name="connsiteY1" fmla="*/ 16155547 h 16155547"/>
                <a:gd name="connsiteX0" fmla="*/ 1532961 w 1532961"/>
                <a:gd name="connsiteY0" fmla="*/ 16595816 h 16595816"/>
                <a:gd name="connsiteX1" fmla="*/ 3692 w 1532961"/>
                <a:gd name="connsiteY1" fmla="*/ 13501469 h 16595816"/>
                <a:gd name="connsiteX0" fmla="*/ 1529269 w 1529269"/>
                <a:gd name="connsiteY0" fmla="*/ 16411399 h 16411399"/>
                <a:gd name="connsiteX1" fmla="*/ 0 w 1529269"/>
                <a:gd name="connsiteY1" fmla="*/ 13317052 h 16411399"/>
                <a:gd name="connsiteX0" fmla="*/ 1541604 w 1541604"/>
                <a:gd name="connsiteY0" fmla="*/ 16594676 h 16594676"/>
                <a:gd name="connsiteX1" fmla="*/ 0 w 1541604"/>
                <a:gd name="connsiteY1" fmla="*/ 13017755 h 16594676"/>
                <a:gd name="connsiteX0" fmla="*/ 1541604 w 1541604"/>
                <a:gd name="connsiteY0" fmla="*/ 17182124 h 17182124"/>
                <a:gd name="connsiteX1" fmla="*/ 0 w 1541604"/>
                <a:gd name="connsiteY1" fmla="*/ 13605203 h 17182124"/>
                <a:gd name="connsiteX0" fmla="*/ 1541604 w 1541604"/>
                <a:gd name="connsiteY0" fmla="*/ 27353535 h 27353535"/>
                <a:gd name="connsiteX1" fmla="*/ 0 w 1541604"/>
                <a:gd name="connsiteY1" fmla="*/ 5752415 h 27353535"/>
                <a:gd name="connsiteX0" fmla="*/ 1541604 w 1541604"/>
                <a:gd name="connsiteY0" fmla="*/ 44184592 h 44184592"/>
                <a:gd name="connsiteX1" fmla="*/ 0 w 1541604"/>
                <a:gd name="connsiteY1" fmla="*/ 22583472 h 44184592"/>
                <a:gd name="connsiteX0" fmla="*/ 1521685 w 1521685"/>
                <a:gd name="connsiteY0" fmla="*/ 37517972 h 37517972"/>
                <a:gd name="connsiteX1" fmla="*/ 0 w 1521685"/>
                <a:gd name="connsiteY1" fmla="*/ 34700634 h 37517972"/>
                <a:gd name="connsiteX0" fmla="*/ 1521685 w 1521685"/>
                <a:gd name="connsiteY0" fmla="*/ 42084358 h 42084358"/>
                <a:gd name="connsiteX1" fmla="*/ 0 w 1521685"/>
                <a:gd name="connsiteY1" fmla="*/ 39267020 h 42084358"/>
                <a:gd name="connsiteX0" fmla="*/ 1518365 w 1518365"/>
                <a:gd name="connsiteY0" fmla="*/ 35895732 h 52735838"/>
                <a:gd name="connsiteX1" fmla="*/ 0 w 1518365"/>
                <a:gd name="connsiteY1" fmla="*/ 52735838 h 52735838"/>
                <a:gd name="connsiteX0" fmla="*/ 1518365 w 1518365"/>
                <a:gd name="connsiteY0" fmla="*/ 22514052 h 39354158"/>
                <a:gd name="connsiteX1" fmla="*/ 0 w 1518365"/>
                <a:gd name="connsiteY1" fmla="*/ 39354158 h 39354158"/>
                <a:gd name="connsiteX0" fmla="*/ 1518365 w 1518365"/>
                <a:gd name="connsiteY0" fmla="*/ 21602552 h 38442658"/>
                <a:gd name="connsiteX1" fmla="*/ 0 w 1518365"/>
                <a:gd name="connsiteY1" fmla="*/ 38442658 h 38442658"/>
                <a:gd name="connsiteX0" fmla="*/ 1514509 w 1514509"/>
                <a:gd name="connsiteY0" fmla="*/ 15772970 h 62115246"/>
                <a:gd name="connsiteX1" fmla="*/ 0 w 1514509"/>
                <a:gd name="connsiteY1" fmla="*/ 62115246 h 62115246"/>
                <a:gd name="connsiteX0" fmla="*/ 1514509 w 1514509"/>
                <a:gd name="connsiteY0" fmla="*/ 804046 h 47146322"/>
                <a:gd name="connsiteX1" fmla="*/ 0 w 1514509"/>
                <a:gd name="connsiteY1" fmla="*/ 47146322 h 47146322"/>
                <a:gd name="connsiteX0" fmla="*/ 1537626 w 1537626"/>
                <a:gd name="connsiteY0" fmla="*/ 55487432 h 55487432"/>
                <a:gd name="connsiteX1" fmla="*/ 0 w 1537626"/>
                <a:gd name="connsiteY1" fmla="*/ 4907526 h 55487432"/>
                <a:gd name="connsiteX0" fmla="*/ 1537626 w 1537626"/>
                <a:gd name="connsiteY0" fmla="*/ 59970249 h 59970249"/>
                <a:gd name="connsiteX1" fmla="*/ 0 w 1537626"/>
                <a:gd name="connsiteY1" fmla="*/ 9390343 h 59970249"/>
                <a:gd name="connsiteX0" fmla="*/ 1519547 w 1519547"/>
                <a:gd name="connsiteY0" fmla="*/ 14575481 h 88707902"/>
                <a:gd name="connsiteX1" fmla="*/ 0 w 1519547"/>
                <a:gd name="connsiteY1" fmla="*/ 88707903 h 88707902"/>
                <a:gd name="connsiteX0" fmla="*/ 2550044 w 2550044"/>
                <a:gd name="connsiteY0" fmla="*/ 14198555 h 92122905"/>
                <a:gd name="connsiteX1" fmla="*/ 0 w 2550044"/>
                <a:gd name="connsiteY1" fmla="*/ 92122906 h 92122905"/>
                <a:gd name="connsiteX0" fmla="*/ 2550044 w 2550044"/>
                <a:gd name="connsiteY0" fmla="*/ 0 h 77924350"/>
                <a:gd name="connsiteX1" fmla="*/ 0 w 2550044"/>
                <a:gd name="connsiteY1" fmla="*/ 77924351 h 77924350"/>
                <a:gd name="connsiteX0" fmla="*/ 2952278 w 2952278"/>
                <a:gd name="connsiteY0" fmla="*/ 0 h 77924350"/>
                <a:gd name="connsiteX1" fmla="*/ 402234 w 2952278"/>
                <a:gd name="connsiteY1" fmla="*/ 77924351 h 7792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52278" h="77924350">
                  <a:moveTo>
                    <a:pt x="2952278" y="0"/>
                  </a:moveTo>
                  <a:cubicBezTo>
                    <a:pt x="389339" y="3874424"/>
                    <a:pt x="-639884" y="43494270"/>
                    <a:pt x="402234" y="77924351"/>
                  </a:cubicBezTo>
                </a:path>
              </a:pathLst>
            </a:custGeom>
            <a:noFill/>
            <a:ln w="9525">
              <a:solidFill>
                <a:srgbClr val="AED6CF"/>
              </a:solidFill>
              <a:prstDash val="sysDash"/>
              <a:miter lim="800000"/>
              <a:headEnd type="none"/>
              <a:tailEnd type="stealth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0" name="Freeform 230"/>
            <p:cNvSpPr/>
            <p:nvPr/>
          </p:nvSpPr>
          <p:spPr bwMode="auto">
            <a:xfrm flipH="1" flipV="1">
              <a:off x="6612986" y="2327222"/>
              <a:ext cx="428304" cy="243592"/>
            </a:xfrm>
            <a:custGeom>
              <a:avLst/>
              <a:gdLst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62795"/>
                <a:gd name="connsiteY0" fmla="*/ 200496 h 1208029"/>
                <a:gd name="connsiteX1" fmla="*/ 0 w 1562795"/>
                <a:gd name="connsiteY1" fmla="*/ 1208029 h 1208029"/>
                <a:gd name="connsiteX0" fmla="*/ 1507066 w 1561196"/>
                <a:gd name="connsiteY0" fmla="*/ 211896 h 1219429"/>
                <a:gd name="connsiteX1" fmla="*/ 0 w 1561196"/>
                <a:gd name="connsiteY1" fmla="*/ 1219429 h 1219429"/>
                <a:gd name="connsiteX0" fmla="*/ 1507066 w 1507066"/>
                <a:gd name="connsiteY0" fmla="*/ 12997611 h 14005144"/>
                <a:gd name="connsiteX1" fmla="*/ 0 w 1507066"/>
                <a:gd name="connsiteY1" fmla="*/ 14005144 h 14005144"/>
                <a:gd name="connsiteX0" fmla="*/ 1510821 w 1510821"/>
                <a:gd name="connsiteY0" fmla="*/ 15148014 h 16155547"/>
                <a:gd name="connsiteX1" fmla="*/ 3755 w 1510821"/>
                <a:gd name="connsiteY1" fmla="*/ 16155547 h 16155547"/>
                <a:gd name="connsiteX0" fmla="*/ 1532961 w 1532961"/>
                <a:gd name="connsiteY0" fmla="*/ 16595816 h 16595816"/>
                <a:gd name="connsiteX1" fmla="*/ 3692 w 1532961"/>
                <a:gd name="connsiteY1" fmla="*/ 13501469 h 16595816"/>
                <a:gd name="connsiteX0" fmla="*/ 1529269 w 1529269"/>
                <a:gd name="connsiteY0" fmla="*/ 16411399 h 16411399"/>
                <a:gd name="connsiteX1" fmla="*/ 0 w 1529269"/>
                <a:gd name="connsiteY1" fmla="*/ 13317052 h 16411399"/>
                <a:gd name="connsiteX0" fmla="*/ 1541604 w 1541604"/>
                <a:gd name="connsiteY0" fmla="*/ 16594676 h 16594676"/>
                <a:gd name="connsiteX1" fmla="*/ 0 w 1541604"/>
                <a:gd name="connsiteY1" fmla="*/ 13017755 h 16594676"/>
                <a:gd name="connsiteX0" fmla="*/ 1541604 w 1541604"/>
                <a:gd name="connsiteY0" fmla="*/ 17182124 h 17182124"/>
                <a:gd name="connsiteX1" fmla="*/ 0 w 1541604"/>
                <a:gd name="connsiteY1" fmla="*/ 13605203 h 17182124"/>
                <a:gd name="connsiteX0" fmla="*/ 1541604 w 1541604"/>
                <a:gd name="connsiteY0" fmla="*/ 27353535 h 27353535"/>
                <a:gd name="connsiteX1" fmla="*/ 0 w 1541604"/>
                <a:gd name="connsiteY1" fmla="*/ 5752415 h 27353535"/>
                <a:gd name="connsiteX0" fmla="*/ 1541604 w 1541604"/>
                <a:gd name="connsiteY0" fmla="*/ 44184592 h 44184592"/>
                <a:gd name="connsiteX1" fmla="*/ 0 w 1541604"/>
                <a:gd name="connsiteY1" fmla="*/ 22583472 h 44184592"/>
                <a:gd name="connsiteX0" fmla="*/ 1521685 w 1521685"/>
                <a:gd name="connsiteY0" fmla="*/ 37517972 h 37517972"/>
                <a:gd name="connsiteX1" fmla="*/ 0 w 1521685"/>
                <a:gd name="connsiteY1" fmla="*/ 34700634 h 37517972"/>
                <a:gd name="connsiteX0" fmla="*/ 1521685 w 1521685"/>
                <a:gd name="connsiteY0" fmla="*/ 42084358 h 42084358"/>
                <a:gd name="connsiteX1" fmla="*/ 0 w 1521685"/>
                <a:gd name="connsiteY1" fmla="*/ 39267020 h 42084358"/>
                <a:gd name="connsiteX0" fmla="*/ 1518365 w 1518365"/>
                <a:gd name="connsiteY0" fmla="*/ 35895732 h 52735838"/>
                <a:gd name="connsiteX1" fmla="*/ 0 w 1518365"/>
                <a:gd name="connsiteY1" fmla="*/ 52735838 h 52735838"/>
                <a:gd name="connsiteX0" fmla="*/ 1518365 w 1518365"/>
                <a:gd name="connsiteY0" fmla="*/ 22514052 h 39354158"/>
                <a:gd name="connsiteX1" fmla="*/ 0 w 1518365"/>
                <a:gd name="connsiteY1" fmla="*/ 39354158 h 39354158"/>
                <a:gd name="connsiteX0" fmla="*/ 1518365 w 1518365"/>
                <a:gd name="connsiteY0" fmla="*/ 21602552 h 38442658"/>
                <a:gd name="connsiteX1" fmla="*/ 0 w 1518365"/>
                <a:gd name="connsiteY1" fmla="*/ 38442658 h 38442658"/>
                <a:gd name="connsiteX0" fmla="*/ 1514509 w 1514509"/>
                <a:gd name="connsiteY0" fmla="*/ 15772970 h 62115246"/>
                <a:gd name="connsiteX1" fmla="*/ 0 w 1514509"/>
                <a:gd name="connsiteY1" fmla="*/ 62115246 h 62115246"/>
                <a:gd name="connsiteX0" fmla="*/ 1514509 w 1514509"/>
                <a:gd name="connsiteY0" fmla="*/ 804046 h 47146322"/>
                <a:gd name="connsiteX1" fmla="*/ 0 w 1514509"/>
                <a:gd name="connsiteY1" fmla="*/ 47146322 h 47146322"/>
                <a:gd name="connsiteX0" fmla="*/ 1537626 w 1537626"/>
                <a:gd name="connsiteY0" fmla="*/ 55487432 h 55487432"/>
                <a:gd name="connsiteX1" fmla="*/ 0 w 1537626"/>
                <a:gd name="connsiteY1" fmla="*/ 4907526 h 55487432"/>
                <a:gd name="connsiteX0" fmla="*/ 1537626 w 1537626"/>
                <a:gd name="connsiteY0" fmla="*/ 59970249 h 59970249"/>
                <a:gd name="connsiteX1" fmla="*/ 0 w 1537626"/>
                <a:gd name="connsiteY1" fmla="*/ 9390343 h 59970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37626" h="59970249">
                  <a:moveTo>
                    <a:pt x="1537626" y="59970249"/>
                  </a:moveTo>
                  <a:cubicBezTo>
                    <a:pt x="1505732" y="7808407"/>
                    <a:pt x="133010" y="-14085255"/>
                    <a:pt x="0" y="9390343"/>
                  </a:cubicBezTo>
                </a:path>
              </a:pathLst>
            </a:custGeom>
            <a:noFill/>
            <a:ln w="9525">
              <a:solidFill>
                <a:srgbClr val="AED6CF"/>
              </a:solidFill>
              <a:prstDash val="sysDash"/>
              <a:miter lim="800000"/>
              <a:headEnd type="none"/>
              <a:tailEnd type="stealth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33" name="Freeform 230"/>
            <p:cNvSpPr/>
            <p:nvPr/>
          </p:nvSpPr>
          <p:spPr bwMode="auto">
            <a:xfrm flipH="1">
              <a:off x="5227117" y="1847622"/>
              <a:ext cx="3801459" cy="2666535"/>
            </a:xfrm>
            <a:custGeom>
              <a:avLst/>
              <a:gdLst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62795"/>
                <a:gd name="connsiteY0" fmla="*/ 200496 h 1208029"/>
                <a:gd name="connsiteX1" fmla="*/ 0 w 1562795"/>
                <a:gd name="connsiteY1" fmla="*/ 1208029 h 1208029"/>
                <a:gd name="connsiteX0" fmla="*/ 1507066 w 1561196"/>
                <a:gd name="connsiteY0" fmla="*/ 211896 h 1219429"/>
                <a:gd name="connsiteX1" fmla="*/ 0 w 1561196"/>
                <a:gd name="connsiteY1" fmla="*/ 1219429 h 1219429"/>
                <a:gd name="connsiteX0" fmla="*/ 1507066 w 1507066"/>
                <a:gd name="connsiteY0" fmla="*/ 12997611 h 14005144"/>
                <a:gd name="connsiteX1" fmla="*/ 0 w 1507066"/>
                <a:gd name="connsiteY1" fmla="*/ 14005144 h 14005144"/>
                <a:gd name="connsiteX0" fmla="*/ 1510821 w 1510821"/>
                <a:gd name="connsiteY0" fmla="*/ 15148014 h 16155547"/>
                <a:gd name="connsiteX1" fmla="*/ 3755 w 1510821"/>
                <a:gd name="connsiteY1" fmla="*/ 16155547 h 16155547"/>
                <a:gd name="connsiteX0" fmla="*/ 1532961 w 1532961"/>
                <a:gd name="connsiteY0" fmla="*/ 16595816 h 16595816"/>
                <a:gd name="connsiteX1" fmla="*/ 3692 w 1532961"/>
                <a:gd name="connsiteY1" fmla="*/ 13501469 h 16595816"/>
                <a:gd name="connsiteX0" fmla="*/ 1529269 w 1529269"/>
                <a:gd name="connsiteY0" fmla="*/ 16411399 h 16411399"/>
                <a:gd name="connsiteX1" fmla="*/ 0 w 1529269"/>
                <a:gd name="connsiteY1" fmla="*/ 13317052 h 16411399"/>
                <a:gd name="connsiteX0" fmla="*/ 1541604 w 1541604"/>
                <a:gd name="connsiteY0" fmla="*/ 16594676 h 16594676"/>
                <a:gd name="connsiteX1" fmla="*/ 0 w 1541604"/>
                <a:gd name="connsiteY1" fmla="*/ 13017755 h 16594676"/>
                <a:gd name="connsiteX0" fmla="*/ 1541604 w 1541604"/>
                <a:gd name="connsiteY0" fmla="*/ 17182124 h 17182124"/>
                <a:gd name="connsiteX1" fmla="*/ 0 w 1541604"/>
                <a:gd name="connsiteY1" fmla="*/ 13605203 h 17182124"/>
                <a:gd name="connsiteX0" fmla="*/ 1541604 w 1541604"/>
                <a:gd name="connsiteY0" fmla="*/ 27353535 h 27353535"/>
                <a:gd name="connsiteX1" fmla="*/ 0 w 1541604"/>
                <a:gd name="connsiteY1" fmla="*/ 5752415 h 27353535"/>
                <a:gd name="connsiteX0" fmla="*/ 1541604 w 1541604"/>
                <a:gd name="connsiteY0" fmla="*/ 44184592 h 44184592"/>
                <a:gd name="connsiteX1" fmla="*/ 0 w 1541604"/>
                <a:gd name="connsiteY1" fmla="*/ 22583472 h 44184592"/>
                <a:gd name="connsiteX0" fmla="*/ 1521685 w 1521685"/>
                <a:gd name="connsiteY0" fmla="*/ 37517972 h 37517972"/>
                <a:gd name="connsiteX1" fmla="*/ 0 w 1521685"/>
                <a:gd name="connsiteY1" fmla="*/ 34700634 h 37517972"/>
                <a:gd name="connsiteX0" fmla="*/ 1521685 w 1521685"/>
                <a:gd name="connsiteY0" fmla="*/ 42084358 h 42084358"/>
                <a:gd name="connsiteX1" fmla="*/ 0 w 1521685"/>
                <a:gd name="connsiteY1" fmla="*/ 39267020 h 42084358"/>
                <a:gd name="connsiteX0" fmla="*/ 1518365 w 1518365"/>
                <a:gd name="connsiteY0" fmla="*/ 35895732 h 52735838"/>
                <a:gd name="connsiteX1" fmla="*/ 0 w 1518365"/>
                <a:gd name="connsiteY1" fmla="*/ 52735838 h 52735838"/>
                <a:gd name="connsiteX0" fmla="*/ 1518365 w 1518365"/>
                <a:gd name="connsiteY0" fmla="*/ 22514052 h 39354158"/>
                <a:gd name="connsiteX1" fmla="*/ 0 w 1518365"/>
                <a:gd name="connsiteY1" fmla="*/ 39354158 h 39354158"/>
                <a:gd name="connsiteX0" fmla="*/ 1518365 w 1518365"/>
                <a:gd name="connsiteY0" fmla="*/ 21602552 h 38442658"/>
                <a:gd name="connsiteX1" fmla="*/ 0 w 1518365"/>
                <a:gd name="connsiteY1" fmla="*/ 38442658 h 38442658"/>
                <a:gd name="connsiteX0" fmla="*/ 1514509 w 1514509"/>
                <a:gd name="connsiteY0" fmla="*/ 15772970 h 62115246"/>
                <a:gd name="connsiteX1" fmla="*/ 0 w 1514509"/>
                <a:gd name="connsiteY1" fmla="*/ 62115246 h 62115246"/>
                <a:gd name="connsiteX0" fmla="*/ 1514509 w 1514509"/>
                <a:gd name="connsiteY0" fmla="*/ 804046 h 47146322"/>
                <a:gd name="connsiteX1" fmla="*/ 0 w 1514509"/>
                <a:gd name="connsiteY1" fmla="*/ 47146322 h 47146322"/>
                <a:gd name="connsiteX0" fmla="*/ 1537626 w 1537626"/>
                <a:gd name="connsiteY0" fmla="*/ 55487432 h 55487432"/>
                <a:gd name="connsiteX1" fmla="*/ 0 w 1537626"/>
                <a:gd name="connsiteY1" fmla="*/ 4907526 h 55487432"/>
                <a:gd name="connsiteX0" fmla="*/ 1537626 w 1537626"/>
                <a:gd name="connsiteY0" fmla="*/ 59970249 h 59970249"/>
                <a:gd name="connsiteX1" fmla="*/ 0 w 1537626"/>
                <a:gd name="connsiteY1" fmla="*/ 9390343 h 59970249"/>
                <a:gd name="connsiteX0" fmla="*/ 1519547 w 1519547"/>
                <a:gd name="connsiteY0" fmla="*/ 14575481 h 88707902"/>
                <a:gd name="connsiteX1" fmla="*/ 0 w 1519547"/>
                <a:gd name="connsiteY1" fmla="*/ 88707903 h 88707902"/>
                <a:gd name="connsiteX0" fmla="*/ 2550044 w 2550044"/>
                <a:gd name="connsiteY0" fmla="*/ 14198555 h 92122905"/>
                <a:gd name="connsiteX1" fmla="*/ 0 w 2550044"/>
                <a:gd name="connsiteY1" fmla="*/ 92122906 h 92122905"/>
                <a:gd name="connsiteX0" fmla="*/ 2550044 w 2550044"/>
                <a:gd name="connsiteY0" fmla="*/ 0 h 77924350"/>
                <a:gd name="connsiteX1" fmla="*/ 0 w 2550044"/>
                <a:gd name="connsiteY1" fmla="*/ 77924351 h 77924350"/>
                <a:gd name="connsiteX0" fmla="*/ 2952278 w 2952278"/>
                <a:gd name="connsiteY0" fmla="*/ 0 h 77924350"/>
                <a:gd name="connsiteX1" fmla="*/ 402234 w 2952278"/>
                <a:gd name="connsiteY1" fmla="*/ 77924351 h 77924350"/>
                <a:gd name="connsiteX0" fmla="*/ 7702273 w 7702273"/>
                <a:gd name="connsiteY0" fmla="*/ 0 h 128231179"/>
                <a:gd name="connsiteX1" fmla="*/ 119220 w 7702273"/>
                <a:gd name="connsiteY1" fmla="*/ 128231179 h 128231179"/>
                <a:gd name="connsiteX0" fmla="*/ 7855790 w 7855790"/>
                <a:gd name="connsiteY0" fmla="*/ 343527 h 128574706"/>
                <a:gd name="connsiteX1" fmla="*/ 272737 w 7855790"/>
                <a:gd name="connsiteY1" fmla="*/ 128574706 h 128574706"/>
                <a:gd name="connsiteX0" fmla="*/ 7850686 w 7850686"/>
                <a:gd name="connsiteY0" fmla="*/ 13265398 h 141496577"/>
                <a:gd name="connsiteX1" fmla="*/ 267633 w 7850686"/>
                <a:gd name="connsiteY1" fmla="*/ 141496577 h 141496577"/>
                <a:gd name="connsiteX0" fmla="*/ 9134356 w 9134356"/>
                <a:gd name="connsiteY0" fmla="*/ 11065878 h 150906325"/>
                <a:gd name="connsiteX1" fmla="*/ 230585 w 9134356"/>
                <a:gd name="connsiteY1" fmla="*/ 150906325 h 150906325"/>
                <a:gd name="connsiteX0" fmla="*/ 8903771 w 8903771"/>
                <a:gd name="connsiteY0" fmla="*/ 10623830 h 150464277"/>
                <a:gd name="connsiteX1" fmla="*/ 0 w 8903771"/>
                <a:gd name="connsiteY1" fmla="*/ 150464277 h 150464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03771" h="150464277">
                  <a:moveTo>
                    <a:pt x="8903771" y="10623830"/>
                  </a:moveTo>
                  <a:cubicBezTo>
                    <a:pt x="6501460" y="-15169861"/>
                    <a:pt x="1224520" y="-3068268"/>
                    <a:pt x="0" y="150464277"/>
                  </a:cubicBezTo>
                </a:path>
              </a:pathLst>
            </a:custGeom>
            <a:noFill/>
            <a:ln w="9525">
              <a:solidFill>
                <a:srgbClr val="AED6CF"/>
              </a:solidFill>
              <a:prstDash val="sysDash"/>
              <a:miter lim="800000"/>
              <a:headEnd type="none"/>
              <a:tailEnd type="stealth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48" name="4-Point Star 280"/>
            <p:cNvSpPr/>
            <p:nvPr/>
          </p:nvSpPr>
          <p:spPr bwMode="auto">
            <a:xfrm rot="19899475">
              <a:off x="5137334" y="1971457"/>
              <a:ext cx="122917" cy="122917"/>
            </a:xfrm>
            <a:prstGeom prst="star4">
              <a:avLst/>
            </a:prstGeom>
            <a:solidFill>
              <a:srgbClr val="C2E0DB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en-US" sz="1200" b="0" smtClean="0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  <p:sp>
          <p:nvSpPr>
            <p:cNvPr id="73" name="Freeform 230"/>
            <p:cNvSpPr/>
            <p:nvPr/>
          </p:nvSpPr>
          <p:spPr bwMode="auto">
            <a:xfrm>
              <a:off x="4977408" y="2232520"/>
              <a:ext cx="1550554" cy="2352298"/>
            </a:xfrm>
            <a:custGeom>
              <a:avLst/>
              <a:gdLst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07066"/>
                <a:gd name="connsiteY0" fmla="*/ 0 h 1007533"/>
                <a:gd name="connsiteX1" fmla="*/ 0 w 1507066"/>
                <a:gd name="connsiteY1" fmla="*/ 1007533 h 1007533"/>
                <a:gd name="connsiteX0" fmla="*/ 1507066 w 1562795"/>
                <a:gd name="connsiteY0" fmla="*/ 200496 h 1208029"/>
                <a:gd name="connsiteX1" fmla="*/ 0 w 1562795"/>
                <a:gd name="connsiteY1" fmla="*/ 1208029 h 1208029"/>
                <a:gd name="connsiteX0" fmla="*/ 1507066 w 1561196"/>
                <a:gd name="connsiteY0" fmla="*/ 211896 h 1219429"/>
                <a:gd name="connsiteX1" fmla="*/ 0 w 1561196"/>
                <a:gd name="connsiteY1" fmla="*/ 1219429 h 1219429"/>
                <a:gd name="connsiteX0" fmla="*/ 1507066 w 1507066"/>
                <a:gd name="connsiteY0" fmla="*/ 12997611 h 14005144"/>
                <a:gd name="connsiteX1" fmla="*/ 0 w 1507066"/>
                <a:gd name="connsiteY1" fmla="*/ 14005144 h 14005144"/>
                <a:gd name="connsiteX0" fmla="*/ 1510821 w 1510821"/>
                <a:gd name="connsiteY0" fmla="*/ 15148014 h 16155547"/>
                <a:gd name="connsiteX1" fmla="*/ 3755 w 1510821"/>
                <a:gd name="connsiteY1" fmla="*/ 16155547 h 16155547"/>
                <a:gd name="connsiteX0" fmla="*/ 1532961 w 1532961"/>
                <a:gd name="connsiteY0" fmla="*/ 16595816 h 16595816"/>
                <a:gd name="connsiteX1" fmla="*/ 3692 w 1532961"/>
                <a:gd name="connsiteY1" fmla="*/ 13501469 h 16595816"/>
                <a:gd name="connsiteX0" fmla="*/ 1529269 w 1529269"/>
                <a:gd name="connsiteY0" fmla="*/ 16411399 h 16411399"/>
                <a:gd name="connsiteX1" fmla="*/ 0 w 1529269"/>
                <a:gd name="connsiteY1" fmla="*/ 13317052 h 16411399"/>
                <a:gd name="connsiteX0" fmla="*/ 1541604 w 1541604"/>
                <a:gd name="connsiteY0" fmla="*/ 16594676 h 16594676"/>
                <a:gd name="connsiteX1" fmla="*/ 0 w 1541604"/>
                <a:gd name="connsiteY1" fmla="*/ 13017755 h 16594676"/>
                <a:gd name="connsiteX0" fmla="*/ 1541604 w 1541604"/>
                <a:gd name="connsiteY0" fmla="*/ 17182124 h 17182124"/>
                <a:gd name="connsiteX1" fmla="*/ 0 w 1541604"/>
                <a:gd name="connsiteY1" fmla="*/ 13605203 h 17182124"/>
                <a:gd name="connsiteX0" fmla="*/ 1541604 w 1541604"/>
                <a:gd name="connsiteY0" fmla="*/ 27353535 h 27353535"/>
                <a:gd name="connsiteX1" fmla="*/ 0 w 1541604"/>
                <a:gd name="connsiteY1" fmla="*/ 5752415 h 27353535"/>
                <a:gd name="connsiteX0" fmla="*/ 1541604 w 1541604"/>
                <a:gd name="connsiteY0" fmla="*/ 44184592 h 44184592"/>
                <a:gd name="connsiteX1" fmla="*/ 0 w 1541604"/>
                <a:gd name="connsiteY1" fmla="*/ 22583472 h 44184592"/>
                <a:gd name="connsiteX0" fmla="*/ 1521685 w 1521685"/>
                <a:gd name="connsiteY0" fmla="*/ 37517972 h 37517972"/>
                <a:gd name="connsiteX1" fmla="*/ 0 w 1521685"/>
                <a:gd name="connsiteY1" fmla="*/ 34700634 h 37517972"/>
                <a:gd name="connsiteX0" fmla="*/ 1521685 w 1521685"/>
                <a:gd name="connsiteY0" fmla="*/ 42084358 h 42084358"/>
                <a:gd name="connsiteX1" fmla="*/ 0 w 1521685"/>
                <a:gd name="connsiteY1" fmla="*/ 39267020 h 42084358"/>
                <a:gd name="connsiteX0" fmla="*/ 1518365 w 1518365"/>
                <a:gd name="connsiteY0" fmla="*/ 35895732 h 52735838"/>
                <a:gd name="connsiteX1" fmla="*/ 0 w 1518365"/>
                <a:gd name="connsiteY1" fmla="*/ 52735838 h 52735838"/>
                <a:gd name="connsiteX0" fmla="*/ 1518365 w 1518365"/>
                <a:gd name="connsiteY0" fmla="*/ 22514052 h 39354158"/>
                <a:gd name="connsiteX1" fmla="*/ 0 w 1518365"/>
                <a:gd name="connsiteY1" fmla="*/ 39354158 h 39354158"/>
                <a:gd name="connsiteX0" fmla="*/ 1518365 w 1518365"/>
                <a:gd name="connsiteY0" fmla="*/ 21602552 h 38442658"/>
                <a:gd name="connsiteX1" fmla="*/ 0 w 1518365"/>
                <a:gd name="connsiteY1" fmla="*/ 38442658 h 38442658"/>
                <a:gd name="connsiteX0" fmla="*/ 1514509 w 1514509"/>
                <a:gd name="connsiteY0" fmla="*/ 15772970 h 62115246"/>
                <a:gd name="connsiteX1" fmla="*/ 0 w 1514509"/>
                <a:gd name="connsiteY1" fmla="*/ 62115246 h 62115246"/>
                <a:gd name="connsiteX0" fmla="*/ 1514509 w 1514509"/>
                <a:gd name="connsiteY0" fmla="*/ 804046 h 47146322"/>
                <a:gd name="connsiteX1" fmla="*/ 0 w 1514509"/>
                <a:gd name="connsiteY1" fmla="*/ 47146322 h 47146322"/>
                <a:gd name="connsiteX0" fmla="*/ 1537626 w 1537626"/>
                <a:gd name="connsiteY0" fmla="*/ 55487432 h 55487432"/>
                <a:gd name="connsiteX1" fmla="*/ 0 w 1537626"/>
                <a:gd name="connsiteY1" fmla="*/ 4907526 h 55487432"/>
                <a:gd name="connsiteX0" fmla="*/ 1537626 w 1537626"/>
                <a:gd name="connsiteY0" fmla="*/ 59970249 h 59970249"/>
                <a:gd name="connsiteX1" fmla="*/ 0 w 1537626"/>
                <a:gd name="connsiteY1" fmla="*/ 9390343 h 59970249"/>
                <a:gd name="connsiteX0" fmla="*/ 1519547 w 1519547"/>
                <a:gd name="connsiteY0" fmla="*/ 14575481 h 88707902"/>
                <a:gd name="connsiteX1" fmla="*/ 0 w 1519547"/>
                <a:gd name="connsiteY1" fmla="*/ 88707903 h 88707902"/>
                <a:gd name="connsiteX0" fmla="*/ 2550044 w 2550044"/>
                <a:gd name="connsiteY0" fmla="*/ 14198555 h 92122905"/>
                <a:gd name="connsiteX1" fmla="*/ 0 w 2550044"/>
                <a:gd name="connsiteY1" fmla="*/ 92122906 h 92122905"/>
                <a:gd name="connsiteX0" fmla="*/ 2550044 w 2550044"/>
                <a:gd name="connsiteY0" fmla="*/ 0 h 77924350"/>
                <a:gd name="connsiteX1" fmla="*/ 0 w 2550044"/>
                <a:gd name="connsiteY1" fmla="*/ 77924351 h 77924350"/>
                <a:gd name="connsiteX0" fmla="*/ 2952278 w 2952278"/>
                <a:gd name="connsiteY0" fmla="*/ 0 h 77924350"/>
                <a:gd name="connsiteX1" fmla="*/ 402234 w 2952278"/>
                <a:gd name="connsiteY1" fmla="*/ 77924351 h 77924350"/>
                <a:gd name="connsiteX0" fmla="*/ 4485622 w 4485622"/>
                <a:gd name="connsiteY0" fmla="*/ 0 h 130063366"/>
                <a:gd name="connsiteX1" fmla="*/ 227167 w 4485622"/>
                <a:gd name="connsiteY1" fmla="*/ 130063366 h 130063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85622" h="130063366">
                  <a:moveTo>
                    <a:pt x="4485622" y="0"/>
                  </a:moveTo>
                  <a:cubicBezTo>
                    <a:pt x="1922683" y="3874424"/>
                    <a:pt x="-814951" y="95633285"/>
                    <a:pt x="227167" y="130063366"/>
                  </a:cubicBezTo>
                </a:path>
              </a:pathLst>
            </a:custGeom>
            <a:noFill/>
            <a:ln w="9525">
              <a:solidFill>
                <a:srgbClr val="AED6CF"/>
              </a:solidFill>
              <a:prstDash val="sysDash"/>
              <a:miter lim="800000"/>
              <a:headEnd type="none"/>
              <a:tailEnd type="stealth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>
                <a:latin typeface="나눔바른고딕" panose="020B0603020101020101" pitchFamily="50" charset="-127"/>
                <a:ea typeface="나눔바른고딕" panose="020B0603020101020101" pitchFamily="50" charset="-127"/>
              </a:endParaRPr>
            </a:p>
          </p:txBody>
        </p:sp>
      </p:grpSp>
      <p:grpSp>
        <p:nvGrpSpPr>
          <p:cNvPr id="56" name="그룹 55"/>
          <p:cNvGrpSpPr/>
          <p:nvPr/>
        </p:nvGrpSpPr>
        <p:grpSpPr>
          <a:xfrm>
            <a:off x="3152750" y="4475714"/>
            <a:ext cx="7015311" cy="1278733"/>
            <a:chOff x="3152750" y="2913182"/>
            <a:chExt cx="7015311" cy="1278733"/>
          </a:xfrm>
        </p:grpSpPr>
        <p:cxnSp>
          <p:nvCxnSpPr>
            <p:cNvPr id="50" name="직선 연결선 49"/>
            <p:cNvCxnSpPr/>
            <p:nvPr/>
          </p:nvCxnSpPr>
          <p:spPr>
            <a:xfrm>
              <a:off x="3152750" y="3443120"/>
              <a:ext cx="6753250" cy="0"/>
            </a:xfrm>
            <a:prstGeom prst="line">
              <a:avLst/>
            </a:prstGeom>
            <a:ln w="3810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3152750" y="2913182"/>
              <a:ext cx="7015311" cy="486343"/>
            </a:xfrm>
            <a:prstGeom prst="rect">
              <a:avLst/>
            </a:prstGeom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ko-KR" sz="2400" b="1" dirty="0" smtClean="0">
                  <a:solidFill>
                    <a:srgbClr val="002060"/>
                  </a:solidFill>
                  <a:effectLst>
                    <a:glow rad="152400">
                      <a:schemeClr val="bg1">
                        <a:alpha val="40000"/>
                      </a:schemeClr>
                    </a:glow>
                  </a:effectLst>
                  <a:latin typeface="Calibri" panose="020F0502020204030204" pitchFamily="34" charset="0"/>
                </a:rPr>
                <a:t>PPP Projects of South Korea(Domestic and Overseas)</a:t>
              </a:r>
              <a:endParaRPr lang="en-US" altLang="ko-KR" sz="2400" b="1" dirty="0">
                <a:solidFill>
                  <a:srgbClr val="002060"/>
                </a:solidFill>
                <a:effectLst>
                  <a:glow rad="152400">
                    <a:schemeClr val="bg1">
                      <a:alpha val="40000"/>
                    </a:schemeClr>
                  </a:glow>
                </a:effectLst>
                <a:latin typeface="Calibri" panose="020F0502020204030204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138340" y="3602147"/>
              <a:ext cx="3411648" cy="589768"/>
            </a:xfrm>
            <a:prstGeom prst="rect">
              <a:avLst/>
            </a:prstGeom>
          </p:spPr>
          <p:txBody>
            <a:bodyPr wrap="square" lIns="36000" tIns="36000" rIns="36000" bIns="36000" rtlCol="0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ko-KR" sz="1400" b="1" i="1" dirty="0" smtClean="0">
                  <a:solidFill>
                    <a:srgbClr val="002060"/>
                  </a:solidFill>
                  <a:effectLst>
                    <a:glow rad="152400">
                      <a:schemeClr val="bg1">
                        <a:alpha val="40000"/>
                      </a:schemeClr>
                    </a:glow>
                  </a:effectLst>
                  <a:latin typeface="Calibri" panose="020F0502020204030204" pitchFamily="34" charset="0"/>
                </a:rPr>
                <a:t>Tae-won, Park </a:t>
              </a:r>
            </a:p>
            <a:p>
              <a:pPr algn="r">
                <a:lnSpc>
                  <a:spcPct val="120000"/>
                </a:lnSpc>
              </a:pPr>
              <a:r>
                <a:rPr lang="en-US" altLang="ko-KR" sz="1400" b="1" i="1" dirty="0" smtClean="0">
                  <a:solidFill>
                    <a:srgbClr val="002060"/>
                  </a:solidFill>
                  <a:effectLst>
                    <a:glow rad="152400">
                      <a:schemeClr val="bg1">
                        <a:alpha val="40000"/>
                      </a:schemeClr>
                    </a:glow>
                  </a:effectLst>
                  <a:latin typeface="Calibri" panose="020F0502020204030204" pitchFamily="34" charset="0"/>
                </a:rPr>
                <a:t>Construction Association of Korea(CAK)</a:t>
              </a:r>
              <a:endParaRPr lang="en-US" altLang="ko-KR" sz="1400" b="1" i="1" dirty="0">
                <a:solidFill>
                  <a:srgbClr val="002060"/>
                </a:solidFill>
                <a:effectLst>
                  <a:glow rad="152400">
                    <a:schemeClr val="bg1">
                      <a:alpha val="40000"/>
                    </a:schemeClr>
                  </a:glow>
                </a:effectLst>
                <a:latin typeface="Calibri" panose="020F0502020204030204" pitchFamily="34" charset="0"/>
              </a:endParaRPr>
            </a:p>
          </p:txBody>
        </p:sp>
        <p:cxnSp>
          <p:nvCxnSpPr>
            <p:cNvPr id="53" name="직선 연결선 52"/>
            <p:cNvCxnSpPr/>
            <p:nvPr/>
          </p:nvCxnSpPr>
          <p:spPr>
            <a:xfrm>
              <a:off x="3152750" y="3503403"/>
              <a:ext cx="6753250" cy="0"/>
            </a:xfrm>
            <a:prstGeom prst="line">
              <a:avLst/>
            </a:prstGeom>
            <a:ln w="63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oup 398"/>
          <p:cNvGrpSpPr/>
          <p:nvPr/>
        </p:nvGrpSpPr>
        <p:grpSpPr>
          <a:xfrm>
            <a:off x="4719214" y="1571978"/>
            <a:ext cx="485552" cy="263924"/>
            <a:chOff x="1124867" y="3167149"/>
            <a:chExt cx="1196851" cy="650553"/>
          </a:xfrm>
          <a:solidFill>
            <a:srgbClr val="67B1A5"/>
          </a:solidFill>
        </p:grpSpPr>
        <p:sp>
          <p:nvSpPr>
            <p:cNvPr id="66" name="Freeform 399"/>
            <p:cNvSpPr/>
            <p:nvPr/>
          </p:nvSpPr>
          <p:spPr>
            <a:xfrm>
              <a:off x="1148586" y="3167149"/>
              <a:ext cx="1170752" cy="501468"/>
            </a:xfrm>
            <a:custGeom>
              <a:avLst/>
              <a:gdLst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926975 w 6168044"/>
                <a:gd name="connsiteY24" fmla="*/ 2144683 h 2460567"/>
                <a:gd name="connsiteX25" fmla="*/ 5652655 w 6168044"/>
                <a:gd name="connsiteY25" fmla="*/ 1911927 h 2460567"/>
                <a:gd name="connsiteX26" fmla="*/ 5095702 w 6168044"/>
                <a:gd name="connsiteY26" fmla="*/ 1363287 h 2460567"/>
                <a:gd name="connsiteX27" fmla="*/ 4713317 w 6168044"/>
                <a:gd name="connsiteY27" fmla="*/ 897774 h 2460567"/>
                <a:gd name="connsiteX28" fmla="*/ 4305993 w 6168044"/>
                <a:gd name="connsiteY28" fmla="*/ 340822 h 2460567"/>
                <a:gd name="connsiteX29" fmla="*/ 4305993 w 6168044"/>
                <a:gd name="connsiteY29" fmla="*/ 2128058 h 2460567"/>
                <a:gd name="connsiteX30" fmla="*/ 4181302 w 6168044"/>
                <a:gd name="connsiteY30" fmla="*/ 2128058 h 2460567"/>
                <a:gd name="connsiteX31" fmla="*/ 4181302 w 6168044"/>
                <a:gd name="connsiteY31" fmla="*/ 266007 h 2460567"/>
                <a:gd name="connsiteX32" fmla="*/ 3840480 w 6168044"/>
                <a:gd name="connsiteY32" fmla="*/ 748145 h 2460567"/>
                <a:gd name="connsiteX33" fmla="*/ 3449782 w 6168044"/>
                <a:gd name="connsiteY33" fmla="*/ 1246909 h 2460567"/>
                <a:gd name="connsiteX34" fmla="*/ 3084022 w 6168044"/>
                <a:gd name="connsiteY34" fmla="*/ 1654233 h 2460567"/>
                <a:gd name="connsiteX35" fmla="*/ 2601884 w 6168044"/>
                <a:gd name="connsiteY35" fmla="*/ 2061556 h 2460567"/>
                <a:gd name="connsiteX36" fmla="*/ 2385753 w 6168044"/>
                <a:gd name="connsiteY36" fmla="*/ 2244436 h 2460567"/>
                <a:gd name="connsiteX37" fmla="*/ 2003367 w 6168044"/>
                <a:gd name="connsiteY37" fmla="*/ 2377440 h 2460567"/>
                <a:gd name="connsiteX38" fmla="*/ 1695797 w 6168044"/>
                <a:gd name="connsiteY38" fmla="*/ 2294313 h 2460567"/>
                <a:gd name="connsiteX39" fmla="*/ 1379913 w 6168044"/>
                <a:gd name="connsiteY39" fmla="*/ 2103120 h 2460567"/>
                <a:gd name="connsiteX40" fmla="*/ 1105593 w 6168044"/>
                <a:gd name="connsiteY40" fmla="*/ 1878676 h 2460567"/>
                <a:gd name="connsiteX41" fmla="*/ 914400 w 6168044"/>
                <a:gd name="connsiteY41" fmla="*/ 1670858 h 2460567"/>
                <a:gd name="connsiteX42" fmla="*/ 665018 w 6168044"/>
                <a:gd name="connsiteY42" fmla="*/ 1305098 h 2460567"/>
                <a:gd name="connsiteX43" fmla="*/ 665018 w 6168044"/>
                <a:gd name="connsiteY43" fmla="*/ 2460567 h 2460567"/>
                <a:gd name="connsiteX44" fmla="*/ 532015 w 6168044"/>
                <a:gd name="connsiteY44" fmla="*/ 2460567 h 2460567"/>
                <a:gd name="connsiteX45" fmla="*/ 540327 w 6168044"/>
                <a:gd name="connsiteY45" fmla="*/ 1596043 h 2460567"/>
                <a:gd name="connsiteX46" fmla="*/ 482138 w 6168044"/>
                <a:gd name="connsiteY46" fmla="*/ 1654233 h 2460567"/>
                <a:gd name="connsiteX47" fmla="*/ 299258 w 6168044"/>
                <a:gd name="connsiteY47" fmla="*/ 2044931 h 2460567"/>
                <a:gd name="connsiteX48" fmla="*/ 116378 w 6168044"/>
                <a:gd name="connsiteY48" fmla="*/ 2360814 h 2460567"/>
                <a:gd name="connsiteX49" fmla="*/ 74815 w 6168044"/>
                <a:gd name="connsiteY49" fmla="*/ 2452254 h 2460567"/>
                <a:gd name="connsiteX50" fmla="*/ 0 w 6168044"/>
                <a:gd name="connsiteY50" fmla="*/ 2377440 h 2460567"/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926975 w 6168044"/>
                <a:gd name="connsiteY24" fmla="*/ 2144683 h 2460567"/>
                <a:gd name="connsiteX25" fmla="*/ 5744564 w 6168044"/>
                <a:gd name="connsiteY25" fmla="*/ 1985880 h 2460567"/>
                <a:gd name="connsiteX26" fmla="*/ 5652655 w 6168044"/>
                <a:gd name="connsiteY26" fmla="*/ 1911927 h 2460567"/>
                <a:gd name="connsiteX27" fmla="*/ 5095702 w 6168044"/>
                <a:gd name="connsiteY27" fmla="*/ 1363287 h 2460567"/>
                <a:gd name="connsiteX28" fmla="*/ 4713317 w 6168044"/>
                <a:gd name="connsiteY28" fmla="*/ 897774 h 2460567"/>
                <a:gd name="connsiteX29" fmla="*/ 4305993 w 6168044"/>
                <a:gd name="connsiteY29" fmla="*/ 340822 h 2460567"/>
                <a:gd name="connsiteX30" fmla="*/ 4305993 w 6168044"/>
                <a:gd name="connsiteY30" fmla="*/ 2128058 h 2460567"/>
                <a:gd name="connsiteX31" fmla="*/ 4181302 w 6168044"/>
                <a:gd name="connsiteY31" fmla="*/ 2128058 h 2460567"/>
                <a:gd name="connsiteX32" fmla="*/ 4181302 w 6168044"/>
                <a:gd name="connsiteY32" fmla="*/ 266007 h 2460567"/>
                <a:gd name="connsiteX33" fmla="*/ 3840480 w 6168044"/>
                <a:gd name="connsiteY33" fmla="*/ 748145 h 2460567"/>
                <a:gd name="connsiteX34" fmla="*/ 3449782 w 6168044"/>
                <a:gd name="connsiteY34" fmla="*/ 1246909 h 2460567"/>
                <a:gd name="connsiteX35" fmla="*/ 3084022 w 6168044"/>
                <a:gd name="connsiteY35" fmla="*/ 1654233 h 2460567"/>
                <a:gd name="connsiteX36" fmla="*/ 2601884 w 6168044"/>
                <a:gd name="connsiteY36" fmla="*/ 2061556 h 2460567"/>
                <a:gd name="connsiteX37" fmla="*/ 2385753 w 6168044"/>
                <a:gd name="connsiteY37" fmla="*/ 2244436 h 2460567"/>
                <a:gd name="connsiteX38" fmla="*/ 2003367 w 6168044"/>
                <a:gd name="connsiteY38" fmla="*/ 2377440 h 2460567"/>
                <a:gd name="connsiteX39" fmla="*/ 1695797 w 6168044"/>
                <a:gd name="connsiteY39" fmla="*/ 2294313 h 2460567"/>
                <a:gd name="connsiteX40" fmla="*/ 1379913 w 6168044"/>
                <a:gd name="connsiteY40" fmla="*/ 2103120 h 2460567"/>
                <a:gd name="connsiteX41" fmla="*/ 1105593 w 6168044"/>
                <a:gd name="connsiteY41" fmla="*/ 1878676 h 2460567"/>
                <a:gd name="connsiteX42" fmla="*/ 914400 w 6168044"/>
                <a:gd name="connsiteY42" fmla="*/ 1670858 h 2460567"/>
                <a:gd name="connsiteX43" fmla="*/ 665018 w 6168044"/>
                <a:gd name="connsiteY43" fmla="*/ 1305098 h 2460567"/>
                <a:gd name="connsiteX44" fmla="*/ 665018 w 6168044"/>
                <a:gd name="connsiteY44" fmla="*/ 2460567 h 2460567"/>
                <a:gd name="connsiteX45" fmla="*/ 532015 w 6168044"/>
                <a:gd name="connsiteY45" fmla="*/ 2460567 h 2460567"/>
                <a:gd name="connsiteX46" fmla="*/ 540327 w 6168044"/>
                <a:gd name="connsiteY46" fmla="*/ 1596043 h 2460567"/>
                <a:gd name="connsiteX47" fmla="*/ 482138 w 6168044"/>
                <a:gd name="connsiteY47" fmla="*/ 1654233 h 2460567"/>
                <a:gd name="connsiteX48" fmla="*/ 299258 w 6168044"/>
                <a:gd name="connsiteY48" fmla="*/ 2044931 h 2460567"/>
                <a:gd name="connsiteX49" fmla="*/ 116378 w 6168044"/>
                <a:gd name="connsiteY49" fmla="*/ 2360814 h 2460567"/>
                <a:gd name="connsiteX50" fmla="*/ 74815 w 6168044"/>
                <a:gd name="connsiteY50" fmla="*/ 2452254 h 2460567"/>
                <a:gd name="connsiteX51" fmla="*/ 0 w 6168044"/>
                <a:gd name="connsiteY51" fmla="*/ 2377440 h 2460567"/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744564 w 6168044"/>
                <a:gd name="connsiteY24" fmla="*/ 1985880 h 2460567"/>
                <a:gd name="connsiteX25" fmla="*/ 5652655 w 6168044"/>
                <a:gd name="connsiteY25" fmla="*/ 1911927 h 2460567"/>
                <a:gd name="connsiteX26" fmla="*/ 5095702 w 6168044"/>
                <a:gd name="connsiteY26" fmla="*/ 1363287 h 2460567"/>
                <a:gd name="connsiteX27" fmla="*/ 4713317 w 6168044"/>
                <a:gd name="connsiteY27" fmla="*/ 897774 h 2460567"/>
                <a:gd name="connsiteX28" fmla="*/ 4305993 w 6168044"/>
                <a:gd name="connsiteY28" fmla="*/ 340822 h 2460567"/>
                <a:gd name="connsiteX29" fmla="*/ 4305993 w 6168044"/>
                <a:gd name="connsiteY29" fmla="*/ 2128058 h 2460567"/>
                <a:gd name="connsiteX30" fmla="*/ 4181302 w 6168044"/>
                <a:gd name="connsiteY30" fmla="*/ 2128058 h 2460567"/>
                <a:gd name="connsiteX31" fmla="*/ 4181302 w 6168044"/>
                <a:gd name="connsiteY31" fmla="*/ 266007 h 2460567"/>
                <a:gd name="connsiteX32" fmla="*/ 3840480 w 6168044"/>
                <a:gd name="connsiteY32" fmla="*/ 748145 h 2460567"/>
                <a:gd name="connsiteX33" fmla="*/ 3449782 w 6168044"/>
                <a:gd name="connsiteY33" fmla="*/ 1246909 h 2460567"/>
                <a:gd name="connsiteX34" fmla="*/ 3084022 w 6168044"/>
                <a:gd name="connsiteY34" fmla="*/ 1654233 h 2460567"/>
                <a:gd name="connsiteX35" fmla="*/ 2601884 w 6168044"/>
                <a:gd name="connsiteY35" fmla="*/ 2061556 h 2460567"/>
                <a:gd name="connsiteX36" fmla="*/ 2385753 w 6168044"/>
                <a:gd name="connsiteY36" fmla="*/ 2244436 h 2460567"/>
                <a:gd name="connsiteX37" fmla="*/ 2003367 w 6168044"/>
                <a:gd name="connsiteY37" fmla="*/ 2377440 h 2460567"/>
                <a:gd name="connsiteX38" fmla="*/ 1695797 w 6168044"/>
                <a:gd name="connsiteY38" fmla="*/ 2294313 h 2460567"/>
                <a:gd name="connsiteX39" fmla="*/ 1379913 w 6168044"/>
                <a:gd name="connsiteY39" fmla="*/ 2103120 h 2460567"/>
                <a:gd name="connsiteX40" fmla="*/ 1105593 w 6168044"/>
                <a:gd name="connsiteY40" fmla="*/ 1878676 h 2460567"/>
                <a:gd name="connsiteX41" fmla="*/ 914400 w 6168044"/>
                <a:gd name="connsiteY41" fmla="*/ 1670858 h 2460567"/>
                <a:gd name="connsiteX42" fmla="*/ 665018 w 6168044"/>
                <a:gd name="connsiteY42" fmla="*/ 1305098 h 2460567"/>
                <a:gd name="connsiteX43" fmla="*/ 665018 w 6168044"/>
                <a:gd name="connsiteY43" fmla="*/ 2460567 h 2460567"/>
                <a:gd name="connsiteX44" fmla="*/ 532015 w 6168044"/>
                <a:gd name="connsiteY44" fmla="*/ 2460567 h 2460567"/>
                <a:gd name="connsiteX45" fmla="*/ 540327 w 6168044"/>
                <a:gd name="connsiteY45" fmla="*/ 1596043 h 2460567"/>
                <a:gd name="connsiteX46" fmla="*/ 482138 w 6168044"/>
                <a:gd name="connsiteY46" fmla="*/ 1654233 h 2460567"/>
                <a:gd name="connsiteX47" fmla="*/ 299258 w 6168044"/>
                <a:gd name="connsiteY47" fmla="*/ 2044931 h 2460567"/>
                <a:gd name="connsiteX48" fmla="*/ 116378 w 6168044"/>
                <a:gd name="connsiteY48" fmla="*/ 2360814 h 2460567"/>
                <a:gd name="connsiteX49" fmla="*/ 74815 w 6168044"/>
                <a:gd name="connsiteY49" fmla="*/ 2452254 h 2460567"/>
                <a:gd name="connsiteX50" fmla="*/ 0 w 6168044"/>
                <a:gd name="connsiteY50" fmla="*/ 2377440 h 2460567"/>
                <a:gd name="connsiteX0" fmla="*/ 0 w 5744564"/>
                <a:gd name="connsiteY0" fmla="*/ 2377440 h 2460567"/>
                <a:gd name="connsiteX1" fmla="*/ 290946 w 5744564"/>
                <a:gd name="connsiteY1" fmla="*/ 1812174 h 2460567"/>
                <a:gd name="connsiteX2" fmla="*/ 565266 w 5744564"/>
                <a:gd name="connsiteY2" fmla="*/ 1130531 h 2460567"/>
                <a:gd name="connsiteX3" fmla="*/ 590204 w 5744564"/>
                <a:gd name="connsiteY3" fmla="*/ 1014153 h 2460567"/>
                <a:gd name="connsiteX4" fmla="*/ 665018 w 5744564"/>
                <a:gd name="connsiteY4" fmla="*/ 1005840 h 2460567"/>
                <a:gd name="connsiteX5" fmla="*/ 756458 w 5744564"/>
                <a:gd name="connsiteY5" fmla="*/ 1246909 h 2460567"/>
                <a:gd name="connsiteX6" fmla="*/ 964277 w 5744564"/>
                <a:gd name="connsiteY6" fmla="*/ 1554480 h 2460567"/>
                <a:gd name="connsiteX7" fmla="*/ 1263535 w 5744564"/>
                <a:gd name="connsiteY7" fmla="*/ 1886989 h 2460567"/>
                <a:gd name="connsiteX8" fmla="*/ 1612669 w 5744564"/>
                <a:gd name="connsiteY8" fmla="*/ 2128058 h 2460567"/>
                <a:gd name="connsiteX9" fmla="*/ 1928553 w 5744564"/>
                <a:gd name="connsiteY9" fmla="*/ 2252749 h 2460567"/>
                <a:gd name="connsiteX10" fmla="*/ 2144684 w 5744564"/>
                <a:gd name="connsiteY10" fmla="*/ 2227811 h 2460567"/>
                <a:gd name="connsiteX11" fmla="*/ 2452255 w 5744564"/>
                <a:gd name="connsiteY11" fmla="*/ 2044931 h 2460567"/>
                <a:gd name="connsiteX12" fmla="*/ 2743200 w 5744564"/>
                <a:gd name="connsiteY12" fmla="*/ 1795549 h 2460567"/>
                <a:gd name="connsiteX13" fmla="*/ 3158837 w 5744564"/>
                <a:gd name="connsiteY13" fmla="*/ 1371600 h 2460567"/>
                <a:gd name="connsiteX14" fmla="*/ 3474720 w 5744564"/>
                <a:gd name="connsiteY14" fmla="*/ 1005840 h 2460567"/>
                <a:gd name="connsiteX15" fmla="*/ 3898669 w 5744564"/>
                <a:gd name="connsiteY15" fmla="*/ 440574 h 2460567"/>
                <a:gd name="connsiteX16" fmla="*/ 4148051 w 5744564"/>
                <a:gd name="connsiteY16" fmla="*/ 24938 h 2460567"/>
                <a:gd name="connsiteX17" fmla="*/ 4197927 w 5744564"/>
                <a:gd name="connsiteY17" fmla="*/ 0 h 2460567"/>
                <a:gd name="connsiteX18" fmla="*/ 4272742 w 5744564"/>
                <a:gd name="connsiteY18" fmla="*/ 24938 h 2460567"/>
                <a:gd name="connsiteX19" fmla="*/ 4447309 w 5744564"/>
                <a:gd name="connsiteY19" fmla="*/ 299258 h 2460567"/>
                <a:gd name="connsiteX20" fmla="*/ 4862946 w 5744564"/>
                <a:gd name="connsiteY20" fmla="*/ 856211 h 2460567"/>
                <a:gd name="connsiteX21" fmla="*/ 5261957 w 5744564"/>
                <a:gd name="connsiteY21" fmla="*/ 1330036 h 2460567"/>
                <a:gd name="connsiteX22" fmla="*/ 5735782 w 5744564"/>
                <a:gd name="connsiteY22" fmla="*/ 1778923 h 2460567"/>
                <a:gd name="connsiteX23" fmla="*/ 5744564 w 5744564"/>
                <a:gd name="connsiteY23" fmla="*/ 1985880 h 2460567"/>
                <a:gd name="connsiteX24" fmla="*/ 5652655 w 5744564"/>
                <a:gd name="connsiteY24" fmla="*/ 1911927 h 2460567"/>
                <a:gd name="connsiteX25" fmla="*/ 5095702 w 5744564"/>
                <a:gd name="connsiteY25" fmla="*/ 1363287 h 2460567"/>
                <a:gd name="connsiteX26" fmla="*/ 4713317 w 5744564"/>
                <a:gd name="connsiteY26" fmla="*/ 897774 h 2460567"/>
                <a:gd name="connsiteX27" fmla="*/ 4305993 w 5744564"/>
                <a:gd name="connsiteY27" fmla="*/ 340822 h 2460567"/>
                <a:gd name="connsiteX28" fmla="*/ 4305993 w 5744564"/>
                <a:gd name="connsiteY28" fmla="*/ 2128058 h 2460567"/>
                <a:gd name="connsiteX29" fmla="*/ 4181302 w 5744564"/>
                <a:gd name="connsiteY29" fmla="*/ 2128058 h 2460567"/>
                <a:gd name="connsiteX30" fmla="*/ 4181302 w 5744564"/>
                <a:gd name="connsiteY30" fmla="*/ 266007 h 2460567"/>
                <a:gd name="connsiteX31" fmla="*/ 3840480 w 5744564"/>
                <a:gd name="connsiteY31" fmla="*/ 748145 h 2460567"/>
                <a:gd name="connsiteX32" fmla="*/ 3449782 w 5744564"/>
                <a:gd name="connsiteY32" fmla="*/ 1246909 h 2460567"/>
                <a:gd name="connsiteX33" fmla="*/ 3084022 w 5744564"/>
                <a:gd name="connsiteY33" fmla="*/ 1654233 h 2460567"/>
                <a:gd name="connsiteX34" fmla="*/ 2601884 w 5744564"/>
                <a:gd name="connsiteY34" fmla="*/ 2061556 h 2460567"/>
                <a:gd name="connsiteX35" fmla="*/ 2385753 w 5744564"/>
                <a:gd name="connsiteY35" fmla="*/ 2244436 h 2460567"/>
                <a:gd name="connsiteX36" fmla="*/ 2003367 w 5744564"/>
                <a:gd name="connsiteY36" fmla="*/ 2377440 h 2460567"/>
                <a:gd name="connsiteX37" fmla="*/ 1695797 w 5744564"/>
                <a:gd name="connsiteY37" fmla="*/ 2294313 h 2460567"/>
                <a:gd name="connsiteX38" fmla="*/ 1379913 w 5744564"/>
                <a:gd name="connsiteY38" fmla="*/ 2103120 h 2460567"/>
                <a:gd name="connsiteX39" fmla="*/ 1105593 w 5744564"/>
                <a:gd name="connsiteY39" fmla="*/ 1878676 h 2460567"/>
                <a:gd name="connsiteX40" fmla="*/ 914400 w 5744564"/>
                <a:gd name="connsiteY40" fmla="*/ 1670858 h 2460567"/>
                <a:gd name="connsiteX41" fmla="*/ 665018 w 5744564"/>
                <a:gd name="connsiteY41" fmla="*/ 1305098 h 2460567"/>
                <a:gd name="connsiteX42" fmla="*/ 665018 w 5744564"/>
                <a:gd name="connsiteY42" fmla="*/ 2460567 h 2460567"/>
                <a:gd name="connsiteX43" fmla="*/ 532015 w 5744564"/>
                <a:gd name="connsiteY43" fmla="*/ 2460567 h 2460567"/>
                <a:gd name="connsiteX44" fmla="*/ 540327 w 5744564"/>
                <a:gd name="connsiteY44" fmla="*/ 1596043 h 2460567"/>
                <a:gd name="connsiteX45" fmla="*/ 482138 w 5744564"/>
                <a:gd name="connsiteY45" fmla="*/ 1654233 h 2460567"/>
                <a:gd name="connsiteX46" fmla="*/ 299258 w 5744564"/>
                <a:gd name="connsiteY46" fmla="*/ 2044931 h 2460567"/>
                <a:gd name="connsiteX47" fmla="*/ 116378 w 5744564"/>
                <a:gd name="connsiteY47" fmla="*/ 2360814 h 2460567"/>
                <a:gd name="connsiteX48" fmla="*/ 74815 w 5744564"/>
                <a:gd name="connsiteY48" fmla="*/ 2452254 h 2460567"/>
                <a:gd name="connsiteX49" fmla="*/ 0 w 5744564"/>
                <a:gd name="connsiteY49" fmla="*/ 2377440 h 2460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744564" h="2460567">
                  <a:moveTo>
                    <a:pt x="0" y="2377440"/>
                  </a:moveTo>
                  <a:lnTo>
                    <a:pt x="290946" y="1812174"/>
                  </a:lnTo>
                  <a:lnTo>
                    <a:pt x="565266" y="1130531"/>
                  </a:lnTo>
                  <a:lnTo>
                    <a:pt x="590204" y="1014153"/>
                  </a:lnTo>
                  <a:lnTo>
                    <a:pt x="665018" y="1005840"/>
                  </a:lnTo>
                  <a:lnTo>
                    <a:pt x="756458" y="1246909"/>
                  </a:lnTo>
                  <a:lnTo>
                    <a:pt x="964277" y="1554480"/>
                  </a:lnTo>
                  <a:lnTo>
                    <a:pt x="1263535" y="1886989"/>
                  </a:lnTo>
                  <a:lnTo>
                    <a:pt x="1612669" y="2128058"/>
                  </a:lnTo>
                  <a:lnTo>
                    <a:pt x="1928553" y="2252749"/>
                  </a:lnTo>
                  <a:lnTo>
                    <a:pt x="2144684" y="2227811"/>
                  </a:lnTo>
                  <a:lnTo>
                    <a:pt x="2452255" y="2044931"/>
                  </a:lnTo>
                  <a:lnTo>
                    <a:pt x="2743200" y="1795549"/>
                  </a:lnTo>
                  <a:lnTo>
                    <a:pt x="3158837" y="1371600"/>
                  </a:lnTo>
                  <a:lnTo>
                    <a:pt x="3474720" y="1005840"/>
                  </a:lnTo>
                  <a:lnTo>
                    <a:pt x="3898669" y="440574"/>
                  </a:lnTo>
                  <a:lnTo>
                    <a:pt x="4148051" y="24938"/>
                  </a:lnTo>
                  <a:lnTo>
                    <a:pt x="4197927" y="0"/>
                  </a:lnTo>
                  <a:lnTo>
                    <a:pt x="4272742" y="24938"/>
                  </a:lnTo>
                  <a:lnTo>
                    <a:pt x="4447309" y="299258"/>
                  </a:lnTo>
                  <a:lnTo>
                    <a:pt x="4862946" y="856211"/>
                  </a:lnTo>
                  <a:lnTo>
                    <a:pt x="5261957" y="1330036"/>
                  </a:lnTo>
                  <a:lnTo>
                    <a:pt x="5735782" y="1778923"/>
                  </a:lnTo>
                  <a:lnTo>
                    <a:pt x="5744564" y="1985880"/>
                  </a:lnTo>
                  <a:lnTo>
                    <a:pt x="5652655" y="1911927"/>
                  </a:lnTo>
                  <a:lnTo>
                    <a:pt x="5095702" y="1363287"/>
                  </a:lnTo>
                  <a:lnTo>
                    <a:pt x="4713317" y="897774"/>
                  </a:lnTo>
                  <a:lnTo>
                    <a:pt x="4305993" y="340822"/>
                  </a:lnTo>
                  <a:lnTo>
                    <a:pt x="4305993" y="2128058"/>
                  </a:lnTo>
                  <a:lnTo>
                    <a:pt x="4181302" y="2128058"/>
                  </a:lnTo>
                  <a:lnTo>
                    <a:pt x="4181302" y="266007"/>
                  </a:lnTo>
                  <a:lnTo>
                    <a:pt x="3840480" y="748145"/>
                  </a:lnTo>
                  <a:lnTo>
                    <a:pt x="3449782" y="1246909"/>
                  </a:lnTo>
                  <a:lnTo>
                    <a:pt x="3084022" y="1654233"/>
                  </a:lnTo>
                  <a:lnTo>
                    <a:pt x="2601884" y="2061556"/>
                  </a:lnTo>
                  <a:lnTo>
                    <a:pt x="2385753" y="2244436"/>
                  </a:lnTo>
                  <a:lnTo>
                    <a:pt x="2003367" y="2377440"/>
                  </a:lnTo>
                  <a:lnTo>
                    <a:pt x="1695797" y="2294313"/>
                  </a:lnTo>
                  <a:lnTo>
                    <a:pt x="1379913" y="2103120"/>
                  </a:lnTo>
                  <a:lnTo>
                    <a:pt x="1105593" y="1878676"/>
                  </a:lnTo>
                  <a:lnTo>
                    <a:pt x="914400" y="1670858"/>
                  </a:lnTo>
                  <a:lnTo>
                    <a:pt x="665018" y="1305098"/>
                  </a:lnTo>
                  <a:lnTo>
                    <a:pt x="665018" y="2460567"/>
                  </a:lnTo>
                  <a:lnTo>
                    <a:pt x="532015" y="2460567"/>
                  </a:lnTo>
                  <a:cubicBezTo>
                    <a:pt x="534786" y="2172392"/>
                    <a:pt x="537556" y="1884218"/>
                    <a:pt x="540327" y="1596043"/>
                  </a:cubicBezTo>
                  <a:lnTo>
                    <a:pt x="482138" y="1654233"/>
                  </a:lnTo>
                  <a:lnTo>
                    <a:pt x="299258" y="2044931"/>
                  </a:lnTo>
                  <a:lnTo>
                    <a:pt x="116378" y="2360814"/>
                  </a:lnTo>
                  <a:lnTo>
                    <a:pt x="74815" y="2452254"/>
                  </a:lnTo>
                  <a:lnTo>
                    <a:pt x="0" y="2377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reeform 400"/>
            <p:cNvSpPr/>
            <p:nvPr/>
          </p:nvSpPr>
          <p:spPr>
            <a:xfrm>
              <a:off x="2039707" y="3168843"/>
              <a:ext cx="279630" cy="294047"/>
            </a:xfrm>
            <a:custGeom>
              <a:avLst/>
              <a:gdLst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554480 w 2219498"/>
                <a:gd name="connsiteY4" fmla="*/ 1512916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837112 w 2219498"/>
                <a:gd name="connsiteY8" fmla="*/ 1928552 h 2161309"/>
                <a:gd name="connsiteX9" fmla="*/ 1413163 w 2219498"/>
                <a:gd name="connsiteY9" fmla="*/ 1512916 h 2161309"/>
                <a:gd name="connsiteX10" fmla="*/ 897774 w 2219498"/>
                <a:gd name="connsiteY10" fmla="*/ 964276 h 2161309"/>
                <a:gd name="connsiteX11" fmla="*/ 523702 w 2219498"/>
                <a:gd name="connsiteY11" fmla="*/ 507076 h 2161309"/>
                <a:gd name="connsiteX12" fmla="*/ 290945 w 2219498"/>
                <a:gd name="connsiteY12" fmla="*/ 216130 h 2161309"/>
                <a:gd name="connsiteX13" fmla="*/ 290945 w 2219498"/>
                <a:gd name="connsiteY13" fmla="*/ 423949 h 2161309"/>
                <a:gd name="connsiteX14" fmla="*/ 157942 w 2219498"/>
                <a:gd name="connsiteY14" fmla="*/ 266007 h 2161309"/>
                <a:gd name="connsiteX15" fmla="*/ 157942 w 2219498"/>
                <a:gd name="connsiteY15" fmla="*/ 141316 h 2161309"/>
                <a:gd name="connsiteX16" fmla="*/ 58189 w 2219498"/>
                <a:gd name="connsiteY16" fmla="*/ 141316 h 2161309"/>
                <a:gd name="connsiteX17" fmla="*/ 0 w 2219498"/>
                <a:gd name="connsiteY17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1554480 w 2219498"/>
                <a:gd name="connsiteY5" fmla="*/ 1512916 h 2161309"/>
                <a:gd name="connsiteX6" fmla="*/ 2044931 w 2219498"/>
                <a:gd name="connsiteY6" fmla="*/ 1978429 h 2161309"/>
                <a:gd name="connsiteX7" fmla="*/ 2219498 w 2219498"/>
                <a:gd name="connsiteY7" fmla="*/ 2103120 h 2161309"/>
                <a:gd name="connsiteX8" fmla="*/ 2177934 w 2219498"/>
                <a:gd name="connsiteY8" fmla="*/ 2161309 h 2161309"/>
                <a:gd name="connsiteX9" fmla="*/ 1837112 w 2219498"/>
                <a:gd name="connsiteY9" fmla="*/ 1928552 h 2161309"/>
                <a:gd name="connsiteX10" fmla="*/ 1413163 w 2219498"/>
                <a:gd name="connsiteY10" fmla="*/ 1512916 h 2161309"/>
                <a:gd name="connsiteX11" fmla="*/ 897774 w 2219498"/>
                <a:gd name="connsiteY11" fmla="*/ 964276 h 2161309"/>
                <a:gd name="connsiteX12" fmla="*/ 523702 w 2219498"/>
                <a:gd name="connsiteY12" fmla="*/ 507076 h 2161309"/>
                <a:gd name="connsiteX13" fmla="*/ 290945 w 2219498"/>
                <a:gd name="connsiteY13" fmla="*/ 216130 h 2161309"/>
                <a:gd name="connsiteX14" fmla="*/ 290945 w 2219498"/>
                <a:gd name="connsiteY14" fmla="*/ 423949 h 2161309"/>
                <a:gd name="connsiteX15" fmla="*/ 157942 w 2219498"/>
                <a:gd name="connsiteY15" fmla="*/ 266007 h 2161309"/>
                <a:gd name="connsiteX16" fmla="*/ 157942 w 2219498"/>
                <a:gd name="connsiteY16" fmla="*/ 141316 h 2161309"/>
                <a:gd name="connsiteX17" fmla="*/ 58189 w 2219498"/>
                <a:gd name="connsiteY17" fmla="*/ 141316 h 2161309"/>
                <a:gd name="connsiteX18" fmla="*/ 0 w 2219498"/>
                <a:gd name="connsiteY18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1554480 w 2219498"/>
                <a:gd name="connsiteY5" fmla="*/ 1512916 h 2161309"/>
                <a:gd name="connsiteX6" fmla="*/ 2044931 w 2219498"/>
                <a:gd name="connsiteY6" fmla="*/ 1978429 h 2161309"/>
                <a:gd name="connsiteX7" fmla="*/ 2219498 w 2219498"/>
                <a:gd name="connsiteY7" fmla="*/ 2103120 h 2161309"/>
                <a:gd name="connsiteX8" fmla="*/ 2177934 w 2219498"/>
                <a:gd name="connsiteY8" fmla="*/ 2161309 h 2161309"/>
                <a:gd name="connsiteX9" fmla="*/ 1837112 w 2219498"/>
                <a:gd name="connsiteY9" fmla="*/ 1928552 h 2161309"/>
                <a:gd name="connsiteX10" fmla="*/ 1366425 w 2219498"/>
                <a:gd name="connsiteY10" fmla="*/ 1442808 h 2161309"/>
                <a:gd name="connsiteX11" fmla="*/ 897774 w 2219498"/>
                <a:gd name="connsiteY11" fmla="*/ 964276 h 2161309"/>
                <a:gd name="connsiteX12" fmla="*/ 523702 w 2219498"/>
                <a:gd name="connsiteY12" fmla="*/ 507076 h 2161309"/>
                <a:gd name="connsiteX13" fmla="*/ 290945 w 2219498"/>
                <a:gd name="connsiteY13" fmla="*/ 216130 h 2161309"/>
                <a:gd name="connsiteX14" fmla="*/ 290945 w 2219498"/>
                <a:gd name="connsiteY14" fmla="*/ 423949 h 2161309"/>
                <a:gd name="connsiteX15" fmla="*/ 157942 w 2219498"/>
                <a:gd name="connsiteY15" fmla="*/ 266007 h 2161309"/>
                <a:gd name="connsiteX16" fmla="*/ 157942 w 2219498"/>
                <a:gd name="connsiteY16" fmla="*/ 141316 h 2161309"/>
                <a:gd name="connsiteX17" fmla="*/ 58189 w 2219498"/>
                <a:gd name="connsiteY17" fmla="*/ 141316 h 2161309"/>
                <a:gd name="connsiteX18" fmla="*/ 0 w 2219498"/>
                <a:gd name="connsiteY18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837112 w 2219498"/>
                <a:gd name="connsiteY8" fmla="*/ 1928552 h 2161309"/>
                <a:gd name="connsiteX9" fmla="*/ 1366425 w 2219498"/>
                <a:gd name="connsiteY9" fmla="*/ 1442808 h 2161309"/>
                <a:gd name="connsiteX10" fmla="*/ 897774 w 2219498"/>
                <a:gd name="connsiteY10" fmla="*/ 964276 h 2161309"/>
                <a:gd name="connsiteX11" fmla="*/ 523702 w 2219498"/>
                <a:gd name="connsiteY11" fmla="*/ 507076 h 2161309"/>
                <a:gd name="connsiteX12" fmla="*/ 290945 w 2219498"/>
                <a:gd name="connsiteY12" fmla="*/ 216130 h 2161309"/>
                <a:gd name="connsiteX13" fmla="*/ 290945 w 2219498"/>
                <a:gd name="connsiteY13" fmla="*/ 423949 h 2161309"/>
                <a:gd name="connsiteX14" fmla="*/ 157942 w 2219498"/>
                <a:gd name="connsiteY14" fmla="*/ 266007 h 2161309"/>
                <a:gd name="connsiteX15" fmla="*/ 157942 w 2219498"/>
                <a:gd name="connsiteY15" fmla="*/ 141316 h 2161309"/>
                <a:gd name="connsiteX16" fmla="*/ 58189 w 2219498"/>
                <a:gd name="connsiteY16" fmla="*/ 141316 h 2161309"/>
                <a:gd name="connsiteX17" fmla="*/ 0 w 2219498"/>
                <a:gd name="connsiteY17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366425 w 2219498"/>
                <a:gd name="connsiteY8" fmla="*/ 1442808 h 2161309"/>
                <a:gd name="connsiteX9" fmla="*/ 897774 w 2219498"/>
                <a:gd name="connsiteY9" fmla="*/ 964276 h 2161309"/>
                <a:gd name="connsiteX10" fmla="*/ 523702 w 2219498"/>
                <a:gd name="connsiteY10" fmla="*/ 507076 h 2161309"/>
                <a:gd name="connsiteX11" fmla="*/ 290945 w 2219498"/>
                <a:gd name="connsiteY11" fmla="*/ 216130 h 2161309"/>
                <a:gd name="connsiteX12" fmla="*/ 290945 w 2219498"/>
                <a:gd name="connsiteY12" fmla="*/ 423949 h 2161309"/>
                <a:gd name="connsiteX13" fmla="*/ 157942 w 2219498"/>
                <a:gd name="connsiteY13" fmla="*/ 266007 h 2161309"/>
                <a:gd name="connsiteX14" fmla="*/ 157942 w 2219498"/>
                <a:gd name="connsiteY14" fmla="*/ 141316 h 2161309"/>
                <a:gd name="connsiteX15" fmla="*/ 58189 w 2219498"/>
                <a:gd name="connsiteY15" fmla="*/ 141316 h 2161309"/>
                <a:gd name="connsiteX16" fmla="*/ 0 w 2219498"/>
                <a:gd name="connsiteY16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219498 w 2219498"/>
                <a:gd name="connsiteY5" fmla="*/ 2103120 h 2161309"/>
                <a:gd name="connsiteX6" fmla="*/ 2177934 w 2219498"/>
                <a:gd name="connsiteY6" fmla="*/ 2161309 h 2161309"/>
                <a:gd name="connsiteX7" fmla="*/ 1366425 w 2219498"/>
                <a:gd name="connsiteY7" fmla="*/ 1442808 h 2161309"/>
                <a:gd name="connsiteX8" fmla="*/ 897774 w 2219498"/>
                <a:gd name="connsiteY8" fmla="*/ 964276 h 2161309"/>
                <a:gd name="connsiteX9" fmla="*/ 523702 w 2219498"/>
                <a:gd name="connsiteY9" fmla="*/ 507076 h 2161309"/>
                <a:gd name="connsiteX10" fmla="*/ 290945 w 2219498"/>
                <a:gd name="connsiteY10" fmla="*/ 216130 h 2161309"/>
                <a:gd name="connsiteX11" fmla="*/ 290945 w 2219498"/>
                <a:gd name="connsiteY11" fmla="*/ 423949 h 2161309"/>
                <a:gd name="connsiteX12" fmla="*/ 157942 w 2219498"/>
                <a:gd name="connsiteY12" fmla="*/ 266007 h 2161309"/>
                <a:gd name="connsiteX13" fmla="*/ 157942 w 2219498"/>
                <a:gd name="connsiteY13" fmla="*/ 141316 h 2161309"/>
                <a:gd name="connsiteX14" fmla="*/ 58189 w 2219498"/>
                <a:gd name="connsiteY14" fmla="*/ 141316 h 2161309"/>
                <a:gd name="connsiteX15" fmla="*/ 0 w 2219498"/>
                <a:gd name="connsiteY15" fmla="*/ 0 h 2161309"/>
                <a:gd name="connsiteX0" fmla="*/ 0 w 2177933"/>
                <a:gd name="connsiteY0" fmla="*/ 0 h 2161309"/>
                <a:gd name="connsiteX1" fmla="*/ 290945 w 2177933"/>
                <a:gd name="connsiteY1" fmla="*/ 0 h 2161309"/>
                <a:gd name="connsiteX2" fmla="*/ 681643 w 2177933"/>
                <a:gd name="connsiteY2" fmla="*/ 532014 h 2161309"/>
                <a:gd name="connsiteX3" fmla="*/ 1147156 w 2177933"/>
                <a:gd name="connsiteY3" fmla="*/ 1080654 h 2161309"/>
                <a:gd name="connsiteX4" fmla="*/ 1372067 w 2177933"/>
                <a:gd name="connsiteY4" fmla="*/ 1334938 h 2161309"/>
                <a:gd name="connsiteX5" fmla="*/ 2177934 w 2177933"/>
                <a:gd name="connsiteY5" fmla="*/ 2161309 h 2161309"/>
                <a:gd name="connsiteX6" fmla="*/ 1366425 w 2177933"/>
                <a:gd name="connsiteY6" fmla="*/ 1442808 h 2161309"/>
                <a:gd name="connsiteX7" fmla="*/ 897774 w 2177933"/>
                <a:gd name="connsiteY7" fmla="*/ 964276 h 2161309"/>
                <a:gd name="connsiteX8" fmla="*/ 523702 w 2177933"/>
                <a:gd name="connsiteY8" fmla="*/ 507076 h 2161309"/>
                <a:gd name="connsiteX9" fmla="*/ 290945 w 2177933"/>
                <a:gd name="connsiteY9" fmla="*/ 216130 h 2161309"/>
                <a:gd name="connsiteX10" fmla="*/ 290945 w 2177933"/>
                <a:gd name="connsiteY10" fmla="*/ 423949 h 2161309"/>
                <a:gd name="connsiteX11" fmla="*/ 157942 w 2177933"/>
                <a:gd name="connsiteY11" fmla="*/ 266007 h 2161309"/>
                <a:gd name="connsiteX12" fmla="*/ 157942 w 2177933"/>
                <a:gd name="connsiteY12" fmla="*/ 141316 h 2161309"/>
                <a:gd name="connsiteX13" fmla="*/ 58189 w 2177933"/>
                <a:gd name="connsiteY13" fmla="*/ 141316 h 2161309"/>
                <a:gd name="connsiteX14" fmla="*/ 0 w 2177933"/>
                <a:gd name="connsiteY14" fmla="*/ 0 h 2161309"/>
                <a:gd name="connsiteX0" fmla="*/ 0 w 1372067"/>
                <a:gd name="connsiteY0" fmla="*/ 0 h 1442808"/>
                <a:gd name="connsiteX1" fmla="*/ 290945 w 1372067"/>
                <a:gd name="connsiteY1" fmla="*/ 0 h 1442808"/>
                <a:gd name="connsiteX2" fmla="*/ 681643 w 1372067"/>
                <a:gd name="connsiteY2" fmla="*/ 532014 h 1442808"/>
                <a:gd name="connsiteX3" fmla="*/ 1147156 w 1372067"/>
                <a:gd name="connsiteY3" fmla="*/ 1080654 h 1442808"/>
                <a:gd name="connsiteX4" fmla="*/ 1372067 w 1372067"/>
                <a:gd name="connsiteY4" fmla="*/ 1334938 h 1442808"/>
                <a:gd name="connsiteX5" fmla="*/ 1366425 w 1372067"/>
                <a:gd name="connsiteY5" fmla="*/ 1442808 h 1442808"/>
                <a:gd name="connsiteX6" fmla="*/ 897774 w 1372067"/>
                <a:gd name="connsiteY6" fmla="*/ 964276 h 1442808"/>
                <a:gd name="connsiteX7" fmla="*/ 523702 w 1372067"/>
                <a:gd name="connsiteY7" fmla="*/ 507076 h 1442808"/>
                <a:gd name="connsiteX8" fmla="*/ 290945 w 1372067"/>
                <a:gd name="connsiteY8" fmla="*/ 216130 h 1442808"/>
                <a:gd name="connsiteX9" fmla="*/ 290945 w 1372067"/>
                <a:gd name="connsiteY9" fmla="*/ 423949 h 1442808"/>
                <a:gd name="connsiteX10" fmla="*/ 157942 w 1372067"/>
                <a:gd name="connsiteY10" fmla="*/ 266007 h 1442808"/>
                <a:gd name="connsiteX11" fmla="*/ 157942 w 1372067"/>
                <a:gd name="connsiteY11" fmla="*/ 141316 h 1442808"/>
                <a:gd name="connsiteX12" fmla="*/ 58189 w 1372067"/>
                <a:gd name="connsiteY12" fmla="*/ 141316 h 1442808"/>
                <a:gd name="connsiteX13" fmla="*/ 0 w 1372067"/>
                <a:gd name="connsiteY13" fmla="*/ 0 h 144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72067" h="1442808">
                  <a:moveTo>
                    <a:pt x="0" y="0"/>
                  </a:moveTo>
                  <a:lnTo>
                    <a:pt x="290945" y="0"/>
                  </a:lnTo>
                  <a:lnTo>
                    <a:pt x="681643" y="532014"/>
                  </a:lnTo>
                  <a:lnTo>
                    <a:pt x="1147156" y="1080654"/>
                  </a:lnTo>
                  <a:lnTo>
                    <a:pt x="1372067" y="1334938"/>
                  </a:lnTo>
                  <a:lnTo>
                    <a:pt x="1366425" y="1442808"/>
                  </a:lnTo>
                  <a:lnTo>
                    <a:pt x="897774" y="964276"/>
                  </a:lnTo>
                  <a:lnTo>
                    <a:pt x="523702" y="507076"/>
                  </a:lnTo>
                  <a:lnTo>
                    <a:pt x="290945" y="216130"/>
                  </a:lnTo>
                  <a:lnTo>
                    <a:pt x="290945" y="423949"/>
                  </a:lnTo>
                  <a:lnTo>
                    <a:pt x="157942" y="266007"/>
                  </a:lnTo>
                  <a:lnTo>
                    <a:pt x="157942" y="141316"/>
                  </a:lnTo>
                  <a:lnTo>
                    <a:pt x="58189" y="14131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Freeform 401"/>
            <p:cNvSpPr/>
            <p:nvPr/>
          </p:nvSpPr>
          <p:spPr>
            <a:xfrm>
              <a:off x="1295977" y="3375529"/>
              <a:ext cx="149085" cy="177886"/>
            </a:xfrm>
            <a:custGeom>
              <a:avLst/>
              <a:gdLst>
                <a:gd name="connsiteX0" fmla="*/ 0 w 731520"/>
                <a:gd name="connsiteY0" fmla="*/ 0 h 872837"/>
                <a:gd name="connsiteX1" fmla="*/ 157942 w 731520"/>
                <a:gd name="connsiteY1" fmla="*/ 0 h 872837"/>
                <a:gd name="connsiteX2" fmla="*/ 299259 w 731520"/>
                <a:gd name="connsiteY2" fmla="*/ 274320 h 872837"/>
                <a:gd name="connsiteX3" fmla="*/ 482139 w 731520"/>
                <a:gd name="connsiteY3" fmla="*/ 565266 h 872837"/>
                <a:gd name="connsiteX4" fmla="*/ 731520 w 731520"/>
                <a:gd name="connsiteY4" fmla="*/ 872837 h 872837"/>
                <a:gd name="connsiteX5" fmla="*/ 648393 w 731520"/>
                <a:gd name="connsiteY5" fmla="*/ 864524 h 872837"/>
                <a:gd name="connsiteX6" fmla="*/ 415637 w 731520"/>
                <a:gd name="connsiteY6" fmla="*/ 606829 h 872837"/>
                <a:gd name="connsiteX7" fmla="*/ 191193 w 731520"/>
                <a:gd name="connsiteY7" fmla="*/ 257695 h 872837"/>
                <a:gd name="connsiteX8" fmla="*/ 149630 w 731520"/>
                <a:gd name="connsiteY8" fmla="*/ 274320 h 872837"/>
                <a:gd name="connsiteX9" fmla="*/ 58190 w 731520"/>
                <a:gd name="connsiteY9" fmla="*/ 124691 h 872837"/>
                <a:gd name="connsiteX10" fmla="*/ 0 w 731520"/>
                <a:gd name="connsiteY10" fmla="*/ 0 h 87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1520" h="872837">
                  <a:moveTo>
                    <a:pt x="0" y="0"/>
                  </a:moveTo>
                  <a:lnTo>
                    <a:pt x="157942" y="0"/>
                  </a:lnTo>
                  <a:lnTo>
                    <a:pt x="299259" y="274320"/>
                  </a:lnTo>
                  <a:lnTo>
                    <a:pt x="482139" y="565266"/>
                  </a:lnTo>
                  <a:lnTo>
                    <a:pt x="731520" y="872837"/>
                  </a:lnTo>
                  <a:lnTo>
                    <a:pt x="648393" y="864524"/>
                  </a:lnTo>
                  <a:lnTo>
                    <a:pt x="415637" y="606829"/>
                  </a:lnTo>
                  <a:lnTo>
                    <a:pt x="191193" y="257695"/>
                  </a:lnTo>
                  <a:lnTo>
                    <a:pt x="149630" y="274320"/>
                  </a:lnTo>
                  <a:lnTo>
                    <a:pt x="58190" y="1246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Freeform 402"/>
            <p:cNvSpPr/>
            <p:nvPr/>
          </p:nvSpPr>
          <p:spPr>
            <a:xfrm>
              <a:off x="1124867" y="3268798"/>
              <a:ext cx="1196851" cy="548904"/>
            </a:xfrm>
            <a:custGeom>
              <a:avLst/>
              <a:gdLst>
                <a:gd name="connsiteX0" fmla="*/ 4414058 w 6567055"/>
                <a:gd name="connsiteY0" fmla="*/ 0 h 2693324"/>
                <a:gd name="connsiteX1" fmla="*/ 4663440 w 6567055"/>
                <a:gd name="connsiteY1" fmla="*/ 0 h 2693324"/>
                <a:gd name="connsiteX2" fmla="*/ 4779818 w 6567055"/>
                <a:gd name="connsiteY2" fmla="*/ 307571 h 2693324"/>
                <a:gd name="connsiteX3" fmla="*/ 4779818 w 6567055"/>
                <a:gd name="connsiteY3" fmla="*/ 1612670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6442364 w 6567055"/>
                <a:gd name="connsiteY3" fmla="*/ 1637608 h 2693324"/>
                <a:gd name="connsiteX4" fmla="*/ 6567055 w 6567055"/>
                <a:gd name="connsiteY4" fmla="*/ 1712422 h 2693324"/>
                <a:gd name="connsiteX5" fmla="*/ 6567055 w 6567055"/>
                <a:gd name="connsiteY5" fmla="*/ 1778924 h 2693324"/>
                <a:gd name="connsiteX6" fmla="*/ 4763193 w 6567055"/>
                <a:gd name="connsiteY6" fmla="*/ 1778924 h 2693324"/>
                <a:gd name="connsiteX7" fmla="*/ 4779818 w 6567055"/>
                <a:gd name="connsiteY7" fmla="*/ 2094808 h 2693324"/>
                <a:gd name="connsiteX8" fmla="*/ 4846320 w 6567055"/>
                <a:gd name="connsiteY8" fmla="*/ 2593571 h 2693324"/>
                <a:gd name="connsiteX9" fmla="*/ 4879571 w 6567055"/>
                <a:gd name="connsiteY9" fmla="*/ 2693324 h 2693324"/>
                <a:gd name="connsiteX10" fmla="*/ 4164676 w 6567055"/>
                <a:gd name="connsiteY10" fmla="*/ 2693324 h 2693324"/>
                <a:gd name="connsiteX11" fmla="*/ 4256116 w 6567055"/>
                <a:gd name="connsiteY11" fmla="*/ 2327564 h 2693324"/>
                <a:gd name="connsiteX12" fmla="*/ 4297680 w 6567055"/>
                <a:gd name="connsiteY12" fmla="*/ 1803862 h 2693324"/>
                <a:gd name="connsiteX13" fmla="*/ 3940233 w 6567055"/>
                <a:gd name="connsiteY13" fmla="*/ 1795550 h 2693324"/>
                <a:gd name="connsiteX14" fmla="*/ 2651760 w 6567055"/>
                <a:gd name="connsiteY14" fmla="*/ 1886990 h 2693324"/>
                <a:gd name="connsiteX15" fmla="*/ 1604356 w 6567055"/>
                <a:gd name="connsiteY15" fmla="*/ 1986742 h 2693324"/>
                <a:gd name="connsiteX16" fmla="*/ 1014153 w 6567055"/>
                <a:gd name="connsiteY16" fmla="*/ 2086495 h 2693324"/>
                <a:gd name="connsiteX17" fmla="*/ 1014153 w 6567055"/>
                <a:gd name="connsiteY17" fmla="*/ 2402379 h 2693324"/>
                <a:gd name="connsiteX18" fmla="*/ 1072342 w 6567055"/>
                <a:gd name="connsiteY18" fmla="*/ 2693324 h 2693324"/>
                <a:gd name="connsiteX19" fmla="*/ 606829 w 6567055"/>
                <a:gd name="connsiteY19" fmla="*/ 2693324 h 2693324"/>
                <a:gd name="connsiteX20" fmla="*/ 665018 w 6567055"/>
                <a:gd name="connsiteY20" fmla="*/ 2385753 h 2693324"/>
                <a:gd name="connsiteX21" fmla="*/ 665018 w 6567055"/>
                <a:gd name="connsiteY21" fmla="*/ 2169622 h 2693324"/>
                <a:gd name="connsiteX22" fmla="*/ 274320 w 6567055"/>
                <a:gd name="connsiteY22" fmla="*/ 2219499 h 2693324"/>
                <a:gd name="connsiteX23" fmla="*/ 0 w 6567055"/>
                <a:gd name="connsiteY23" fmla="*/ 2269375 h 2693324"/>
                <a:gd name="connsiteX24" fmla="*/ 8313 w 6567055"/>
                <a:gd name="connsiteY24" fmla="*/ 2186248 h 2693324"/>
                <a:gd name="connsiteX25" fmla="*/ 324196 w 6567055"/>
                <a:gd name="connsiteY25" fmla="*/ 2069870 h 2693324"/>
                <a:gd name="connsiteX26" fmla="*/ 656705 w 6567055"/>
                <a:gd name="connsiteY26" fmla="*/ 1978430 h 2693324"/>
                <a:gd name="connsiteX27" fmla="*/ 897775 w 6567055"/>
                <a:gd name="connsiteY27" fmla="*/ 1920240 h 2693324"/>
                <a:gd name="connsiteX28" fmla="*/ 897775 w 6567055"/>
                <a:gd name="connsiteY28" fmla="*/ 931026 h 2693324"/>
                <a:gd name="connsiteX29" fmla="*/ 997527 w 6567055"/>
                <a:gd name="connsiteY29" fmla="*/ 1047404 h 2693324"/>
                <a:gd name="connsiteX30" fmla="*/ 997527 w 6567055"/>
                <a:gd name="connsiteY30" fmla="*/ 1920240 h 2693324"/>
                <a:gd name="connsiteX31" fmla="*/ 1704109 w 6567055"/>
                <a:gd name="connsiteY31" fmla="*/ 1828800 h 2693324"/>
                <a:gd name="connsiteX32" fmla="*/ 2651760 w 6567055"/>
                <a:gd name="connsiteY32" fmla="*/ 1712422 h 2693324"/>
                <a:gd name="connsiteX33" fmla="*/ 4056611 w 6567055"/>
                <a:gd name="connsiteY33" fmla="*/ 1620982 h 2693324"/>
                <a:gd name="connsiteX34" fmla="*/ 4663440 w 6567055"/>
                <a:gd name="connsiteY34" fmla="*/ 1604357 h 2693324"/>
                <a:gd name="connsiteX35" fmla="*/ 4663440 w 6567055"/>
                <a:gd name="connsiteY35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5860938 w 6567055"/>
                <a:gd name="connsiteY7" fmla="*/ 1779220 h 2693324"/>
                <a:gd name="connsiteX8" fmla="*/ 4763193 w 6567055"/>
                <a:gd name="connsiteY8" fmla="*/ 1778924 h 2693324"/>
                <a:gd name="connsiteX9" fmla="*/ 4779818 w 6567055"/>
                <a:gd name="connsiteY9" fmla="*/ 2094808 h 2693324"/>
                <a:gd name="connsiteX10" fmla="*/ 4846320 w 6567055"/>
                <a:gd name="connsiteY10" fmla="*/ 2593571 h 2693324"/>
                <a:gd name="connsiteX11" fmla="*/ 4879571 w 6567055"/>
                <a:gd name="connsiteY11" fmla="*/ 2693324 h 2693324"/>
                <a:gd name="connsiteX12" fmla="*/ 4164676 w 6567055"/>
                <a:gd name="connsiteY12" fmla="*/ 2693324 h 2693324"/>
                <a:gd name="connsiteX13" fmla="*/ 4256116 w 6567055"/>
                <a:gd name="connsiteY13" fmla="*/ 2327564 h 2693324"/>
                <a:gd name="connsiteX14" fmla="*/ 4297680 w 6567055"/>
                <a:gd name="connsiteY14" fmla="*/ 1803862 h 2693324"/>
                <a:gd name="connsiteX15" fmla="*/ 3940233 w 6567055"/>
                <a:gd name="connsiteY15" fmla="*/ 1795550 h 2693324"/>
                <a:gd name="connsiteX16" fmla="*/ 2651760 w 6567055"/>
                <a:gd name="connsiteY16" fmla="*/ 1886990 h 2693324"/>
                <a:gd name="connsiteX17" fmla="*/ 1604356 w 6567055"/>
                <a:gd name="connsiteY17" fmla="*/ 1986742 h 2693324"/>
                <a:gd name="connsiteX18" fmla="*/ 1014153 w 6567055"/>
                <a:gd name="connsiteY18" fmla="*/ 2086495 h 2693324"/>
                <a:gd name="connsiteX19" fmla="*/ 1014153 w 6567055"/>
                <a:gd name="connsiteY19" fmla="*/ 2402379 h 2693324"/>
                <a:gd name="connsiteX20" fmla="*/ 1072342 w 6567055"/>
                <a:gd name="connsiteY20" fmla="*/ 2693324 h 2693324"/>
                <a:gd name="connsiteX21" fmla="*/ 606829 w 6567055"/>
                <a:gd name="connsiteY21" fmla="*/ 2693324 h 2693324"/>
                <a:gd name="connsiteX22" fmla="*/ 665018 w 6567055"/>
                <a:gd name="connsiteY22" fmla="*/ 2385753 h 2693324"/>
                <a:gd name="connsiteX23" fmla="*/ 665018 w 6567055"/>
                <a:gd name="connsiteY23" fmla="*/ 2169622 h 2693324"/>
                <a:gd name="connsiteX24" fmla="*/ 274320 w 6567055"/>
                <a:gd name="connsiteY24" fmla="*/ 2219499 h 2693324"/>
                <a:gd name="connsiteX25" fmla="*/ 0 w 6567055"/>
                <a:gd name="connsiteY25" fmla="*/ 2269375 h 2693324"/>
                <a:gd name="connsiteX26" fmla="*/ 8313 w 6567055"/>
                <a:gd name="connsiteY26" fmla="*/ 2186248 h 2693324"/>
                <a:gd name="connsiteX27" fmla="*/ 324196 w 6567055"/>
                <a:gd name="connsiteY27" fmla="*/ 2069870 h 2693324"/>
                <a:gd name="connsiteX28" fmla="*/ 656705 w 6567055"/>
                <a:gd name="connsiteY28" fmla="*/ 1978430 h 2693324"/>
                <a:gd name="connsiteX29" fmla="*/ 897775 w 6567055"/>
                <a:gd name="connsiteY29" fmla="*/ 1920240 h 2693324"/>
                <a:gd name="connsiteX30" fmla="*/ 897775 w 6567055"/>
                <a:gd name="connsiteY30" fmla="*/ 931026 h 2693324"/>
                <a:gd name="connsiteX31" fmla="*/ 997527 w 6567055"/>
                <a:gd name="connsiteY31" fmla="*/ 1047404 h 2693324"/>
                <a:gd name="connsiteX32" fmla="*/ 997527 w 6567055"/>
                <a:gd name="connsiteY32" fmla="*/ 1920240 h 2693324"/>
                <a:gd name="connsiteX33" fmla="*/ 1704109 w 6567055"/>
                <a:gd name="connsiteY33" fmla="*/ 1828800 h 2693324"/>
                <a:gd name="connsiteX34" fmla="*/ 2651760 w 6567055"/>
                <a:gd name="connsiteY34" fmla="*/ 1712422 h 2693324"/>
                <a:gd name="connsiteX35" fmla="*/ 4056611 w 6567055"/>
                <a:gd name="connsiteY35" fmla="*/ 1620982 h 2693324"/>
                <a:gd name="connsiteX36" fmla="*/ 4663440 w 6567055"/>
                <a:gd name="connsiteY36" fmla="*/ 1604357 h 2693324"/>
                <a:gd name="connsiteX37" fmla="*/ 4663440 w 6567055"/>
                <a:gd name="connsiteY37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567055 w 6567055"/>
                <a:gd name="connsiteY4" fmla="*/ 1712422 h 2693324"/>
                <a:gd name="connsiteX5" fmla="*/ 6567055 w 6567055"/>
                <a:gd name="connsiteY5" fmla="*/ 1778924 h 2693324"/>
                <a:gd name="connsiteX6" fmla="*/ 5860938 w 6567055"/>
                <a:gd name="connsiteY6" fmla="*/ 1779220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567055 w 6567055"/>
                <a:gd name="connsiteY4" fmla="*/ 1778924 h 2693324"/>
                <a:gd name="connsiteX5" fmla="*/ 5860938 w 6567055"/>
                <a:gd name="connsiteY5" fmla="*/ 1779220 h 2693324"/>
                <a:gd name="connsiteX6" fmla="*/ 4763193 w 6567055"/>
                <a:gd name="connsiteY6" fmla="*/ 1778924 h 2693324"/>
                <a:gd name="connsiteX7" fmla="*/ 4779818 w 6567055"/>
                <a:gd name="connsiteY7" fmla="*/ 2094808 h 2693324"/>
                <a:gd name="connsiteX8" fmla="*/ 4846320 w 6567055"/>
                <a:gd name="connsiteY8" fmla="*/ 2593571 h 2693324"/>
                <a:gd name="connsiteX9" fmla="*/ 4879571 w 6567055"/>
                <a:gd name="connsiteY9" fmla="*/ 2693324 h 2693324"/>
                <a:gd name="connsiteX10" fmla="*/ 4164676 w 6567055"/>
                <a:gd name="connsiteY10" fmla="*/ 2693324 h 2693324"/>
                <a:gd name="connsiteX11" fmla="*/ 4256116 w 6567055"/>
                <a:gd name="connsiteY11" fmla="*/ 2327564 h 2693324"/>
                <a:gd name="connsiteX12" fmla="*/ 4297680 w 6567055"/>
                <a:gd name="connsiteY12" fmla="*/ 1803862 h 2693324"/>
                <a:gd name="connsiteX13" fmla="*/ 3940233 w 6567055"/>
                <a:gd name="connsiteY13" fmla="*/ 1795550 h 2693324"/>
                <a:gd name="connsiteX14" fmla="*/ 2651760 w 6567055"/>
                <a:gd name="connsiteY14" fmla="*/ 1886990 h 2693324"/>
                <a:gd name="connsiteX15" fmla="*/ 1604356 w 6567055"/>
                <a:gd name="connsiteY15" fmla="*/ 1986742 h 2693324"/>
                <a:gd name="connsiteX16" fmla="*/ 1014153 w 6567055"/>
                <a:gd name="connsiteY16" fmla="*/ 2086495 h 2693324"/>
                <a:gd name="connsiteX17" fmla="*/ 1014153 w 6567055"/>
                <a:gd name="connsiteY17" fmla="*/ 2402379 h 2693324"/>
                <a:gd name="connsiteX18" fmla="*/ 1072342 w 6567055"/>
                <a:gd name="connsiteY18" fmla="*/ 2693324 h 2693324"/>
                <a:gd name="connsiteX19" fmla="*/ 606829 w 6567055"/>
                <a:gd name="connsiteY19" fmla="*/ 2693324 h 2693324"/>
                <a:gd name="connsiteX20" fmla="*/ 665018 w 6567055"/>
                <a:gd name="connsiteY20" fmla="*/ 2385753 h 2693324"/>
                <a:gd name="connsiteX21" fmla="*/ 665018 w 6567055"/>
                <a:gd name="connsiteY21" fmla="*/ 2169622 h 2693324"/>
                <a:gd name="connsiteX22" fmla="*/ 274320 w 6567055"/>
                <a:gd name="connsiteY22" fmla="*/ 2219499 h 2693324"/>
                <a:gd name="connsiteX23" fmla="*/ 0 w 6567055"/>
                <a:gd name="connsiteY23" fmla="*/ 2269375 h 2693324"/>
                <a:gd name="connsiteX24" fmla="*/ 8313 w 6567055"/>
                <a:gd name="connsiteY24" fmla="*/ 2186248 h 2693324"/>
                <a:gd name="connsiteX25" fmla="*/ 324196 w 6567055"/>
                <a:gd name="connsiteY25" fmla="*/ 2069870 h 2693324"/>
                <a:gd name="connsiteX26" fmla="*/ 656705 w 6567055"/>
                <a:gd name="connsiteY26" fmla="*/ 1978430 h 2693324"/>
                <a:gd name="connsiteX27" fmla="*/ 897775 w 6567055"/>
                <a:gd name="connsiteY27" fmla="*/ 1920240 h 2693324"/>
                <a:gd name="connsiteX28" fmla="*/ 897775 w 6567055"/>
                <a:gd name="connsiteY28" fmla="*/ 931026 h 2693324"/>
                <a:gd name="connsiteX29" fmla="*/ 997527 w 6567055"/>
                <a:gd name="connsiteY29" fmla="*/ 1047404 h 2693324"/>
                <a:gd name="connsiteX30" fmla="*/ 997527 w 6567055"/>
                <a:gd name="connsiteY30" fmla="*/ 1920240 h 2693324"/>
                <a:gd name="connsiteX31" fmla="*/ 1704109 w 6567055"/>
                <a:gd name="connsiteY31" fmla="*/ 1828800 h 2693324"/>
                <a:gd name="connsiteX32" fmla="*/ 2651760 w 6567055"/>
                <a:gd name="connsiteY32" fmla="*/ 1712422 h 2693324"/>
                <a:gd name="connsiteX33" fmla="*/ 4056611 w 6567055"/>
                <a:gd name="connsiteY33" fmla="*/ 1620982 h 2693324"/>
                <a:gd name="connsiteX34" fmla="*/ 4663440 w 6567055"/>
                <a:gd name="connsiteY34" fmla="*/ 1604357 h 2693324"/>
                <a:gd name="connsiteX35" fmla="*/ 4663440 w 6567055"/>
                <a:gd name="connsiteY35" fmla="*/ 157942 h 2693324"/>
                <a:gd name="connsiteX0" fmla="*/ 4663440 w 5872621"/>
                <a:gd name="connsiteY0" fmla="*/ 0 h 2693324"/>
                <a:gd name="connsiteX1" fmla="*/ 4779818 w 5872621"/>
                <a:gd name="connsiteY1" fmla="*/ 307571 h 2693324"/>
                <a:gd name="connsiteX2" fmla="*/ 4779818 w 5872621"/>
                <a:gd name="connsiteY2" fmla="*/ 1612670 h 2693324"/>
                <a:gd name="connsiteX3" fmla="*/ 5872621 w 5872621"/>
                <a:gd name="connsiteY3" fmla="*/ 1615644 h 2693324"/>
                <a:gd name="connsiteX4" fmla="*/ 5860938 w 5872621"/>
                <a:gd name="connsiteY4" fmla="*/ 1779220 h 2693324"/>
                <a:gd name="connsiteX5" fmla="*/ 4763193 w 5872621"/>
                <a:gd name="connsiteY5" fmla="*/ 1778924 h 2693324"/>
                <a:gd name="connsiteX6" fmla="*/ 4779818 w 5872621"/>
                <a:gd name="connsiteY6" fmla="*/ 2094808 h 2693324"/>
                <a:gd name="connsiteX7" fmla="*/ 4846320 w 5872621"/>
                <a:gd name="connsiteY7" fmla="*/ 2593571 h 2693324"/>
                <a:gd name="connsiteX8" fmla="*/ 4879571 w 5872621"/>
                <a:gd name="connsiteY8" fmla="*/ 2693324 h 2693324"/>
                <a:gd name="connsiteX9" fmla="*/ 4164676 w 5872621"/>
                <a:gd name="connsiteY9" fmla="*/ 2693324 h 2693324"/>
                <a:gd name="connsiteX10" fmla="*/ 4256116 w 5872621"/>
                <a:gd name="connsiteY10" fmla="*/ 2327564 h 2693324"/>
                <a:gd name="connsiteX11" fmla="*/ 4297680 w 5872621"/>
                <a:gd name="connsiteY11" fmla="*/ 1803862 h 2693324"/>
                <a:gd name="connsiteX12" fmla="*/ 3940233 w 5872621"/>
                <a:gd name="connsiteY12" fmla="*/ 1795550 h 2693324"/>
                <a:gd name="connsiteX13" fmla="*/ 2651760 w 5872621"/>
                <a:gd name="connsiteY13" fmla="*/ 1886990 h 2693324"/>
                <a:gd name="connsiteX14" fmla="*/ 1604356 w 5872621"/>
                <a:gd name="connsiteY14" fmla="*/ 1986742 h 2693324"/>
                <a:gd name="connsiteX15" fmla="*/ 1014153 w 5872621"/>
                <a:gd name="connsiteY15" fmla="*/ 2086495 h 2693324"/>
                <a:gd name="connsiteX16" fmla="*/ 1014153 w 5872621"/>
                <a:gd name="connsiteY16" fmla="*/ 2402379 h 2693324"/>
                <a:gd name="connsiteX17" fmla="*/ 1072342 w 5872621"/>
                <a:gd name="connsiteY17" fmla="*/ 2693324 h 2693324"/>
                <a:gd name="connsiteX18" fmla="*/ 606829 w 5872621"/>
                <a:gd name="connsiteY18" fmla="*/ 2693324 h 2693324"/>
                <a:gd name="connsiteX19" fmla="*/ 665018 w 5872621"/>
                <a:gd name="connsiteY19" fmla="*/ 2385753 h 2693324"/>
                <a:gd name="connsiteX20" fmla="*/ 665018 w 5872621"/>
                <a:gd name="connsiteY20" fmla="*/ 2169622 h 2693324"/>
                <a:gd name="connsiteX21" fmla="*/ 274320 w 5872621"/>
                <a:gd name="connsiteY21" fmla="*/ 2219499 h 2693324"/>
                <a:gd name="connsiteX22" fmla="*/ 0 w 5872621"/>
                <a:gd name="connsiteY22" fmla="*/ 2269375 h 2693324"/>
                <a:gd name="connsiteX23" fmla="*/ 8313 w 5872621"/>
                <a:gd name="connsiteY23" fmla="*/ 2186248 h 2693324"/>
                <a:gd name="connsiteX24" fmla="*/ 324196 w 5872621"/>
                <a:gd name="connsiteY24" fmla="*/ 2069870 h 2693324"/>
                <a:gd name="connsiteX25" fmla="*/ 656705 w 5872621"/>
                <a:gd name="connsiteY25" fmla="*/ 1978430 h 2693324"/>
                <a:gd name="connsiteX26" fmla="*/ 897775 w 5872621"/>
                <a:gd name="connsiteY26" fmla="*/ 1920240 h 2693324"/>
                <a:gd name="connsiteX27" fmla="*/ 897775 w 5872621"/>
                <a:gd name="connsiteY27" fmla="*/ 931026 h 2693324"/>
                <a:gd name="connsiteX28" fmla="*/ 997527 w 5872621"/>
                <a:gd name="connsiteY28" fmla="*/ 1047404 h 2693324"/>
                <a:gd name="connsiteX29" fmla="*/ 997527 w 5872621"/>
                <a:gd name="connsiteY29" fmla="*/ 1920240 h 2693324"/>
                <a:gd name="connsiteX30" fmla="*/ 1704109 w 5872621"/>
                <a:gd name="connsiteY30" fmla="*/ 1828800 h 2693324"/>
                <a:gd name="connsiteX31" fmla="*/ 2651760 w 5872621"/>
                <a:gd name="connsiteY31" fmla="*/ 1712422 h 2693324"/>
                <a:gd name="connsiteX32" fmla="*/ 4056611 w 5872621"/>
                <a:gd name="connsiteY32" fmla="*/ 1620982 h 2693324"/>
                <a:gd name="connsiteX33" fmla="*/ 4663440 w 5872621"/>
                <a:gd name="connsiteY33" fmla="*/ 1604357 h 2693324"/>
                <a:gd name="connsiteX34" fmla="*/ 4663440 w 5872621"/>
                <a:gd name="connsiteY34" fmla="*/ 157942 h 269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872621" h="2693324">
                  <a:moveTo>
                    <a:pt x="4663440" y="0"/>
                  </a:moveTo>
                  <a:lnTo>
                    <a:pt x="4779818" y="307571"/>
                  </a:lnTo>
                  <a:lnTo>
                    <a:pt x="4779818" y="1612670"/>
                  </a:lnTo>
                  <a:lnTo>
                    <a:pt x="5872621" y="1615644"/>
                  </a:lnTo>
                  <a:lnTo>
                    <a:pt x="5860938" y="1779220"/>
                  </a:lnTo>
                  <a:lnTo>
                    <a:pt x="4763193" y="1778924"/>
                  </a:lnTo>
                  <a:lnTo>
                    <a:pt x="4779818" y="2094808"/>
                  </a:lnTo>
                  <a:lnTo>
                    <a:pt x="4846320" y="2593571"/>
                  </a:lnTo>
                  <a:lnTo>
                    <a:pt x="4879571" y="2693324"/>
                  </a:lnTo>
                  <a:lnTo>
                    <a:pt x="4164676" y="2693324"/>
                  </a:lnTo>
                  <a:lnTo>
                    <a:pt x="4256116" y="2327564"/>
                  </a:lnTo>
                  <a:lnTo>
                    <a:pt x="4297680" y="1803862"/>
                  </a:lnTo>
                  <a:lnTo>
                    <a:pt x="3940233" y="1795550"/>
                  </a:lnTo>
                  <a:lnTo>
                    <a:pt x="2651760" y="1886990"/>
                  </a:lnTo>
                  <a:lnTo>
                    <a:pt x="1604356" y="1986742"/>
                  </a:lnTo>
                  <a:lnTo>
                    <a:pt x="1014153" y="2086495"/>
                  </a:lnTo>
                  <a:lnTo>
                    <a:pt x="1014153" y="2402379"/>
                  </a:lnTo>
                  <a:lnTo>
                    <a:pt x="1072342" y="2693324"/>
                  </a:lnTo>
                  <a:lnTo>
                    <a:pt x="606829" y="2693324"/>
                  </a:lnTo>
                  <a:lnTo>
                    <a:pt x="665018" y="2385753"/>
                  </a:lnTo>
                  <a:lnTo>
                    <a:pt x="665018" y="2169622"/>
                  </a:lnTo>
                  <a:lnTo>
                    <a:pt x="274320" y="2219499"/>
                  </a:lnTo>
                  <a:lnTo>
                    <a:pt x="0" y="2269375"/>
                  </a:lnTo>
                  <a:lnTo>
                    <a:pt x="8313" y="2186248"/>
                  </a:lnTo>
                  <a:lnTo>
                    <a:pt x="324196" y="2069870"/>
                  </a:lnTo>
                  <a:lnTo>
                    <a:pt x="656705" y="1978430"/>
                  </a:lnTo>
                  <a:lnTo>
                    <a:pt x="897775" y="1920240"/>
                  </a:lnTo>
                  <a:lnTo>
                    <a:pt x="897775" y="931026"/>
                  </a:lnTo>
                  <a:lnTo>
                    <a:pt x="997527" y="1047404"/>
                  </a:lnTo>
                  <a:lnTo>
                    <a:pt x="997527" y="1920240"/>
                  </a:lnTo>
                  <a:lnTo>
                    <a:pt x="1704109" y="1828800"/>
                  </a:lnTo>
                  <a:lnTo>
                    <a:pt x="2651760" y="1712422"/>
                  </a:lnTo>
                  <a:lnTo>
                    <a:pt x="4056611" y="1620982"/>
                  </a:lnTo>
                  <a:lnTo>
                    <a:pt x="4663440" y="1604357"/>
                  </a:lnTo>
                  <a:lnTo>
                    <a:pt x="4663440" y="157942"/>
                  </a:lnTo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Freeform 403"/>
            <p:cNvSpPr/>
            <p:nvPr/>
          </p:nvSpPr>
          <p:spPr>
            <a:xfrm>
              <a:off x="1196022" y="3529697"/>
              <a:ext cx="74543" cy="133838"/>
            </a:xfrm>
            <a:custGeom>
              <a:avLst/>
              <a:gdLst>
                <a:gd name="connsiteX0" fmla="*/ 0 w 365760"/>
                <a:gd name="connsiteY0" fmla="*/ 656706 h 656706"/>
                <a:gd name="connsiteX1" fmla="*/ 182880 w 365760"/>
                <a:gd name="connsiteY1" fmla="*/ 365760 h 656706"/>
                <a:gd name="connsiteX2" fmla="*/ 365760 w 365760"/>
                <a:gd name="connsiteY2" fmla="*/ 0 h 656706"/>
                <a:gd name="connsiteX3" fmla="*/ 357447 w 365760"/>
                <a:gd name="connsiteY3" fmla="*/ 207819 h 656706"/>
                <a:gd name="connsiteX4" fmla="*/ 166254 w 365760"/>
                <a:gd name="connsiteY4" fmla="*/ 532015 h 656706"/>
                <a:gd name="connsiteX5" fmla="*/ 0 w 365760"/>
                <a:gd name="connsiteY5" fmla="*/ 656706 h 656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760" h="656706">
                  <a:moveTo>
                    <a:pt x="0" y="656706"/>
                  </a:moveTo>
                  <a:lnTo>
                    <a:pt x="182880" y="365760"/>
                  </a:lnTo>
                  <a:lnTo>
                    <a:pt x="365760" y="0"/>
                  </a:lnTo>
                  <a:lnTo>
                    <a:pt x="357447" y="207819"/>
                  </a:lnTo>
                  <a:lnTo>
                    <a:pt x="166254" y="532015"/>
                  </a:lnTo>
                  <a:lnTo>
                    <a:pt x="0" y="6567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Freeform 404"/>
            <p:cNvSpPr/>
            <p:nvPr/>
          </p:nvSpPr>
          <p:spPr>
            <a:xfrm>
              <a:off x="1736456" y="3285739"/>
              <a:ext cx="277840" cy="308335"/>
            </a:xfrm>
            <a:custGeom>
              <a:avLst/>
              <a:gdLst>
                <a:gd name="connsiteX0" fmla="*/ 0 w 1363287"/>
                <a:gd name="connsiteY0" fmla="*/ 1512916 h 1512916"/>
                <a:gd name="connsiteX1" fmla="*/ 490450 w 1363287"/>
                <a:gd name="connsiteY1" fmla="*/ 1039091 h 1512916"/>
                <a:gd name="connsiteX2" fmla="*/ 1064029 w 1363287"/>
                <a:gd name="connsiteY2" fmla="*/ 415636 h 1512916"/>
                <a:gd name="connsiteX3" fmla="*/ 1363287 w 1363287"/>
                <a:gd name="connsiteY3" fmla="*/ 0 h 1512916"/>
                <a:gd name="connsiteX4" fmla="*/ 1330036 w 1363287"/>
                <a:gd name="connsiteY4" fmla="*/ 249382 h 1512916"/>
                <a:gd name="connsiteX5" fmla="*/ 889461 w 1363287"/>
                <a:gd name="connsiteY5" fmla="*/ 756458 h 1512916"/>
                <a:gd name="connsiteX6" fmla="*/ 457200 w 1363287"/>
                <a:gd name="connsiteY6" fmla="*/ 1180407 h 1512916"/>
                <a:gd name="connsiteX7" fmla="*/ 74814 w 1363287"/>
                <a:gd name="connsiteY7" fmla="*/ 1512916 h 1512916"/>
                <a:gd name="connsiteX8" fmla="*/ 0 w 1363287"/>
                <a:gd name="connsiteY8" fmla="*/ 1512916 h 151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3287" h="1512916">
                  <a:moveTo>
                    <a:pt x="0" y="1512916"/>
                  </a:moveTo>
                  <a:lnTo>
                    <a:pt x="490450" y="1039091"/>
                  </a:lnTo>
                  <a:lnTo>
                    <a:pt x="1064029" y="415636"/>
                  </a:lnTo>
                  <a:lnTo>
                    <a:pt x="1363287" y="0"/>
                  </a:lnTo>
                  <a:lnTo>
                    <a:pt x="1330036" y="249382"/>
                  </a:lnTo>
                  <a:lnTo>
                    <a:pt x="889461" y="756458"/>
                  </a:lnTo>
                  <a:lnTo>
                    <a:pt x="457200" y="1180407"/>
                  </a:lnTo>
                  <a:lnTo>
                    <a:pt x="74814" y="1512916"/>
                  </a:lnTo>
                  <a:lnTo>
                    <a:pt x="0" y="151291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4" name="그룹 73"/>
          <p:cNvGrpSpPr/>
          <p:nvPr/>
        </p:nvGrpSpPr>
        <p:grpSpPr>
          <a:xfrm>
            <a:off x="6322679" y="2219960"/>
            <a:ext cx="412395" cy="250421"/>
            <a:chOff x="8063321" y="5600885"/>
            <a:chExt cx="546902" cy="332098"/>
          </a:xfrm>
        </p:grpSpPr>
        <p:sp>
          <p:nvSpPr>
            <p:cNvPr id="75" name="Freeform 181"/>
            <p:cNvSpPr/>
            <p:nvPr/>
          </p:nvSpPr>
          <p:spPr bwMode="auto">
            <a:xfrm>
              <a:off x="8063321" y="5604897"/>
              <a:ext cx="276730" cy="324074"/>
            </a:xfrm>
            <a:custGeom>
              <a:avLst/>
              <a:gdLst>
                <a:gd name="connsiteX0" fmla="*/ 1367406 w 2214694"/>
                <a:gd name="connsiteY0" fmla="*/ 0 h 2583809"/>
                <a:gd name="connsiteX1" fmla="*/ 553674 w 2214694"/>
                <a:gd name="connsiteY1" fmla="*/ 847288 h 2583809"/>
                <a:gd name="connsiteX2" fmla="*/ 1098958 w 2214694"/>
                <a:gd name="connsiteY2" fmla="*/ 872455 h 2583809"/>
                <a:gd name="connsiteX3" fmla="*/ 293615 w 2214694"/>
                <a:gd name="connsiteY3" fmla="*/ 1627464 h 2583809"/>
                <a:gd name="connsiteX4" fmla="*/ 746621 w 2214694"/>
                <a:gd name="connsiteY4" fmla="*/ 1635853 h 2583809"/>
                <a:gd name="connsiteX5" fmla="*/ 0 w 2214694"/>
                <a:gd name="connsiteY5" fmla="*/ 2583809 h 2583809"/>
                <a:gd name="connsiteX6" fmla="*/ 1560353 w 2214694"/>
                <a:gd name="connsiteY6" fmla="*/ 1317072 h 2583809"/>
                <a:gd name="connsiteX7" fmla="*/ 1157681 w 2214694"/>
                <a:gd name="connsiteY7" fmla="*/ 1317072 h 2583809"/>
                <a:gd name="connsiteX8" fmla="*/ 1971413 w 2214694"/>
                <a:gd name="connsiteY8" fmla="*/ 562062 h 2583809"/>
                <a:gd name="connsiteX9" fmla="*/ 1602298 w 2214694"/>
                <a:gd name="connsiteY9" fmla="*/ 562062 h 2583809"/>
                <a:gd name="connsiteX10" fmla="*/ 2214694 w 2214694"/>
                <a:gd name="connsiteY10" fmla="*/ 8389 h 2583809"/>
                <a:gd name="connsiteX0" fmla="*/ 1367406 w 2214694"/>
                <a:gd name="connsiteY0" fmla="*/ 0 h 2583809"/>
                <a:gd name="connsiteX1" fmla="*/ 553674 w 2214694"/>
                <a:gd name="connsiteY1" fmla="*/ 847288 h 2583809"/>
                <a:gd name="connsiteX2" fmla="*/ 1098958 w 2214694"/>
                <a:gd name="connsiteY2" fmla="*/ 872455 h 2583809"/>
                <a:gd name="connsiteX3" fmla="*/ 293615 w 2214694"/>
                <a:gd name="connsiteY3" fmla="*/ 1627464 h 2583809"/>
                <a:gd name="connsiteX4" fmla="*/ 746621 w 2214694"/>
                <a:gd name="connsiteY4" fmla="*/ 1635853 h 2583809"/>
                <a:gd name="connsiteX5" fmla="*/ 0 w 2214694"/>
                <a:gd name="connsiteY5" fmla="*/ 2583809 h 2583809"/>
                <a:gd name="connsiteX6" fmla="*/ 1560353 w 2214694"/>
                <a:gd name="connsiteY6" fmla="*/ 1317072 h 2583809"/>
                <a:gd name="connsiteX7" fmla="*/ 1157681 w 2214694"/>
                <a:gd name="connsiteY7" fmla="*/ 1317072 h 2583809"/>
                <a:gd name="connsiteX8" fmla="*/ 1971413 w 2214694"/>
                <a:gd name="connsiteY8" fmla="*/ 562062 h 2583809"/>
                <a:gd name="connsiteX9" fmla="*/ 1602298 w 2214694"/>
                <a:gd name="connsiteY9" fmla="*/ 562062 h 2583809"/>
                <a:gd name="connsiteX10" fmla="*/ 2004969 w 2214694"/>
                <a:gd name="connsiteY10" fmla="*/ 209725 h 2583809"/>
                <a:gd name="connsiteX11" fmla="*/ 2214694 w 2214694"/>
                <a:gd name="connsiteY11" fmla="*/ 8389 h 2583809"/>
                <a:gd name="connsiteX0" fmla="*/ 1367406 w 2004969"/>
                <a:gd name="connsiteY0" fmla="*/ 0 h 2583809"/>
                <a:gd name="connsiteX1" fmla="*/ 553674 w 2004969"/>
                <a:gd name="connsiteY1" fmla="*/ 847288 h 2583809"/>
                <a:gd name="connsiteX2" fmla="*/ 1098958 w 2004969"/>
                <a:gd name="connsiteY2" fmla="*/ 872455 h 2583809"/>
                <a:gd name="connsiteX3" fmla="*/ 293615 w 2004969"/>
                <a:gd name="connsiteY3" fmla="*/ 1627464 h 2583809"/>
                <a:gd name="connsiteX4" fmla="*/ 746621 w 2004969"/>
                <a:gd name="connsiteY4" fmla="*/ 1635853 h 2583809"/>
                <a:gd name="connsiteX5" fmla="*/ 0 w 2004969"/>
                <a:gd name="connsiteY5" fmla="*/ 2583809 h 2583809"/>
                <a:gd name="connsiteX6" fmla="*/ 1560353 w 2004969"/>
                <a:gd name="connsiteY6" fmla="*/ 1317072 h 2583809"/>
                <a:gd name="connsiteX7" fmla="*/ 1157681 w 2004969"/>
                <a:gd name="connsiteY7" fmla="*/ 1317072 h 2583809"/>
                <a:gd name="connsiteX8" fmla="*/ 1971413 w 2004969"/>
                <a:gd name="connsiteY8" fmla="*/ 562062 h 2583809"/>
                <a:gd name="connsiteX9" fmla="*/ 1602298 w 2004969"/>
                <a:gd name="connsiteY9" fmla="*/ 562062 h 2583809"/>
                <a:gd name="connsiteX10" fmla="*/ 2004969 w 2004969"/>
                <a:gd name="connsiteY10" fmla="*/ 209725 h 2583809"/>
                <a:gd name="connsiteX11" fmla="*/ 1375795 w 2004969"/>
                <a:gd name="connsiteY11" fmla="*/ 8389 h 2583809"/>
                <a:gd name="connsiteX0" fmla="*/ 1367406 w 2206305"/>
                <a:gd name="connsiteY0" fmla="*/ 0 h 2583809"/>
                <a:gd name="connsiteX1" fmla="*/ 553674 w 2206305"/>
                <a:gd name="connsiteY1" fmla="*/ 847288 h 2583809"/>
                <a:gd name="connsiteX2" fmla="*/ 1098958 w 2206305"/>
                <a:gd name="connsiteY2" fmla="*/ 872455 h 2583809"/>
                <a:gd name="connsiteX3" fmla="*/ 293615 w 2206305"/>
                <a:gd name="connsiteY3" fmla="*/ 1627464 h 2583809"/>
                <a:gd name="connsiteX4" fmla="*/ 746621 w 2206305"/>
                <a:gd name="connsiteY4" fmla="*/ 1635853 h 2583809"/>
                <a:gd name="connsiteX5" fmla="*/ 0 w 2206305"/>
                <a:gd name="connsiteY5" fmla="*/ 2583809 h 2583809"/>
                <a:gd name="connsiteX6" fmla="*/ 1560353 w 2206305"/>
                <a:gd name="connsiteY6" fmla="*/ 1317072 h 2583809"/>
                <a:gd name="connsiteX7" fmla="*/ 1157681 w 2206305"/>
                <a:gd name="connsiteY7" fmla="*/ 1317072 h 2583809"/>
                <a:gd name="connsiteX8" fmla="*/ 1971413 w 2206305"/>
                <a:gd name="connsiteY8" fmla="*/ 562062 h 2583809"/>
                <a:gd name="connsiteX9" fmla="*/ 1602298 w 2206305"/>
                <a:gd name="connsiteY9" fmla="*/ 562062 h 2583809"/>
                <a:gd name="connsiteX10" fmla="*/ 2206305 w 2206305"/>
                <a:gd name="connsiteY10" fmla="*/ 8389 h 2583809"/>
                <a:gd name="connsiteX11" fmla="*/ 1375795 w 2206305"/>
                <a:gd name="connsiteY11" fmla="*/ 8389 h 258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06305" h="2583809">
                  <a:moveTo>
                    <a:pt x="1367406" y="0"/>
                  </a:moveTo>
                  <a:lnTo>
                    <a:pt x="553674" y="847288"/>
                  </a:lnTo>
                  <a:lnTo>
                    <a:pt x="1098958" y="872455"/>
                  </a:lnTo>
                  <a:lnTo>
                    <a:pt x="293615" y="1627464"/>
                  </a:lnTo>
                  <a:lnTo>
                    <a:pt x="746621" y="1635853"/>
                  </a:lnTo>
                  <a:lnTo>
                    <a:pt x="0" y="2583809"/>
                  </a:lnTo>
                  <a:lnTo>
                    <a:pt x="1560353" y="1317072"/>
                  </a:lnTo>
                  <a:lnTo>
                    <a:pt x="1157681" y="1317072"/>
                  </a:lnTo>
                  <a:lnTo>
                    <a:pt x="1971413" y="562062"/>
                  </a:lnTo>
                  <a:lnTo>
                    <a:pt x="1602298" y="562062"/>
                  </a:lnTo>
                  <a:lnTo>
                    <a:pt x="2206305" y="8389"/>
                  </a:lnTo>
                  <a:lnTo>
                    <a:pt x="1375795" y="8389"/>
                  </a:lnTo>
                </a:path>
              </a:pathLst>
            </a:custGeom>
            <a:solidFill>
              <a:srgbClr val="C2E0DB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>
                <a:latin typeface="+mn-ea"/>
              </a:endParaRPr>
            </a:p>
          </p:txBody>
        </p:sp>
        <p:grpSp>
          <p:nvGrpSpPr>
            <p:cNvPr id="76" name="Group 193"/>
            <p:cNvGrpSpPr/>
            <p:nvPr/>
          </p:nvGrpSpPr>
          <p:grpSpPr>
            <a:xfrm>
              <a:off x="8233665" y="5600885"/>
              <a:ext cx="376558" cy="332098"/>
              <a:chOff x="218113" y="1249960"/>
              <a:chExt cx="3481431" cy="3070370"/>
            </a:xfrm>
            <a:solidFill>
              <a:srgbClr val="6B84BD"/>
            </a:solidFill>
          </p:grpSpPr>
          <p:sp>
            <p:nvSpPr>
              <p:cNvPr id="78" name="Freeform 194"/>
              <p:cNvSpPr/>
              <p:nvPr/>
            </p:nvSpPr>
            <p:spPr bwMode="auto">
              <a:xfrm>
                <a:off x="1493239" y="1736521"/>
                <a:ext cx="2206305" cy="2583809"/>
              </a:xfrm>
              <a:custGeom>
                <a:avLst/>
                <a:gdLst>
                  <a:gd name="connsiteX0" fmla="*/ 1367406 w 2214694"/>
                  <a:gd name="connsiteY0" fmla="*/ 0 h 2583809"/>
                  <a:gd name="connsiteX1" fmla="*/ 553674 w 2214694"/>
                  <a:gd name="connsiteY1" fmla="*/ 847288 h 2583809"/>
                  <a:gd name="connsiteX2" fmla="*/ 1098958 w 2214694"/>
                  <a:gd name="connsiteY2" fmla="*/ 872455 h 2583809"/>
                  <a:gd name="connsiteX3" fmla="*/ 293615 w 2214694"/>
                  <a:gd name="connsiteY3" fmla="*/ 1627464 h 2583809"/>
                  <a:gd name="connsiteX4" fmla="*/ 746621 w 2214694"/>
                  <a:gd name="connsiteY4" fmla="*/ 1635853 h 2583809"/>
                  <a:gd name="connsiteX5" fmla="*/ 0 w 2214694"/>
                  <a:gd name="connsiteY5" fmla="*/ 2583809 h 2583809"/>
                  <a:gd name="connsiteX6" fmla="*/ 1560353 w 2214694"/>
                  <a:gd name="connsiteY6" fmla="*/ 1317072 h 2583809"/>
                  <a:gd name="connsiteX7" fmla="*/ 1157681 w 2214694"/>
                  <a:gd name="connsiteY7" fmla="*/ 1317072 h 2583809"/>
                  <a:gd name="connsiteX8" fmla="*/ 1971413 w 2214694"/>
                  <a:gd name="connsiteY8" fmla="*/ 562062 h 2583809"/>
                  <a:gd name="connsiteX9" fmla="*/ 1602298 w 2214694"/>
                  <a:gd name="connsiteY9" fmla="*/ 562062 h 2583809"/>
                  <a:gd name="connsiteX10" fmla="*/ 2214694 w 2214694"/>
                  <a:gd name="connsiteY10" fmla="*/ 8389 h 2583809"/>
                  <a:gd name="connsiteX0" fmla="*/ 1367406 w 2214694"/>
                  <a:gd name="connsiteY0" fmla="*/ 0 h 2583809"/>
                  <a:gd name="connsiteX1" fmla="*/ 553674 w 2214694"/>
                  <a:gd name="connsiteY1" fmla="*/ 847288 h 2583809"/>
                  <a:gd name="connsiteX2" fmla="*/ 1098958 w 2214694"/>
                  <a:gd name="connsiteY2" fmla="*/ 872455 h 2583809"/>
                  <a:gd name="connsiteX3" fmla="*/ 293615 w 2214694"/>
                  <a:gd name="connsiteY3" fmla="*/ 1627464 h 2583809"/>
                  <a:gd name="connsiteX4" fmla="*/ 746621 w 2214694"/>
                  <a:gd name="connsiteY4" fmla="*/ 1635853 h 2583809"/>
                  <a:gd name="connsiteX5" fmla="*/ 0 w 2214694"/>
                  <a:gd name="connsiteY5" fmla="*/ 2583809 h 2583809"/>
                  <a:gd name="connsiteX6" fmla="*/ 1560353 w 2214694"/>
                  <a:gd name="connsiteY6" fmla="*/ 1317072 h 2583809"/>
                  <a:gd name="connsiteX7" fmla="*/ 1157681 w 2214694"/>
                  <a:gd name="connsiteY7" fmla="*/ 1317072 h 2583809"/>
                  <a:gd name="connsiteX8" fmla="*/ 1971413 w 2214694"/>
                  <a:gd name="connsiteY8" fmla="*/ 562062 h 2583809"/>
                  <a:gd name="connsiteX9" fmla="*/ 1602298 w 2214694"/>
                  <a:gd name="connsiteY9" fmla="*/ 562062 h 2583809"/>
                  <a:gd name="connsiteX10" fmla="*/ 2004969 w 2214694"/>
                  <a:gd name="connsiteY10" fmla="*/ 209725 h 2583809"/>
                  <a:gd name="connsiteX11" fmla="*/ 2214694 w 2214694"/>
                  <a:gd name="connsiteY11" fmla="*/ 8389 h 2583809"/>
                  <a:gd name="connsiteX0" fmla="*/ 1367406 w 2004969"/>
                  <a:gd name="connsiteY0" fmla="*/ 0 h 2583809"/>
                  <a:gd name="connsiteX1" fmla="*/ 553674 w 2004969"/>
                  <a:gd name="connsiteY1" fmla="*/ 847288 h 2583809"/>
                  <a:gd name="connsiteX2" fmla="*/ 1098958 w 2004969"/>
                  <a:gd name="connsiteY2" fmla="*/ 872455 h 2583809"/>
                  <a:gd name="connsiteX3" fmla="*/ 293615 w 2004969"/>
                  <a:gd name="connsiteY3" fmla="*/ 1627464 h 2583809"/>
                  <a:gd name="connsiteX4" fmla="*/ 746621 w 2004969"/>
                  <a:gd name="connsiteY4" fmla="*/ 1635853 h 2583809"/>
                  <a:gd name="connsiteX5" fmla="*/ 0 w 2004969"/>
                  <a:gd name="connsiteY5" fmla="*/ 2583809 h 2583809"/>
                  <a:gd name="connsiteX6" fmla="*/ 1560353 w 2004969"/>
                  <a:gd name="connsiteY6" fmla="*/ 1317072 h 2583809"/>
                  <a:gd name="connsiteX7" fmla="*/ 1157681 w 2004969"/>
                  <a:gd name="connsiteY7" fmla="*/ 1317072 h 2583809"/>
                  <a:gd name="connsiteX8" fmla="*/ 1971413 w 2004969"/>
                  <a:gd name="connsiteY8" fmla="*/ 562062 h 2583809"/>
                  <a:gd name="connsiteX9" fmla="*/ 1602298 w 2004969"/>
                  <a:gd name="connsiteY9" fmla="*/ 562062 h 2583809"/>
                  <a:gd name="connsiteX10" fmla="*/ 2004969 w 2004969"/>
                  <a:gd name="connsiteY10" fmla="*/ 209725 h 2583809"/>
                  <a:gd name="connsiteX11" fmla="*/ 1375795 w 2004969"/>
                  <a:gd name="connsiteY11" fmla="*/ 8389 h 2583809"/>
                  <a:gd name="connsiteX0" fmla="*/ 1367406 w 2206305"/>
                  <a:gd name="connsiteY0" fmla="*/ 0 h 2583809"/>
                  <a:gd name="connsiteX1" fmla="*/ 553674 w 2206305"/>
                  <a:gd name="connsiteY1" fmla="*/ 847288 h 2583809"/>
                  <a:gd name="connsiteX2" fmla="*/ 1098958 w 2206305"/>
                  <a:gd name="connsiteY2" fmla="*/ 872455 h 2583809"/>
                  <a:gd name="connsiteX3" fmla="*/ 293615 w 2206305"/>
                  <a:gd name="connsiteY3" fmla="*/ 1627464 h 2583809"/>
                  <a:gd name="connsiteX4" fmla="*/ 746621 w 2206305"/>
                  <a:gd name="connsiteY4" fmla="*/ 1635853 h 2583809"/>
                  <a:gd name="connsiteX5" fmla="*/ 0 w 2206305"/>
                  <a:gd name="connsiteY5" fmla="*/ 2583809 h 2583809"/>
                  <a:gd name="connsiteX6" fmla="*/ 1560353 w 2206305"/>
                  <a:gd name="connsiteY6" fmla="*/ 1317072 h 2583809"/>
                  <a:gd name="connsiteX7" fmla="*/ 1157681 w 2206305"/>
                  <a:gd name="connsiteY7" fmla="*/ 1317072 h 2583809"/>
                  <a:gd name="connsiteX8" fmla="*/ 1971413 w 2206305"/>
                  <a:gd name="connsiteY8" fmla="*/ 562062 h 2583809"/>
                  <a:gd name="connsiteX9" fmla="*/ 1602298 w 2206305"/>
                  <a:gd name="connsiteY9" fmla="*/ 562062 h 2583809"/>
                  <a:gd name="connsiteX10" fmla="*/ 2206305 w 2206305"/>
                  <a:gd name="connsiteY10" fmla="*/ 8389 h 2583809"/>
                  <a:gd name="connsiteX11" fmla="*/ 1375795 w 2206305"/>
                  <a:gd name="connsiteY11" fmla="*/ 8389 h 2583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06305" h="2583809">
                    <a:moveTo>
                      <a:pt x="1367406" y="0"/>
                    </a:moveTo>
                    <a:lnTo>
                      <a:pt x="553674" y="847288"/>
                    </a:lnTo>
                    <a:lnTo>
                      <a:pt x="1098958" y="872455"/>
                    </a:lnTo>
                    <a:lnTo>
                      <a:pt x="293615" y="1627464"/>
                    </a:lnTo>
                    <a:lnTo>
                      <a:pt x="746621" y="1635853"/>
                    </a:lnTo>
                    <a:lnTo>
                      <a:pt x="0" y="2583809"/>
                    </a:lnTo>
                    <a:lnTo>
                      <a:pt x="1560353" y="1317072"/>
                    </a:lnTo>
                    <a:lnTo>
                      <a:pt x="1157681" y="1317072"/>
                    </a:lnTo>
                    <a:lnTo>
                      <a:pt x="1971413" y="562062"/>
                    </a:lnTo>
                    <a:lnTo>
                      <a:pt x="1602298" y="562062"/>
                    </a:lnTo>
                    <a:lnTo>
                      <a:pt x="2206305" y="8389"/>
                    </a:lnTo>
                    <a:lnTo>
                      <a:pt x="1375795" y="8389"/>
                    </a:lnTo>
                  </a:path>
                </a:pathLst>
              </a:custGeom>
              <a:solidFill>
                <a:srgbClr val="67B1A5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>
                  <a:latin typeface="+mn-ea"/>
                </a:endParaRPr>
              </a:p>
            </p:txBody>
          </p:sp>
          <p:sp>
            <p:nvSpPr>
              <p:cNvPr id="79" name="Freeform 195"/>
              <p:cNvSpPr/>
              <p:nvPr/>
            </p:nvSpPr>
            <p:spPr bwMode="auto">
              <a:xfrm>
                <a:off x="218114" y="1249960"/>
                <a:ext cx="2625754" cy="713707"/>
              </a:xfrm>
              <a:custGeom>
                <a:avLst/>
                <a:gdLst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444"/>
                  <a:gd name="connsiteX1" fmla="*/ 755009 w 2625754"/>
                  <a:gd name="connsiteY1" fmla="*/ 8389 h 713444"/>
                  <a:gd name="connsiteX2" fmla="*/ 2273416 w 2625754"/>
                  <a:gd name="connsiteY2" fmla="*/ 0 h 713444"/>
                  <a:gd name="connsiteX3" fmla="*/ 2625754 w 2625754"/>
                  <a:gd name="connsiteY3" fmla="*/ 343948 h 713444"/>
                  <a:gd name="connsiteX4" fmla="*/ 2441196 w 2625754"/>
                  <a:gd name="connsiteY4" fmla="*/ 536895 h 713444"/>
                  <a:gd name="connsiteX5" fmla="*/ 2290194 w 2625754"/>
                  <a:gd name="connsiteY5" fmla="*/ 427838 h 713444"/>
                  <a:gd name="connsiteX6" fmla="*/ 755009 w 2625754"/>
                  <a:gd name="connsiteY6" fmla="*/ 436227 h 713444"/>
                  <a:gd name="connsiteX7" fmla="*/ 0 w 2625754"/>
                  <a:gd name="connsiteY7" fmla="*/ 713064 h 713444"/>
                  <a:gd name="connsiteX8" fmla="*/ 0 w 2625754"/>
                  <a:gd name="connsiteY8" fmla="*/ 461394 h 713444"/>
                  <a:gd name="connsiteX0" fmla="*/ 0 w 2625754"/>
                  <a:gd name="connsiteY0" fmla="*/ 461394 h 713725"/>
                  <a:gd name="connsiteX1" fmla="*/ 755009 w 2625754"/>
                  <a:gd name="connsiteY1" fmla="*/ 8389 h 713725"/>
                  <a:gd name="connsiteX2" fmla="*/ 2273416 w 2625754"/>
                  <a:gd name="connsiteY2" fmla="*/ 0 h 713725"/>
                  <a:gd name="connsiteX3" fmla="*/ 2625754 w 2625754"/>
                  <a:gd name="connsiteY3" fmla="*/ 343948 h 713725"/>
                  <a:gd name="connsiteX4" fmla="*/ 2441196 w 2625754"/>
                  <a:gd name="connsiteY4" fmla="*/ 536895 h 713725"/>
                  <a:gd name="connsiteX5" fmla="*/ 2290194 w 2625754"/>
                  <a:gd name="connsiteY5" fmla="*/ 427838 h 713725"/>
                  <a:gd name="connsiteX6" fmla="*/ 755009 w 2625754"/>
                  <a:gd name="connsiteY6" fmla="*/ 436227 h 713725"/>
                  <a:gd name="connsiteX7" fmla="*/ 0 w 2625754"/>
                  <a:gd name="connsiteY7" fmla="*/ 713064 h 713725"/>
                  <a:gd name="connsiteX8" fmla="*/ 0 w 2625754"/>
                  <a:gd name="connsiteY8" fmla="*/ 461394 h 713725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60933 w 2625754"/>
                  <a:gd name="connsiteY5" fmla="*/ 41320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5754" h="713707">
                    <a:moveTo>
                      <a:pt x="0" y="461394"/>
                    </a:moveTo>
                    <a:cubicBezTo>
                      <a:pt x="394282" y="385893"/>
                      <a:pt x="528506" y="285226"/>
                      <a:pt x="755009" y="8389"/>
                    </a:cubicBezTo>
                    <a:cubicBezTo>
                      <a:pt x="1076589" y="525710"/>
                      <a:pt x="1817614" y="673915"/>
                      <a:pt x="2273416" y="0"/>
                    </a:cubicBezTo>
                    <a:cubicBezTo>
                      <a:pt x="2418176" y="239611"/>
                      <a:pt x="2466363" y="271244"/>
                      <a:pt x="2625754" y="343948"/>
                    </a:cubicBezTo>
                    <a:lnTo>
                      <a:pt x="2441196" y="536895"/>
                    </a:lnTo>
                    <a:cubicBezTo>
                      <a:pt x="2337218" y="481035"/>
                      <a:pt x="2321021" y="454437"/>
                      <a:pt x="2260933" y="413208"/>
                    </a:cubicBezTo>
                    <a:cubicBezTo>
                      <a:pt x="1785781" y="825656"/>
                      <a:pt x="1149693" y="799191"/>
                      <a:pt x="733063" y="421597"/>
                    </a:cubicBezTo>
                    <a:cubicBezTo>
                      <a:pt x="488709" y="623603"/>
                      <a:pt x="332136" y="701252"/>
                      <a:pt x="0" y="713064"/>
                    </a:cubicBezTo>
                    <a:lnTo>
                      <a:pt x="0" y="461394"/>
                    </a:lnTo>
                    <a:close/>
                  </a:path>
                </a:pathLst>
              </a:custGeom>
              <a:solidFill>
                <a:srgbClr val="67B1A5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1200" b="0" smtClean="0">
                  <a:latin typeface="+mn-ea"/>
                </a:endParaRPr>
              </a:p>
            </p:txBody>
          </p:sp>
          <p:sp>
            <p:nvSpPr>
              <p:cNvPr id="80" name="Freeform 196"/>
              <p:cNvSpPr/>
              <p:nvPr/>
            </p:nvSpPr>
            <p:spPr bwMode="auto">
              <a:xfrm>
                <a:off x="218113" y="1953294"/>
                <a:ext cx="1805243" cy="704886"/>
              </a:xfrm>
              <a:custGeom>
                <a:avLst/>
                <a:gdLst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444"/>
                  <a:gd name="connsiteX1" fmla="*/ 755009 w 2625754"/>
                  <a:gd name="connsiteY1" fmla="*/ 8389 h 713444"/>
                  <a:gd name="connsiteX2" fmla="*/ 2273416 w 2625754"/>
                  <a:gd name="connsiteY2" fmla="*/ 0 h 713444"/>
                  <a:gd name="connsiteX3" fmla="*/ 2625754 w 2625754"/>
                  <a:gd name="connsiteY3" fmla="*/ 343948 h 713444"/>
                  <a:gd name="connsiteX4" fmla="*/ 2441196 w 2625754"/>
                  <a:gd name="connsiteY4" fmla="*/ 536895 h 713444"/>
                  <a:gd name="connsiteX5" fmla="*/ 2290194 w 2625754"/>
                  <a:gd name="connsiteY5" fmla="*/ 427838 h 713444"/>
                  <a:gd name="connsiteX6" fmla="*/ 755009 w 2625754"/>
                  <a:gd name="connsiteY6" fmla="*/ 436227 h 713444"/>
                  <a:gd name="connsiteX7" fmla="*/ 0 w 2625754"/>
                  <a:gd name="connsiteY7" fmla="*/ 713064 h 713444"/>
                  <a:gd name="connsiteX8" fmla="*/ 0 w 2625754"/>
                  <a:gd name="connsiteY8" fmla="*/ 461394 h 713444"/>
                  <a:gd name="connsiteX0" fmla="*/ 0 w 2625754"/>
                  <a:gd name="connsiteY0" fmla="*/ 461394 h 713725"/>
                  <a:gd name="connsiteX1" fmla="*/ 755009 w 2625754"/>
                  <a:gd name="connsiteY1" fmla="*/ 8389 h 713725"/>
                  <a:gd name="connsiteX2" fmla="*/ 2273416 w 2625754"/>
                  <a:gd name="connsiteY2" fmla="*/ 0 h 713725"/>
                  <a:gd name="connsiteX3" fmla="*/ 2625754 w 2625754"/>
                  <a:gd name="connsiteY3" fmla="*/ 343948 h 713725"/>
                  <a:gd name="connsiteX4" fmla="*/ 2441196 w 2625754"/>
                  <a:gd name="connsiteY4" fmla="*/ 536895 h 713725"/>
                  <a:gd name="connsiteX5" fmla="*/ 2290194 w 2625754"/>
                  <a:gd name="connsiteY5" fmla="*/ 427838 h 713725"/>
                  <a:gd name="connsiteX6" fmla="*/ 755009 w 2625754"/>
                  <a:gd name="connsiteY6" fmla="*/ 436227 h 713725"/>
                  <a:gd name="connsiteX7" fmla="*/ 0 w 2625754"/>
                  <a:gd name="connsiteY7" fmla="*/ 713064 h 713725"/>
                  <a:gd name="connsiteX8" fmla="*/ 0 w 2625754"/>
                  <a:gd name="connsiteY8" fmla="*/ 461394 h 713725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60933 w 2625754"/>
                  <a:gd name="connsiteY5" fmla="*/ 41320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4675"/>
                  <a:gd name="connsiteX1" fmla="*/ 755009 w 2625754"/>
                  <a:gd name="connsiteY1" fmla="*/ 0 h 704675"/>
                  <a:gd name="connsiteX2" fmla="*/ 1805243 w 2625754"/>
                  <a:gd name="connsiteY2" fmla="*/ 379317 h 704675"/>
                  <a:gd name="connsiteX3" fmla="*/ 2625754 w 2625754"/>
                  <a:gd name="connsiteY3" fmla="*/ 335559 h 704675"/>
                  <a:gd name="connsiteX4" fmla="*/ 2441196 w 2625754"/>
                  <a:gd name="connsiteY4" fmla="*/ 528506 h 704675"/>
                  <a:gd name="connsiteX5" fmla="*/ 733063 w 2625754"/>
                  <a:gd name="connsiteY5" fmla="*/ 413208 h 704675"/>
                  <a:gd name="connsiteX6" fmla="*/ 0 w 2625754"/>
                  <a:gd name="connsiteY6" fmla="*/ 704675 h 704675"/>
                  <a:gd name="connsiteX7" fmla="*/ 0 w 2625754"/>
                  <a:gd name="connsiteY7" fmla="*/ 453005 h 704675"/>
                  <a:gd name="connsiteX0" fmla="*/ 0 w 2625754"/>
                  <a:gd name="connsiteY0" fmla="*/ 453005 h 704675"/>
                  <a:gd name="connsiteX1" fmla="*/ 755009 w 2625754"/>
                  <a:gd name="connsiteY1" fmla="*/ 0 h 704675"/>
                  <a:gd name="connsiteX2" fmla="*/ 1805243 w 2625754"/>
                  <a:gd name="connsiteY2" fmla="*/ 379317 h 704675"/>
                  <a:gd name="connsiteX3" fmla="*/ 2625754 w 2625754"/>
                  <a:gd name="connsiteY3" fmla="*/ 335559 h 704675"/>
                  <a:gd name="connsiteX4" fmla="*/ 1504851 w 2625754"/>
                  <a:gd name="connsiteY4" fmla="*/ 704071 h 704675"/>
                  <a:gd name="connsiteX5" fmla="*/ 733063 w 2625754"/>
                  <a:gd name="connsiteY5" fmla="*/ 413208 h 704675"/>
                  <a:gd name="connsiteX6" fmla="*/ 0 w 2625754"/>
                  <a:gd name="connsiteY6" fmla="*/ 704675 h 704675"/>
                  <a:gd name="connsiteX7" fmla="*/ 0 w 2625754"/>
                  <a:gd name="connsiteY7" fmla="*/ 453005 h 704675"/>
                  <a:gd name="connsiteX0" fmla="*/ 0 w 2625754"/>
                  <a:gd name="connsiteY0" fmla="*/ 453005 h 704886"/>
                  <a:gd name="connsiteX1" fmla="*/ 755009 w 2625754"/>
                  <a:gd name="connsiteY1" fmla="*/ 0 h 704886"/>
                  <a:gd name="connsiteX2" fmla="*/ 1805243 w 2625754"/>
                  <a:gd name="connsiteY2" fmla="*/ 379317 h 704886"/>
                  <a:gd name="connsiteX3" fmla="*/ 2625754 w 2625754"/>
                  <a:gd name="connsiteY3" fmla="*/ 335559 h 704886"/>
                  <a:gd name="connsiteX4" fmla="*/ 1504851 w 2625754"/>
                  <a:gd name="connsiteY4" fmla="*/ 704071 h 704886"/>
                  <a:gd name="connsiteX5" fmla="*/ 733063 w 2625754"/>
                  <a:gd name="connsiteY5" fmla="*/ 413208 h 704886"/>
                  <a:gd name="connsiteX6" fmla="*/ 0 w 2625754"/>
                  <a:gd name="connsiteY6" fmla="*/ 704675 h 704886"/>
                  <a:gd name="connsiteX7" fmla="*/ 0 w 2625754"/>
                  <a:gd name="connsiteY7" fmla="*/ 453005 h 704886"/>
                  <a:gd name="connsiteX0" fmla="*/ 0 w 1839244"/>
                  <a:gd name="connsiteY0" fmla="*/ 453005 h 704886"/>
                  <a:gd name="connsiteX1" fmla="*/ 755009 w 1839244"/>
                  <a:gd name="connsiteY1" fmla="*/ 0 h 704886"/>
                  <a:gd name="connsiteX2" fmla="*/ 1805243 w 1839244"/>
                  <a:gd name="connsiteY2" fmla="*/ 379317 h 704886"/>
                  <a:gd name="connsiteX3" fmla="*/ 1504851 w 1839244"/>
                  <a:gd name="connsiteY3" fmla="*/ 704071 h 704886"/>
                  <a:gd name="connsiteX4" fmla="*/ 733063 w 1839244"/>
                  <a:gd name="connsiteY4" fmla="*/ 413208 h 704886"/>
                  <a:gd name="connsiteX5" fmla="*/ 0 w 1839244"/>
                  <a:gd name="connsiteY5" fmla="*/ 704675 h 704886"/>
                  <a:gd name="connsiteX6" fmla="*/ 0 w 1839244"/>
                  <a:gd name="connsiteY6" fmla="*/ 453005 h 704886"/>
                  <a:gd name="connsiteX0" fmla="*/ 0 w 1830805"/>
                  <a:gd name="connsiteY0" fmla="*/ 453005 h 704886"/>
                  <a:gd name="connsiteX1" fmla="*/ 755009 w 1830805"/>
                  <a:gd name="connsiteY1" fmla="*/ 0 h 704886"/>
                  <a:gd name="connsiteX2" fmla="*/ 1805243 w 1830805"/>
                  <a:gd name="connsiteY2" fmla="*/ 379317 h 704886"/>
                  <a:gd name="connsiteX3" fmla="*/ 1504851 w 1830805"/>
                  <a:gd name="connsiteY3" fmla="*/ 704071 h 704886"/>
                  <a:gd name="connsiteX4" fmla="*/ 733063 w 1830805"/>
                  <a:gd name="connsiteY4" fmla="*/ 413208 h 704886"/>
                  <a:gd name="connsiteX5" fmla="*/ 0 w 1830805"/>
                  <a:gd name="connsiteY5" fmla="*/ 704675 h 704886"/>
                  <a:gd name="connsiteX6" fmla="*/ 0 w 1830805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379317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379317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401263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401263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5243" h="704886">
                    <a:moveTo>
                      <a:pt x="0" y="453005"/>
                    </a:moveTo>
                    <a:cubicBezTo>
                      <a:pt x="394282" y="377504"/>
                      <a:pt x="528506" y="276837"/>
                      <a:pt x="755009" y="0"/>
                    </a:cubicBezTo>
                    <a:cubicBezTo>
                      <a:pt x="1010753" y="458800"/>
                      <a:pt x="1437223" y="511906"/>
                      <a:pt x="1805243" y="401263"/>
                    </a:cubicBezTo>
                    <a:cubicBezTo>
                      <a:pt x="1740022" y="525923"/>
                      <a:pt x="1559189" y="647217"/>
                      <a:pt x="1504851" y="704071"/>
                    </a:cubicBezTo>
                    <a:cubicBezTo>
                      <a:pt x="1189403" y="717012"/>
                      <a:pt x="949733" y="574042"/>
                      <a:pt x="733063" y="413208"/>
                    </a:cubicBezTo>
                    <a:cubicBezTo>
                      <a:pt x="488709" y="615214"/>
                      <a:pt x="332136" y="692863"/>
                      <a:pt x="0" y="704675"/>
                    </a:cubicBezTo>
                    <a:lnTo>
                      <a:pt x="0" y="453005"/>
                    </a:lnTo>
                    <a:close/>
                  </a:path>
                </a:pathLst>
              </a:custGeom>
              <a:solidFill>
                <a:srgbClr val="67B1A5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1200" b="0" smtClean="0">
                  <a:latin typeface="+mn-ea"/>
                </a:endParaRPr>
              </a:p>
            </p:txBody>
          </p:sp>
          <p:sp>
            <p:nvSpPr>
              <p:cNvPr id="81" name="Freeform 197"/>
              <p:cNvSpPr/>
              <p:nvPr/>
            </p:nvSpPr>
            <p:spPr bwMode="auto">
              <a:xfrm>
                <a:off x="218113" y="2662868"/>
                <a:ext cx="1508274" cy="704675"/>
              </a:xfrm>
              <a:custGeom>
                <a:avLst/>
                <a:gdLst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444"/>
                  <a:gd name="connsiteX1" fmla="*/ 755009 w 2625754"/>
                  <a:gd name="connsiteY1" fmla="*/ 8389 h 713444"/>
                  <a:gd name="connsiteX2" fmla="*/ 2273416 w 2625754"/>
                  <a:gd name="connsiteY2" fmla="*/ 0 h 713444"/>
                  <a:gd name="connsiteX3" fmla="*/ 2625754 w 2625754"/>
                  <a:gd name="connsiteY3" fmla="*/ 343948 h 713444"/>
                  <a:gd name="connsiteX4" fmla="*/ 2441196 w 2625754"/>
                  <a:gd name="connsiteY4" fmla="*/ 536895 h 713444"/>
                  <a:gd name="connsiteX5" fmla="*/ 2290194 w 2625754"/>
                  <a:gd name="connsiteY5" fmla="*/ 427838 h 713444"/>
                  <a:gd name="connsiteX6" fmla="*/ 755009 w 2625754"/>
                  <a:gd name="connsiteY6" fmla="*/ 436227 h 713444"/>
                  <a:gd name="connsiteX7" fmla="*/ 0 w 2625754"/>
                  <a:gd name="connsiteY7" fmla="*/ 713064 h 713444"/>
                  <a:gd name="connsiteX8" fmla="*/ 0 w 2625754"/>
                  <a:gd name="connsiteY8" fmla="*/ 461394 h 713444"/>
                  <a:gd name="connsiteX0" fmla="*/ 0 w 2625754"/>
                  <a:gd name="connsiteY0" fmla="*/ 461394 h 713725"/>
                  <a:gd name="connsiteX1" fmla="*/ 755009 w 2625754"/>
                  <a:gd name="connsiteY1" fmla="*/ 8389 h 713725"/>
                  <a:gd name="connsiteX2" fmla="*/ 2273416 w 2625754"/>
                  <a:gd name="connsiteY2" fmla="*/ 0 h 713725"/>
                  <a:gd name="connsiteX3" fmla="*/ 2625754 w 2625754"/>
                  <a:gd name="connsiteY3" fmla="*/ 343948 h 713725"/>
                  <a:gd name="connsiteX4" fmla="*/ 2441196 w 2625754"/>
                  <a:gd name="connsiteY4" fmla="*/ 536895 h 713725"/>
                  <a:gd name="connsiteX5" fmla="*/ 2290194 w 2625754"/>
                  <a:gd name="connsiteY5" fmla="*/ 427838 h 713725"/>
                  <a:gd name="connsiteX6" fmla="*/ 755009 w 2625754"/>
                  <a:gd name="connsiteY6" fmla="*/ 436227 h 713725"/>
                  <a:gd name="connsiteX7" fmla="*/ 0 w 2625754"/>
                  <a:gd name="connsiteY7" fmla="*/ 713064 h 713725"/>
                  <a:gd name="connsiteX8" fmla="*/ 0 w 2625754"/>
                  <a:gd name="connsiteY8" fmla="*/ 461394 h 713725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60933 w 2625754"/>
                  <a:gd name="connsiteY5" fmla="*/ 41320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4675"/>
                  <a:gd name="connsiteX1" fmla="*/ 755009 w 2625754"/>
                  <a:gd name="connsiteY1" fmla="*/ 0 h 704675"/>
                  <a:gd name="connsiteX2" fmla="*/ 1805243 w 2625754"/>
                  <a:gd name="connsiteY2" fmla="*/ 379317 h 704675"/>
                  <a:gd name="connsiteX3" fmla="*/ 2625754 w 2625754"/>
                  <a:gd name="connsiteY3" fmla="*/ 335559 h 704675"/>
                  <a:gd name="connsiteX4" fmla="*/ 2441196 w 2625754"/>
                  <a:gd name="connsiteY4" fmla="*/ 528506 h 704675"/>
                  <a:gd name="connsiteX5" fmla="*/ 733063 w 2625754"/>
                  <a:gd name="connsiteY5" fmla="*/ 413208 h 704675"/>
                  <a:gd name="connsiteX6" fmla="*/ 0 w 2625754"/>
                  <a:gd name="connsiteY6" fmla="*/ 704675 h 704675"/>
                  <a:gd name="connsiteX7" fmla="*/ 0 w 2625754"/>
                  <a:gd name="connsiteY7" fmla="*/ 453005 h 704675"/>
                  <a:gd name="connsiteX0" fmla="*/ 0 w 2625754"/>
                  <a:gd name="connsiteY0" fmla="*/ 453005 h 704675"/>
                  <a:gd name="connsiteX1" fmla="*/ 755009 w 2625754"/>
                  <a:gd name="connsiteY1" fmla="*/ 0 h 704675"/>
                  <a:gd name="connsiteX2" fmla="*/ 1805243 w 2625754"/>
                  <a:gd name="connsiteY2" fmla="*/ 379317 h 704675"/>
                  <a:gd name="connsiteX3" fmla="*/ 2625754 w 2625754"/>
                  <a:gd name="connsiteY3" fmla="*/ 335559 h 704675"/>
                  <a:gd name="connsiteX4" fmla="*/ 1504851 w 2625754"/>
                  <a:gd name="connsiteY4" fmla="*/ 704071 h 704675"/>
                  <a:gd name="connsiteX5" fmla="*/ 733063 w 2625754"/>
                  <a:gd name="connsiteY5" fmla="*/ 413208 h 704675"/>
                  <a:gd name="connsiteX6" fmla="*/ 0 w 2625754"/>
                  <a:gd name="connsiteY6" fmla="*/ 704675 h 704675"/>
                  <a:gd name="connsiteX7" fmla="*/ 0 w 2625754"/>
                  <a:gd name="connsiteY7" fmla="*/ 453005 h 704675"/>
                  <a:gd name="connsiteX0" fmla="*/ 0 w 2625754"/>
                  <a:gd name="connsiteY0" fmla="*/ 453005 h 704886"/>
                  <a:gd name="connsiteX1" fmla="*/ 755009 w 2625754"/>
                  <a:gd name="connsiteY1" fmla="*/ 0 h 704886"/>
                  <a:gd name="connsiteX2" fmla="*/ 1805243 w 2625754"/>
                  <a:gd name="connsiteY2" fmla="*/ 379317 h 704886"/>
                  <a:gd name="connsiteX3" fmla="*/ 2625754 w 2625754"/>
                  <a:gd name="connsiteY3" fmla="*/ 335559 h 704886"/>
                  <a:gd name="connsiteX4" fmla="*/ 1504851 w 2625754"/>
                  <a:gd name="connsiteY4" fmla="*/ 704071 h 704886"/>
                  <a:gd name="connsiteX5" fmla="*/ 733063 w 2625754"/>
                  <a:gd name="connsiteY5" fmla="*/ 413208 h 704886"/>
                  <a:gd name="connsiteX6" fmla="*/ 0 w 2625754"/>
                  <a:gd name="connsiteY6" fmla="*/ 704675 h 704886"/>
                  <a:gd name="connsiteX7" fmla="*/ 0 w 2625754"/>
                  <a:gd name="connsiteY7" fmla="*/ 453005 h 704886"/>
                  <a:gd name="connsiteX0" fmla="*/ 0 w 1839244"/>
                  <a:gd name="connsiteY0" fmla="*/ 453005 h 704886"/>
                  <a:gd name="connsiteX1" fmla="*/ 755009 w 1839244"/>
                  <a:gd name="connsiteY1" fmla="*/ 0 h 704886"/>
                  <a:gd name="connsiteX2" fmla="*/ 1805243 w 1839244"/>
                  <a:gd name="connsiteY2" fmla="*/ 379317 h 704886"/>
                  <a:gd name="connsiteX3" fmla="*/ 1504851 w 1839244"/>
                  <a:gd name="connsiteY3" fmla="*/ 704071 h 704886"/>
                  <a:gd name="connsiteX4" fmla="*/ 733063 w 1839244"/>
                  <a:gd name="connsiteY4" fmla="*/ 413208 h 704886"/>
                  <a:gd name="connsiteX5" fmla="*/ 0 w 1839244"/>
                  <a:gd name="connsiteY5" fmla="*/ 704675 h 704886"/>
                  <a:gd name="connsiteX6" fmla="*/ 0 w 1839244"/>
                  <a:gd name="connsiteY6" fmla="*/ 453005 h 704886"/>
                  <a:gd name="connsiteX0" fmla="*/ 0 w 1830805"/>
                  <a:gd name="connsiteY0" fmla="*/ 453005 h 704886"/>
                  <a:gd name="connsiteX1" fmla="*/ 755009 w 1830805"/>
                  <a:gd name="connsiteY1" fmla="*/ 0 h 704886"/>
                  <a:gd name="connsiteX2" fmla="*/ 1805243 w 1830805"/>
                  <a:gd name="connsiteY2" fmla="*/ 379317 h 704886"/>
                  <a:gd name="connsiteX3" fmla="*/ 1504851 w 1830805"/>
                  <a:gd name="connsiteY3" fmla="*/ 704071 h 704886"/>
                  <a:gd name="connsiteX4" fmla="*/ 733063 w 1830805"/>
                  <a:gd name="connsiteY4" fmla="*/ 413208 h 704886"/>
                  <a:gd name="connsiteX5" fmla="*/ 0 w 1830805"/>
                  <a:gd name="connsiteY5" fmla="*/ 704675 h 704886"/>
                  <a:gd name="connsiteX6" fmla="*/ 0 w 1830805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379317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379317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401263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401263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4"/>
                  <a:gd name="connsiteY0" fmla="*/ 453016 h 704897"/>
                  <a:gd name="connsiteX1" fmla="*/ 755009 w 1805244"/>
                  <a:gd name="connsiteY1" fmla="*/ 11 h 704897"/>
                  <a:gd name="connsiteX2" fmla="*/ 1508274 w 1805244"/>
                  <a:gd name="connsiteY2" fmla="*/ 438787 h 704897"/>
                  <a:gd name="connsiteX3" fmla="*/ 1805243 w 1805244"/>
                  <a:gd name="connsiteY3" fmla="*/ 401274 h 704897"/>
                  <a:gd name="connsiteX4" fmla="*/ 1504851 w 1805244"/>
                  <a:gd name="connsiteY4" fmla="*/ 704082 h 704897"/>
                  <a:gd name="connsiteX5" fmla="*/ 733063 w 1805244"/>
                  <a:gd name="connsiteY5" fmla="*/ 413219 h 704897"/>
                  <a:gd name="connsiteX6" fmla="*/ 0 w 1805244"/>
                  <a:gd name="connsiteY6" fmla="*/ 704686 h 704897"/>
                  <a:gd name="connsiteX7" fmla="*/ 0 w 1805244"/>
                  <a:gd name="connsiteY7" fmla="*/ 453016 h 704897"/>
                  <a:gd name="connsiteX0" fmla="*/ 0 w 1805244"/>
                  <a:gd name="connsiteY0" fmla="*/ 453016 h 726953"/>
                  <a:gd name="connsiteX1" fmla="*/ 755009 w 1805244"/>
                  <a:gd name="connsiteY1" fmla="*/ 11 h 726953"/>
                  <a:gd name="connsiteX2" fmla="*/ 1508274 w 1805244"/>
                  <a:gd name="connsiteY2" fmla="*/ 438787 h 726953"/>
                  <a:gd name="connsiteX3" fmla="*/ 1805243 w 1805244"/>
                  <a:gd name="connsiteY3" fmla="*/ 401274 h 726953"/>
                  <a:gd name="connsiteX4" fmla="*/ 1504851 w 1805244"/>
                  <a:gd name="connsiteY4" fmla="*/ 704082 h 726953"/>
                  <a:gd name="connsiteX5" fmla="*/ 1259556 w 1805244"/>
                  <a:gd name="connsiteY5" fmla="*/ 672874 h 726953"/>
                  <a:gd name="connsiteX6" fmla="*/ 733063 w 1805244"/>
                  <a:gd name="connsiteY6" fmla="*/ 413219 h 726953"/>
                  <a:gd name="connsiteX7" fmla="*/ 0 w 1805244"/>
                  <a:gd name="connsiteY7" fmla="*/ 704686 h 726953"/>
                  <a:gd name="connsiteX8" fmla="*/ 0 w 1805244"/>
                  <a:gd name="connsiteY8" fmla="*/ 453016 h 726953"/>
                  <a:gd name="connsiteX0" fmla="*/ 0 w 1805244"/>
                  <a:gd name="connsiteY0" fmla="*/ 453005 h 726942"/>
                  <a:gd name="connsiteX1" fmla="*/ 755009 w 1805244"/>
                  <a:gd name="connsiteY1" fmla="*/ 0 h 726942"/>
                  <a:gd name="connsiteX2" fmla="*/ 1508274 w 1805244"/>
                  <a:gd name="connsiteY2" fmla="*/ 438776 h 726942"/>
                  <a:gd name="connsiteX3" fmla="*/ 1805243 w 1805244"/>
                  <a:gd name="connsiteY3" fmla="*/ 401263 h 726942"/>
                  <a:gd name="connsiteX4" fmla="*/ 1504851 w 1805244"/>
                  <a:gd name="connsiteY4" fmla="*/ 704071 h 726942"/>
                  <a:gd name="connsiteX5" fmla="*/ 1259556 w 1805244"/>
                  <a:gd name="connsiteY5" fmla="*/ 672863 h 726942"/>
                  <a:gd name="connsiteX6" fmla="*/ 733063 w 1805244"/>
                  <a:gd name="connsiteY6" fmla="*/ 413208 h 726942"/>
                  <a:gd name="connsiteX7" fmla="*/ 0 w 1805244"/>
                  <a:gd name="connsiteY7" fmla="*/ 704675 h 726942"/>
                  <a:gd name="connsiteX8" fmla="*/ 0 w 1805244"/>
                  <a:gd name="connsiteY8" fmla="*/ 453005 h 726942"/>
                  <a:gd name="connsiteX0" fmla="*/ 0 w 1805244"/>
                  <a:gd name="connsiteY0" fmla="*/ 453005 h 726942"/>
                  <a:gd name="connsiteX1" fmla="*/ 755009 w 1805244"/>
                  <a:gd name="connsiteY1" fmla="*/ 0 h 726942"/>
                  <a:gd name="connsiteX2" fmla="*/ 1508274 w 1805244"/>
                  <a:gd name="connsiteY2" fmla="*/ 438776 h 726942"/>
                  <a:gd name="connsiteX3" fmla="*/ 1805243 w 1805244"/>
                  <a:gd name="connsiteY3" fmla="*/ 401263 h 726942"/>
                  <a:gd name="connsiteX4" fmla="*/ 1504851 w 1805244"/>
                  <a:gd name="connsiteY4" fmla="*/ 704071 h 726942"/>
                  <a:gd name="connsiteX5" fmla="*/ 1259556 w 1805244"/>
                  <a:gd name="connsiteY5" fmla="*/ 672863 h 726942"/>
                  <a:gd name="connsiteX6" fmla="*/ 733063 w 1805244"/>
                  <a:gd name="connsiteY6" fmla="*/ 413208 h 726942"/>
                  <a:gd name="connsiteX7" fmla="*/ 0 w 1805244"/>
                  <a:gd name="connsiteY7" fmla="*/ 704675 h 726942"/>
                  <a:gd name="connsiteX8" fmla="*/ 0 w 1805244"/>
                  <a:gd name="connsiteY8" fmla="*/ 453005 h 726942"/>
                  <a:gd name="connsiteX0" fmla="*/ 0 w 1805244"/>
                  <a:gd name="connsiteY0" fmla="*/ 453005 h 726942"/>
                  <a:gd name="connsiteX1" fmla="*/ 755009 w 1805244"/>
                  <a:gd name="connsiteY1" fmla="*/ 0 h 726942"/>
                  <a:gd name="connsiteX2" fmla="*/ 1508274 w 1805244"/>
                  <a:gd name="connsiteY2" fmla="*/ 438776 h 726942"/>
                  <a:gd name="connsiteX3" fmla="*/ 1805243 w 1805244"/>
                  <a:gd name="connsiteY3" fmla="*/ 401263 h 726942"/>
                  <a:gd name="connsiteX4" fmla="*/ 1504851 w 1805244"/>
                  <a:gd name="connsiteY4" fmla="*/ 704071 h 726942"/>
                  <a:gd name="connsiteX5" fmla="*/ 1259556 w 1805244"/>
                  <a:gd name="connsiteY5" fmla="*/ 672863 h 726942"/>
                  <a:gd name="connsiteX6" fmla="*/ 733063 w 1805244"/>
                  <a:gd name="connsiteY6" fmla="*/ 413208 h 726942"/>
                  <a:gd name="connsiteX7" fmla="*/ 0 w 1805244"/>
                  <a:gd name="connsiteY7" fmla="*/ 704675 h 726942"/>
                  <a:gd name="connsiteX8" fmla="*/ 0 w 1805244"/>
                  <a:gd name="connsiteY8" fmla="*/ 453005 h 726942"/>
                  <a:gd name="connsiteX0" fmla="*/ 0 w 1805244"/>
                  <a:gd name="connsiteY0" fmla="*/ 453005 h 726942"/>
                  <a:gd name="connsiteX1" fmla="*/ 755009 w 1805244"/>
                  <a:gd name="connsiteY1" fmla="*/ 0 h 726942"/>
                  <a:gd name="connsiteX2" fmla="*/ 1508274 w 1805244"/>
                  <a:gd name="connsiteY2" fmla="*/ 438776 h 726942"/>
                  <a:gd name="connsiteX3" fmla="*/ 1805243 w 1805244"/>
                  <a:gd name="connsiteY3" fmla="*/ 401263 h 726942"/>
                  <a:gd name="connsiteX4" fmla="*/ 1504851 w 1805244"/>
                  <a:gd name="connsiteY4" fmla="*/ 704071 h 726942"/>
                  <a:gd name="connsiteX5" fmla="*/ 1259556 w 1805244"/>
                  <a:gd name="connsiteY5" fmla="*/ 672863 h 726942"/>
                  <a:gd name="connsiteX6" fmla="*/ 733063 w 1805244"/>
                  <a:gd name="connsiteY6" fmla="*/ 413208 h 726942"/>
                  <a:gd name="connsiteX7" fmla="*/ 0 w 1805244"/>
                  <a:gd name="connsiteY7" fmla="*/ 704675 h 726942"/>
                  <a:gd name="connsiteX8" fmla="*/ 0 w 1805244"/>
                  <a:gd name="connsiteY8" fmla="*/ 453005 h 726942"/>
                  <a:gd name="connsiteX0" fmla="*/ 0 w 1805244"/>
                  <a:gd name="connsiteY0" fmla="*/ 453005 h 704675"/>
                  <a:gd name="connsiteX1" fmla="*/ 755009 w 1805244"/>
                  <a:gd name="connsiteY1" fmla="*/ 0 h 704675"/>
                  <a:gd name="connsiteX2" fmla="*/ 1508274 w 1805244"/>
                  <a:gd name="connsiteY2" fmla="*/ 438776 h 704675"/>
                  <a:gd name="connsiteX3" fmla="*/ 1805243 w 1805244"/>
                  <a:gd name="connsiteY3" fmla="*/ 401263 h 704675"/>
                  <a:gd name="connsiteX4" fmla="*/ 1259556 w 1805244"/>
                  <a:gd name="connsiteY4" fmla="*/ 672863 h 704675"/>
                  <a:gd name="connsiteX5" fmla="*/ 733063 w 1805244"/>
                  <a:gd name="connsiteY5" fmla="*/ 413208 h 704675"/>
                  <a:gd name="connsiteX6" fmla="*/ 0 w 1805244"/>
                  <a:gd name="connsiteY6" fmla="*/ 704675 h 704675"/>
                  <a:gd name="connsiteX7" fmla="*/ 0 w 1805244"/>
                  <a:gd name="connsiteY7" fmla="*/ 453005 h 704675"/>
                  <a:gd name="connsiteX0" fmla="*/ 0 w 1528031"/>
                  <a:gd name="connsiteY0" fmla="*/ 453005 h 704675"/>
                  <a:gd name="connsiteX1" fmla="*/ 755009 w 1528031"/>
                  <a:gd name="connsiteY1" fmla="*/ 0 h 704675"/>
                  <a:gd name="connsiteX2" fmla="*/ 1508274 w 1528031"/>
                  <a:gd name="connsiteY2" fmla="*/ 438776 h 704675"/>
                  <a:gd name="connsiteX3" fmla="*/ 1259556 w 1528031"/>
                  <a:gd name="connsiteY3" fmla="*/ 672863 h 704675"/>
                  <a:gd name="connsiteX4" fmla="*/ 733063 w 1528031"/>
                  <a:gd name="connsiteY4" fmla="*/ 413208 h 704675"/>
                  <a:gd name="connsiteX5" fmla="*/ 0 w 1528031"/>
                  <a:gd name="connsiteY5" fmla="*/ 704675 h 704675"/>
                  <a:gd name="connsiteX6" fmla="*/ 0 w 1528031"/>
                  <a:gd name="connsiteY6" fmla="*/ 453005 h 704675"/>
                  <a:gd name="connsiteX0" fmla="*/ 0 w 1508274"/>
                  <a:gd name="connsiteY0" fmla="*/ 453005 h 704675"/>
                  <a:gd name="connsiteX1" fmla="*/ 755009 w 1508274"/>
                  <a:gd name="connsiteY1" fmla="*/ 0 h 704675"/>
                  <a:gd name="connsiteX2" fmla="*/ 1508274 w 1508274"/>
                  <a:gd name="connsiteY2" fmla="*/ 438776 h 704675"/>
                  <a:gd name="connsiteX3" fmla="*/ 1259556 w 1508274"/>
                  <a:gd name="connsiteY3" fmla="*/ 672863 h 704675"/>
                  <a:gd name="connsiteX4" fmla="*/ 733063 w 1508274"/>
                  <a:gd name="connsiteY4" fmla="*/ 413208 h 704675"/>
                  <a:gd name="connsiteX5" fmla="*/ 0 w 1508274"/>
                  <a:gd name="connsiteY5" fmla="*/ 704675 h 704675"/>
                  <a:gd name="connsiteX6" fmla="*/ 0 w 1508274"/>
                  <a:gd name="connsiteY6" fmla="*/ 453005 h 704675"/>
                  <a:gd name="connsiteX0" fmla="*/ 0 w 1508274"/>
                  <a:gd name="connsiteY0" fmla="*/ 453005 h 704675"/>
                  <a:gd name="connsiteX1" fmla="*/ 755009 w 1508274"/>
                  <a:gd name="connsiteY1" fmla="*/ 0 h 704675"/>
                  <a:gd name="connsiteX2" fmla="*/ 1508274 w 1508274"/>
                  <a:gd name="connsiteY2" fmla="*/ 438776 h 704675"/>
                  <a:gd name="connsiteX3" fmla="*/ 1259556 w 1508274"/>
                  <a:gd name="connsiteY3" fmla="*/ 672863 h 704675"/>
                  <a:gd name="connsiteX4" fmla="*/ 733063 w 1508274"/>
                  <a:gd name="connsiteY4" fmla="*/ 413208 h 704675"/>
                  <a:gd name="connsiteX5" fmla="*/ 0 w 1508274"/>
                  <a:gd name="connsiteY5" fmla="*/ 704675 h 704675"/>
                  <a:gd name="connsiteX6" fmla="*/ 0 w 1508274"/>
                  <a:gd name="connsiteY6" fmla="*/ 453005 h 704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08274" h="704675">
                    <a:moveTo>
                      <a:pt x="0" y="453005"/>
                    </a:moveTo>
                    <a:cubicBezTo>
                      <a:pt x="394282" y="377504"/>
                      <a:pt x="528506" y="276837"/>
                      <a:pt x="755009" y="0"/>
                    </a:cubicBezTo>
                    <a:cubicBezTo>
                      <a:pt x="955182" y="341443"/>
                      <a:pt x="1179615" y="430421"/>
                      <a:pt x="1508274" y="438776"/>
                    </a:cubicBezTo>
                    <a:cubicBezTo>
                      <a:pt x="1409485" y="565550"/>
                      <a:pt x="1381442" y="603972"/>
                      <a:pt x="1259556" y="672863"/>
                    </a:cubicBezTo>
                    <a:cubicBezTo>
                      <a:pt x="1079719" y="639017"/>
                      <a:pt x="942989" y="590786"/>
                      <a:pt x="733063" y="413208"/>
                    </a:cubicBezTo>
                    <a:cubicBezTo>
                      <a:pt x="488709" y="615214"/>
                      <a:pt x="332136" y="692863"/>
                      <a:pt x="0" y="704675"/>
                    </a:cubicBezTo>
                    <a:lnTo>
                      <a:pt x="0" y="453005"/>
                    </a:lnTo>
                    <a:close/>
                  </a:path>
                </a:pathLst>
              </a:custGeom>
              <a:solidFill>
                <a:srgbClr val="67B1A5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1200" b="0" smtClean="0">
                  <a:latin typeface="+mn-ea"/>
                </a:endParaRPr>
              </a:p>
            </p:txBody>
          </p:sp>
        </p:grpSp>
      </p:grpSp>
      <p:sp>
        <p:nvSpPr>
          <p:cNvPr id="82" name="TextBox 81"/>
          <p:cNvSpPr txBox="1"/>
          <p:nvPr/>
        </p:nvSpPr>
        <p:spPr>
          <a:xfrm>
            <a:off x="4797821" y="1941301"/>
            <a:ext cx="801942" cy="226591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en-US" altLang="ko-KR" sz="1000" b="1" i="1" u="sng" dirty="0" smtClean="0">
                <a:solidFill>
                  <a:srgbClr val="0000FF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Toll Road</a:t>
            </a:r>
            <a:endParaRPr lang="ko-KR" altLang="en-US" sz="1000" b="1" i="1" u="sng" dirty="0" smtClean="0">
              <a:solidFill>
                <a:srgbClr val="0000FF"/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6319861" y="1866741"/>
            <a:ext cx="577012" cy="226591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en-US" altLang="ko-KR" sz="1000" b="1" i="1" u="sng" dirty="0" smtClean="0">
                <a:solidFill>
                  <a:srgbClr val="0000FF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HEPP</a:t>
            </a:r>
            <a:endParaRPr lang="ko-KR" altLang="en-US" sz="1000" b="1" i="1" u="sng" dirty="0" smtClean="0">
              <a:solidFill>
                <a:srgbClr val="0000FF"/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330" y="120774"/>
            <a:ext cx="1449072" cy="787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1841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1" y="57095"/>
            <a:ext cx="5452795" cy="318912"/>
          </a:xfrm>
        </p:spPr>
        <p:txBody>
          <a:bodyPr/>
          <a:lstStyle/>
          <a:p>
            <a:r>
              <a:rPr lang="en-US" altLang="ko-KR" dirty="0">
                <a:latin typeface="+mj-ea"/>
              </a:rPr>
              <a:t>Pakistan </a:t>
            </a:r>
            <a:r>
              <a:rPr lang="en-US" altLang="ko-KR" dirty="0" err="1">
                <a:latin typeface="+mj-ea"/>
              </a:rPr>
              <a:t>Gulpur</a:t>
            </a:r>
            <a:r>
              <a:rPr lang="en-US" altLang="ko-KR" dirty="0">
                <a:latin typeface="+mj-ea"/>
              </a:rPr>
              <a:t> Hydropower Project : </a:t>
            </a:r>
            <a:r>
              <a:rPr lang="en-US" altLang="ko-KR" dirty="0" smtClean="0">
                <a:latin typeface="+mj-ea"/>
              </a:rPr>
              <a:t>Business Model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ko-KR" altLang="en-US"/>
          </a:p>
        </p:txBody>
      </p:sp>
      <p:pic>
        <p:nvPicPr>
          <p:cNvPr id="172" name="그림 17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62" b="2270"/>
          <a:stretch/>
        </p:blipFill>
        <p:spPr>
          <a:xfrm>
            <a:off x="0" y="430213"/>
            <a:ext cx="9906000" cy="6427787"/>
          </a:xfrm>
          <a:prstGeom prst="rect">
            <a:avLst/>
          </a:prstGeom>
        </p:spPr>
      </p:pic>
      <p:sp>
        <p:nvSpPr>
          <p:cNvPr id="173" name="직사각형 172"/>
          <p:cNvSpPr/>
          <p:nvPr/>
        </p:nvSpPr>
        <p:spPr bwMode="auto">
          <a:xfrm flipH="1">
            <a:off x="-1" y="445703"/>
            <a:ext cx="9906001" cy="6427787"/>
          </a:xfrm>
          <a:prstGeom prst="rect">
            <a:avLst/>
          </a:prstGeom>
          <a:solidFill>
            <a:sysClr val="window" lastClr="FFFFFF">
              <a:alpha val="80000"/>
            </a:sys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29250" tIns="29250" rIns="29250" bIns="29250" rtlCol="0" anchor="ctr"/>
          <a:lstStyle/>
          <a:p>
            <a:pPr marL="0" marR="0" lvl="0" indent="0" defTabSz="74295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975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aphicFrame>
        <p:nvGraphicFramePr>
          <p:cNvPr id="174" name="표 1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34084"/>
              </p:ext>
            </p:extLst>
          </p:nvPr>
        </p:nvGraphicFramePr>
        <p:xfrm>
          <a:off x="7150861" y="4377860"/>
          <a:ext cx="2360292" cy="577020"/>
        </p:xfrm>
        <a:graphic>
          <a:graphicData uri="http://schemas.openxmlformats.org/drawingml/2006/table">
            <a:tbl>
              <a:tblPr firstRow="1" bandRow="1"/>
              <a:tblGrid>
                <a:gridCol w="517570"/>
                <a:gridCol w="1842722"/>
              </a:tblGrid>
              <a:tr h="146270">
                <a:tc>
                  <a:txBody>
                    <a:bodyPr/>
                    <a:lstStyle>
                      <a:lvl1pPr marL="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6184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2368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6855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4735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0921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37103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193287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4947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800" b="1" dirty="0" smtClean="0">
                          <a:latin typeface="+mn-ea"/>
                          <a:ea typeface="+mn-ea"/>
                        </a:rPr>
                        <a:t>CCF</a:t>
                      </a:r>
                      <a:endParaRPr lang="ko-KR" altLang="en-US" sz="800" dirty="0">
                        <a:latin typeface="+mn-ea"/>
                        <a:ea typeface="+mn-ea"/>
                      </a:endParaRPr>
                    </a:p>
                  </a:txBody>
                  <a:tcPr marL="74295" marR="7429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6184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2368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6855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4735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0921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37103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193287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4947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cap="small" baseline="0" dirty="0" smtClean="0">
                          <a:latin typeface="+mn-ea"/>
                        </a:rPr>
                        <a:t>Canadian Climate Fund</a:t>
                      </a:r>
                      <a:endParaRPr lang="en-US" altLang="ko-KR" sz="800" b="1" cap="small" baseline="0" dirty="0" smtClean="0">
                        <a:latin typeface="+mn-ea"/>
                      </a:endParaRPr>
                    </a:p>
                  </a:txBody>
                  <a:tcPr marL="29250" marR="7429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6270">
                <a:tc>
                  <a:txBody>
                    <a:bodyPr/>
                    <a:lstStyle>
                      <a:lvl1pPr marL="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6184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2368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6855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4735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0921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37103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193287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4947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800" b="1" dirty="0" smtClean="0">
                          <a:latin typeface="+mn-ea"/>
                          <a:ea typeface="+mn-ea"/>
                        </a:rPr>
                        <a:t>FMO</a:t>
                      </a:r>
                      <a:endParaRPr lang="ko-KR" altLang="en-US" sz="800" dirty="0">
                        <a:latin typeface="+mn-ea"/>
                        <a:ea typeface="+mn-ea"/>
                      </a:endParaRPr>
                    </a:p>
                  </a:txBody>
                  <a:tcPr marL="74295" marR="7429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6184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2368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6855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4735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0921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37103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193287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4947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cap="small" baseline="0" dirty="0" smtClean="0">
                          <a:latin typeface="+mn-ea"/>
                        </a:rPr>
                        <a:t>Netherland Dev. Financing Co.</a:t>
                      </a:r>
                    </a:p>
                  </a:txBody>
                  <a:tcPr marL="29250" marR="7429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1280">
                <a:tc>
                  <a:txBody>
                    <a:bodyPr/>
                    <a:lstStyle>
                      <a:lvl1pPr marL="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6184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2368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6855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4735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0921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37103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193287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4947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800" b="1" dirty="0" smtClean="0">
                          <a:latin typeface="+mn-ea"/>
                          <a:ea typeface="+mn-ea"/>
                        </a:rPr>
                        <a:t>PBC</a:t>
                      </a:r>
                      <a:endParaRPr lang="ko-KR" altLang="en-US" sz="800" dirty="0">
                        <a:latin typeface="+mn-ea"/>
                        <a:ea typeface="+mn-ea"/>
                      </a:endParaRPr>
                    </a:p>
                  </a:txBody>
                  <a:tcPr marL="74295" marR="7429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6184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2368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6855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4735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0921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37103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193287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4947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cap="small" baseline="0" dirty="0" smtClean="0">
                          <a:latin typeface="+mn-ea"/>
                        </a:rPr>
                        <a:t>People’s Bank of China</a:t>
                      </a:r>
                    </a:p>
                  </a:txBody>
                  <a:tcPr marL="29250" marR="7429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62560">
                <a:tc>
                  <a:txBody>
                    <a:bodyPr/>
                    <a:lstStyle>
                      <a:lvl1pPr marL="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6184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2368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6855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4735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0921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37103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193287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4947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algn="l" latinLnBrk="1"/>
                      <a:r>
                        <a:rPr lang="en-US" altLang="ko-KR" sz="800" b="1" u="none" dirty="0" smtClean="0">
                          <a:latin typeface="+mn-ea"/>
                          <a:ea typeface="+mn-ea"/>
                        </a:rPr>
                        <a:t>CDC</a:t>
                      </a:r>
                      <a:endParaRPr lang="ko-KR" altLang="en-US" sz="800" b="1" u="none" dirty="0">
                        <a:latin typeface="+mn-ea"/>
                        <a:ea typeface="+mn-ea"/>
                      </a:endParaRPr>
                    </a:p>
                  </a:txBody>
                  <a:tcPr marL="74295" marR="7429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6184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2368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6855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4735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0921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37103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193287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49470" algn="l" defTabSz="912368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none" cap="small" baseline="0" dirty="0" smtClean="0">
                          <a:latin typeface="+mn-ea"/>
                        </a:rPr>
                        <a:t>Commonwealth Dev. Corporation</a:t>
                      </a:r>
                    </a:p>
                  </a:txBody>
                  <a:tcPr marL="29250" marR="7429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1" name="TextBox 190"/>
          <p:cNvSpPr txBox="1"/>
          <p:nvPr/>
        </p:nvSpPr>
        <p:spPr>
          <a:xfrm>
            <a:off x="3534077" y="2700889"/>
            <a:ext cx="1590753" cy="30162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ko-KR"/>
            </a:defPPr>
            <a:lvl1pPr algn="ctr" latinLnBrk="0">
              <a:lnSpc>
                <a:spcPct val="70000"/>
              </a:lnSpc>
              <a:tabLst>
                <a:tab pos="930275" algn="l"/>
              </a:tabLst>
              <a:defRPr sz="1050" b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ko-KR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A</a:t>
            </a:r>
          </a:p>
          <a:p>
            <a:pPr>
              <a:defRPr/>
            </a:pPr>
            <a:r>
              <a:rPr lang="en-US" altLang="ko-KR" sz="950" cap="small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(Implementation Agreement)</a:t>
            </a:r>
            <a:endParaRPr lang="en-US" altLang="ko-KR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225" name="Straight Connector 94"/>
          <p:cNvCxnSpPr>
            <a:endCxn id="226" idx="0"/>
          </p:cNvCxnSpPr>
          <p:nvPr/>
        </p:nvCxnSpPr>
        <p:spPr>
          <a:xfrm>
            <a:off x="1106354" y="4467466"/>
            <a:ext cx="0" cy="911483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ysDot"/>
            <a:miter lim="800000"/>
            <a:headEnd type="stealth"/>
            <a:tailEnd type="stealth"/>
          </a:ln>
          <a:effectLst/>
        </p:spPr>
      </p:cxnSp>
      <p:sp>
        <p:nvSpPr>
          <p:cNvPr id="226" name="Rounded Rectangle 75"/>
          <p:cNvSpPr/>
          <p:nvPr/>
        </p:nvSpPr>
        <p:spPr bwMode="auto">
          <a:xfrm>
            <a:off x="545316" y="5378949"/>
            <a:ext cx="1122076" cy="401213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rgbClr val="A5A5A5">
                <a:lumMod val="20000"/>
                <a:lumOff val="80000"/>
              </a:srgb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74295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27" name="TextBox 226"/>
          <p:cNvSpPr txBox="1"/>
          <p:nvPr/>
        </p:nvSpPr>
        <p:spPr>
          <a:xfrm>
            <a:off x="551059" y="5026192"/>
            <a:ext cx="1425876" cy="33855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2950" latinLnBrk="0">
              <a:lnSpc>
                <a:spcPct val="80000"/>
              </a:lnSpc>
            </a:pPr>
            <a:r>
              <a:rPr lang="en-US" altLang="ko-KR" b="1" dirty="0" smtClean="0">
                <a:solidFill>
                  <a:prstClr val="white">
                    <a:lumMod val="50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I</a:t>
            </a:r>
          </a:p>
          <a:p>
            <a:pPr defTabSz="742950" latinLnBrk="0">
              <a:lnSpc>
                <a:spcPct val="80000"/>
              </a:lnSpc>
            </a:pPr>
            <a:r>
              <a:rPr lang="af-ZA" altLang="ko-KR" sz="950" b="1" cap="small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(Political </a:t>
            </a:r>
            <a:r>
              <a:rPr lang="af-ZA" altLang="ko-KR" sz="950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Risk </a:t>
            </a:r>
            <a:r>
              <a:rPr lang="af-ZA" altLang="ko-KR" sz="950" b="1" cap="small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Insurance)</a:t>
            </a:r>
            <a:endParaRPr lang="en-US" altLang="ko-KR" sz="950" b="1" dirty="0">
              <a:solidFill>
                <a:prstClr val="white">
                  <a:lumMod val="50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28" name="Picture 36" descr="File:Multilateral Investment Guarantee Agency logo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514"/>
          <a:stretch/>
        </p:blipFill>
        <p:spPr bwMode="auto">
          <a:xfrm>
            <a:off x="724002" y="5474401"/>
            <a:ext cx="754192" cy="243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9" name="TextBox 228"/>
          <p:cNvSpPr txBox="1"/>
          <p:nvPr/>
        </p:nvSpPr>
        <p:spPr>
          <a:xfrm>
            <a:off x="1121820" y="4853960"/>
            <a:ext cx="615553" cy="160493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 defTabSz="742950" latinLnBrk="0">
              <a:lnSpc>
                <a:spcPct val="70000"/>
              </a:lnSpc>
              <a:tabLst>
                <a:tab pos="930275" algn="l"/>
              </a:tabLst>
              <a:defRPr/>
            </a:pPr>
            <a:r>
              <a:rPr lang="af-ZA" altLang="ko-KR" sz="1400" b="1" u="sng" kern="0" dirty="0">
                <a:solidFill>
                  <a:srgbClr val="0000FF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Covered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4808980" y="2470010"/>
            <a:ext cx="1908348" cy="30162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ko-KR"/>
            </a:defPPr>
            <a:lvl1pPr algn="ctr" latinLnBrk="0">
              <a:lnSpc>
                <a:spcPct val="70000"/>
              </a:lnSpc>
              <a:tabLst>
                <a:tab pos="930275" algn="l"/>
              </a:tabLst>
              <a:defRPr sz="1050" b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ko-KR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PA</a:t>
            </a:r>
          </a:p>
          <a:p>
            <a:pPr>
              <a:defRPr/>
            </a:pPr>
            <a:r>
              <a:rPr lang="en-US" altLang="ko-KR" sz="950" cap="small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(Power </a:t>
            </a:r>
            <a:r>
              <a:rPr lang="en-US" altLang="ko-KR" sz="950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Purchase </a:t>
            </a:r>
            <a:r>
              <a:rPr lang="en-US" altLang="ko-KR" sz="950" cap="small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Agreement)</a:t>
            </a:r>
            <a:endParaRPr lang="af-ZA" altLang="ko-KR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7" name="Rounded Rectangle 140"/>
          <p:cNvSpPr/>
          <p:nvPr/>
        </p:nvSpPr>
        <p:spPr bwMode="auto">
          <a:xfrm>
            <a:off x="7156472" y="2823727"/>
            <a:ext cx="2203326" cy="1568194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88" name="Rounded Rectangle 75"/>
          <p:cNvSpPr/>
          <p:nvPr/>
        </p:nvSpPr>
        <p:spPr bwMode="auto">
          <a:xfrm>
            <a:off x="488950" y="2730174"/>
            <a:ext cx="2216725" cy="1755300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90" name="Rounded Rectangle 76"/>
          <p:cNvSpPr/>
          <p:nvPr/>
        </p:nvSpPr>
        <p:spPr bwMode="auto">
          <a:xfrm>
            <a:off x="2511234" y="5282453"/>
            <a:ext cx="1841010" cy="1250664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91" name="Rounded Rectangle 77"/>
          <p:cNvSpPr/>
          <p:nvPr/>
        </p:nvSpPr>
        <p:spPr bwMode="auto">
          <a:xfrm>
            <a:off x="5553757" y="5282453"/>
            <a:ext cx="1841010" cy="1250664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grpSp>
        <p:nvGrpSpPr>
          <p:cNvPr id="92" name="Group 78"/>
          <p:cNvGrpSpPr/>
          <p:nvPr/>
        </p:nvGrpSpPr>
        <p:grpSpPr>
          <a:xfrm>
            <a:off x="4373841" y="3177607"/>
            <a:ext cx="1158318" cy="852122"/>
            <a:chOff x="3890978" y="3352800"/>
            <a:chExt cx="1158318" cy="852122"/>
          </a:xfrm>
        </p:grpSpPr>
        <p:sp>
          <p:nvSpPr>
            <p:cNvPr id="93" name="모서리가 둥근 직사각형 14"/>
            <p:cNvSpPr/>
            <p:nvPr/>
          </p:nvSpPr>
          <p:spPr bwMode="auto">
            <a:xfrm>
              <a:off x="3890978" y="3352800"/>
              <a:ext cx="1158318" cy="852122"/>
            </a:xfrm>
            <a:prstGeom prst="roundRect">
              <a:avLst/>
            </a:prstGeom>
            <a:solidFill>
              <a:schemeClr val="accent3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0" tIns="0" rIns="0" bIns="0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ko-KR" altLang="en-US" b="1" kern="0" dirty="0">
                <a:solidFill>
                  <a:schemeClr val="bg1"/>
                </a:solidFill>
              </a:endParaRPr>
            </a:p>
          </p:txBody>
        </p:sp>
        <p:grpSp>
          <p:nvGrpSpPr>
            <p:cNvPr id="94" name="Group 80"/>
            <p:cNvGrpSpPr/>
            <p:nvPr/>
          </p:nvGrpSpPr>
          <p:grpSpPr>
            <a:xfrm>
              <a:off x="4140523" y="3455811"/>
              <a:ext cx="659229" cy="646100"/>
              <a:chOff x="4140522" y="3454840"/>
              <a:chExt cx="659229" cy="646100"/>
            </a:xfrm>
          </p:grpSpPr>
          <p:sp>
            <p:nvSpPr>
              <p:cNvPr id="96" name="Freeform 82"/>
              <p:cNvSpPr/>
              <p:nvPr/>
            </p:nvSpPr>
            <p:spPr bwMode="auto">
              <a:xfrm>
                <a:off x="4151028" y="3573029"/>
                <a:ext cx="648723" cy="520032"/>
              </a:xfrm>
              <a:custGeom>
                <a:avLst/>
                <a:gdLst>
                  <a:gd name="connsiteX0" fmla="*/ 0 w 2072081"/>
                  <a:gd name="connsiteY0" fmla="*/ 444617 h 1661021"/>
                  <a:gd name="connsiteX1" fmla="*/ 1392572 w 2072081"/>
                  <a:gd name="connsiteY1" fmla="*/ 1132514 h 1661021"/>
                  <a:gd name="connsiteX2" fmla="*/ 1342239 w 2072081"/>
                  <a:gd name="connsiteY2" fmla="*/ 1208015 h 1661021"/>
                  <a:gd name="connsiteX3" fmla="*/ 1208015 w 2072081"/>
                  <a:gd name="connsiteY3" fmla="*/ 1241571 h 1661021"/>
                  <a:gd name="connsiteX4" fmla="*/ 998290 w 2072081"/>
                  <a:gd name="connsiteY4" fmla="*/ 1661021 h 1661021"/>
                  <a:gd name="connsiteX5" fmla="*/ 2072081 w 2072081"/>
                  <a:gd name="connsiteY5" fmla="*/ 1661021 h 1661021"/>
                  <a:gd name="connsiteX6" fmla="*/ 1719743 w 2072081"/>
                  <a:gd name="connsiteY6" fmla="*/ 897622 h 1661021"/>
                  <a:gd name="connsiteX7" fmla="*/ 1644242 w 2072081"/>
                  <a:gd name="connsiteY7" fmla="*/ 855678 h 1661021"/>
                  <a:gd name="connsiteX8" fmla="*/ 1526796 w 2072081"/>
                  <a:gd name="connsiteY8" fmla="*/ 947956 h 1661021"/>
                  <a:gd name="connsiteX9" fmla="*/ 1468073 w 2072081"/>
                  <a:gd name="connsiteY9" fmla="*/ 1031846 h 1661021"/>
                  <a:gd name="connsiteX10" fmla="*/ 1166070 w 2072081"/>
                  <a:gd name="connsiteY10" fmla="*/ 880844 h 1661021"/>
                  <a:gd name="connsiteX11" fmla="*/ 1023457 w 2072081"/>
                  <a:gd name="connsiteY11" fmla="*/ 226503 h 1661021"/>
                  <a:gd name="connsiteX12" fmla="*/ 721453 w 2072081"/>
                  <a:gd name="connsiteY12" fmla="*/ 0 h 1661021"/>
                  <a:gd name="connsiteX13" fmla="*/ 377505 w 2072081"/>
                  <a:gd name="connsiteY13" fmla="*/ 16778 h 1661021"/>
                  <a:gd name="connsiteX14" fmla="*/ 75501 w 2072081"/>
                  <a:gd name="connsiteY14" fmla="*/ 352338 h 1661021"/>
                  <a:gd name="connsiteX15" fmla="*/ 218114 w 2072081"/>
                  <a:gd name="connsiteY15" fmla="*/ 427839 h 1661021"/>
                  <a:gd name="connsiteX16" fmla="*/ 402672 w 2072081"/>
                  <a:gd name="connsiteY16" fmla="*/ 234892 h 1661021"/>
                  <a:gd name="connsiteX17" fmla="*/ 494950 w 2072081"/>
                  <a:gd name="connsiteY17" fmla="*/ 226503 h 1661021"/>
                  <a:gd name="connsiteX18" fmla="*/ 343949 w 2072081"/>
                  <a:gd name="connsiteY18" fmla="*/ 478173 h 1661021"/>
                  <a:gd name="connsiteX19" fmla="*/ 738231 w 2072081"/>
                  <a:gd name="connsiteY19" fmla="*/ 671120 h 1661021"/>
                  <a:gd name="connsiteX20" fmla="*/ 880844 w 2072081"/>
                  <a:gd name="connsiteY20" fmla="*/ 453006 h 1661021"/>
                  <a:gd name="connsiteX21" fmla="*/ 981512 w 2072081"/>
                  <a:gd name="connsiteY21" fmla="*/ 805344 h 1661021"/>
                  <a:gd name="connsiteX22" fmla="*/ 75501 w 2072081"/>
                  <a:gd name="connsiteY22" fmla="*/ 352338 h 1661021"/>
                  <a:gd name="connsiteX23" fmla="*/ 8389 w 2072081"/>
                  <a:gd name="connsiteY23" fmla="*/ 377505 h 1661021"/>
                  <a:gd name="connsiteX24" fmla="*/ 0 w 2072081"/>
                  <a:gd name="connsiteY24" fmla="*/ 444617 h 1661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072081" h="1661021">
                    <a:moveTo>
                      <a:pt x="0" y="444617"/>
                    </a:moveTo>
                    <a:lnTo>
                      <a:pt x="1392572" y="1132514"/>
                    </a:lnTo>
                    <a:lnTo>
                      <a:pt x="1342239" y="1208015"/>
                    </a:lnTo>
                    <a:lnTo>
                      <a:pt x="1208015" y="1241571"/>
                    </a:lnTo>
                    <a:lnTo>
                      <a:pt x="998290" y="1661021"/>
                    </a:lnTo>
                    <a:lnTo>
                      <a:pt x="2072081" y="1661021"/>
                    </a:lnTo>
                    <a:lnTo>
                      <a:pt x="1719743" y="897622"/>
                    </a:lnTo>
                    <a:lnTo>
                      <a:pt x="1644242" y="855678"/>
                    </a:lnTo>
                    <a:lnTo>
                      <a:pt x="1526796" y="947956"/>
                    </a:lnTo>
                    <a:lnTo>
                      <a:pt x="1468073" y="1031846"/>
                    </a:lnTo>
                    <a:lnTo>
                      <a:pt x="1166070" y="880844"/>
                    </a:lnTo>
                    <a:lnTo>
                      <a:pt x="1023457" y="226503"/>
                    </a:lnTo>
                    <a:lnTo>
                      <a:pt x="721453" y="0"/>
                    </a:lnTo>
                    <a:lnTo>
                      <a:pt x="377505" y="16778"/>
                    </a:lnTo>
                    <a:lnTo>
                      <a:pt x="75501" y="352338"/>
                    </a:lnTo>
                    <a:lnTo>
                      <a:pt x="218114" y="427839"/>
                    </a:lnTo>
                    <a:lnTo>
                      <a:pt x="402672" y="234892"/>
                    </a:lnTo>
                    <a:lnTo>
                      <a:pt x="494950" y="226503"/>
                    </a:lnTo>
                    <a:lnTo>
                      <a:pt x="343949" y="478173"/>
                    </a:lnTo>
                    <a:lnTo>
                      <a:pt x="738231" y="671120"/>
                    </a:lnTo>
                    <a:lnTo>
                      <a:pt x="880844" y="453006"/>
                    </a:lnTo>
                    <a:lnTo>
                      <a:pt x="981512" y="805344"/>
                    </a:lnTo>
                    <a:lnTo>
                      <a:pt x="75501" y="352338"/>
                    </a:lnTo>
                    <a:lnTo>
                      <a:pt x="8389" y="377505"/>
                    </a:lnTo>
                    <a:lnTo>
                      <a:pt x="0" y="444617"/>
                    </a:lnTo>
                    <a:close/>
                  </a:path>
                </a:pathLst>
              </a:custGeom>
              <a:solidFill>
                <a:srgbClr val="2C4272"/>
              </a:solidFill>
              <a:ln w="3175" cap="flat" cmpd="sng" algn="ctr">
                <a:noFill/>
                <a:prstDash val="solid"/>
                <a:miter lim="800000"/>
              </a:ln>
              <a:effectLst/>
              <a:extLst/>
            </p:spPr>
            <p:txBody>
              <a:bodyPr lIns="0" tIns="0" rIns="0" bIns="0" rtlCol="0" anchor="ctr"/>
              <a:lstStyle/>
              <a:p>
                <a:pPr algn="ctr" defTabSz="914400" latinLnBrk="0">
                  <a:lnSpc>
                    <a:spcPct val="90000"/>
                  </a:lnSpc>
                </a:pPr>
                <a:endParaRPr lang="en-US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Oval 83"/>
              <p:cNvSpPr/>
              <p:nvPr/>
            </p:nvSpPr>
            <p:spPr bwMode="auto">
              <a:xfrm>
                <a:off x="4400537" y="3454840"/>
                <a:ext cx="118189" cy="118189"/>
              </a:xfrm>
              <a:prstGeom prst="ellipse">
                <a:avLst/>
              </a:prstGeom>
              <a:solidFill>
                <a:srgbClr val="2C4272"/>
              </a:solidFill>
              <a:ln w="3175" cap="flat" cmpd="sng" algn="ctr">
                <a:noFill/>
                <a:prstDash val="solid"/>
                <a:miter lim="800000"/>
              </a:ln>
              <a:effectLst/>
              <a:extLst/>
            </p:spPr>
            <p:txBody>
              <a:bodyPr lIns="0" tIns="0" rIns="0" bIns="0" rtlCol="0" anchor="ctr"/>
              <a:lstStyle/>
              <a:p>
                <a:pPr algn="ctr" defTabSz="914400" latinLnBrk="0">
                  <a:lnSpc>
                    <a:spcPct val="90000"/>
                  </a:lnSpc>
                </a:pPr>
                <a:endParaRPr lang="en-US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Freeform 84"/>
              <p:cNvSpPr/>
              <p:nvPr/>
            </p:nvSpPr>
            <p:spPr bwMode="auto">
              <a:xfrm>
                <a:off x="4140522" y="3791022"/>
                <a:ext cx="278399" cy="309918"/>
              </a:xfrm>
              <a:custGeom>
                <a:avLst/>
                <a:gdLst>
                  <a:gd name="connsiteX0" fmla="*/ 268448 w 889233"/>
                  <a:gd name="connsiteY0" fmla="*/ 0 h 989901"/>
                  <a:gd name="connsiteX1" fmla="*/ 763398 w 889233"/>
                  <a:gd name="connsiteY1" fmla="*/ 234891 h 989901"/>
                  <a:gd name="connsiteX2" fmla="*/ 880844 w 889233"/>
                  <a:gd name="connsiteY2" fmla="*/ 461394 h 989901"/>
                  <a:gd name="connsiteX3" fmla="*/ 889233 w 889233"/>
                  <a:gd name="connsiteY3" fmla="*/ 947956 h 989901"/>
                  <a:gd name="connsiteX4" fmla="*/ 864066 w 889233"/>
                  <a:gd name="connsiteY4" fmla="*/ 989901 h 989901"/>
                  <a:gd name="connsiteX5" fmla="*/ 746620 w 889233"/>
                  <a:gd name="connsiteY5" fmla="*/ 964734 h 989901"/>
                  <a:gd name="connsiteX6" fmla="*/ 679508 w 889233"/>
                  <a:gd name="connsiteY6" fmla="*/ 469783 h 989901"/>
                  <a:gd name="connsiteX7" fmla="*/ 444617 w 889233"/>
                  <a:gd name="connsiteY7" fmla="*/ 293614 h 989901"/>
                  <a:gd name="connsiteX8" fmla="*/ 184558 w 889233"/>
                  <a:gd name="connsiteY8" fmla="*/ 939567 h 989901"/>
                  <a:gd name="connsiteX9" fmla="*/ 83890 w 889233"/>
                  <a:gd name="connsiteY9" fmla="*/ 964734 h 989901"/>
                  <a:gd name="connsiteX10" fmla="*/ 0 w 889233"/>
                  <a:gd name="connsiteY10" fmla="*/ 880844 h 989901"/>
                  <a:gd name="connsiteX11" fmla="*/ 268448 w 889233"/>
                  <a:gd name="connsiteY11" fmla="*/ 0 h 989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9233" h="989901">
                    <a:moveTo>
                      <a:pt x="268448" y="0"/>
                    </a:moveTo>
                    <a:lnTo>
                      <a:pt x="763398" y="234891"/>
                    </a:lnTo>
                    <a:lnTo>
                      <a:pt x="880844" y="461394"/>
                    </a:lnTo>
                    <a:lnTo>
                      <a:pt x="889233" y="947956"/>
                    </a:lnTo>
                    <a:lnTo>
                      <a:pt x="864066" y="989901"/>
                    </a:lnTo>
                    <a:lnTo>
                      <a:pt x="746620" y="964734"/>
                    </a:lnTo>
                    <a:lnTo>
                      <a:pt x="679508" y="469783"/>
                    </a:lnTo>
                    <a:lnTo>
                      <a:pt x="444617" y="293614"/>
                    </a:lnTo>
                    <a:lnTo>
                      <a:pt x="184558" y="939567"/>
                    </a:lnTo>
                    <a:lnTo>
                      <a:pt x="83890" y="964734"/>
                    </a:lnTo>
                    <a:lnTo>
                      <a:pt x="0" y="880844"/>
                    </a:lnTo>
                    <a:lnTo>
                      <a:pt x="268448" y="0"/>
                    </a:lnTo>
                    <a:close/>
                  </a:path>
                </a:pathLst>
              </a:custGeom>
              <a:solidFill>
                <a:srgbClr val="2C4272"/>
              </a:solidFill>
              <a:ln w="3175" cap="flat" cmpd="sng" algn="ctr">
                <a:noFill/>
                <a:prstDash val="solid"/>
                <a:miter lim="800000"/>
              </a:ln>
              <a:effectLst/>
              <a:extLst/>
            </p:spPr>
            <p:txBody>
              <a:bodyPr lIns="0" tIns="0" rIns="0" bIns="0" rtlCol="0" anchor="ctr"/>
              <a:lstStyle/>
              <a:p>
                <a:pPr algn="ctr" defTabSz="914400" latinLnBrk="0">
                  <a:lnSpc>
                    <a:spcPct val="90000"/>
                  </a:lnSpc>
                </a:pPr>
                <a:endParaRPr lang="en-US" b="1" ker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5" name="TextBox 94"/>
            <p:cNvSpPr txBox="1"/>
            <p:nvPr/>
          </p:nvSpPr>
          <p:spPr>
            <a:xfrm>
              <a:off x="4023412" y="3376771"/>
              <a:ext cx="893441" cy="734423"/>
            </a:xfrm>
            <a:prstGeom prst="rect">
              <a:avLst/>
            </a:prstGeom>
          </p:spPr>
          <p:txBody>
            <a:bodyPr wrap="none" lIns="36000" tIns="36000" rIns="36000" bIns="36000" rtlCol="0" anchor="ctr">
              <a:spAutoFit/>
            </a:bodyPr>
            <a:lstStyle/>
            <a:p>
              <a:pPr lvl="0" algn="ctr" defTabSz="742950" latinLnBrk="0">
                <a:defRPr/>
              </a:pPr>
              <a:r>
                <a:rPr lang="en-US" altLang="ko-KR" sz="3200" b="1" kern="0" dirty="0">
                  <a:solidFill>
                    <a:prstClr val="white"/>
                  </a:solidFill>
                  <a:latin typeface="Calibri" panose="020F0502020204030204" pitchFamily="34" charset="0"/>
                </a:rPr>
                <a:t>SPC</a:t>
              </a:r>
            </a:p>
            <a:p>
              <a:pPr lvl="0" algn="ctr" defTabSz="742950" latinLnBrk="0">
                <a:defRPr/>
              </a:pPr>
              <a:r>
                <a:rPr lang="en-US" altLang="ko-KR" sz="1100" b="1" kern="0" dirty="0">
                  <a:solidFill>
                    <a:prstClr val="white"/>
                  </a:solidFill>
                  <a:latin typeface="Calibri" panose="020F0502020204030204" pitchFamily="34" charset="0"/>
                </a:rPr>
                <a:t>(MIRA Power)</a:t>
              </a: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529123" y="2484624"/>
            <a:ext cx="669479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Equity</a:t>
            </a:r>
            <a:endParaRPr lang="en-US" altLang="ko-KR" sz="2000" b="1" dirty="0">
              <a:solidFill>
                <a:schemeClr val="bg2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3462902" y="3437393"/>
            <a:ext cx="359073" cy="153953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latinLnBrk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tabLst>
                <a:tab pos="930275" algn="l"/>
              </a:tabLst>
            </a:pPr>
            <a:r>
              <a:rPr lang="af-ZA" altLang="ko-KR" sz="1400" b="1" dirty="0" smtClean="0">
                <a:solidFill>
                  <a:srgbClr val="C00000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25%</a:t>
            </a:r>
            <a:endParaRPr lang="af-ZA" altLang="ko-KR" sz="1100" b="1" dirty="0">
              <a:solidFill>
                <a:srgbClr val="C00000"/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6110506" y="3437393"/>
            <a:ext cx="359073" cy="153953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latinLnBrk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tabLst>
                <a:tab pos="930275" algn="l"/>
              </a:tabLst>
            </a:pPr>
            <a:r>
              <a:rPr lang="af-ZA" altLang="ko-KR" sz="1400" b="1" dirty="0" smtClean="0">
                <a:solidFill>
                  <a:srgbClr val="C00000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75%</a:t>
            </a:r>
            <a:endParaRPr lang="af-ZA" altLang="ko-KR" sz="1100" b="1" i="1" dirty="0">
              <a:solidFill>
                <a:srgbClr val="C00000"/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2511233" y="5066535"/>
            <a:ext cx="601126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DB JV</a:t>
            </a:r>
            <a:endParaRPr lang="en-US" altLang="ko-KR" sz="2000" b="1" dirty="0">
              <a:solidFill>
                <a:schemeClr val="bg2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6512576" y="5066535"/>
            <a:ext cx="819134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O</a:t>
            </a:r>
            <a:r>
              <a:rPr lang="en-US" altLang="ko-KR" sz="14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&amp;</a:t>
            </a: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M JV</a:t>
            </a:r>
            <a:endParaRPr lang="en-US" altLang="ko-KR" sz="2000" b="1" dirty="0">
              <a:solidFill>
                <a:schemeClr val="bg2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5533779" y="4602296"/>
            <a:ext cx="519373" cy="204095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af-ZA" altLang="ko-K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O&amp;M</a:t>
            </a:r>
            <a:endParaRPr lang="af-ZA" altLang="ko-KR" b="1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3997412" y="4593554"/>
            <a:ext cx="357470" cy="206339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af-ZA" altLang="ko-K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EPC</a:t>
            </a:r>
            <a:endParaRPr lang="af-ZA" altLang="ko-KR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cxnSp>
        <p:nvCxnSpPr>
          <p:cNvPr id="107" name="Straight Connector 93"/>
          <p:cNvCxnSpPr>
            <a:endCxn id="87" idx="1"/>
          </p:cNvCxnSpPr>
          <p:nvPr/>
        </p:nvCxnSpPr>
        <p:spPr>
          <a:xfrm>
            <a:off x="5555830" y="3603671"/>
            <a:ext cx="1600642" cy="4153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94"/>
          <p:cNvCxnSpPr>
            <a:stCxn id="88" idx="3"/>
          </p:cNvCxnSpPr>
          <p:nvPr/>
        </p:nvCxnSpPr>
        <p:spPr>
          <a:xfrm flipV="1">
            <a:off x="2705675" y="3603672"/>
            <a:ext cx="1650194" cy="4152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2753402" y="3633220"/>
            <a:ext cx="1564532" cy="296235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af-ZA" altLang="ko-K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SHA</a:t>
            </a:r>
          </a:p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af-ZA" altLang="ko-KR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(</a:t>
            </a:r>
            <a:r>
              <a:rPr lang="af-ZA" altLang="ko-KR" sz="950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Share Holders Agreement)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5774607" y="3601115"/>
            <a:ext cx="1014700" cy="296235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en-US" altLang="ko-K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LA</a:t>
            </a:r>
          </a:p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en-US" altLang="ko-KR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(</a:t>
            </a:r>
            <a:r>
              <a:rPr lang="en-US" altLang="ko-KR" sz="950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Loan Agreement)</a:t>
            </a:r>
            <a:endParaRPr lang="af-ZA" altLang="ko-KR" sz="950" b="1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grpSp>
        <p:nvGrpSpPr>
          <p:cNvPr id="111" name="Group 97"/>
          <p:cNvGrpSpPr/>
          <p:nvPr/>
        </p:nvGrpSpPr>
        <p:grpSpPr>
          <a:xfrm>
            <a:off x="4029242" y="4043801"/>
            <a:ext cx="1937132" cy="1245198"/>
            <a:chOff x="3923607" y="3745813"/>
            <a:chExt cx="2075752" cy="1070859"/>
          </a:xfrm>
        </p:grpSpPr>
        <p:cxnSp>
          <p:nvCxnSpPr>
            <p:cNvPr id="112" name="Straight Connector 98"/>
            <p:cNvCxnSpPr/>
            <p:nvPr/>
          </p:nvCxnSpPr>
          <p:spPr>
            <a:xfrm flipV="1">
              <a:off x="3923607" y="3745813"/>
              <a:ext cx="723208" cy="1070859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ot"/>
              <a:headEnd type="stealt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99"/>
            <p:cNvCxnSpPr/>
            <p:nvPr/>
          </p:nvCxnSpPr>
          <p:spPr>
            <a:xfrm flipH="1" flipV="1">
              <a:off x="5276151" y="3745813"/>
              <a:ext cx="723208" cy="1070859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ot"/>
              <a:headEnd type="stealt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5" name="TextBox 114"/>
          <p:cNvSpPr txBox="1"/>
          <p:nvPr/>
        </p:nvSpPr>
        <p:spPr>
          <a:xfrm>
            <a:off x="8835128" y="2576647"/>
            <a:ext cx="516745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Debt</a:t>
            </a:r>
            <a:endParaRPr lang="en-US" altLang="ko-KR" sz="2000" b="1" dirty="0">
              <a:solidFill>
                <a:schemeClr val="bg2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2748653" y="761394"/>
            <a:ext cx="614784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 rtl="1" latinLnBrk="0">
              <a:lnSpc>
                <a:spcPct val="80000"/>
              </a:lnSpc>
            </a:pP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Client</a:t>
            </a:r>
            <a:endParaRPr lang="en-US" altLang="ko-KR" sz="2000" b="1" dirty="0">
              <a:solidFill>
                <a:schemeClr val="bg2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19" name="Rounded Rectangle 185"/>
          <p:cNvSpPr/>
          <p:nvPr/>
        </p:nvSpPr>
        <p:spPr bwMode="auto">
          <a:xfrm>
            <a:off x="2845530" y="991745"/>
            <a:ext cx="4210274" cy="1372310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cxnSp>
        <p:nvCxnSpPr>
          <p:cNvPr id="162" name="직선 연결선 161"/>
          <p:cNvCxnSpPr>
            <a:stCxn id="88" idx="0"/>
            <a:endCxn id="88" idx="2"/>
          </p:cNvCxnSpPr>
          <p:nvPr/>
        </p:nvCxnSpPr>
        <p:spPr>
          <a:xfrm>
            <a:off x="1597313" y="2730174"/>
            <a:ext cx="0" cy="1755300"/>
          </a:xfrm>
          <a:prstGeom prst="line">
            <a:avLst/>
          </a:prstGeom>
          <a:ln>
            <a:solidFill>
              <a:schemeClr val="accent3">
                <a:lumMod val="20000"/>
                <a:lumOff val="8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2" name="Picture 2" descr="Image result for ministry of water and power pakista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401" y="1079068"/>
            <a:ext cx="312674" cy="359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3" name="TextBox 232"/>
          <p:cNvSpPr txBox="1"/>
          <p:nvPr/>
        </p:nvSpPr>
        <p:spPr>
          <a:xfrm>
            <a:off x="3329727" y="1196353"/>
            <a:ext cx="3645756" cy="183384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ko-KR"/>
            </a:defPPr>
            <a:lvl1pPr algn="ctr" latinLnBrk="0">
              <a:lnSpc>
                <a:spcPct val="70000"/>
              </a:lnSpc>
              <a:tabLst>
                <a:tab pos="930275" algn="l"/>
              </a:tabLst>
              <a:defRPr sz="1050" b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74295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30275" algn="l"/>
              </a:tabLst>
              <a:defRPr/>
            </a:pPr>
            <a:r>
              <a:rPr kumimoji="0" lang="en-US" altLang="ko-KR" sz="1600" i="0" u="none" strike="noStrike" kern="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Pakistan’s Ministry </a:t>
            </a:r>
            <a:r>
              <a:rPr kumimoji="0" lang="en-US" altLang="ko-KR" sz="160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of Water and Power</a:t>
            </a:r>
          </a:p>
        </p:txBody>
      </p:sp>
      <p:sp>
        <p:nvSpPr>
          <p:cNvPr id="238" name="Rounded Rectangle 191"/>
          <p:cNvSpPr/>
          <p:nvPr/>
        </p:nvSpPr>
        <p:spPr bwMode="auto">
          <a:xfrm>
            <a:off x="2990060" y="1531385"/>
            <a:ext cx="1867935" cy="722505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239" name="Rounded Rectangle 191"/>
          <p:cNvSpPr/>
          <p:nvPr/>
        </p:nvSpPr>
        <p:spPr bwMode="auto">
          <a:xfrm>
            <a:off x="5039475" y="1531385"/>
            <a:ext cx="1867935" cy="722505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pic>
        <p:nvPicPr>
          <p:cNvPr id="240" name="그림 239"/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90" t="14103" r="36715" b="34249"/>
          <a:stretch/>
        </p:blipFill>
        <p:spPr>
          <a:xfrm>
            <a:off x="5142688" y="1636261"/>
            <a:ext cx="426236" cy="531852"/>
          </a:xfrm>
          <a:prstGeom prst="rect">
            <a:avLst/>
          </a:prstGeom>
        </p:spPr>
      </p:pic>
      <p:pic>
        <p:nvPicPr>
          <p:cNvPr id="241" name="그림 24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3013" y="1606254"/>
            <a:ext cx="439542" cy="525727"/>
          </a:xfrm>
          <a:prstGeom prst="rect">
            <a:avLst/>
          </a:prstGeom>
        </p:spPr>
      </p:pic>
      <p:sp>
        <p:nvSpPr>
          <p:cNvPr id="242" name="TextBox 241"/>
          <p:cNvSpPr txBox="1"/>
          <p:nvPr/>
        </p:nvSpPr>
        <p:spPr>
          <a:xfrm>
            <a:off x="3494212" y="1789399"/>
            <a:ext cx="1392807" cy="25648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ko-KR"/>
            </a:defPPr>
            <a:lvl1pPr algn="ctr" latinLnBrk="0">
              <a:lnSpc>
                <a:spcPct val="70000"/>
              </a:lnSpc>
              <a:tabLst>
                <a:tab pos="930275" algn="l"/>
              </a:tabLst>
              <a:defRPr sz="1050" b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74295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30275" algn="l"/>
              </a:tabLst>
              <a:defRPr/>
            </a:pPr>
            <a:r>
              <a: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Private 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Power and Infrastructure Board</a:t>
            </a:r>
          </a:p>
        </p:txBody>
      </p:sp>
      <p:sp>
        <p:nvSpPr>
          <p:cNvPr id="243" name="TextBox 242"/>
          <p:cNvSpPr txBox="1"/>
          <p:nvPr/>
        </p:nvSpPr>
        <p:spPr>
          <a:xfrm>
            <a:off x="5637860" y="1779916"/>
            <a:ext cx="1392807" cy="289053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ko-KR"/>
            </a:defPPr>
            <a:lvl1pPr algn="ctr" latinLnBrk="0">
              <a:lnSpc>
                <a:spcPct val="70000"/>
              </a:lnSpc>
              <a:tabLst>
                <a:tab pos="930275" algn="l"/>
              </a:tabLst>
              <a:defRPr sz="1050" b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marL="0" marR="0" lvl="0" indent="0" algn="l" defTabSz="74295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30275" algn="l"/>
              </a:tabLst>
              <a:defRPr/>
            </a:pPr>
            <a:r>
              <a: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Central 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Power </a:t>
            </a:r>
            <a:r>
              <a: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/>
            </a:r>
            <a:br>
              <a: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</a:br>
            <a:r>
              <a:rPr kumimoji="0" lang="en-US" altLang="ko-KR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Purchasing </a:t>
            </a:r>
            <a:r>
              <a:rPr kumimoji="0" lang="en-US" altLang="ko-KR" sz="1300" b="0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Agency</a:t>
            </a:r>
          </a:p>
        </p:txBody>
      </p:sp>
      <p:cxnSp>
        <p:nvCxnSpPr>
          <p:cNvPr id="244" name="Straight Connector 100"/>
          <p:cNvCxnSpPr>
            <a:stCxn id="93" idx="0"/>
          </p:cNvCxnSpPr>
          <p:nvPr/>
        </p:nvCxnSpPr>
        <p:spPr>
          <a:xfrm flipH="1" flipV="1">
            <a:off x="3924266" y="2342045"/>
            <a:ext cx="1028734" cy="835562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ysDot"/>
            <a:miter lim="800000"/>
            <a:headEnd type="stealth"/>
            <a:tailEnd type="stealth"/>
          </a:ln>
          <a:effectLst/>
        </p:spPr>
      </p:cxnSp>
      <p:cxnSp>
        <p:nvCxnSpPr>
          <p:cNvPr id="256" name="Straight Connector 100"/>
          <p:cNvCxnSpPr>
            <a:stCxn id="93" idx="0"/>
          </p:cNvCxnSpPr>
          <p:nvPr/>
        </p:nvCxnSpPr>
        <p:spPr>
          <a:xfrm flipV="1">
            <a:off x="4953000" y="2340432"/>
            <a:ext cx="1026882" cy="837175"/>
          </a:xfrm>
          <a:prstGeom prst="line">
            <a:avLst/>
          </a:prstGeom>
          <a:noFill/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ysDot"/>
            <a:miter lim="800000"/>
            <a:headEnd type="stealth"/>
            <a:tailEnd type="stealth"/>
          </a:ln>
          <a:effectLst/>
        </p:spPr>
      </p:cxnSp>
      <p:graphicFrame>
        <p:nvGraphicFramePr>
          <p:cNvPr id="257" name="표 2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0674571"/>
              </p:ext>
            </p:extLst>
          </p:nvPr>
        </p:nvGraphicFramePr>
        <p:xfrm>
          <a:off x="7327912" y="2957461"/>
          <a:ext cx="1864391" cy="1305905"/>
        </p:xfrm>
        <a:graphic>
          <a:graphicData uri="http://schemas.openxmlformats.org/drawingml/2006/table">
            <a:tbl>
              <a:tblPr firstRow="1" bandRow="1"/>
              <a:tblGrid>
                <a:gridCol w="932194"/>
                <a:gridCol w="932197"/>
              </a:tblGrid>
              <a:tr h="145101">
                <a:tc rowSpan="2"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ADB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ADB</a:t>
                      </a:r>
                      <a:endParaRPr lang="ko-KR" altLang="en-US" sz="9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2925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4510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CCF</a:t>
                      </a:r>
                      <a:endParaRPr lang="ko-KR" altLang="en-US" sz="9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2925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45101">
                <a:tc rowSpan="3"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IFC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IFC</a:t>
                      </a:r>
                      <a:endParaRPr lang="ko-KR" altLang="en-US" sz="9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2925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4510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FMO</a:t>
                      </a:r>
                      <a:endParaRPr lang="ko-KR" altLang="en-US" sz="9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2925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145101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PBC</a:t>
                      </a:r>
                      <a:endParaRPr lang="ko-KR" altLang="en-US" sz="9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2925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90200"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K-EXIM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K-EXIM</a:t>
                      </a:r>
                      <a:endParaRPr lang="ko-KR" altLang="en-US" sz="9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2925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90200"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CDC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CDC</a:t>
                      </a:r>
                      <a:endParaRPr lang="ko-KR" altLang="en-US" sz="9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2925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  <p:pic>
        <p:nvPicPr>
          <p:cNvPr id="258" name="Picture 15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973" y="3096025"/>
            <a:ext cx="536228" cy="85163"/>
          </a:xfrm>
          <a:prstGeom prst="rect">
            <a:avLst/>
          </a:prstGeom>
        </p:spPr>
      </p:pic>
      <p:grpSp>
        <p:nvGrpSpPr>
          <p:cNvPr id="259" name="그룹 258"/>
          <p:cNvGrpSpPr/>
          <p:nvPr/>
        </p:nvGrpSpPr>
        <p:grpSpPr>
          <a:xfrm>
            <a:off x="1128211" y="3041226"/>
            <a:ext cx="1048200" cy="1047981"/>
            <a:chOff x="1188733" y="3347639"/>
            <a:chExt cx="836294" cy="852926"/>
          </a:xfrm>
        </p:grpSpPr>
        <p:sp>
          <p:nvSpPr>
            <p:cNvPr id="260" name="Pie 412"/>
            <p:cNvSpPr/>
            <p:nvPr/>
          </p:nvSpPr>
          <p:spPr bwMode="auto">
            <a:xfrm>
              <a:off x="1214286" y="3389825"/>
              <a:ext cx="810741" cy="810740"/>
            </a:xfrm>
            <a:prstGeom prst="pie">
              <a:avLst>
                <a:gd name="adj1" fmla="val 16194508"/>
                <a:gd name="adj2" fmla="val 10786331"/>
              </a:avLst>
            </a:prstGeom>
            <a:solidFill>
              <a:srgbClr val="5B9BD5">
                <a:lumMod val="75000"/>
              </a:srgbClr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37148" tIns="22289" rIns="37148" bIns="22289" rtlCol="0" anchor="ctr"/>
            <a:lstStyle/>
            <a:p>
              <a:pPr marL="0" marR="0" lvl="0" indent="0" algn="ctr" defTabSz="7429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61" name="Pie 414"/>
            <p:cNvSpPr/>
            <p:nvPr/>
          </p:nvSpPr>
          <p:spPr bwMode="auto">
            <a:xfrm>
              <a:off x="1188733" y="3369972"/>
              <a:ext cx="816740" cy="816739"/>
            </a:xfrm>
            <a:prstGeom prst="pie">
              <a:avLst>
                <a:gd name="adj1" fmla="val 10843428"/>
                <a:gd name="adj2" fmla="val 12012871"/>
              </a:avLst>
            </a:prstGeom>
            <a:solidFill>
              <a:srgbClr val="C00000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37148" tIns="22289" rIns="37148" bIns="22289" rtlCol="0" anchor="ctr"/>
            <a:lstStyle/>
            <a:p>
              <a:pPr marL="0" marR="0" lvl="0" indent="0" algn="ctr" defTabSz="7429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62" name="TextBox 261"/>
            <p:cNvSpPr txBox="1"/>
            <p:nvPr/>
          </p:nvSpPr>
          <p:spPr>
            <a:xfrm>
              <a:off x="1214539" y="3676462"/>
              <a:ext cx="118942" cy="102701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74295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Arial" panose="020B0604020202020204" pitchFamily="34" charset="0"/>
                </a:rPr>
                <a:t>6</a:t>
              </a:r>
              <a:r>
                <a:rPr kumimoji="0" lang="en-US" altLang="ko-K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Arial" panose="020B0604020202020204" pitchFamily="34" charset="0"/>
                </a:rPr>
                <a:t>%</a:t>
              </a:r>
              <a:endParaRPr kumimoji="0" lang="en-US" altLang="ko-KR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3" name="Pie 412"/>
            <p:cNvSpPr/>
            <p:nvPr/>
          </p:nvSpPr>
          <p:spPr bwMode="auto">
            <a:xfrm>
              <a:off x="1191971" y="3347639"/>
              <a:ext cx="816740" cy="816739"/>
            </a:xfrm>
            <a:prstGeom prst="pie">
              <a:avLst>
                <a:gd name="adj1" fmla="val 12062553"/>
                <a:gd name="adj2" fmla="val 16191456"/>
              </a:avLst>
            </a:prstGeom>
            <a:solidFill>
              <a:srgbClr val="002060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37148" tIns="22289" rIns="37148" bIns="22289" rtlCol="0" anchor="ctr"/>
            <a:lstStyle/>
            <a:p>
              <a:pPr marL="0" marR="0" lvl="0" indent="0" algn="ctr" defTabSz="7429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64" name="TextBox 263"/>
            <p:cNvSpPr txBox="1"/>
            <p:nvPr/>
          </p:nvSpPr>
          <p:spPr>
            <a:xfrm>
              <a:off x="1325581" y="3486275"/>
              <a:ext cx="240441" cy="164281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74295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Arial" panose="020B0604020202020204" pitchFamily="34" charset="0"/>
                </a:rPr>
                <a:t>18</a:t>
              </a: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Arial" panose="020B0604020202020204" pitchFamily="34" charset="0"/>
                </a:rPr>
                <a:t>%</a:t>
              </a:r>
              <a:endParaRPr kumimoji="0" lang="en-US" altLang="ko-KR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5" name="TextBox 264"/>
            <p:cNvSpPr txBox="1"/>
            <p:nvPr/>
          </p:nvSpPr>
          <p:spPr>
            <a:xfrm>
              <a:off x="1675724" y="3875815"/>
              <a:ext cx="184167" cy="107816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74295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Arial" panose="020B0604020202020204" pitchFamily="34" charset="0"/>
                </a:rPr>
                <a:t>76</a:t>
              </a: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Arial" panose="020B0604020202020204" pitchFamily="34" charset="0"/>
                </a:rPr>
                <a:t>%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66" name="그림 26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00" b="29360"/>
          <a:stretch/>
        </p:blipFill>
        <p:spPr>
          <a:xfrm>
            <a:off x="715973" y="3424661"/>
            <a:ext cx="327734" cy="127948"/>
          </a:xfrm>
          <a:prstGeom prst="rect">
            <a:avLst/>
          </a:prstGeom>
        </p:spPr>
      </p:pic>
      <p:pic>
        <p:nvPicPr>
          <p:cNvPr id="267" name="그림 26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1694" y="4051412"/>
            <a:ext cx="700940" cy="111642"/>
          </a:xfrm>
          <a:prstGeom prst="rect">
            <a:avLst/>
          </a:prstGeom>
        </p:spPr>
      </p:pic>
      <p:grpSp>
        <p:nvGrpSpPr>
          <p:cNvPr id="268" name="그룹 267"/>
          <p:cNvGrpSpPr/>
          <p:nvPr/>
        </p:nvGrpSpPr>
        <p:grpSpPr>
          <a:xfrm>
            <a:off x="2937108" y="5486333"/>
            <a:ext cx="896647" cy="878976"/>
            <a:chOff x="1214286" y="3389825"/>
            <a:chExt cx="810741" cy="810740"/>
          </a:xfrm>
        </p:grpSpPr>
        <p:sp>
          <p:nvSpPr>
            <p:cNvPr id="269" name="Pie 412"/>
            <p:cNvSpPr/>
            <p:nvPr/>
          </p:nvSpPr>
          <p:spPr bwMode="auto">
            <a:xfrm>
              <a:off x="1214286" y="3389825"/>
              <a:ext cx="810741" cy="810740"/>
            </a:xfrm>
            <a:prstGeom prst="pie">
              <a:avLst>
                <a:gd name="adj1" fmla="val 16194508"/>
                <a:gd name="adj2" fmla="val 10802658"/>
              </a:avLst>
            </a:prstGeom>
            <a:solidFill>
              <a:srgbClr val="002060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37148" tIns="22289" rIns="37148" bIns="22289" rtlCol="0" anchor="ctr"/>
            <a:lstStyle/>
            <a:p>
              <a:pPr marL="0" marR="0" lvl="0" indent="0" algn="ctr" defTabSz="7429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70" name="Pie 412"/>
            <p:cNvSpPr/>
            <p:nvPr/>
          </p:nvSpPr>
          <p:spPr bwMode="auto">
            <a:xfrm>
              <a:off x="1228699" y="3413805"/>
              <a:ext cx="706326" cy="706326"/>
            </a:xfrm>
            <a:prstGeom prst="pie">
              <a:avLst>
                <a:gd name="adj1" fmla="val 10833389"/>
                <a:gd name="adj2" fmla="val 16191456"/>
              </a:avLst>
            </a:prstGeom>
            <a:solidFill>
              <a:srgbClr val="C00000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37148" tIns="22289" rIns="37148" bIns="22289" rtlCol="0" anchor="ctr"/>
            <a:lstStyle/>
            <a:p>
              <a:pPr marL="0" marR="0" lvl="0" indent="0" algn="ctr" defTabSz="74295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71" name="TextBox 270"/>
            <p:cNvSpPr txBox="1"/>
            <p:nvPr/>
          </p:nvSpPr>
          <p:spPr>
            <a:xfrm>
              <a:off x="1324566" y="3582422"/>
              <a:ext cx="208716" cy="122188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74295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Arial" panose="020B0604020202020204" pitchFamily="34" charset="0"/>
                </a:rPr>
                <a:t>25</a:t>
              </a: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Arial" panose="020B0604020202020204" pitchFamily="34" charset="0"/>
                </a:rPr>
                <a:t>%</a:t>
              </a:r>
              <a:endParaRPr kumimoji="0" lang="en-US" altLang="ko-KR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2" name="TextBox 271"/>
            <p:cNvSpPr txBox="1"/>
            <p:nvPr/>
          </p:nvSpPr>
          <p:spPr>
            <a:xfrm>
              <a:off x="1630673" y="3818209"/>
              <a:ext cx="300031" cy="209482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74295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Arial" panose="020B0604020202020204" pitchFamily="34" charset="0"/>
                </a:rPr>
                <a:t>75</a:t>
              </a:r>
              <a:r>
                <a:rPr kumimoji="0" lang="en-US" altLang="ko-KR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cs typeface="Arial" panose="020B0604020202020204" pitchFamily="34" charset="0"/>
                </a:rPr>
                <a:t>%</a:t>
              </a:r>
              <a:endParaRPr kumimoji="0" lang="en-US" altLang="ko-KR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73" name="Picture 15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7502" y="5520788"/>
            <a:ext cx="536228" cy="85163"/>
          </a:xfrm>
          <a:prstGeom prst="rect">
            <a:avLst/>
          </a:prstGeom>
        </p:spPr>
      </p:pic>
      <p:pic>
        <p:nvPicPr>
          <p:cNvPr id="274" name="그림 27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00" b="29360"/>
          <a:stretch/>
        </p:blipFill>
        <p:spPr>
          <a:xfrm>
            <a:off x="2591909" y="5546463"/>
            <a:ext cx="440297" cy="171893"/>
          </a:xfrm>
          <a:prstGeom prst="rect">
            <a:avLst/>
          </a:prstGeom>
        </p:spPr>
      </p:pic>
      <p:sp>
        <p:nvSpPr>
          <p:cNvPr id="277" name="타원 276"/>
          <p:cNvSpPr/>
          <p:nvPr/>
        </p:nvSpPr>
        <p:spPr>
          <a:xfrm>
            <a:off x="5944895" y="5487967"/>
            <a:ext cx="839947" cy="839947"/>
          </a:xfrm>
          <a:prstGeom prst="ellipse">
            <a:avLst/>
          </a:prstGeom>
          <a:solidFill>
            <a:srgbClr val="5B9BD5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278" name="그림 27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940" y="6285768"/>
            <a:ext cx="700940" cy="111642"/>
          </a:xfrm>
          <a:prstGeom prst="rect">
            <a:avLst/>
          </a:prstGeom>
        </p:spPr>
      </p:pic>
      <p:sp>
        <p:nvSpPr>
          <p:cNvPr id="279" name="TextBox 278"/>
          <p:cNvSpPr txBox="1"/>
          <p:nvPr/>
        </p:nvSpPr>
        <p:spPr>
          <a:xfrm>
            <a:off x="6235419" y="5828478"/>
            <a:ext cx="299762" cy="13247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742950" latinLnBrk="0">
              <a:lnSpc>
                <a:spcPct val="80000"/>
              </a:lnSpc>
            </a:pPr>
            <a:r>
              <a:rPr lang="en-US" altLang="ko-KR" sz="1050" b="1" dirty="0">
                <a:solidFill>
                  <a:prstClr val="white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00</a:t>
            </a:r>
            <a:r>
              <a:rPr lang="en-US" altLang="ko-KR" sz="1000" b="1" dirty="0">
                <a:solidFill>
                  <a:prstClr val="white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%</a:t>
            </a:r>
            <a:endParaRPr lang="en-US" altLang="ko-KR" sz="1050" b="1" dirty="0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280" name="Straight Connector 100"/>
          <p:cNvCxnSpPr>
            <a:stCxn id="87" idx="0"/>
          </p:cNvCxnSpPr>
          <p:nvPr/>
        </p:nvCxnSpPr>
        <p:spPr>
          <a:xfrm rot="16200000" flipV="1">
            <a:off x="5398450" y="-35958"/>
            <a:ext cx="1385263" cy="4334108"/>
          </a:xfrm>
          <a:prstGeom prst="bentConnector2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TextBox 280"/>
          <p:cNvSpPr txBox="1"/>
          <p:nvPr/>
        </p:nvSpPr>
        <p:spPr>
          <a:xfrm>
            <a:off x="7725767" y="1545134"/>
            <a:ext cx="1403507" cy="296235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ko-KR"/>
            </a:defPPr>
            <a:lvl1pPr algn="ctr" latinLnBrk="0">
              <a:lnSpc>
                <a:spcPct val="70000"/>
              </a:lnSpc>
              <a:tabLst>
                <a:tab pos="930275" algn="l"/>
              </a:tabLst>
              <a:defRPr sz="1050" b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ko-KR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</a:t>
            </a:r>
            <a:r>
              <a:rPr lang="ko-KR" altLang="en-US" sz="180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en-US" altLang="ko-KR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ko-KR" sz="950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Direct Agreement</a:t>
            </a:r>
          </a:p>
        </p:txBody>
      </p:sp>
      <p:graphicFrame>
        <p:nvGraphicFramePr>
          <p:cNvPr id="83" name="표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4792110"/>
              </p:ext>
            </p:extLst>
          </p:nvPr>
        </p:nvGraphicFramePr>
        <p:xfrm>
          <a:off x="535819" y="5787714"/>
          <a:ext cx="1725754" cy="243840"/>
        </p:xfrm>
        <a:graphic>
          <a:graphicData uri="http://schemas.openxmlformats.org/drawingml/2006/table">
            <a:tbl>
              <a:tblPr firstRow="1" bandRow="1"/>
              <a:tblGrid>
                <a:gridCol w="456631"/>
                <a:gridCol w="1269123"/>
              </a:tblGrid>
              <a:tr h="0"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800" b="1" u="none" dirty="0" smtClean="0">
                          <a:latin typeface="+mn-ea"/>
                          <a:ea typeface="+mn-ea"/>
                        </a:rPr>
                        <a:t>MIGA</a:t>
                      </a:r>
                      <a:endParaRPr lang="ko-KR" altLang="en-US" sz="800" b="1" u="none" dirty="0">
                        <a:latin typeface="+mn-ea"/>
                        <a:ea typeface="+mn-ea"/>
                      </a:endParaRPr>
                    </a:p>
                  </a:txBody>
                  <a:tcPr marL="74295" marR="7429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u="none" cap="small" baseline="0" dirty="0" smtClean="0">
                          <a:latin typeface="+mn-ea"/>
                        </a:rPr>
                        <a:t>Multilateral investment guarantee agency</a:t>
                      </a:r>
                    </a:p>
                  </a:txBody>
                  <a:tcPr marL="29250" marR="7429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1269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0" y="57089"/>
            <a:ext cx="4915815" cy="318924"/>
          </a:xfrm>
          <a:noFill/>
        </p:spPr>
        <p:txBody>
          <a:bodyPr/>
          <a:lstStyle/>
          <a:p>
            <a:r>
              <a:rPr lang="en-US" altLang="ko-KR" dirty="0">
                <a:latin typeface="+mj-ea"/>
              </a:rPr>
              <a:t>Pakistan </a:t>
            </a:r>
            <a:r>
              <a:rPr lang="en-US" altLang="ko-KR" dirty="0" err="1">
                <a:latin typeface="+mj-ea"/>
              </a:rPr>
              <a:t>Gulpur</a:t>
            </a:r>
            <a:r>
              <a:rPr lang="en-US" altLang="ko-KR" dirty="0">
                <a:latin typeface="+mj-ea"/>
              </a:rPr>
              <a:t> Hydropower Project : </a:t>
            </a:r>
            <a:r>
              <a:rPr lang="en-US" altLang="ko-KR" dirty="0" smtClean="0"/>
              <a:t>Cash Flow</a:t>
            </a:r>
            <a:endParaRPr lang="ko-KR" altLang="en-US" dirty="0"/>
          </a:p>
        </p:txBody>
      </p:sp>
      <p:sp>
        <p:nvSpPr>
          <p:cNvPr id="103" name="직사각형 46"/>
          <p:cNvSpPr/>
          <p:nvPr/>
        </p:nvSpPr>
        <p:spPr bwMode="auto">
          <a:xfrm>
            <a:off x="272442" y="849790"/>
            <a:ext cx="9360507" cy="375526"/>
          </a:xfrm>
          <a:prstGeom prst="rect">
            <a:avLst/>
          </a:prstGeom>
          <a:gradFill>
            <a:gsLst>
              <a:gs pos="100000">
                <a:schemeClr val="bg1"/>
              </a:gs>
              <a:gs pos="15000">
                <a:srgbClr val="CEEED6"/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lIns="360000" tIns="36000" rIns="108000" bIns="36000" rtlCol="0" anchor="ctr"/>
          <a:lstStyle/>
          <a:p>
            <a:pPr latinLnBrk="0"/>
            <a:endParaRPr lang="ko-KR" altLang="en-US" sz="1400" b="1" i="1" dirty="0">
              <a:solidFill>
                <a:srgbClr val="3B756B"/>
              </a:solidFill>
              <a:latin typeface="맑은 고딕" pitchFamily="50" charset="-127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272351" y="1225316"/>
            <a:ext cx="9360600" cy="5372124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  <a:extLst/>
        </p:spPr>
        <p:txBody>
          <a:bodyPr lIns="45720" tIns="27432" rIns="45720" bIns="27432" rtlCol="0" anchor="ctr"/>
          <a:lstStyle/>
          <a:p>
            <a:pPr algn="ctr" defTabSz="914400" latinLnBrk="0">
              <a:lnSpc>
                <a:spcPct val="90000"/>
              </a:lnSpc>
            </a:pPr>
            <a:endParaRPr lang="ko-KR" altLang="en-US" sz="1200" b="1" kern="0" dirty="0" smtClean="0">
              <a:solidFill>
                <a:schemeClr val="bg1"/>
              </a:solidFill>
            </a:endParaRPr>
          </a:p>
        </p:txBody>
      </p:sp>
      <p:cxnSp>
        <p:nvCxnSpPr>
          <p:cNvPr id="6" name="직선 화살표 연결선 5"/>
          <p:cNvCxnSpPr/>
          <p:nvPr/>
        </p:nvCxnSpPr>
        <p:spPr>
          <a:xfrm>
            <a:off x="786312" y="1603422"/>
            <a:ext cx="805480" cy="0"/>
          </a:xfrm>
          <a:prstGeom prst="straightConnector1">
            <a:avLst/>
          </a:prstGeom>
          <a:ln>
            <a:solidFill>
              <a:schemeClr val="tx1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직선 화살표 연결선 106"/>
          <p:cNvCxnSpPr/>
          <p:nvPr/>
        </p:nvCxnSpPr>
        <p:spPr>
          <a:xfrm>
            <a:off x="1591792" y="1603422"/>
            <a:ext cx="2378115" cy="0"/>
          </a:xfrm>
          <a:prstGeom prst="straightConnector1">
            <a:avLst/>
          </a:prstGeom>
          <a:ln>
            <a:solidFill>
              <a:schemeClr val="tx1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화살표 연결선 108"/>
          <p:cNvCxnSpPr/>
          <p:nvPr/>
        </p:nvCxnSpPr>
        <p:spPr>
          <a:xfrm>
            <a:off x="3969907" y="1603422"/>
            <a:ext cx="5218858" cy="0"/>
          </a:xfrm>
          <a:prstGeom prst="straightConnector1">
            <a:avLst/>
          </a:prstGeom>
          <a:ln>
            <a:solidFill>
              <a:schemeClr val="tx1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직사각형 151"/>
          <p:cNvSpPr/>
          <p:nvPr/>
        </p:nvSpPr>
        <p:spPr>
          <a:xfrm>
            <a:off x="524371" y="1396373"/>
            <a:ext cx="1320915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altLang="ko-KR" sz="1200" i="1" dirty="0" smtClean="0">
                <a:solidFill>
                  <a:schemeClr val="tx2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development</a:t>
            </a:r>
            <a:endParaRPr lang="ko-KR" altLang="en-US" sz="1200" b="1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sp>
        <p:nvSpPr>
          <p:cNvPr id="153" name="직사각형 152"/>
          <p:cNvSpPr/>
          <p:nvPr/>
        </p:nvSpPr>
        <p:spPr>
          <a:xfrm>
            <a:off x="1591792" y="1396373"/>
            <a:ext cx="2423835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altLang="ko-KR" sz="1200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construction</a:t>
            </a:r>
            <a:endParaRPr lang="ko-KR" altLang="en-US" sz="1200" b="1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sp>
        <p:nvSpPr>
          <p:cNvPr id="154" name="직사각형 153"/>
          <p:cNvSpPr/>
          <p:nvPr/>
        </p:nvSpPr>
        <p:spPr>
          <a:xfrm>
            <a:off x="4015627" y="1396373"/>
            <a:ext cx="5173138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altLang="ko-KR" sz="1200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operation</a:t>
            </a:r>
            <a:endParaRPr lang="ko-KR" altLang="en-US" sz="1200" b="1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grpSp>
        <p:nvGrpSpPr>
          <p:cNvPr id="12" name="그룹 11"/>
          <p:cNvGrpSpPr/>
          <p:nvPr/>
        </p:nvGrpSpPr>
        <p:grpSpPr>
          <a:xfrm>
            <a:off x="1711487" y="2620596"/>
            <a:ext cx="2207027" cy="818682"/>
            <a:chOff x="2067028" y="2330976"/>
            <a:chExt cx="2570618" cy="818682"/>
          </a:xfrm>
        </p:grpSpPr>
        <p:sp>
          <p:nvSpPr>
            <p:cNvPr id="155" name="직사각형 154"/>
            <p:cNvSpPr/>
            <p:nvPr/>
          </p:nvSpPr>
          <p:spPr bwMode="auto">
            <a:xfrm>
              <a:off x="3997864" y="2373303"/>
              <a:ext cx="266402" cy="771800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7" name="직사각형 166"/>
            <p:cNvSpPr/>
            <p:nvPr/>
          </p:nvSpPr>
          <p:spPr bwMode="auto">
            <a:xfrm>
              <a:off x="4371244" y="2741730"/>
              <a:ext cx="266402" cy="403373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8" name="직사각형 167"/>
            <p:cNvSpPr/>
            <p:nvPr/>
          </p:nvSpPr>
          <p:spPr bwMode="auto">
            <a:xfrm>
              <a:off x="2444647" y="2943417"/>
              <a:ext cx="266402" cy="206241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69" name="직사각형 168"/>
            <p:cNvSpPr/>
            <p:nvPr/>
          </p:nvSpPr>
          <p:spPr bwMode="auto">
            <a:xfrm>
              <a:off x="2826654" y="2761808"/>
              <a:ext cx="266402" cy="386325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0" name="직사각형 169"/>
            <p:cNvSpPr/>
            <p:nvPr/>
          </p:nvSpPr>
          <p:spPr bwMode="auto">
            <a:xfrm>
              <a:off x="3215279" y="2434901"/>
              <a:ext cx="266402" cy="706421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1" name="직사각형 170"/>
            <p:cNvSpPr/>
            <p:nvPr/>
          </p:nvSpPr>
          <p:spPr bwMode="auto">
            <a:xfrm>
              <a:off x="3603904" y="2330976"/>
              <a:ext cx="266402" cy="812160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72" name="직사각형 171"/>
            <p:cNvSpPr/>
            <p:nvPr/>
          </p:nvSpPr>
          <p:spPr bwMode="auto">
            <a:xfrm>
              <a:off x="2067028" y="3018018"/>
              <a:ext cx="266402" cy="131640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graphicFrame>
        <p:nvGraphicFramePr>
          <p:cNvPr id="179" name="표 1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788729"/>
              </p:ext>
            </p:extLst>
          </p:nvPr>
        </p:nvGraphicFramePr>
        <p:xfrm>
          <a:off x="1651204" y="3480524"/>
          <a:ext cx="7537560" cy="28228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1638600"/>
              </a:tblGrid>
              <a:tr h="28228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2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4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6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7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8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r>
                        <a:rPr lang="en-US" altLang="ko-KR" sz="900" b="1" baseline="0" dirty="0" smtClean="0">
                          <a:solidFill>
                            <a:schemeClr val="tx1"/>
                          </a:solidFill>
                        </a:rPr>
                        <a:t> . .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967493"/>
              </p:ext>
            </p:extLst>
          </p:nvPr>
        </p:nvGraphicFramePr>
        <p:xfrm>
          <a:off x="786312" y="3477688"/>
          <a:ext cx="847691" cy="28228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4188"/>
                <a:gridCol w="284188"/>
                <a:gridCol w="279315"/>
              </a:tblGrid>
              <a:tr h="28228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81" name="직선 연결선 180"/>
          <p:cNvCxnSpPr/>
          <p:nvPr/>
        </p:nvCxnSpPr>
        <p:spPr>
          <a:xfrm>
            <a:off x="3969907" y="1748317"/>
            <a:ext cx="0" cy="2616813"/>
          </a:xfrm>
          <a:prstGeom prst="line">
            <a:avLst/>
          </a:prstGeom>
          <a:ln>
            <a:solidFill>
              <a:srgbClr val="3B756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그룹 22"/>
          <p:cNvGrpSpPr/>
          <p:nvPr/>
        </p:nvGrpSpPr>
        <p:grpSpPr>
          <a:xfrm>
            <a:off x="1712524" y="3724639"/>
            <a:ext cx="2207753" cy="1245155"/>
            <a:chOff x="712790" y="10568889"/>
            <a:chExt cx="2563782" cy="1245155"/>
          </a:xfrm>
        </p:grpSpPr>
        <p:sp>
          <p:nvSpPr>
            <p:cNvPr id="184" name="직사각형 183"/>
            <p:cNvSpPr/>
            <p:nvPr/>
          </p:nvSpPr>
          <p:spPr bwMode="auto">
            <a:xfrm>
              <a:off x="712790" y="10568891"/>
              <a:ext cx="266402" cy="1150074"/>
            </a:xfrm>
            <a:prstGeom prst="rect">
              <a:avLst/>
            </a:pr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6" name="직사각형 185"/>
            <p:cNvSpPr/>
            <p:nvPr/>
          </p:nvSpPr>
          <p:spPr bwMode="auto">
            <a:xfrm>
              <a:off x="1864950" y="10568890"/>
              <a:ext cx="266402" cy="958395"/>
            </a:xfrm>
            <a:prstGeom prst="rect">
              <a:avLst/>
            </a:pr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7" name="직사각형 186"/>
            <p:cNvSpPr/>
            <p:nvPr/>
          </p:nvSpPr>
          <p:spPr bwMode="auto">
            <a:xfrm>
              <a:off x="2253575" y="10568890"/>
              <a:ext cx="266402" cy="1211159"/>
            </a:xfrm>
            <a:prstGeom prst="rect">
              <a:avLst/>
            </a:pr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89" name="직사각형 188"/>
            <p:cNvSpPr/>
            <p:nvPr/>
          </p:nvSpPr>
          <p:spPr bwMode="auto">
            <a:xfrm>
              <a:off x="1095910" y="10568890"/>
              <a:ext cx="266402" cy="882146"/>
            </a:xfrm>
            <a:prstGeom prst="rect">
              <a:avLst/>
            </a:pr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0" name="직사각형 189"/>
            <p:cNvSpPr/>
            <p:nvPr/>
          </p:nvSpPr>
          <p:spPr bwMode="auto">
            <a:xfrm>
              <a:off x="1465183" y="10568890"/>
              <a:ext cx="266402" cy="640727"/>
            </a:xfrm>
            <a:prstGeom prst="rect">
              <a:avLst/>
            </a:pr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1" name="직사각형 190"/>
            <p:cNvSpPr/>
            <p:nvPr/>
          </p:nvSpPr>
          <p:spPr bwMode="auto">
            <a:xfrm>
              <a:off x="2647535" y="10568889"/>
              <a:ext cx="266402" cy="1245155"/>
            </a:xfrm>
            <a:prstGeom prst="rect">
              <a:avLst/>
            </a:pr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92" name="직사각형 191"/>
            <p:cNvSpPr/>
            <p:nvPr/>
          </p:nvSpPr>
          <p:spPr bwMode="auto">
            <a:xfrm>
              <a:off x="3010170" y="10568890"/>
              <a:ext cx="266402" cy="801363"/>
            </a:xfrm>
            <a:prstGeom prst="rect">
              <a:avLst/>
            </a:pr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609652" y="3260732"/>
            <a:ext cx="222545" cy="288147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+</a:t>
            </a:r>
            <a:endParaRPr lang="ko-KR" altLang="en-US" sz="14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609652" y="3640408"/>
            <a:ext cx="222545" cy="288147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-</a:t>
            </a:r>
            <a:endParaRPr lang="ko-KR" altLang="en-US" sz="14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25" name="그룹 24"/>
          <p:cNvGrpSpPr/>
          <p:nvPr/>
        </p:nvGrpSpPr>
        <p:grpSpPr>
          <a:xfrm>
            <a:off x="4009583" y="2092140"/>
            <a:ext cx="1220657" cy="1358149"/>
            <a:chOff x="5514250" y="4670792"/>
            <a:chExt cx="1417022" cy="1852432"/>
          </a:xfrm>
        </p:grpSpPr>
        <p:sp>
          <p:nvSpPr>
            <p:cNvPr id="203" name="직사각형 202"/>
            <p:cNvSpPr/>
            <p:nvPr/>
          </p:nvSpPr>
          <p:spPr bwMode="auto">
            <a:xfrm>
              <a:off x="5514250" y="4670792"/>
              <a:ext cx="266402" cy="1852432"/>
            </a:xfrm>
            <a:prstGeom prst="rect">
              <a:avLst/>
            </a:pr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4" name="직사각형 203"/>
            <p:cNvSpPr/>
            <p:nvPr/>
          </p:nvSpPr>
          <p:spPr bwMode="auto">
            <a:xfrm>
              <a:off x="5887630" y="4670792"/>
              <a:ext cx="266402" cy="1852431"/>
            </a:xfrm>
            <a:prstGeom prst="rect">
              <a:avLst/>
            </a:pr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5" name="직사각형 204"/>
            <p:cNvSpPr/>
            <p:nvPr/>
          </p:nvSpPr>
          <p:spPr bwMode="auto">
            <a:xfrm>
              <a:off x="6291490" y="4670793"/>
              <a:ext cx="266402" cy="1852430"/>
            </a:xfrm>
            <a:prstGeom prst="rect">
              <a:avLst/>
            </a:pr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6" name="직사각형 205"/>
            <p:cNvSpPr/>
            <p:nvPr/>
          </p:nvSpPr>
          <p:spPr bwMode="auto">
            <a:xfrm>
              <a:off x="6664870" y="4670793"/>
              <a:ext cx="266402" cy="1852430"/>
            </a:xfrm>
            <a:prstGeom prst="rect">
              <a:avLst/>
            </a:pr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47" name="직사각형 246"/>
          <p:cNvSpPr/>
          <p:nvPr/>
        </p:nvSpPr>
        <p:spPr bwMode="auto">
          <a:xfrm>
            <a:off x="6622741" y="2080387"/>
            <a:ext cx="226590" cy="1372674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49" name="직사각형 248"/>
          <p:cNvSpPr/>
          <p:nvPr/>
        </p:nvSpPr>
        <p:spPr bwMode="auto">
          <a:xfrm>
            <a:off x="5631838" y="2080388"/>
            <a:ext cx="226590" cy="1365918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0" name="직사각형 249"/>
          <p:cNvSpPr/>
          <p:nvPr/>
        </p:nvSpPr>
        <p:spPr bwMode="auto">
          <a:xfrm>
            <a:off x="5968863" y="2080388"/>
            <a:ext cx="226590" cy="1365918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1" name="직사각형 250"/>
          <p:cNvSpPr/>
          <p:nvPr/>
        </p:nvSpPr>
        <p:spPr bwMode="auto">
          <a:xfrm>
            <a:off x="6286445" y="2080388"/>
            <a:ext cx="226590" cy="1365918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2" name="직사각형 251"/>
          <p:cNvSpPr/>
          <p:nvPr/>
        </p:nvSpPr>
        <p:spPr bwMode="auto">
          <a:xfrm>
            <a:off x="6953284" y="2080387"/>
            <a:ext cx="226590" cy="1372674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3" name="직사각형 252"/>
          <p:cNvSpPr/>
          <p:nvPr/>
        </p:nvSpPr>
        <p:spPr bwMode="auto">
          <a:xfrm>
            <a:off x="7277347" y="2080387"/>
            <a:ext cx="226590" cy="1372674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4" name="직사각형 253"/>
          <p:cNvSpPr/>
          <p:nvPr/>
        </p:nvSpPr>
        <p:spPr bwMode="auto">
          <a:xfrm>
            <a:off x="7607891" y="2089017"/>
            <a:ext cx="226590" cy="1364045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5" name="직사각형 254"/>
          <p:cNvSpPr/>
          <p:nvPr/>
        </p:nvSpPr>
        <p:spPr bwMode="auto">
          <a:xfrm>
            <a:off x="7943449" y="2043898"/>
            <a:ext cx="226590" cy="1409163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6" name="직사각형 255"/>
          <p:cNvSpPr/>
          <p:nvPr/>
        </p:nvSpPr>
        <p:spPr bwMode="auto">
          <a:xfrm>
            <a:off x="8273992" y="2043898"/>
            <a:ext cx="226590" cy="1409163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7" name="직사각형 256"/>
          <p:cNvSpPr/>
          <p:nvPr/>
        </p:nvSpPr>
        <p:spPr bwMode="auto">
          <a:xfrm>
            <a:off x="8598055" y="2043898"/>
            <a:ext cx="226590" cy="1409163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8" name="직사각형 257"/>
          <p:cNvSpPr/>
          <p:nvPr/>
        </p:nvSpPr>
        <p:spPr bwMode="auto">
          <a:xfrm>
            <a:off x="8928599" y="2043898"/>
            <a:ext cx="226590" cy="1409163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3" name="모서리가 둥근 직사각형 282"/>
          <p:cNvSpPr/>
          <p:nvPr/>
        </p:nvSpPr>
        <p:spPr bwMode="auto">
          <a:xfrm>
            <a:off x="1625632" y="3666342"/>
            <a:ext cx="2341036" cy="1344598"/>
          </a:xfrm>
          <a:prstGeom prst="roundRect">
            <a:avLst>
              <a:gd name="adj" fmla="val 2501"/>
            </a:avLst>
          </a:prstGeom>
          <a:noFill/>
          <a:ln w="15875">
            <a:solidFill>
              <a:srgbClr val="FF0000"/>
            </a:solidFill>
            <a:prstDash val="sysDash"/>
            <a:miter lim="800000"/>
            <a:headEnd/>
            <a:tailEnd/>
          </a:ln>
          <a:effectLst/>
          <a:extLst/>
        </p:spPr>
        <p:txBody>
          <a:bodyPr lIns="36000" tIns="108000" rIns="36000" bIns="36000" rtlCol="0" anchor="t"/>
          <a:lstStyle/>
          <a:p>
            <a:pPr latinLnBrk="0">
              <a:spcBef>
                <a:spcPct val="50000"/>
              </a:spcBef>
            </a:pP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12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84" name="직사각형 201"/>
          <p:cNvSpPr/>
          <p:nvPr/>
        </p:nvSpPr>
        <p:spPr>
          <a:xfrm>
            <a:off x="1593367" y="1622908"/>
            <a:ext cx="2364430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altLang="ko-KR" sz="10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Construction Profit</a:t>
            </a:r>
            <a:r>
              <a:rPr lang="ko-KR" altLang="en-US" sz="1000" b="1" cap="small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 </a:t>
            </a:r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z="1000" b="1" u="sng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100 million USD</a:t>
            </a:r>
          </a:p>
        </p:txBody>
      </p:sp>
      <p:sp>
        <p:nvSpPr>
          <p:cNvPr id="285" name="직사각형 284"/>
          <p:cNvSpPr/>
          <p:nvPr/>
        </p:nvSpPr>
        <p:spPr>
          <a:xfrm>
            <a:off x="1617859" y="5050713"/>
            <a:ext cx="1495602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altLang="ko-KR" sz="10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Equity</a:t>
            </a:r>
            <a:r>
              <a:rPr lang="ko-KR" altLang="en-US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z="1000" b="1" u="sng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290 million USD</a:t>
            </a:r>
          </a:p>
        </p:txBody>
      </p:sp>
      <p:sp>
        <p:nvSpPr>
          <p:cNvPr id="287" name="직사각형 286"/>
          <p:cNvSpPr/>
          <p:nvPr/>
        </p:nvSpPr>
        <p:spPr>
          <a:xfrm>
            <a:off x="3973147" y="1862484"/>
            <a:ext cx="1429879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altLang="ko-KR" sz="10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Equity recovery</a:t>
            </a:r>
            <a:r>
              <a:rPr lang="ko-KR" altLang="en-US" sz="10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 </a:t>
            </a:r>
            <a:r>
              <a:rPr lang="en-US" altLang="ko-KR" sz="1000" b="1" dirty="0" smtClean="0">
                <a:solidFill>
                  <a:schemeClr val="tx2">
                    <a:lumMod val="25000"/>
                  </a:schemeClr>
                </a:solidFill>
                <a:latin typeface="맑은 고딕" pitchFamily="50" charset="-127"/>
                <a:ea typeface="맑은 고딕" pitchFamily="50" charset="-127"/>
              </a:rPr>
              <a:t>: 4.3yrs</a:t>
            </a:r>
          </a:p>
        </p:txBody>
      </p:sp>
      <p:sp>
        <p:nvSpPr>
          <p:cNvPr id="288" name="직사각형 287"/>
          <p:cNvSpPr/>
          <p:nvPr/>
        </p:nvSpPr>
        <p:spPr>
          <a:xfrm>
            <a:off x="4770117" y="1618455"/>
            <a:ext cx="3912931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r>
              <a:rPr lang="en-US" altLang="ko-KR" sz="1000" b="1" cap="small" dirty="0" smtClean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Dividend</a:t>
            </a:r>
            <a:r>
              <a:rPr lang="en-US" altLang="ko-KR" sz="1000" b="1" cap="small" dirty="0" smtClean="0">
                <a:solidFill>
                  <a:srgbClr val="C00000"/>
                </a:solidFill>
                <a:latin typeface="+mn-ea"/>
                <a:ea typeface=""/>
                <a:cs typeface=""/>
              </a:rPr>
              <a:t>(</a:t>
            </a:r>
            <a:r>
              <a:rPr lang="en-US" altLang="ko-KR" sz="1000" b="1" u="sng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2,200 million USD)</a:t>
            </a:r>
            <a:r>
              <a:rPr lang="en-US" altLang="ko-KR" sz="1000" b="1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000" b="1" dirty="0" smtClean="0">
                <a:latin typeface="맑은 고딕" pitchFamily="50" charset="-127"/>
                <a:ea typeface="맑은 고딕" pitchFamily="50" charset="-127"/>
              </a:rPr>
              <a:t>+ </a:t>
            </a:r>
            <a:r>
              <a:rPr lang="en-US" altLang="ko-KR" sz="10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Operation </a:t>
            </a:r>
            <a:r>
              <a:rPr lang="en-US" altLang="ko-KR" sz="1000" b="1" cap="small" dirty="0" smtClean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profit</a:t>
            </a:r>
            <a:r>
              <a:rPr lang="en-US" altLang="ko-KR" sz="1000" b="1" cap="small" dirty="0" smtClean="0">
                <a:solidFill>
                  <a:srgbClr val="C00000"/>
                </a:solidFill>
                <a:latin typeface="+mn-ea"/>
                <a:ea typeface=""/>
                <a:cs typeface=""/>
              </a:rPr>
              <a:t>(</a:t>
            </a:r>
            <a:r>
              <a:rPr lang="en-US" altLang="ko-KR" sz="1000" b="1" u="sng" dirty="0" smtClean="0">
                <a:solidFill>
                  <a:srgbClr val="C00000"/>
                </a:solidFill>
                <a:latin typeface="맑은 고딕" pitchFamily="50" charset="-127"/>
                <a:ea typeface="맑은 고딕" pitchFamily="50" charset="-127"/>
              </a:rPr>
              <a:t>30 million USD)</a:t>
            </a:r>
          </a:p>
        </p:txBody>
      </p:sp>
      <p:sp>
        <p:nvSpPr>
          <p:cNvPr id="289" name="직사각형 288"/>
          <p:cNvSpPr/>
          <p:nvPr/>
        </p:nvSpPr>
        <p:spPr bwMode="auto">
          <a:xfrm>
            <a:off x="350272" y="5421429"/>
            <a:ext cx="9139358" cy="10739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lIns="72000" tIns="0" rIns="72000" bIns="72000" rtlCol="0" anchor="ctr"/>
          <a:lstStyle/>
          <a:p>
            <a:pPr marL="342900" indent="-342900" defTabSz="914397" fontAlgn="ctr" latinLnBrk="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altLang="ko-KR" sz="2200" b="1" cap="small" dirty="0" smtClean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Sustainable </a:t>
            </a:r>
            <a:r>
              <a:rPr lang="en-US" altLang="ko-KR" sz="22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&amp; High </a:t>
            </a:r>
            <a:r>
              <a:rPr lang="en-US" altLang="ko-KR" sz="2200" b="1" cap="small" dirty="0" smtClean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Value Added Model in Developing Market</a:t>
            </a:r>
          </a:p>
          <a:p>
            <a:pPr marL="2114220" lvl="4" indent="-285750" defTabSz="914397" fontAlgn="ctr" latinLnBrk="0">
              <a:lnSpc>
                <a:spcPct val="12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en-US" altLang="ko-KR" sz="2000" b="1" i="1" u="sng" spc="-50" dirty="0">
                <a:solidFill>
                  <a:srgbClr val="C00000"/>
                </a:solidFill>
                <a:latin typeface="맑은 고딕" pitchFamily="50" charset="-127"/>
              </a:rPr>
              <a:t>20 </a:t>
            </a:r>
            <a:r>
              <a:rPr lang="en-US" altLang="ko-KR" sz="2000" b="1" i="1" u="sng" cap="small" dirty="0">
                <a:solidFill>
                  <a:srgbClr val="C00000"/>
                </a:solidFill>
                <a:latin typeface="+mn-ea"/>
                <a:ea typeface=""/>
                <a:cs typeface=""/>
              </a:rPr>
              <a:t>times</a:t>
            </a:r>
            <a:r>
              <a:rPr lang="en-US" altLang="ko-KR" sz="2000" b="1" i="1" u="sng" spc="-50" dirty="0">
                <a:solidFill>
                  <a:srgbClr val="C00000"/>
                </a:solidFill>
                <a:latin typeface="맑은 고딕" pitchFamily="50" charset="-127"/>
              </a:rPr>
              <a:t> </a:t>
            </a:r>
            <a:r>
              <a:rPr lang="en-US" altLang="ko-KR" sz="2000" b="1" i="1" u="sng" cap="small" dirty="0">
                <a:solidFill>
                  <a:srgbClr val="C00000"/>
                </a:solidFill>
                <a:latin typeface="+mn-ea"/>
                <a:ea typeface=""/>
                <a:cs typeface=""/>
              </a:rPr>
              <a:t>more profitable than build only </a:t>
            </a:r>
            <a:r>
              <a:rPr lang="en-US" altLang="ko-KR" sz="2000" b="1" i="1" u="sng" cap="small" dirty="0" smtClean="0">
                <a:solidFill>
                  <a:srgbClr val="C00000"/>
                </a:solidFill>
                <a:latin typeface="+mn-ea"/>
                <a:ea typeface=""/>
                <a:cs typeface=""/>
              </a:rPr>
              <a:t>contract</a:t>
            </a:r>
            <a:endParaRPr lang="en-US" altLang="ko-KR" sz="2000" b="1" i="1" u="sng" cap="small" dirty="0">
              <a:solidFill>
                <a:srgbClr val="C00000"/>
              </a:solidFill>
              <a:latin typeface="+mn-ea"/>
              <a:ea typeface=""/>
              <a:cs typeface=""/>
            </a:endParaRPr>
          </a:p>
        </p:txBody>
      </p:sp>
      <p:sp>
        <p:nvSpPr>
          <p:cNvPr id="296" name="Rounded Rectangle 3"/>
          <p:cNvSpPr/>
          <p:nvPr/>
        </p:nvSpPr>
        <p:spPr bwMode="auto">
          <a:xfrm>
            <a:off x="4730600" y="3824019"/>
            <a:ext cx="4423096" cy="1230888"/>
          </a:xfrm>
          <a:prstGeom prst="roundRect">
            <a:avLst>
              <a:gd name="adj" fmla="val 9616"/>
            </a:avLst>
          </a:prstGeom>
          <a:solidFill>
            <a:srgbClr val="E8F4F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144000" tIns="0" rIns="144000" bIns="0" rtlCol="0" anchor="t"/>
          <a:lstStyle/>
          <a:p>
            <a:pPr algn="ctr" latinLnBrk="0">
              <a:spcAft>
                <a:spcPts val="300"/>
              </a:spcAft>
            </a:pPr>
            <a:r>
              <a:rPr lang="en-US" altLang="ko-KR" sz="11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Equivalent </a:t>
            </a:r>
            <a:r>
              <a:rPr lang="en-US" altLang="ko-KR" sz="1100" b="1" cap="small" dirty="0" smtClean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Economic Impact </a:t>
            </a:r>
            <a:r>
              <a:rPr lang="en-US" altLang="ko-KR" sz="11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(in Revenue)</a:t>
            </a:r>
            <a:endParaRPr lang="en-US" sz="1100" b="1" dirty="0">
              <a:latin typeface="맑은 고딕" pitchFamily="50" charset="-127"/>
              <a:ea typeface="맑은 고딕" pitchFamily="50" charset="-127"/>
            </a:endParaRPr>
          </a:p>
          <a:p>
            <a:pPr algn="ctr" latinLnBrk="0"/>
            <a:endParaRPr lang="en-US" sz="700" b="1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97" name="표 29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79459"/>
              </p:ext>
            </p:extLst>
          </p:nvPr>
        </p:nvGraphicFramePr>
        <p:xfrm>
          <a:off x="4735378" y="4089778"/>
          <a:ext cx="4417330" cy="869952"/>
        </p:xfrm>
        <a:graphic>
          <a:graphicData uri="http://schemas.openxmlformats.org/drawingml/2006/table">
            <a:tbl>
              <a:tblPr firstRow="1" firstCol="1" bandRow="1"/>
              <a:tblGrid>
                <a:gridCol w="2208665"/>
                <a:gridCol w="2208665"/>
              </a:tblGrid>
              <a:tr h="36559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050" b="1" kern="1200" cap="small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Hyundai Motor</a:t>
                      </a:r>
                    </a:p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(operating</a:t>
                      </a:r>
                      <a:r>
                        <a:rPr lang="en-US" altLang="ko-KR" sz="900" b="0" kern="100" baseline="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profit</a:t>
                      </a:r>
                      <a:r>
                        <a:rPr lang="ko-KR" altLang="en-US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</a:t>
                      </a:r>
                      <a:r>
                        <a:rPr lang="en-US" altLang="ko-KR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5.55%)</a:t>
                      </a:r>
                      <a:endParaRPr lang="ko-KR" sz="900" b="0" kern="100" dirty="0"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D6C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050" b="1" kern="1200" cap="small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Samsung</a:t>
                      </a:r>
                    </a:p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(operating</a:t>
                      </a:r>
                      <a:r>
                        <a:rPr lang="en-US" altLang="ko-KR" sz="900" b="0" kern="100" baseline="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profit</a:t>
                      </a:r>
                      <a:r>
                        <a:rPr lang="ko-KR" altLang="en-US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</a:t>
                      </a:r>
                      <a:r>
                        <a:rPr lang="en-US" altLang="ko-KR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14.49%)</a:t>
                      </a:r>
                      <a:endParaRPr lang="ko-KR" altLang="ko-KR" sz="900" b="0" kern="100" dirty="0">
                        <a:effectLst/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D6CF"/>
                    </a:solidFill>
                  </a:tcPr>
                </a:tc>
              </a:tr>
              <a:tr h="5043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050" b="1" u="none" kern="1200" cap="small" dirty="0" smtClean="0">
                          <a:solidFill>
                            <a:srgbClr val="C00000"/>
                          </a:solidFill>
                          <a:latin typeface="+mn-ea"/>
                          <a:ea typeface=""/>
                          <a:cs typeface=""/>
                        </a:rPr>
                        <a:t>LF SONATA</a:t>
                      </a:r>
                      <a:r>
                        <a:rPr lang="ko-KR" altLang="en-US" sz="1050" b="1" u="none" kern="1200" cap="small" dirty="0" smtClean="0">
                          <a:solidFill>
                            <a:srgbClr val="C00000"/>
                          </a:solidFill>
                          <a:latin typeface="+mn-ea"/>
                          <a:ea typeface=""/>
                          <a:cs typeface=""/>
                        </a:rPr>
                        <a:t> </a:t>
                      </a:r>
                      <a:r>
                        <a:rPr lang="en-US" altLang="ko-KR" sz="1100" b="1" u="none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1.7 million</a:t>
                      </a:r>
                      <a:r>
                        <a:rPr lang="en-US" altLang="ko-KR" sz="1100" b="1" u="none" kern="100" baseline="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 EA</a:t>
                      </a:r>
                      <a:endParaRPr lang="en-US" altLang="ko-KR" sz="1100" b="0" u="none" kern="100" dirty="0" smtClean="0">
                        <a:solidFill>
                          <a:srgbClr val="C00000"/>
                        </a:solidFill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15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050" b="1" u="none" kern="1200" cap="small" dirty="0" err="1" smtClean="0">
                          <a:solidFill>
                            <a:srgbClr val="C00000"/>
                          </a:solidFill>
                          <a:latin typeface="+mn-ea"/>
                          <a:ea typeface=""/>
                          <a:cs typeface=""/>
                        </a:rPr>
                        <a:t>Gallaxy</a:t>
                      </a:r>
                      <a:r>
                        <a:rPr lang="ko-KR" altLang="en-US" sz="1050" b="1" u="none" kern="1200" cap="small" smtClean="0">
                          <a:solidFill>
                            <a:srgbClr val="C00000"/>
                          </a:solidFill>
                          <a:latin typeface="+mn-ea"/>
                          <a:ea typeface=""/>
                          <a:cs typeface=""/>
                        </a:rPr>
                        <a:t> </a:t>
                      </a:r>
                      <a:r>
                        <a:rPr lang="en-US" altLang="ko-KR" sz="1050" b="1" u="none" kern="1200" cap="small" dirty="0" smtClean="0">
                          <a:solidFill>
                            <a:srgbClr val="C00000"/>
                          </a:solidFill>
                          <a:latin typeface="+mn-ea"/>
                          <a:ea typeface=""/>
                          <a:cs typeface=""/>
                        </a:rPr>
                        <a:t>S8 </a:t>
                      </a:r>
                      <a:r>
                        <a:rPr lang="en-US" altLang="ko-KR" sz="1100" b="1" u="none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16 million EA</a:t>
                      </a:r>
                      <a:endParaRPr lang="en-US" altLang="ko-KR" sz="1050" b="1" u="none" kern="100" dirty="0" smtClean="0">
                        <a:solidFill>
                          <a:srgbClr val="C00000"/>
                        </a:solidFill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98" name="Picture 4" descr="Image result for car icon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32"/>
          <a:stretch/>
        </p:blipFill>
        <p:spPr bwMode="auto">
          <a:xfrm>
            <a:off x="6535978" y="4151347"/>
            <a:ext cx="327314" cy="234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" name="Picture 6" descr="Image result for smartphone icon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6023" y="4129012"/>
            <a:ext cx="293539" cy="293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1" name="TextBox 300"/>
          <p:cNvSpPr txBox="1"/>
          <p:nvPr/>
        </p:nvSpPr>
        <p:spPr>
          <a:xfrm>
            <a:off x="7074742" y="848261"/>
            <a:ext cx="2558208" cy="241980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r" latinLnBrk="0"/>
            <a:r>
              <a:rPr lang="en-US" altLang="ko-KR" sz="1100" b="0" i="1" dirty="0" smtClean="0">
                <a:latin typeface="맑은 고딕" pitchFamily="50" charset="-127"/>
                <a:ea typeface="맑은 고딕" pitchFamily="50" charset="-127"/>
              </a:rPr>
              <a:t>Total investment</a:t>
            </a:r>
            <a:r>
              <a:rPr lang="ko-KR" altLang="en-US" sz="1100" b="0" i="1" dirty="0" smtClean="0"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100" b="0" i="1" dirty="0" smtClean="0">
                <a:latin typeface="맑은 고딕" pitchFamily="50" charset="-127"/>
                <a:ea typeface="맑은 고딕" pitchFamily="50" charset="-127"/>
              </a:rPr>
              <a:t>: </a:t>
            </a:r>
            <a:r>
              <a:rPr lang="en-US" altLang="ko-KR" sz="1100" b="1" i="1" u="sng" dirty="0" smtClean="0">
                <a:latin typeface="맑은 고딕" pitchFamily="50" charset="-127"/>
                <a:ea typeface="맑은 고딕" pitchFamily="50" charset="-127"/>
              </a:rPr>
              <a:t>1,150 million USD</a:t>
            </a:r>
          </a:p>
        </p:txBody>
      </p:sp>
      <p:grpSp>
        <p:nvGrpSpPr>
          <p:cNvPr id="303" name="그룹 302"/>
          <p:cNvGrpSpPr/>
          <p:nvPr/>
        </p:nvGrpSpPr>
        <p:grpSpPr>
          <a:xfrm>
            <a:off x="306260" y="881994"/>
            <a:ext cx="511356" cy="332098"/>
            <a:chOff x="8098867" y="5600885"/>
            <a:chExt cx="511356" cy="332098"/>
          </a:xfrm>
          <a:solidFill>
            <a:srgbClr val="2C624D"/>
          </a:solidFill>
        </p:grpSpPr>
        <p:sp>
          <p:nvSpPr>
            <p:cNvPr id="304" name="Freeform 181"/>
            <p:cNvSpPr/>
            <p:nvPr/>
          </p:nvSpPr>
          <p:spPr bwMode="auto">
            <a:xfrm>
              <a:off x="8098867" y="5604897"/>
              <a:ext cx="276730" cy="324074"/>
            </a:xfrm>
            <a:custGeom>
              <a:avLst/>
              <a:gdLst>
                <a:gd name="connsiteX0" fmla="*/ 1367406 w 2214694"/>
                <a:gd name="connsiteY0" fmla="*/ 0 h 2583809"/>
                <a:gd name="connsiteX1" fmla="*/ 553674 w 2214694"/>
                <a:gd name="connsiteY1" fmla="*/ 847288 h 2583809"/>
                <a:gd name="connsiteX2" fmla="*/ 1098958 w 2214694"/>
                <a:gd name="connsiteY2" fmla="*/ 872455 h 2583809"/>
                <a:gd name="connsiteX3" fmla="*/ 293615 w 2214694"/>
                <a:gd name="connsiteY3" fmla="*/ 1627464 h 2583809"/>
                <a:gd name="connsiteX4" fmla="*/ 746621 w 2214694"/>
                <a:gd name="connsiteY4" fmla="*/ 1635853 h 2583809"/>
                <a:gd name="connsiteX5" fmla="*/ 0 w 2214694"/>
                <a:gd name="connsiteY5" fmla="*/ 2583809 h 2583809"/>
                <a:gd name="connsiteX6" fmla="*/ 1560353 w 2214694"/>
                <a:gd name="connsiteY6" fmla="*/ 1317072 h 2583809"/>
                <a:gd name="connsiteX7" fmla="*/ 1157681 w 2214694"/>
                <a:gd name="connsiteY7" fmla="*/ 1317072 h 2583809"/>
                <a:gd name="connsiteX8" fmla="*/ 1971413 w 2214694"/>
                <a:gd name="connsiteY8" fmla="*/ 562062 h 2583809"/>
                <a:gd name="connsiteX9" fmla="*/ 1602298 w 2214694"/>
                <a:gd name="connsiteY9" fmla="*/ 562062 h 2583809"/>
                <a:gd name="connsiteX10" fmla="*/ 2214694 w 2214694"/>
                <a:gd name="connsiteY10" fmla="*/ 8389 h 2583809"/>
                <a:gd name="connsiteX0" fmla="*/ 1367406 w 2214694"/>
                <a:gd name="connsiteY0" fmla="*/ 0 h 2583809"/>
                <a:gd name="connsiteX1" fmla="*/ 553674 w 2214694"/>
                <a:gd name="connsiteY1" fmla="*/ 847288 h 2583809"/>
                <a:gd name="connsiteX2" fmla="*/ 1098958 w 2214694"/>
                <a:gd name="connsiteY2" fmla="*/ 872455 h 2583809"/>
                <a:gd name="connsiteX3" fmla="*/ 293615 w 2214694"/>
                <a:gd name="connsiteY3" fmla="*/ 1627464 h 2583809"/>
                <a:gd name="connsiteX4" fmla="*/ 746621 w 2214694"/>
                <a:gd name="connsiteY4" fmla="*/ 1635853 h 2583809"/>
                <a:gd name="connsiteX5" fmla="*/ 0 w 2214694"/>
                <a:gd name="connsiteY5" fmla="*/ 2583809 h 2583809"/>
                <a:gd name="connsiteX6" fmla="*/ 1560353 w 2214694"/>
                <a:gd name="connsiteY6" fmla="*/ 1317072 h 2583809"/>
                <a:gd name="connsiteX7" fmla="*/ 1157681 w 2214694"/>
                <a:gd name="connsiteY7" fmla="*/ 1317072 h 2583809"/>
                <a:gd name="connsiteX8" fmla="*/ 1971413 w 2214694"/>
                <a:gd name="connsiteY8" fmla="*/ 562062 h 2583809"/>
                <a:gd name="connsiteX9" fmla="*/ 1602298 w 2214694"/>
                <a:gd name="connsiteY9" fmla="*/ 562062 h 2583809"/>
                <a:gd name="connsiteX10" fmla="*/ 2004969 w 2214694"/>
                <a:gd name="connsiteY10" fmla="*/ 209725 h 2583809"/>
                <a:gd name="connsiteX11" fmla="*/ 2214694 w 2214694"/>
                <a:gd name="connsiteY11" fmla="*/ 8389 h 2583809"/>
                <a:gd name="connsiteX0" fmla="*/ 1367406 w 2004969"/>
                <a:gd name="connsiteY0" fmla="*/ 0 h 2583809"/>
                <a:gd name="connsiteX1" fmla="*/ 553674 w 2004969"/>
                <a:gd name="connsiteY1" fmla="*/ 847288 h 2583809"/>
                <a:gd name="connsiteX2" fmla="*/ 1098958 w 2004969"/>
                <a:gd name="connsiteY2" fmla="*/ 872455 h 2583809"/>
                <a:gd name="connsiteX3" fmla="*/ 293615 w 2004969"/>
                <a:gd name="connsiteY3" fmla="*/ 1627464 h 2583809"/>
                <a:gd name="connsiteX4" fmla="*/ 746621 w 2004969"/>
                <a:gd name="connsiteY4" fmla="*/ 1635853 h 2583809"/>
                <a:gd name="connsiteX5" fmla="*/ 0 w 2004969"/>
                <a:gd name="connsiteY5" fmla="*/ 2583809 h 2583809"/>
                <a:gd name="connsiteX6" fmla="*/ 1560353 w 2004969"/>
                <a:gd name="connsiteY6" fmla="*/ 1317072 h 2583809"/>
                <a:gd name="connsiteX7" fmla="*/ 1157681 w 2004969"/>
                <a:gd name="connsiteY7" fmla="*/ 1317072 h 2583809"/>
                <a:gd name="connsiteX8" fmla="*/ 1971413 w 2004969"/>
                <a:gd name="connsiteY8" fmla="*/ 562062 h 2583809"/>
                <a:gd name="connsiteX9" fmla="*/ 1602298 w 2004969"/>
                <a:gd name="connsiteY9" fmla="*/ 562062 h 2583809"/>
                <a:gd name="connsiteX10" fmla="*/ 2004969 w 2004969"/>
                <a:gd name="connsiteY10" fmla="*/ 209725 h 2583809"/>
                <a:gd name="connsiteX11" fmla="*/ 1375795 w 2004969"/>
                <a:gd name="connsiteY11" fmla="*/ 8389 h 2583809"/>
                <a:gd name="connsiteX0" fmla="*/ 1367406 w 2206305"/>
                <a:gd name="connsiteY0" fmla="*/ 0 h 2583809"/>
                <a:gd name="connsiteX1" fmla="*/ 553674 w 2206305"/>
                <a:gd name="connsiteY1" fmla="*/ 847288 h 2583809"/>
                <a:gd name="connsiteX2" fmla="*/ 1098958 w 2206305"/>
                <a:gd name="connsiteY2" fmla="*/ 872455 h 2583809"/>
                <a:gd name="connsiteX3" fmla="*/ 293615 w 2206305"/>
                <a:gd name="connsiteY3" fmla="*/ 1627464 h 2583809"/>
                <a:gd name="connsiteX4" fmla="*/ 746621 w 2206305"/>
                <a:gd name="connsiteY4" fmla="*/ 1635853 h 2583809"/>
                <a:gd name="connsiteX5" fmla="*/ 0 w 2206305"/>
                <a:gd name="connsiteY5" fmla="*/ 2583809 h 2583809"/>
                <a:gd name="connsiteX6" fmla="*/ 1560353 w 2206305"/>
                <a:gd name="connsiteY6" fmla="*/ 1317072 h 2583809"/>
                <a:gd name="connsiteX7" fmla="*/ 1157681 w 2206305"/>
                <a:gd name="connsiteY7" fmla="*/ 1317072 h 2583809"/>
                <a:gd name="connsiteX8" fmla="*/ 1971413 w 2206305"/>
                <a:gd name="connsiteY8" fmla="*/ 562062 h 2583809"/>
                <a:gd name="connsiteX9" fmla="*/ 1602298 w 2206305"/>
                <a:gd name="connsiteY9" fmla="*/ 562062 h 2583809"/>
                <a:gd name="connsiteX10" fmla="*/ 2206305 w 2206305"/>
                <a:gd name="connsiteY10" fmla="*/ 8389 h 2583809"/>
                <a:gd name="connsiteX11" fmla="*/ 1375795 w 2206305"/>
                <a:gd name="connsiteY11" fmla="*/ 8389 h 258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06305" h="2583809">
                  <a:moveTo>
                    <a:pt x="1367406" y="0"/>
                  </a:moveTo>
                  <a:lnTo>
                    <a:pt x="553674" y="847288"/>
                  </a:lnTo>
                  <a:lnTo>
                    <a:pt x="1098958" y="872455"/>
                  </a:lnTo>
                  <a:lnTo>
                    <a:pt x="293615" y="1627464"/>
                  </a:lnTo>
                  <a:lnTo>
                    <a:pt x="746621" y="1635853"/>
                  </a:lnTo>
                  <a:lnTo>
                    <a:pt x="0" y="2583809"/>
                  </a:lnTo>
                  <a:lnTo>
                    <a:pt x="1560353" y="1317072"/>
                  </a:lnTo>
                  <a:lnTo>
                    <a:pt x="1157681" y="1317072"/>
                  </a:lnTo>
                  <a:lnTo>
                    <a:pt x="1971413" y="562062"/>
                  </a:lnTo>
                  <a:lnTo>
                    <a:pt x="1602298" y="562062"/>
                  </a:lnTo>
                  <a:lnTo>
                    <a:pt x="2206305" y="8389"/>
                  </a:lnTo>
                  <a:lnTo>
                    <a:pt x="1375795" y="8389"/>
                  </a:lnTo>
                </a:path>
              </a:pathLst>
            </a:custGeom>
            <a:solidFill>
              <a:srgbClr val="AED6C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sz="2000">
                <a:latin typeface="+mn-ea"/>
              </a:endParaRPr>
            </a:p>
          </p:txBody>
        </p:sp>
        <p:grpSp>
          <p:nvGrpSpPr>
            <p:cNvPr id="305" name="Group 193"/>
            <p:cNvGrpSpPr/>
            <p:nvPr/>
          </p:nvGrpSpPr>
          <p:grpSpPr>
            <a:xfrm>
              <a:off x="8233665" y="5600885"/>
              <a:ext cx="376558" cy="332098"/>
              <a:chOff x="218113" y="1249960"/>
              <a:chExt cx="3481431" cy="3070370"/>
            </a:xfrm>
            <a:grpFill/>
          </p:grpSpPr>
          <p:sp>
            <p:nvSpPr>
              <p:cNvPr id="306" name="Freeform 194"/>
              <p:cNvSpPr/>
              <p:nvPr/>
            </p:nvSpPr>
            <p:spPr bwMode="auto">
              <a:xfrm>
                <a:off x="1493239" y="1736521"/>
                <a:ext cx="2206305" cy="2583809"/>
              </a:xfrm>
              <a:custGeom>
                <a:avLst/>
                <a:gdLst>
                  <a:gd name="connsiteX0" fmla="*/ 1367406 w 2214694"/>
                  <a:gd name="connsiteY0" fmla="*/ 0 h 2583809"/>
                  <a:gd name="connsiteX1" fmla="*/ 553674 w 2214694"/>
                  <a:gd name="connsiteY1" fmla="*/ 847288 h 2583809"/>
                  <a:gd name="connsiteX2" fmla="*/ 1098958 w 2214694"/>
                  <a:gd name="connsiteY2" fmla="*/ 872455 h 2583809"/>
                  <a:gd name="connsiteX3" fmla="*/ 293615 w 2214694"/>
                  <a:gd name="connsiteY3" fmla="*/ 1627464 h 2583809"/>
                  <a:gd name="connsiteX4" fmla="*/ 746621 w 2214694"/>
                  <a:gd name="connsiteY4" fmla="*/ 1635853 h 2583809"/>
                  <a:gd name="connsiteX5" fmla="*/ 0 w 2214694"/>
                  <a:gd name="connsiteY5" fmla="*/ 2583809 h 2583809"/>
                  <a:gd name="connsiteX6" fmla="*/ 1560353 w 2214694"/>
                  <a:gd name="connsiteY6" fmla="*/ 1317072 h 2583809"/>
                  <a:gd name="connsiteX7" fmla="*/ 1157681 w 2214694"/>
                  <a:gd name="connsiteY7" fmla="*/ 1317072 h 2583809"/>
                  <a:gd name="connsiteX8" fmla="*/ 1971413 w 2214694"/>
                  <a:gd name="connsiteY8" fmla="*/ 562062 h 2583809"/>
                  <a:gd name="connsiteX9" fmla="*/ 1602298 w 2214694"/>
                  <a:gd name="connsiteY9" fmla="*/ 562062 h 2583809"/>
                  <a:gd name="connsiteX10" fmla="*/ 2214694 w 2214694"/>
                  <a:gd name="connsiteY10" fmla="*/ 8389 h 2583809"/>
                  <a:gd name="connsiteX0" fmla="*/ 1367406 w 2214694"/>
                  <a:gd name="connsiteY0" fmla="*/ 0 h 2583809"/>
                  <a:gd name="connsiteX1" fmla="*/ 553674 w 2214694"/>
                  <a:gd name="connsiteY1" fmla="*/ 847288 h 2583809"/>
                  <a:gd name="connsiteX2" fmla="*/ 1098958 w 2214694"/>
                  <a:gd name="connsiteY2" fmla="*/ 872455 h 2583809"/>
                  <a:gd name="connsiteX3" fmla="*/ 293615 w 2214694"/>
                  <a:gd name="connsiteY3" fmla="*/ 1627464 h 2583809"/>
                  <a:gd name="connsiteX4" fmla="*/ 746621 w 2214694"/>
                  <a:gd name="connsiteY4" fmla="*/ 1635853 h 2583809"/>
                  <a:gd name="connsiteX5" fmla="*/ 0 w 2214694"/>
                  <a:gd name="connsiteY5" fmla="*/ 2583809 h 2583809"/>
                  <a:gd name="connsiteX6" fmla="*/ 1560353 w 2214694"/>
                  <a:gd name="connsiteY6" fmla="*/ 1317072 h 2583809"/>
                  <a:gd name="connsiteX7" fmla="*/ 1157681 w 2214694"/>
                  <a:gd name="connsiteY7" fmla="*/ 1317072 h 2583809"/>
                  <a:gd name="connsiteX8" fmla="*/ 1971413 w 2214694"/>
                  <a:gd name="connsiteY8" fmla="*/ 562062 h 2583809"/>
                  <a:gd name="connsiteX9" fmla="*/ 1602298 w 2214694"/>
                  <a:gd name="connsiteY9" fmla="*/ 562062 h 2583809"/>
                  <a:gd name="connsiteX10" fmla="*/ 2004969 w 2214694"/>
                  <a:gd name="connsiteY10" fmla="*/ 209725 h 2583809"/>
                  <a:gd name="connsiteX11" fmla="*/ 2214694 w 2214694"/>
                  <a:gd name="connsiteY11" fmla="*/ 8389 h 2583809"/>
                  <a:gd name="connsiteX0" fmla="*/ 1367406 w 2004969"/>
                  <a:gd name="connsiteY0" fmla="*/ 0 h 2583809"/>
                  <a:gd name="connsiteX1" fmla="*/ 553674 w 2004969"/>
                  <a:gd name="connsiteY1" fmla="*/ 847288 h 2583809"/>
                  <a:gd name="connsiteX2" fmla="*/ 1098958 w 2004969"/>
                  <a:gd name="connsiteY2" fmla="*/ 872455 h 2583809"/>
                  <a:gd name="connsiteX3" fmla="*/ 293615 w 2004969"/>
                  <a:gd name="connsiteY3" fmla="*/ 1627464 h 2583809"/>
                  <a:gd name="connsiteX4" fmla="*/ 746621 w 2004969"/>
                  <a:gd name="connsiteY4" fmla="*/ 1635853 h 2583809"/>
                  <a:gd name="connsiteX5" fmla="*/ 0 w 2004969"/>
                  <a:gd name="connsiteY5" fmla="*/ 2583809 h 2583809"/>
                  <a:gd name="connsiteX6" fmla="*/ 1560353 w 2004969"/>
                  <a:gd name="connsiteY6" fmla="*/ 1317072 h 2583809"/>
                  <a:gd name="connsiteX7" fmla="*/ 1157681 w 2004969"/>
                  <a:gd name="connsiteY7" fmla="*/ 1317072 h 2583809"/>
                  <a:gd name="connsiteX8" fmla="*/ 1971413 w 2004969"/>
                  <a:gd name="connsiteY8" fmla="*/ 562062 h 2583809"/>
                  <a:gd name="connsiteX9" fmla="*/ 1602298 w 2004969"/>
                  <a:gd name="connsiteY9" fmla="*/ 562062 h 2583809"/>
                  <a:gd name="connsiteX10" fmla="*/ 2004969 w 2004969"/>
                  <a:gd name="connsiteY10" fmla="*/ 209725 h 2583809"/>
                  <a:gd name="connsiteX11" fmla="*/ 1375795 w 2004969"/>
                  <a:gd name="connsiteY11" fmla="*/ 8389 h 2583809"/>
                  <a:gd name="connsiteX0" fmla="*/ 1367406 w 2206305"/>
                  <a:gd name="connsiteY0" fmla="*/ 0 h 2583809"/>
                  <a:gd name="connsiteX1" fmla="*/ 553674 w 2206305"/>
                  <a:gd name="connsiteY1" fmla="*/ 847288 h 2583809"/>
                  <a:gd name="connsiteX2" fmla="*/ 1098958 w 2206305"/>
                  <a:gd name="connsiteY2" fmla="*/ 872455 h 2583809"/>
                  <a:gd name="connsiteX3" fmla="*/ 293615 w 2206305"/>
                  <a:gd name="connsiteY3" fmla="*/ 1627464 h 2583809"/>
                  <a:gd name="connsiteX4" fmla="*/ 746621 w 2206305"/>
                  <a:gd name="connsiteY4" fmla="*/ 1635853 h 2583809"/>
                  <a:gd name="connsiteX5" fmla="*/ 0 w 2206305"/>
                  <a:gd name="connsiteY5" fmla="*/ 2583809 h 2583809"/>
                  <a:gd name="connsiteX6" fmla="*/ 1560353 w 2206305"/>
                  <a:gd name="connsiteY6" fmla="*/ 1317072 h 2583809"/>
                  <a:gd name="connsiteX7" fmla="*/ 1157681 w 2206305"/>
                  <a:gd name="connsiteY7" fmla="*/ 1317072 h 2583809"/>
                  <a:gd name="connsiteX8" fmla="*/ 1971413 w 2206305"/>
                  <a:gd name="connsiteY8" fmla="*/ 562062 h 2583809"/>
                  <a:gd name="connsiteX9" fmla="*/ 1602298 w 2206305"/>
                  <a:gd name="connsiteY9" fmla="*/ 562062 h 2583809"/>
                  <a:gd name="connsiteX10" fmla="*/ 2206305 w 2206305"/>
                  <a:gd name="connsiteY10" fmla="*/ 8389 h 2583809"/>
                  <a:gd name="connsiteX11" fmla="*/ 1375795 w 2206305"/>
                  <a:gd name="connsiteY11" fmla="*/ 8389 h 2583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06305" h="2583809">
                    <a:moveTo>
                      <a:pt x="1367406" y="0"/>
                    </a:moveTo>
                    <a:lnTo>
                      <a:pt x="553674" y="847288"/>
                    </a:lnTo>
                    <a:lnTo>
                      <a:pt x="1098958" y="872455"/>
                    </a:lnTo>
                    <a:lnTo>
                      <a:pt x="293615" y="1627464"/>
                    </a:lnTo>
                    <a:lnTo>
                      <a:pt x="746621" y="1635853"/>
                    </a:lnTo>
                    <a:lnTo>
                      <a:pt x="0" y="2583809"/>
                    </a:lnTo>
                    <a:lnTo>
                      <a:pt x="1560353" y="1317072"/>
                    </a:lnTo>
                    <a:lnTo>
                      <a:pt x="1157681" y="1317072"/>
                    </a:lnTo>
                    <a:lnTo>
                      <a:pt x="1971413" y="562062"/>
                    </a:lnTo>
                    <a:lnTo>
                      <a:pt x="1602298" y="562062"/>
                    </a:lnTo>
                    <a:lnTo>
                      <a:pt x="2206305" y="8389"/>
                    </a:lnTo>
                    <a:lnTo>
                      <a:pt x="1375795" y="8389"/>
                    </a:lnTo>
                  </a:path>
                </a:pathLst>
              </a:custGeom>
              <a:solidFill>
                <a:srgbClr val="92C8BF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sz="2000">
                  <a:latin typeface="+mn-ea"/>
                </a:endParaRPr>
              </a:p>
            </p:txBody>
          </p:sp>
          <p:sp>
            <p:nvSpPr>
              <p:cNvPr id="307" name="Freeform 195"/>
              <p:cNvSpPr/>
              <p:nvPr/>
            </p:nvSpPr>
            <p:spPr bwMode="auto">
              <a:xfrm>
                <a:off x="218114" y="1249960"/>
                <a:ext cx="2625754" cy="713707"/>
              </a:xfrm>
              <a:custGeom>
                <a:avLst/>
                <a:gdLst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444"/>
                  <a:gd name="connsiteX1" fmla="*/ 755009 w 2625754"/>
                  <a:gd name="connsiteY1" fmla="*/ 8389 h 713444"/>
                  <a:gd name="connsiteX2" fmla="*/ 2273416 w 2625754"/>
                  <a:gd name="connsiteY2" fmla="*/ 0 h 713444"/>
                  <a:gd name="connsiteX3" fmla="*/ 2625754 w 2625754"/>
                  <a:gd name="connsiteY3" fmla="*/ 343948 h 713444"/>
                  <a:gd name="connsiteX4" fmla="*/ 2441196 w 2625754"/>
                  <a:gd name="connsiteY4" fmla="*/ 536895 h 713444"/>
                  <a:gd name="connsiteX5" fmla="*/ 2290194 w 2625754"/>
                  <a:gd name="connsiteY5" fmla="*/ 427838 h 713444"/>
                  <a:gd name="connsiteX6" fmla="*/ 755009 w 2625754"/>
                  <a:gd name="connsiteY6" fmla="*/ 436227 h 713444"/>
                  <a:gd name="connsiteX7" fmla="*/ 0 w 2625754"/>
                  <a:gd name="connsiteY7" fmla="*/ 713064 h 713444"/>
                  <a:gd name="connsiteX8" fmla="*/ 0 w 2625754"/>
                  <a:gd name="connsiteY8" fmla="*/ 461394 h 713444"/>
                  <a:gd name="connsiteX0" fmla="*/ 0 w 2625754"/>
                  <a:gd name="connsiteY0" fmla="*/ 461394 h 713725"/>
                  <a:gd name="connsiteX1" fmla="*/ 755009 w 2625754"/>
                  <a:gd name="connsiteY1" fmla="*/ 8389 h 713725"/>
                  <a:gd name="connsiteX2" fmla="*/ 2273416 w 2625754"/>
                  <a:gd name="connsiteY2" fmla="*/ 0 h 713725"/>
                  <a:gd name="connsiteX3" fmla="*/ 2625754 w 2625754"/>
                  <a:gd name="connsiteY3" fmla="*/ 343948 h 713725"/>
                  <a:gd name="connsiteX4" fmla="*/ 2441196 w 2625754"/>
                  <a:gd name="connsiteY4" fmla="*/ 536895 h 713725"/>
                  <a:gd name="connsiteX5" fmla="*/ 2290194 w 2625754"/>
                  <a:gd name="connsiteY5" fmla="*/ 427838 h 713725"/>
                  <a:gd name="connsiteX6" fmla="*/ 755009 w 2625754"/>
                  <a:gd name="connsiteY6" fmla="*/ 436227 h 713725"/>
                  <a:gd name="connsiteX7" fmla="*/ 0 w 2625754"/>
                  <a:gd name="connsiteY7" fmla="*/ 713064 h 713725"/>
                  <a:gd name="connsiteX8" fmla="*/ 0 w 2625754"/>
                  <a:gd name="connsiteY8" fmla="*/ 461394 h 713725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60933 w 2625754"/>
                  <a:gd name="connsiteY5" fmla="*/ 41320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25754" h="713707">
                    <a:moveTo>
                      <a:pt x="0" y="461394"/>
                    </a:moveTo>
                    <a:cubicBezTo>
                      <a:pt x="394282" y="385893"/>
                      <a:pt x="528506" y="285226"/>
                      <a:pt x="755009" y="8389"/>
                    </a:cubicBezTo>
                    <a:cubicBezTo>
                      <a:pt x="1076589" y="525710"/>
                      <a:pt x="1817614" y="673915"/>
                      <a:pt x="2273416" y="0"/>
                    </a:cubicBezTo>
                    <a:cubicBezTo>
                      <a:pt x="2418176" y="239611"/>
                      <a:pt x="2466363" y="271244"/>
                      <a:pt x="2625754" y="343948"/>
                    </a:cubicBezTo>
                    <a:lnTo>
                      <a:pt x="2441196" y="536895"/>
                    </a:lnTo>
                    <a:cubicBezTo>
                      <a:pt x="2337218" y="481035"/>
                      <a:pt x="2321021" y="454437"/>
                      <a:pt x="2260933" y="413208"/>
                    </a:cubicBezTo>
                    <a:cubicBezTo>
                      <a:pt x="1785781" y="825656"/>
                      <a:pt x="1149693" y="799191"/>
                      <a:pt x="733063" y="421597"/>
                    </a:cubicBezTo>
                    <a:cubicBezTo>
                      <a:pt x="488709" y="623603"/>
                      <a:pt x="332136" y="701252"/>
                      <a:pt x="0" y="713064"/>
                    </a:cubicBezTo>
                    <a:lnTo>
                      <a:pt x="0" y="461394"/>
                    </a:lnTo>
                    <a:close/>
                  </a:path>
                </a:pathLst>
              </a:custGeom>
              <a:solidFill>
                <a:srgbClr val="92C8BF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1400" b="0" smtClean="0">
                  <a:latin typeface="+mn-ea"/>
                </a:endParaRPr>
              </a:p>
            </p:txBody>
          </p:sp>
          <p:sp>
            <p:nvSpPr>
              <p:cNvPr id="308" name="Freeform 196"/>
              <p:cNvSpPr/>
              <p:nvPr/>
            </p:nvSpPr>
            <p:spPr bwMode="auto">
              <a:xfrm>
                <a:off x="218113" y="1953294"/>
                <a:ext cx="1805243" cy="704886"/>
              </a:xfrm>
              <a:custGeom>
                <a:avLst/>
                <a:gdLst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444"/>
                  <a:gd name="connsiteX1" fmla="*/ 755009 w 2625754"/>
                  <a:gd name="connsiteY1" fmla="*/ 8389 h 713444"/>
                  <a:gd name="connsiteX2" fmla="*/ 2273416 w 2625754"/>
                  <a:gd name="connsiteY2" fmla="*/ 0 h 713444"/>
                  <a:gd name="connsiteX3" fmla="*/ 2625754 w 2625754"/>
                  <a:gd name="connsiteY3" fmla="*/ 343948 h 713444"/>
                  <a:gd name="connsiteX4" fmla="*/ 2441196 w 2625754"/>
                  <a:gd name="connsiteY4" fmla="*/ 536895 h 713444"/>
                  <a:gd name="connsiteX5" fmla="*/ 2290194 w 2625754"/>
                  <a:gd name="connsiteY5" fmla="*/ 427838 h 713444"/>
                  <a:gd name="connsiteX6" fmla="*/ 755009 w 2625754"/>
                  <a:gd name="connsiteY6" fmla="*/ 436227 h 713444"/>
                  <a:gd name="connsiteX7" fmla="*/ 0 w 2625754"/>
                  <a:gd name="connsiteY7" fmla="*/ 713064 h 713444"/>
                  <a:gd name="connsiteX8" fmla="*/ 0 w 2625754"/>
                  <a:gd name="connsiteY8" fmla="*/ 461394 h 713444"/>
                  <a:gd name="connsiteX0" fmla="*/ 0 w 2625754"/>
                  <a:gd name="connsiteY0" fmla="*/ 461394 h 713725"/>
                  <a:gd name="connsiteX1" fmla="*/ 755009 w 2625754"/>
                  <a:gd name="connsiteY1" fmla="*/ 8389 h 713725"/>
                  <a:gd name="connsiteX2" fmla="*/ 2273416 w 2625754"/>
                  <a:gd name="connsiteY2" fmla="*/ 0 h 713725"/>
                  <a:gd name="connsiteX3" fmla="*/ 2625754 w 2625754"/>
                  <a:gd name="connsiteY3" fmla="*/ 343948 h 713725"/>
                  <a:gd name="connsiteX4" fmla="*/ 2441196 w 2625754"/>
                  <a:gd name="connsiteY4" fmla="*/ 536895 h 713725"/>
                  <a:gd name="connsiteX5" fmla="*/ 2290194 w 2625754"/>
                  <a:gd name="connsiteY5" fmla="*/ 427838 h 713725"/>
                  <a:gd name="connsiteX6" fmla="*/ 755009 w 2625754"/>
                  <a:gd name="connsiteY6" fmla="*/ 436227 h 713725"/>
                  <a:gd name="connsiteX7" fmla="*/ 0 w 2625754"/>
                  <a:gd name="connsiteY7" fmla="*/ 713064 h 713725"/>
                  <a:gd name="connsiteX8" fmla="*/ 0 w 2625754"/>
                  <a:gd name="connsiteY8" fmla="*/ 461394 h 713725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60933 w 2625754"/>
                  <a:gd name="connsiteY5" fmla="*/ 41320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4675"/>
                  <a:gd name="connsiteX1" fmla="*/ 755009 w 2625754"/>
                  <a:gd name="connsiteY1" fmla="*/ 0 h 704675"/>
                  <a:gd name="connsiteX2" fmla="*/ 1805243 w 2625754"/>
                  <a:gd name="connsiteY2" fmla="*/ 379317 h 704675"/>
                  <a:gd name="connsiteX3" fmla="*/ 2625754 w 2625754"/>
                  <a:gd name="connsiteY3" fmla="*/ 335559 h 704675"/>
                  <a:gd name="connsiteX4" fmla="*/ 2441196 w 2625754"/>
                  <a:gd name="connsiteY4" fmla="*/ 528506 h 704675"/>
                  <a:gd name="connsiteX5" fmla="*/ 733063 w 2625754"/>
                  <a:gd name="connsiteY5" fmla="*/ 413208 h 704675"/>
                  <a:gd name="connsiteX6" fmla="*/ 0 w 2625754"/>
                  <a:gd name="connsiteY6" fmla="*/ 704675 h 704675"/>
                  <a:gd name="connsiteX7" fmla="*/ 0 w 2625754"/>
                  <a:gd name="connsiteY7" fmla="*/ 453005 h 704675"/>
                  <a:gd name="connsiteX0" fmla="*/ 0 w 2625754"/>
                  <a:gd name="connsiteY0" fmla="*/ 453005 h 704675"/>
                  <a:gd name="connsiteX1" fmla="*/ 755009 w 2625754"/>
                  <a:gd name="connsiteY1" fmla="*/ 0 h 704675"/>
                  <a:gd name="connsiteX2" fmla="*/ 1805243 w 2625754"/>
                  <a:gd name="connsiteY2" fmla="*/ 379317 h 704675"/>
                  <a:gd name="connsiteX3" fmla="*/ 2625754 w 2625754"/>
                  <a:gd name="connsiteY3" fmla="*/ 335559 h 704675"/>
                  <a:gd name="connsiteX4" fmla="*/ 1504851 w 2625754"/>
                  <a:gd name="connsiteY4" fmla="*/ 704071 h 704675"/>
                  <a:gd name="connsiteX5" fmla="*/ 733063 w 2625754"/>
                  <a:gd name="connsiteY5" fmla="*/ 413208 h 704675"/>
                  <a:gd name="connsiteX6" fmla="*/ 0 w 2625754"/>
                  <a:gd name="connsiteY6" fmla="*/ 704675 h 704675"/>
                  <a:gd name="connsiteX7" fmla="*/ 0 w 2625754"/>
                  <a:gd name="connsiteY7" fmla="*/ 453005 h 704675"/>
                  <a:gd name="connsiteX0" fmla="*/ 0 w 2625754"/>
                  <a:gd name="connsiteY0" fmla="*/ 453005 h 704886"/>
                  <a:gd name="connsiteX1" fmla="*/ 755009 w 2625754"/>
                  <a:gd name="connsiteY1" fmla="*/ 0 h 704886"/>
                  <a:gd name="connsiteX2" fmla="*/ 1805243 w 2625754"/>
                  <a:gd name="connsiteY2" fmla="*/ 379317 h 704886"/>
                  <a:gd name="connsiteX3" fmla="*/ 2625754 w 2625754"/>
                  <a:gd name="connsiteY3" fmla="*/ 335559 h 704886"/>
                  <a:gd name="connsiteX4" fmla="*/ 1504851 w 2625754"/>
                  <a:gd name="connsiteY4" fmla="*/ 704071 h 704886"/>
                  <a:gd name="connsiteX5" fmla="*/ 733063 w 2625754"/>
                  <a:gd name="connsiteY5" fmla="*/ 413208 h 704886"/>
                  <a:gd name="connsiteX6" fmla="*/ 0 w 2625754"/>
                  <a:gd name="connsiteY6" fmla="*/ 704675 h 704886"/>
                  <a:gd name="connsiteX7" fmla="*/ 0 w 2625754"/>
                  <a:gd name="connsiteY7" fmla="*/ 453005 h 704886"/>
                  <a:gd name="connsiteX0" fmla="*/ 0 w 1839244"/>
                  <a:gd name="connsiteY0" fmla="*/ 453005 h 704886"/>
                  <a:gd name="connsiteX1" fmla="*/ 755009 w 1839244"/>
                  <a:gd name="connsiteY1" fmla="*/ 0 h 704886"/>
                  <a:gd name="connsiteX2" fmla="*/ 1805243 w 1839244"/>
                  <a:gd name="connsiteY2" fmla="*/ 379317 h 704886"/>
                  <a:gd name="connsiteX3" fmla="*/ 1504851 w 1839244"/>
                  <a:gd name="connsiteY3" fmla="*/ 704071 h 704886"/>
                  <a:gd name="connsiteX4" fmla="*/ 733063 w 1839244"/>
                  <a:gd name="connsiteY4" fmla="*/ 413208 h 704886"/>
                  <a:gd name="connsiteX5" fmla="*/ 0 w 1839244"/>
                  <a:gd name="connsiteY5" fmla="*/ 704675 h 704886"/>
                  <a:gd name="connsiteX6" fmla="*/ 0 w 1839244"/>
                  <a:gd name="connsiteY6" fmla="*/ 453005 h 704886"/>
                  <a:gd name="connsiteX0" fmla="*/ 0 w 1830805"/>
                  <a:gd name="connsiteY0" fmla="*/ 453005 h 704886"/>
                  <a:gd name="connsiteX1" fmla="*/ 755009 w 1830805"/>
                  <a:gd name="connsiteY1" fmla="*/ 0 h 704886"/>
                  <a:gd name="connsiteX2" fmla="*/ 1805243 w 1830805"/>
                  <a:gd name="connsiteY2" fmla="*/ 379317 h 704886"/>
                  <a:gd name="connsiteX3" fmla="*/ 1504851 w 1830805"/>
                  <a:gd name="connsiteY3" fmla="*/ 704071 h 704886"/>
                  <a:gd name="connsiteX4" fmla="*/ 733063 w 1830805"/>
                  <a:gd name="connsiteY4" fmla="*/ 413208 h 704886"/>
                  <a:gd name="connsiteX5" fmla="*/ 0 w 1830805"/>
                  <a:gd name="connsiteY5" fmla="*/ 704675 h 704886"/>
                  <a:gd name="connsiteX6" fmla="*/ 0 w 1830805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379317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379317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401263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401263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5243" h="704886">
                    <a:moveTo>
                      <a:pt x="0" y="453005"/>
                    </a:moveTo>
                    <a:cubicBezTo>
                      <a:pt x="394282" y="377504"/>
                      <a:pt x="528506" y="276837"/>
                      <a:pt x="755009" y="0"/>
                    </a:cubicBezTo>
                    <a:cubicBezTo>
                      <a:pt x="1010753" y="458800"/>
                      <a:pt x="1437223" y="511906"/>
                      <a:pt x="1805243" y="401263"/>
                    </a:cubicBezTo>
                    <a:cubicBezTo>
                      <a:pt x="1740022" y="525923"/>
                      <a:pt x="1559189" y="647217"/>
                      <a:pt x="1504851" y="704071"/>
                    </a:cubicBezTo>
                    <a:cubicBezTo>
                      <a:pt x="1189403" y="717012"/>
                      <a:pt x="949733" y="574042"/>
                      <a:pt x="733063" y="413208"/>
                    </a:cubicBezTo>
                    <a:cubicBezTo>
                      <a:pt x="488709" y="615214"/>
                      <a:pt x="332136" y="692863"/>
                      <a:pt x="0" y="704675"/>
                    </a:cubicBezTo>
                    <a:lnTo>
                      <a:pt x="0" y="453005"/>
                    </a:lnTo>
                    <a:close/>
                  </a:path>
                </a:pathLst>
              </a:custGeom>
              <a:solidFill>
                <a:srgbClr val="92C8BF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1400" b="0" smtClean="0">
                  <a:latin typeface="+mn-ea"/>
                </a:endParaRPr>
              </a:p>
            </p:txBody>
          </p:sp>
          <p:sp>
            <p:nvSpPr>
              <p:cNvPr id="309" name="Freeform 197"/>
              <p:cNvSpPr/>
              <p:nvPr/>
            </p:nvSpPr>
            <p:spPr bwMode="auto">
              <a:xfrm>
                <a:off x="218113" y="2662868"/>
                <a:ext cx="1508274" cy="704675"/>
              </a:xfrm>
              <a:custGeom>
                <a:avLst/>
                <a:gdLst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444"/>
                  <a:gd name="connsiteX1" fmla="*/ 755009 w 2625754"/>
                  <a:gd name="connsiteY1" fmla="*/ 8389 h 713444"/>
                  <a:gd name="connsiteX2" fmla="*/ 2273416 w 2625754"/>
                  <a:gd name="connsiteY2" fmla="*/ 0 h 713444"/>
                  <a:gd name="connsiteX3" fmla="*/ 2625754 w 2625754"/>
                  <a:gd name="connsiteY3" fmla="*/ 343948 h 713444"/>
                  <a:gd name="connsiteX4" fmla="*/ 2441196 w 2625754"/>
                  <a:gd name="connsiteY4" fmla="*/ 536895 h 713444"/>
                  <a:gd name="connsiteX5" fmla="*/ 2290194 w 2625754"/>
                  <a:gd name="connsiteY5" fmla="*/ 427838 h 713444"/>
                  <a:gd name="connsiteX6" fmla="*/ 755009 w 2625754"/>
                  <a:gd name="connsiteY6" fmla="*/ 436227 h 713444"/>
                  <a:gd name="connsiteX7" fmla="*/ 0 w 2625754"/>
                  <a:gd name="connsiteY7" fmla="*/ 713064 h 713444"/>
                  <a:gd name="connsiteX8" fmla="*/ 0 w 2625754"/>
                  <a:gd name="connsiteY8" fmla="*/ 461394 h 713444"/>
                  <a:gd name="connsiteX0" fmla="*/ 0 w 2625754"/>
                  <a:gd name="connsiteY0" fmla="*/ 461394 h 713725"/>
                  <a:gd name="connsiteX1" fmla="*/ 755009 w 2625754"/>
                  <a:gd name="connsiteY1" fmla="*/ 8389 h 713725"/>
                  <a:gd name="connsiteX2" fmla="*/ 2273416 w 2625754"/>
                  <a:gd name="connsiteY2" fmla="*/ 0 h 713725"/>
                  <a:gd name="connsiteX3" fmla="*/ 2625754 w 2625754"/>
                  <a:gd name="connsiteY3" fmla="*/ 343948 h 713725"/>
                  <a:gd name="connsiteX4" fmla="*/ 2441196 w 2625754"/>
                  <a:gd name="connsiteY4" fmla="*/ 536895 h 713725"/>
                  <a:gd name="connsiteX5" fmla="*/ 2290194 w 2625754"/>
                  <a:gd name="connsiteY5" fmla="*/ 427838 h 713725"/>
                  <a:gd name="connsiteX6" fmla="*/ 755009 w 2625754"/>
                  <a:gd name="connsiteY6" fmla="*/ 436227 h 713725"/>
                  <a:gd name="connsiteX7" fmla="*/ 0 w 2625754"/>
                  <a:gd name="connsiteY7" fmla="*/ 713064 h 713725"/>
                  <a:gd name="connsiteX8" fmla="*/ 0 w 2625754"/>
                  <a:gd name="connsiteY8" fmla="*/ 461394 h 713725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55009 w 2625754"/>
                  <a:gd name="connsiteY6" fmla="*/ 43622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90194 w 2625754"/>
                  <a:gd name="connsiteY5" fmla="*/ 42783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064"/>
                  <a:gd name="connsiteX1" fmla="*/ 755009 w 2625754"/>
                  <a:gd name="connsiteY1" fmla="*/ 8389 h 713064"/>
                  <a:gd name="connsiteX2" fmla="*/ 2273416 w 2625754"/>
                  <a:gd name="connsiteY2" fmla="*/ 0 h 713064"/>
                  <a:gd name="connsiteX3" fmla="*/ 2625754 w 2625754"/>
                  <a:gd name="connsiteY3" fmla="*/ 343948 h 713064"/>
                  <a:gd name="connsiteX4" fmla="*/ 2441196 w 2625754"/>
                  <a:gd name="connsiteY4" fmla="*/ 536895 h 713064"/>
                  <a:gd name="connsiteX5" fmla="*/ 2260933 w 2625754"/>
                  <a:gd name="connsiteY5" fmla="*/ 413208 h 713064"/>
                  <a:gd name="connsiteX6" fmla="*/ 733063 w 2625754"/>
                  <a:gd name="connsiteY6" fmla="*/ 421597 h 713064"/>
                  <a:gd name="connsiteX7" fmla="*/ 0 w 2625754"/>
                  <a:gd name="connsiteY7" fmla="*/ 713064 h 713064"/>
                  <a:gd name="connsiteX8" fmla="*/ 0 w 2625754"/>
                  <a:gd name="connsiteY8" fmla="*/ 461394 h 713064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61394 h 713707"/>
                  <a:gd name="connsiteX1" fmla="*/ 755009 w 2625754"/>
                  <a:gd name="connsiteY1" fmla="*/ 8389 h 713707"/>
                  <a:gd name="connsiteX2" fmla="*/ 2273416 w 2625754"/>
                  <a:gd name="connsiteY2" fmla="*/ 0 h 713707"/>
                  <a:gd name="connsiteX3" fmla="*/ 2625754 w 2625754"/>
                  <a:gd name="connsiteY3" fmla="*/ 343948 h 713707"/>
                  <a:gd name="connsiteX4" fmla="*/ 2441196 w 2625754"/>
                  <a:gd name="connsiteY4" fmla="*/ 536895 h 713707"/>
                  <a:gd name="connsiteX5" fmla="*/ 2260933 w 2625754"/>
                  <a:gd name="connsiteY5" fmla="*/ 413208 h 713707"/>
                  <a:gd name="connsiteX6" fmla="*/ 733063 w 2625754"/>
                  <a:gd name="connsiteY6" fmla="*/ 421597 h 713707"/>
                  <a:gd name="connsiteX7" fmla="*/ 0 w 2625754"/>
                  <a:gd name="connsiteY7" fmla="*/ 713064 h 713707"/>
                  <a:gd name="connsiteX8" fmla="*/ 0 w 2625754"/>
                  <a:gd name="connsiteY8" fmla="*/ 461394 h 713707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5318"/>
                  <a:gd name="connsiteX1" fmla="*/ 755009 w 2625754"/>
                  <a:gd name="connsiteY1" fmla="*/ 0 h 705318"/>
                  <a:gd name="connsiteX2" fmla="*/ 1805243 w 2625754"/>
                  <a:gd name="connsiteY2" fmla="*/ 379317 h 705318"/>
                  <a:gd name="connsiteX3" fmla="*/ 2625754 w 2625754"/>
                  <a:gd name="connsiteY3" fmla="*/ 335559 h 705318"/>
                  <a:gd name="connsiteX4" fmla="*/ 2441196 w 2625754"/>
                  <a:gd name="connsiteY4" fmla="*/ 528506 h 705318"/>
                  <a:gd name="connsiteX5" fmla="*/ 2260933 w 2625754"/>
                  <a:gd name="connsiteY5" fmla="*/ 404819 h 705318"/>
                  <a:gd name="connsiteX6" fmla="*/ 733063 w 2625754"/>
                  <a:gd name="connsiteY6" fmla="*/ 413208 h 705318"/>
                  <a:gd name="connsiteX7" fmla="*/ 0 w 2625754"/>
                  <a:gd name="connsiteY7" fmla="*/ 704675 h 705318"/>
                  <a:gd name="connsiteX8" fmla="*/ 0 w 2625754"/>
                  <a:gd name="connsiteY8" fmla="*/ 453005 h 705318"/>
                  <a:gd name="connsiteX0" fmla="*/ 0 w 2625754"/>
                  <a:gd name="connsiteY0" fmla="*/ 453005 h 704675"/>
                  <a:gd name="connsiteX1" fmla="*/ 755009 w 2625754"/>
                  <a:gd name="connsiteY1" fmla="*/ 0 h 704675"/>
                  <a:gd name="connsiteX2" fmla="*/ 1805243 w 2625754"/>
                  <a:gd name="connsiteY2" fmla="*/ 379317 h 704675"/>
                  <a:gd name="connsiteX3" fmla="*/ 2625754 w 2625754"/>
                  <a:gd name="connsiteY3" fmla="*/ 335559 h 704675"/>
                  <a:gd name="connsiteX4" fmla="*/ 2441196 w 2625754"/>
                  <a:gd name="connsiteY4" fmla="*/ 528506 h 704675"/>
                  <a:gd name="connsiteX5" fmla="*/ 733063 w 2625754"/>
                  <a:gd name="connsiteY5" fmla="*/ 413208 h 704675"/>
                  <a:gd name="connsiteX6" fmla="*/ 0 w 2625754"/>
                  <a:gd name="connsiteY6" fmla="*/ 704675 h 704675"/>
                  <a:gd name="connsiteX7" fmla="*/ 0 w 2625754"/>
                  <a:gd name="connsiteY7" fmla="*/ 453005 h 704675"/>
                  <a:gd name="connsiteX0" fmla="*/ 0 w 2625754"/>
                  <a:gd name="connsiteY0" fmla="*/ 453005 h 704675"/>
                  <a:gd name="connsiteX1" fmla="*/ 755009 w 2625754"/>
                  <a:gd name="connsiteY1" fmla="*/ 0 h 704675"/>
                  <a:gd name="connsiteX2" fmla="*/ 1805243 w 2625754"/>
                  <a:gd name="connsiteY2" fmla="*/ 379317 h 704675"/>
                  <a:gd name="connsiteX3" fmla="*/ 2625754 w 2625754"/>
                  <a:gd name="connsiteY3" fmla="*/ 335559 h 704675"/>
                  <a:gd name="connsiteX4" fmla="*/ 1504851 w 2625754"/>
                  <a:gd name="connsiteY4" fmla="*/ 704071 h 704675"/>
                  <a:gd name="connsiteX5" fmla="*/ 733063 w 2625754"/>
                  <a:gd name="connsiteY5" fmla="*/ 413208 h 704675"/>
                  <a:gd name="connsiteX6" fmla="*/ 0 w 2625754"/>
                  <a:gd name="connsiteY6" fmla="*/ 704675 h 704675"/>
                  <a:gd name="connsiteX7" fmla="*/ 0 w 2625754"/>
                  <a:gd name="connsiteY7" fmla="*/ 453005 h 704675"/>
                  <a:gd name="connsiteX0" fmla="*/ 0 w 2625754"/>
                  <a:gd name="connsiteY0" fmla="*/ 453005 h 704886"/>
                  <a:gd name="connsiteX1" fmla="*/ 755009 w 2625754"/>
                  <a:gd name="connsiteY1" fmla="*/ 0 h 704886"/>
                  <a:gd name="connsiteX2" fmla="*/ 1805243 w 2625754"/>
                  <a:gd name="connsiteY2" fmla="*/ 379317 h 704886"/>
                  <a:gd name="connsiteX3" fmla="*/ 2625754 w 2625754"/>
                  <a:gd name="connsiteY3" fmla="*/ 335559 h 704886"/>
                  <a:gd name="connsiteX4" fmla="*/ 1504851 w 2625754"/>
                  <a:gd name="connsiteY4" fmla="*/ 704071 h 704886"/>
                  <a:gd name="connsiteX5" fmla="*/ 733063 w 2625754"/>
                  <a:gd name="connsiteY5" fmla="*/ 413208 h 704886"/>
                  <a:gd name="connsiteX6" fmla="*/ 0 w 2625754"/>
                  <a:gd name="connsiteY6" fmla="*/ 704675 h 704886"/>
                  <a:gd name="connsiteX7" fmla="*/ 0 w 2625754"/>
                  <a:gd name="connsiteY7" fmla="*/ 453005 h 704886"/>
                  <a:gd name="connsiteX0" fmla="*/ 0 w 1839244"/>
                  <a:gd name="connsiteY0" fmla="*/ 453005 h 704886"/>
                  <a:gd name="connsiteX1" fmla="*/ 755009 w 1839244"/>
                  <a:gd name="connsiteY1" fmla="*/ 0 h 704886"/>
                  <a:gd name="connsiteX2" fmla="*/ 1805243 w 1839244"/>
                  <a:gd name="connsiteY2" fmla="*/ 379317 h 704886"/>
                  <a:gd name="connsiteX3" fmla="*/ 1504851 w 1839244"/>
                  <a:gd name="connsiteY3" fmla="*/ 704071 h 704886"/>
                  <a:gd name="connsiteX4" fmla="*/ 733063 w 1839244"/>
                  <a:gd name="connsiteY4" fmla="*/ 413208 h 704886"/>
                  <a:gd name="connsiteX5" fmla="*/ 0 w 1839244"/>
                  <a:gd name="connsiteY5" fmla="*/ 704675 h 704886"/>
                  <a:gd name="connsiteX6" fmla="*/ 0 w 1839244"/>
                  <a:gd name="connsiteY6" fmla="*/ 453005 h 704886"/>
                  <a:gd name="connsiteX0" fmla="*/ 0 w 1830805"/>
                  <a:gd name="connsiteY0" fmla="*/ 453005 h 704886"/>
                  <a:gd name="connsiteX1" fmla="*/ 755009 w 1830805"/>
                  <a:gd name="connsiteY1" fmla="*/ 0 h 704886"/>
                  <a:gd name="connsiteX2" fmla="*/ 1805243 w 1830805"/>
                  <a:gd name="connsiteY2" fmla="*/ 379317 h 704886"/>
                  <a:gd name="connsiteX3" fmla="*/ 1504851 w 1830805"/>
                  <a:gd name="connsiteY3" fmla="*/ 704071 h 704886"/>
                  <a:gd name="connsiteX4" fmla="*/ 733063 w 1830805"/>
                  <a:gd name="connsiteY4" fmla="*/ 413208 h 704886"/>
                  <a:gd name="connsiteX5" fmla="*/ 0 w 1830805"/>
                  <a:gd name="connsiteY5" fmla="*/ 704675 h 704886"/>
                  <a:gd name="connsiteX6" fmla="*/ 0 w 1830805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379317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379317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401263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3"/>
                  <a:gd name="connsiteY0" fmla="*/ 453005 h 704886"/>
                  <a:gd name="connsiteX1" fmla="*/ 755009 w 1805243"/>
                  <a:gd name="connsiteY1" fmla="*/ 0 h 704886"/>
                  <a:gd name="connsiteX2" fmla="*/ 1805243 w 1805243"/>
                  <a:gd name="connsiteY2" fmla="*/ 401263 h 704886"/>
                  <a:gd name="connsiteX3" fmla="*/ 1504851 w 1805243"/>
                  <a:gd name="connsiteY3" fmla="*/ 704071 h 704886"/>
                  <a:gd name="connsiteX4" fmla="*/ 733063 w 1805243"/>
                  <a:gd name="connsiteY4" fmla="*/ 413208 h 704886"/>
                  <a:gd name="connsiteX5" fmla="*/ 0 w 1805243"/>
                  <a:gd name="connsiteY5" fmla="*/ 704675 h 704886"/>
                  <a:gd name="connsiteX6" fmla="*/ 0 w 1805243"/>
                  <a:gd name="connsiteY6" fmla="*/ 453005 h 704886"/>
                  <a:gd name="connsiteX0" fmla="*/ 0 w 1805244"/>
                  <a:gd name="connsiteY0" fmla="*/ 453016 h 704897"/>
                  <a:gd name="connsiteX1" fmla="*/ 755009 w 1805244"/>
                  <a:gd name="connsiteY1" fmla="*/ 11 h 704897"/>
                  <a:gd name="connsiteX2" fmla="*/ 1508274 w 1805244"/>
                  <a:gd name="connsiteY2" fmla="*/ 438787 h 704897"/>
                  <a:gd name="connsiteX3" fmla="*/ 1805243 w 1805244"/>
                  <a:gd name="connsiteY3" fmla="*/ 401274 h 704897"/>
                  <a:gd name="connsiteX4" fmla="*/ 1504851 w 1805244"/>
                  <a:gd name="connsiteY4" fmla="*/ 704082 h 704897"/>
                  <a:gd name="connsiteX5" fmla="*/ 733063 w 1805244"/>
                  <a:gd name="connsiteY5" fmla="*/ 413219 h 704897"/>
                  <a:gd name="connsiteX6" fmla="*/ 0 w 1805244"/>
                  <a:gd name="connsiteY6" fmla="*/ 704686 h 704897"/>
                  <a:gd name="connsiteX7" fmla="*/ 0 w 1805244"/>
                  <a:gd name="connsiteY7" fmla="*/ 453016 h 704897"/>
                  <a:gd name="connsiteX0" fmla="*/ 0 w 1805244"/>
                  <a:gd name="connsiteY0" fmla="*/ 453016 h 726953"/>
                  <a:gd name="connsiteX1" fmla="*/ 755009 w 1805244"/>
                  <a:gd name="connsiteY1" fmla="*/ 11 h 726953"/>
                  <a:gd name="connsiteX2" fmla="*/ 1508274 w 1805244"/>
                  <a:gd name="connsiteY2" fmla="*/ 438787 h 726953"/>
                  <a:gd name="connsiteX3" fmla="*/ 1805243 w 1805244"/>
                  <a:gd name="connsiteY3" fmla="*/ 401274 h 726953"/>
                  <a:gd name="connsiteX4" fmla="*/ 1504851 w 1805244"/>
                  <a:gd name="connsiteY4" fmla="*/ 704082 h 726953"/>
                  <a:gd name="connsiteX5" fmla="*/ 1259556 w 1805244"/>
                  <a:gd name="connsiteY5" fmla="*/ 672874 h 726953"/>
                  <a:gd name="connsiteX6" fmla="*/ 733063 w 1805244"/>
                  <a:gd name="connsiteY6" fmla="*/ 413219 h 726953"/>
                  <a:gd name="connsiteX7" fmla="*/ 0 w 1805244"/>
                  <a:gd name="connsiteY7" fmla="*/ 704686 h 726953"/>
                  <a:gd name="connsiteX8" fmla="*/ 0 w 1805244"/>
                  <a:gd name="connsiteY8" fmla="*/ 453016 h 726953"/>
                  <a:gd name="connsiteX0" fmla="*/ 0 w 1805244"/>
                  <a:gd name="connsiteY0" fmla="*/ 453005 h 726942"/>
                  <a:gd name="connsiteX1" fmla="*/ 755009 w 1805244"/>
                  <a:gd name="connsiteY1" fmla="*/ 0 h 726942"/>
                  <a:gd name="connsiteX2" fmla="*/ 1508274 w 1805244"/>
                  <a:gd name="connsiteY2" fmla="*/ 438776 h 726942"/>
                  <a:gd name="connsiteX3" fmla="*/ 1805243 w 1805244"/>
                  <a:gd name="connsiteY3" fmla="*/ 401263 h 726942"/>
                  <a:gd name="connsiteX4" fmla="*/ 1504851 w 1805244"/>
                  <a:gd name="connsiteY4" fmla="*/ 704071 h 726942"/>
                  <a:gd name="connsiteX5" fmla="*/ 1259556 w 1805244"/>
                  <a:gd name="connsiteY5" fmla="*/ 672863 h 726942"/>
                  <a:gd name="connsiteX6" fmla="*/ 733063 w 1805244"/>
                  <a:gd name="connsiteY6" fmla="*/ 413208 h 726942"/>
                  <a:gd name="connsiteX7" fmla="*/ 0 w 1805244"/>
                  <a:gd name="connsiteY7" fmla="*/ 704675 h 726942"/>
                  <a:gd name="connsiteX8" fmla="*/ 0 w 1805244"/>
                  <a:gd name="connsiteY8" fmla="*/ 453005 h 726942"/>
                  <a:gd name="connsiteX0" fmla="*/ 0 w 1805244"/>
                  <a:gd name="connsiteY0" fmla="*/ 453005 h 726942"/>
                  <a:gd name="connsiteX1" fmla="*/ 755009 w 1805244"/>
                  <a:gd name="connsiteY1" fmla="*/ 0 h 726942"/>
                  <a:gd name="connsiteX2" fmla="*/ 1508274 w 1805244"/>
                  <a:gd name="connsiteY2" fmla="*/ 438776 h 726942"/>
                  <a:gd name="connsiteX3" fmla="*/ 1805243 w 1805244"/>
                  <a:gd name="connsiteY3" fmla="*/ 401263 h 726942"/>
                  <a:gd name="connsiteX4" fmla="*/ 1504851 w 1805244"/>
                  <a:gd name="connsiteY4" fmla="*/ 704071 h 726942"/>
                  <a:gd name="connsiteX5" fmla="*/ 1259556 w 1805244"/>
                  <a:gd name="connsiteY5" fmla="*/ 672863 h 726942"/>
                  <a:gd name="connsiteX6" fmla="*/ 733063 w 1805244"/>
                  <a:gd name="connsiteY6" fmla="*/ 413208 h 726942"/>
                  <a:gd name="connsiteX7" fmla="*/ 0 w 1805244"/>
                  <a:gd name="connsiteY7" fmla="*/ 704675 h 726942"/>
                  <a:gd name="connsiteX8" fmla="*/ 0 w 1805244"/>
                  <a:gd name="connsiteY8" fmla="*/ 453005 h 726942"/>
                  <a:gd name="connsiteX0" fmla="*/ 0 w 1805244"/>
                  <a:gd name="connsiteY0" fmla="*/ 453005 h 726942"/>
                  <a:gd name="connsiteX1" fmla="*/ 755009 w 1805244"/>
                  <a:gd name="connsiteY1" fmla="*/ 0 h 726942"/>
                  <a:gd name="connsiteX2" fmla="*/ 1508274 w 1805244"/>
                  <a:gd name="connsiteY2" fmla="*/ 438776 h 726942"/>
                  <a:gd name="connsiteX3" fmla="*/ 1805243 w 1805244"/>
                  <a:gd name="connsiteY3" fmla="*/ 401263 h 726942"/>
                  <a:gd name="connsiteX4" fmla="*/ 1504851 w 1805244"/>
                  <a:gd name="connsiteY4" fmla="*/ 704071 h 726942"/>
                  <a:gd name="connsiteX5" fmla="*/ 1259556 w 1805244"/>
                  <a:gd name="connsiteY5" fmla="*/ 672863 h 726942"/>
                  <a:gd name="connsiteX6" fmla="*/ 733063 w 1805244"/>
                  <a:gd name="connsiteY6" fmla="*/ 413208 h 726942"/>
                  <a:gd name="connsiteX7" fmla="*/ 0 w 1805244"/>
                  <a:gd name="connsiteY7" fmla="*/ 704675 h 726942"/>
                  <a:gd name="connsiteX8" fmla="*/ 0 w 1805244"/>
                  <a:gd name="connsiteY8" fmla="*/ 453005 h 726942"/>
                  <a:gd name="connsiteX0" fmla="*/ 0 w 1805244"/>
                  <a:gd name="connsiteY0" fmla="*/ 453005 h 726942"/>
                  <a:gd name="connsiteX1" fmla="*/ 755009 w 1805244"/>
                  <a:gd name="connsiteY1" fmla="*/ 0 h 726942"/>
                  <a:gd name="connsiteX2" fmla="*/ 1508274 w 1805244"/>
                  <a:gd name="connsiteY2" fmla="*/ 438776 h 726942"/>
                  <a:gd name="connsiteX3" fmla="*/ 1805243 w 1805244"/>
                  <a:gd name="connsiteY3" fmla="*/ 401263 h 726942"/>
                  <a:gd name="connsiteX4" fmla="*/ 1504851 w 1805244"/>
                  <a:gd name="connsiteY4" fmla="*/ 704071 h 726942"/>
                  <a:gd name="connsiteX5" fmla="*/ 1259556 w 1805244"/>
                  <a:gd name="connsiteY5" fmla="*/ 672863 h 726942"/>
                  <a:gd name="connsiteX6" fmla="*/ 733063 w 1805244"/>
                  <a:gd name="connsiteY6" fmla="*/ 413208 h 726942"/>
                  <a:gd name="connsiteX7" fmla="*/ 0 w 1805244"/>
                  <a:gd name="connsiteY7" fmla="*/ 704675 h 726942"/>
                  <a:gd name="connsiteX8" fmla="*/ 0 w 1805244"/>
                  <a:gd name="connsiteY8" fmla="*/ 453005 h 726942"/>
                  <a:gd name="connsiteX0" fmla="*/ 0 w 1805244"/>
                  <a:gd name="connsiteY0" fmla="*/ 453005 h 704675"/>
                  <a:gd name="connsiteX1" fmla="*/ 755009 w 1805244"/>
                  <a:gd name="connsiteY1" fmla="*/ 0 h 704675"/>
                  <a:gd name="connsiteX2" fmla="*/ 1508274 w 1805244"/>
                  <a:gd name="connsiteY2" fmla="*/ 438776 h 704675"/>
                  <a:gd name="connsiteX3" fmla="*/ 1805243 w 1805244"/>
                  <a:gd name="connsiteY3" fmla="*/ 401263 h 704675"/>
                  <a:gd name="connsiteX4" fmla="*/ 1259556 w 1805244"/>
                  <a:gd name="connsiteY4" fmla="*/ 672863 h 704675"/>
                  <a:gd name="connsiteX5" fmla="*/ 733063 w 1805244"/>
                  <a:gd name="connsiteY5" fmla="*/ 413208 h 704675"/>
                  <a:gd name="connsiteX6" fmla="*/ 0 w 1805244"/>
                  <a:gd name="connsiteY6" fmla="*/ 704675 h 704675"/>
                  <a:gd name="connsiteX7" fmla="*/ 0 w 1805244"/>
                  <a:gd name="connsiteY7" fmla="*/ 453005 h 704675"/>
                  <a:gd name="connsiteX0" fmla="*/ 0 w 1528031"/>
                  <a:gd name="connsiteY0" fmla="*/ 453005 h 704675"/>
                  <a:gd name="connsiteX1" fmla="*/ 755009 w 1528031"/>
                  <a:gd name="connsiteY1" fmla="*/ 0 h 704675"/>
                  <a:gd name="connsiteX2" fmla="*/ 1508274 w 1528031"/>
                  <a:gd name="connsiteY2" fmla="*/ 438776 h 704675"/>
                  <a:gd name="connsiteX3" fmla="*/ 1259556 w 1528031"/>
                  <a:gd name="connsiteY3" fmla="*/ 672863 h 704675"/>
                  <a:gd name="connsiteX4" fmla="*/ 733063 w 1528031"/>
                  <a:gd name="connsiteY4" fmla="*/ 413208 h 704675"/>
                  <a:gd name="connsiteX5" fmla="*/ 0 w 1528031"/>
                  <a:gd name="connsiteY5" fmla="*/ 704675 h 704675"/>
                  <a:gd name="connsiteX6" fmla="*/ 0 w 1528031"/>
                  <a:gd name="connsiteY6" fmla="*/ 453005 h 704675"/>
                  <a:gd name="connsiteX0" fmla="*/ 0 w 1508274"/>
                  <a:gd name="connsiteY0" fmla="*/ 453005 h 704675"/>
                  <a:gd name="connsiteX1" fmla="*/ 755009 w 1508274"/>
                  <a:gd name="connsiteY1" fmla="*/ 0 h 704675"/>
                  <a:gd name="connsiteX2" fmla="*/ 1508274 w 1508274"/>
                  <a:gd name="connsiteY2" fmla="*/ 438776 h 704675"/>
                  <a:gd name="connsiteX3" fmla="*/ 1259556 w 1508274"/>
                  <a:gd name="connsiteY3" fmla="*/ 672863 h 704675"/>
                  <a:gd name="connsiteX4" fmla="*/ 733063 w 1508274"/>
                  <a:gd name="connsiteY4" fmla="*/ 413208 h 704675"/>
                  <a:gd name="connsiteX5" fmla="*/ 0 w 1508274"/>
                  <a:gd name="connsiteY5" fmla="*/ 704675 h 704675"/>
                  <a:gd name="connsiteX6" fmla="*/ 0 w 1508274"/>
                  <a:gd name="connsiteY6" fmla="*/ 453005 h 704675"/>
                  <a:gd name="connsiteX0" fmla="*/ 0 w 1508274"/>
                  <a:gd name="connsiteY0" fmla="*/ 453005 h 704675"/>
                  <a:gd name="connsiteX1" fmla="*/ 755009 w 1508274"/>
                  <a:gd name="connsiteY1" fmla="*/ 0 h 704675"/>
                  <a:gd name="connsiteX2" fmla="*/ 1508274 w 1508274"/>
                  <a:gd name="connsiteY2" fmla="*/ 438776 h 704675"/>
                  <a:gd name="connsiteX3" fmla="*/ 1259556 w 1508274"/>
                  <a:gd name="connsiteY3" fmla="*/ 672863 h 704675"/>
                  <a:gd name="connsiteX4" fmla="*/ 733063 w 1508274"/>
                  <a:gd name="connsiteY4" fmla="*/ 413208 h 704675"/>
                  <a:gd name="connsiteX5" fmla="*/ 0 w 1508274"/>
                  <a:gd name="connsiteY5" fmla="*/ 704675 h 704675"/>
                  <a:gd name="connsiteX6" fmla="*/ 0 w 1508274"/>
                  <a:gd name="connsiteY6" fmla="*/ 453005 h 704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08274" h="704675">
                    <a:moveTo>
                      <a:pt x="0" y="453005"/>
                    </a:moveTo>
                    <a:cubicBezTo>
                      <a:pt x="394282" y="377504"/>
                      <a:pt x="528506" y="276837"/>
                      <a:pt x="755009" y="0"/>
                    </a:cubicBezTo>
                    <a:cubicBezTo>
                      <a:pt x="955182" y="341443"/>
                      <a:pt x="1179615" y="430421"/>
                      <a:pt x="1508274" y="438776"/>
                    </a:cubicBezTo>
                    <a:cubicBezTo>
                      <a:pt x="1409485" y="565550"/>
                      <a:pt x="1381442" y="603972"/>
                      <a:pt x="1259556" y="672863"/>
                    </a:cubicBezTo>
                    <a:cubicBezTo>
                      <a:pt x="1079719" y="639017"/>
                      <a:pt x="942989" y="590786"/>
                      <a:pt x="733063" y="413208"/>
                    </a:cubicBezTo>
                    <a:cubicBezTo>
                      <a:pt x="488709" y="615214"/>
                      <a:pt x="332136" y="692863"/>
                      <a:pt x="0" y="704675"/>
                    </a:cubicBezTo>
                    <a:lnTo>
                      <a:pt x="0" y="453005"/>
                    </a:lnTo>
                    <a:close/>
                  </a:path>
                </a:pathLst>
              </a:custGeom>
              <a:solidFill>
                <a:srgbClr val="92C8BF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1400" b="0" smtClean="0">
                  <a:latin typeface="+mn-ea"/>
                </a:endParaRPr>
              </a:p>
            </p:txBody>
          </p:sp>
        </p:grpSp>
      </p:grpSp>
      <p:sp>
        <p:nvSpPr>
          <p:cNvPr id="31" name="직사각형 30"/>
          <p:cNvSpPr/>
          <p:nvPr/>
        </p:nvSpPr>
        <p:spPr>
          <a:xfrm>
            <a:off x="445695" y="883592"/>
            <a:ext cx="610898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lang="en-US" altLang="ko-KR" sz="1400" b="1" i="1" dirty="0" smtClean="0">
                <a:solidFill>
                  <a:srgbClr val="2C624D"/>
                </a:solidFill>
                <a:latin typeface="맑은 고딕" pitchFamily="50" charset="-127"/>
              </a:rPr>
              <a:t>Pakistan</a:t>
            </a:r>
            <a:r>
              <a:rPr lang="ko-KR" altLang="en-US" sz="1400" b="1" i="1" dirty="0" smtClean="0">
                <a:solidFill>
                  <a:srgbClr val="2C624D"/>
                </a:solidFill>
                <a:latin typeface="맑은 고딕" pitchFamily="50" charset="-127"/>
              </a:rPr>
              <a:t> </a:t>
            </a:r>
            <a:r>
              <a:rPr lang="en-US" altLang="ko-KR" sz="1400" b="1" i="1" dirty="0">
                <a:solidFill>
                  <a:srgbClr val="2C624D"/>
                </a:solidFill>
                <a:latin typeface="맑은 고딕" pitchFamily="50" charset="-127"/>
              </a:rPr>
              <a:t>500MW </a:t>
            </a:r>
            <a:r>
              <a:rPr lang="en-US" altLang="ko-KR" sz="1400" b="1" i="1" dirty="0" smtClean="0">
                <a:solidFill>
                  <a:srgbClr val="2C624D"/>
                </a:solidFill>
                <a:latin typeface="맑은 고딕" pitchFamily="50" charset="-127"/>
              </a:rPr>
              <a:t>Hydropower</a:t>
            </a:r>
            <a:r>
              <a:rPr lang="ko-KR" altLang="en-US" sz="1400" b="1" i="1" dirty="0" smtClean="0">
                <a:solidFill>
                  <a:srgbClr val="2C624D"/>
                </a:solidFill>
                <a:latin typeface="맑은 고딕" pitchFamily="50" charset="-127"/>
              </a:rPr>
              <a:t> </a:t>
            </a:r>
            <a:r>
              <a:rPr lang="en-US" altLang="ko-KR" sz="1400" b="1" i="1" dirty="0" smtClean="0">
                <a:solidFill>
                  <a:srgbClr val="2C624D"/>
                </a:solidFill>
                <a:latin typeface="맑은 고딕" pitchFamily="50" charset="-127"/>
              </a:rPr>
              <a:t>Project</a:t>
            </a:r>
            <a:r>
              <a:rPr lang="en-US" altLang="ko-KR" sz="1200" i="1" dirty="0" smtClean="0">
                <a:solidFill>
                  <a:srgbClr val="2C624D"/>
                </a:solidFill>
                <a:latin typeface="맑은 고딕" pitchFamily="50" charset="-127"/>
              </a:rPr>
              <a:t>– Investor’s</a:t>
            </a:r>
            <a:r>
              <a:rPr lang="ko-KR" altLang="en-US" sz="1200" i="1" dirty="0" smtClean="0">
                <a:solidFill>
                  <a:srgbClr val="2C624D"/>
                </a:solidFill>
                <a:latin typeface="맑은 고딕" pitchFamily="50" charset="-127"/>
              </a:rPr>
              <a:t> </a:t>
            </a:r>
            <a:r>
              <a:rPr lang="en-US" altLang="ko-KR" sz="1200" i="1" dirty="0" smtClean="0">
                <a:solidFill>
                  <a:srgbClr val="2C624D"/>
                </a:solidFill>
                <a:latin typeface="맑은 고딕" pitchFamily="50" charset="-127"/>
              </a:rPr>
              <a:t>Cash Flow (Except Loan)</a:t>
            </a:r>
            <a:endParaRPr lang="ko-KR" altLang="en-US" sz="1400" i="1" dirty="0">
              <a:solidFill>
                <a:srgbClr val="2C624D"/>
              </a:solidFill>
              <a:latin typeface="맑은 고딕" pitchFamily="50" charset="-127"/>
            </a:endParaRPr>
          </a:p>
        </p:txBody>
      </p:sp>
      <p:sp>
        <p:nvSpPr>
          <p:cNvPr id="120" name="직사각형 119"/>
          <p:cNvSpPr/>
          <p:nvPr/>
        </p:nvSpPr>
        <p:spPr>
          <a:xfrm>
            <a:off x="6862750" y="5008237"/>
            <a:ext cx="23174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altLang="ko-KR" sz="900" i="1" dirty="0" smtClean="0"/>
              <a:t>※ </a:t>
            </a:r>
            <a:r>
              <a:rPr lang="ko-KR" altLang="en-US" sz="900" i="1"/>
              <a:t>LF </a:t>
            </a:r>
            <a:r>
              <a:rPr lang="en-US" altLang="ko-KR" sz="900" i="1" dirty="0" smtClean="0"/>
              <a:t>Sonata</a:t>
            </a:r>
            <a:r>
              <a:rPr lang="ko-KR" altLang="en-US" sz="900" i="1" smtClean="0"/>
              <a:t> : </a:t>
            </a:r>
            <a:r>
              <a:rPr lang="ko-KR" altLang="en-US" sz="900" i="1" dirty="0" smtClean="0"/>
              <a:t>25 </a:t>
            </a:r>
            <a:r>
              <a:rPr lang="en-US" altLang="ko-KR" sz="900" i="1" dirty="0" smtClean="0"/>
              <a:t>thousand USD/EA</a:t>
            </a:r>
          </a:p>
          <a:p>
            <a:pPr algn="r"/>
            <a:r>
              <a:rPr lang="en-US" altLang="ko-KR" sz="900" i="1" dirty="0" err="1" smtClean="0"/>
              <a:t>G</a:t>
            </a:r>
            <a:r>
              <a:rPr lang="en-US" altLang="ko-KR" sz="900" i="1" cap="small" dirty="0" err="1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allaxy</a:t>
            </a:r>
            <a:r>
              <a:rPr lang="ko-KR" altLang="en-US" sz="900" i="1" smtClean="0"/>
              <a:t> </a:t>
            </a:r>
            <a:r>
              <a:rPr lang="ko-KR" altLang="en-US" sz="900" i="1"/>
              <a:t>S8 </a:t>
            </a:r>
            <a:r>
              <a:rPr lang="ko-KR" altLang="en-US" sz="900" i="1" smtClean="0"/>
              <a:t>: </a:t>
            </a:r>
            <a:r>
              <a:rPr lang="ko-KR" altLang="en-US" sz="900" i="1" dirty="0" smtClean="0"/>
              <a:t>1 </a:t>
            </a:r>
            <a:r>
              <a:rPr lang="en-US" altLang="ko-KR" sz="900" i="1" dirty="0" smtClean="0"/>
              <a:t>thousand USD/EA</a:t>
            </a:r>
            <a:endParaRPr lang="ko-KR" altLang="en-US" sz="900" i="1" dirty="0"/>
          </a:p>
        </p:txBody>
      </p:sp>
      <p:sp>
        <p:nvSpPr>
          <p:cNvPr id="75" name="직사각형 74"/>
          <p:cNvSpPr/>
          <p:nvPr/>
        </p:nvSpPr>
        <p:spPr>
          <a:xfrm>
            <a:off x="3978861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/>
              <a:t>70</a:t>
            </a:r>
            <a:endParaRPr lang="ko-KR" altLang="en-US" sz="800" b="1" dirty="0"/>
          </a:p>
        </p:txBody>
      </p:sp>
      <p:sp>
        <p:nvSpPr>
          <p:cNvPr id="76" name="직사각형 75"/>
          <p:cNvSpPr/>
          <p:nvPr/>
        </p:nvSpPr>
        <p:spPr>
          <a:xfrm>
            <a:off x="4294195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/>
              <a:t>70</a:t>
            </a:r>
            <a:endParaRPr lang="ko-KR" altLang="en-US" sz="800" b="1" dirty="0"/>
          </a:p>
        </p:txBody>
      </p:sp>
      <p:sp>
        <p:nvSpPr>
          <p:cNvPr id="77" name="직사각형 76"/>
          <p:cNvSpPr/>
          <p:nvPr/>
        </p:nvSpPr>
        <p:spPr>
          <a:xfrm>
            <a:off x="4636402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/>
              <a:t>70</a:t>
            </a:r>
            <a:endParaRPr lang="ko-KR" altLang="en-US" sz="800" b="1" dirty="0"/>
          </a:p>
        </p:txBody>
      </p:sp>
      <p:sp>
        <p:nvSpPr>
          <p:cNvPr id="78" name="직사각형 77"/>
          <p:cNvSpPr/>
          <p:nvPr/>
        </p:nvSpPr>
        <p:spPr>
          <a:xfrm>
            <a:off x="4955022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/>
              <a:t>70</a:t>
            </a:r>
            <a:endParaRPr lang="ko-KR" altLang="en-US" sz="800" b="1" dirty="0"/>
          </a:p>
        </p:txBody>
      </p:sp>
      <p:sp>
        <p:nvSpPr>
          <p:cNvPr id="80" name="직사각형 79"/>
          <p:cNvSpPr/>
          <p:nvPr/>
        </p:nvSpPr>
        <p:spPr>
          <a:xfrm>
            <a:off x="5602966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70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5936910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70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82" name="직사각형 81"/>
          <p:cNvSpPr/>
          <p:nvPr/>
        </p:nvSpPr>
        <p:spPr>
          <a:xfrm>
            <a:off x="6248442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70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83" name="직사각형 82"/>
          <p:cNvSpPr/>
          <p:nvPr/>
        </p:nvSpPr>
        <p:spPr>
          <a:xfrm>
            <a:off x="6584143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70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6919572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70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85" name="직사각형 84"/>
          <p:cNvSpPr/>
          <p:nvPr/>
        </p:nvSpPr>
        <p:spPr>
          <a:xfrm>
            <a:off x="7231911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70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86" name="직사각형 85"/>
          <p:cNvSpPr/>
          <p:nvPr/>
        </p:nvSpPr>
        <p:spPr>
          <a:xfrm>
            <a:off x="7574946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70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87" name="직사각형 86"/>
          <p:cNvSpPr/>
          <p:nvPr/>
        </p:nvSpPr>
        <p:spPr>
          <a:xfrm>
            <a:off x="7910152" y="2001305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72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88" name="직사각형 87"/>
          <p:cNvSpPr/>
          <p:nvPr/>
        </p:nvSpPr>
        <p:spPr>
          <a:xfrm>
            <a:off x="8223205" y="2001305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72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90" name="직사각형 89"/>
          <p:cNvSpPr/>
          <p:nvPr/>
        </p:nvSpPr>
        <p:spPr>
          <a:xfrm>
            <a:off x="8558732" y="2001305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72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91" name="직사각형 90"/>
          <p:cNvSpPr/>
          <p:nvPr/>
        </p:nvSpPr>
        <p:spPr>
          <a:xfrm>
            <a:off x="8890250" y="2001305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72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92" name="직사각형 91"/>
          <p:cNvSpPr/>
          <p:nvPr/>
        </p:nvSpPr>
        <p:spPr bwMode="auto">
          <a:xfrm>
            <a:off x="5379425" y="2080388"/>
            <a:ext cx="161421" cy="1365918"/>
          </a:xfrm>
          <a:prstGeom prst="rect">
            <a:avLst/>
          </a:prstGeom>
          <a:solidFill>
            <a:srgbClr val="3B756B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06" name="직사각형 105"/>
          <p:cNvSpPr/>
          <p:nvPr/>
        </p:nvSpPr>
        <p:spPr bwMode="auto">
          <a:xfrm>
            <a:off x="5314257" y="2080388"/>
            <a:ext cx="69171" cy="1365918"/>
          </a:xfrm>
          <a:prstGeom prst="rect">
            <a:avLst/>
          </a:prstGeom>
          <a:solidFill>
            <a:srgbClr val="AED6CF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1" name="모서리가 둥근 직사각형 110"/>
          <p:cNvSpPr/>
          <p:nvPr/>
        </p:nvSpPr>
        <p:spPr bwMode="auto">
          <a:xfrm>
            <a:off x="3961569" y="2022164"/>
            <a:ext cx="1409953" cy="1486531"/>
          </a:xfrm>
          <a:prstGeom prst="roundRect">
            <a:avLst>
              <a:gd name="adj" fmla="val 2501"/>
            </a:avLst>
          </a:prstGeom>
          <a:noFill/>
          <a:ln w="15875">
            <a:solidFill>
              <a:srgbClr val="FF0000"/>
            </a:solidFill>
            <a:prstDash val="sysDash"/>
            <a:miter lim="800000"/>
            <a:headEnd/>
            <a:tailEnd/>
          </a:ln>
          <a:effectLst/>
          <a:extLst/>
        </p:spPr>
        <p:txBody>
          <a:bodyPr lIns="36000" tIns="108000" rIns="36000" bIns="36000" rtlCol="0" anchor="t"/>
          <a:lstStyle/>
          <a:p>
            <a:pPr latinLnBrk="0">
              <a:spcBef>
                <a:spcPct val="50000"/>
              </a:spcBef>
            </a:pPr>
            <a:r>
              <a:rPr lang="ko-KR" altLang="en-US" sz="1400" b="1" dirty="0" smtClean="0"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12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112" name="직사각형 111"/>
          <p:cNvSpPr/>
          <p:nvPr/>
        </p:nvSpPr>
        <p:spPr>
          <a:xfrm>
            <a:off x="5266550" y="2072978"/>
            <a:ext cx="30328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/>
              <a:t>70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497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0" y="57089"/>
            <a:ext cx="4221458" cy="318924"/>
          </a:xfrm>
        </p:spPr>
        <p:txBody>
          <a:bodyPr/>
          <a:lstStyle/>
          <a:p>
            <a:r>
              <a:rPr lang="en-US" altLang="ko-KR" dirty="0" smtClean="0"/>
              <a:t>Turkey </a:t>
            </a:r>
            <a:r>
              <a:rPr lang="en-US" altLang="ko-KR" dirty="0" err="1"/>
              <a:t>C</a:t>
            </a:r>
            <a:r>
              <a:rPr lang="en-US" altLang="ko-KR" dirty="0" err="1" smtClean="0"/>
              <a:t>anakkale</a:t>
            </a:r>
            <a:r>
              <a:rPr lang="ko-KR" altLang="en-US" dirty="0" smtClean="0"/>
              <a:t> </a:t>
            </a:r>
            <a:r>
              <a:rPr lang="en-US" altLang="ko-KR" dirty="0" smtClean="0"/>
              <a:t>Bridge Project : Outline</a:t>
            </a:r>
            <a:endParaRPr lang="ko-KR" alt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1065403"/>
            <a:ext cx="9217024" cy="518422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</p:pic>
      <p:cxnSp>
        <p:nvCxnSpPr>
          <p:cNvPr id="5" name="직선 연결선 4"/>
          <p:cNvCxnSpPr/>
          <p:nvPr/>
        </p:nvCxnSpPr>
        <p:spPr>
          <a:xfrm flipH="1">
            <a:off x="560512" y="1599218"/>
            <a:ext cx="4248468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  <a:effectLst>
            <a:glow rad="63500">
              <a:schemeClr val="accent5">
                <a:lumMod val="20000"/>
                <a:lumOff val="80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직선 연결선 5"/>
          <p:cNvCxnSpPr/>
          <p:nvPr/>
        </p:nvCxnSpPr>
        <p:spPr>
          <a:xfrm flipH="1">
            <a:off x="560512" y="5126310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  <a:effectLst>
            <a:glow rad="63500">
              <a:schemeClr val="accent5">
                <a:lumMod val="20000"/>
                <a:lumOff val="80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연결선 6"/>
          <p:cNvCxnSpPr/>
          <p:nvPr/>
        </p:nvCxnSpPr>
        <p:spPr>
          <a:xfrm flipH="1">
            <a:off x="560512" y="5363036"/>
            <a:ext cx="2106488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  <a:effectLst>
            <a:glow rad="63500">
              <a:schemeClr val="accent5">
                <a:lumMod val="20000"/>
                <a:lumOff val="80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직선 연결선 7"/>
          <p:cNvCxnSpPr/>
          <p:nvPr/>
        </p:nvCxnSpPr>
        <p:spPr>
          <a:xfrm flipH="1">
            <a:off x="560512" y="6019103"/>
            <a:ext cx="180020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  <a:effectLst>
            <a:glow rad="63500">
              <a:schemeClr val="accent5">
                <a:lumMod val="20000"/>
                <a:lumOff val="80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왼쪽/오른쪽 화살표 8"/>
          <p:cNvSpPr/>
          <p:nvPr/>
        </p:nvSpPr>
        <p:spPr bwMode="auto">
          <a:xfrm rot="16200000">
            <a:off x="-773021" y="3072799"/>
            <a:ext cx="3527092" cy="579930"/>
          </a:xfrm>
          <a:prstGeom prst="leftRightArrow">
            <a:avLst/>
          </a:prstGeom>
          <a:solidFill>
            <a:schemeClr val="accent5">
              <a:lumMod val="60000"/>
              <a:lumOff val="40000"/>
              <a:alpha val="80000"/>
            </a:schemeClr>
          </a:solidFill>
          <a:ln w="6350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/>
            <a:endParaRPr lang="ko-KR" altLang="en-US" sz="1000" dirty="0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  <a:ea typeface="+mj-ea"/>
            </a:endParaRPr>
          </a:p>
        </p:txBody>
      </p:sp>
      <p:sp>
        <p:nvSpPr>
          <p:cNvPr id="10" name="왼쪽/오른쪽 화살표 9"/>
          <p:cNvSpPr/>
          <p:nvPr/>
        </p:nvSpPr>
        <p:spPr bwMode="auto">
          <a:xfrm rot="16200000">
            <a:off x="872161" y="4954707"/>
            <a:ext cx="236727" cy="579934"/>
          </a:xfrm>
          <a:prstGeom prst="leftRightArrow">
            <a:avLst>
              <a:gd name="adj1" fmla="val 50000"/>
              <a:gd name="adj2" fmla="val 38936"/>
            </a:avLst>
          </a:prstGeom>
          <a:solidFill>
            <a:srgbClr val="FF0000">
              <a:alpha val="60000"/>
            </a:srgbClr>
          </a:solidFill>
          <a:ln w="6350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/>
            <a:endParaRPr lang="ko-KR" altLang="en-US" sz="1000" dirty="0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  <a:ea typeface="+mj-ea"/>
            </a:endParaRPr>
          </a:p>
        </p:txBody>
      </p:sp>
      <p:sp>
        <p:nvSpPr>
          <p:cNvPr id="11" name="왼쪽/오른쪽 화살표 10"/>
          <p:cNvSpPr/>
          <p:nvPr/>
        </p:nvSpPr>
        <p:spPr bwMode="auto">
          <a:xfrm rot="16200000">
            <a:off x="662492" y="5401105"/>
            <a:ext cx="656066" cy="579934"/>
          </a:xfrm>
          <a:prstGeom prst="leftRightArrow">
            <a:avLst>
              <a:gd name="adj1" fmla="val 50001"/>
              <a:gd name="adj2" fmla="val 32578"/>
            </a:avLst>
          </a:prstGeom>
          <a:solidFill>
            <a:schemeClr val="accent5">
              <a:lumMod val="60000"/>
              <a:lumOff val="40000"/>
              <a:alpha val="80000"/>
            </a:schemeClr>
          </a:solidFill>
          <a:ln w="6350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/>
            <a:endParaRPr lang="ko-KR" altLang="en-US" sz="1000" spc="-100" dirty="0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  <a:ea typeface="+mj-ea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60069" y="1412776"/>
            <a:ext cx="1232631" cy="215444"/>
          </a:xfrm>
          <a:prstGeom prst="rect">
            <a:avLst/>
          </a:prstGeom>
          <a:noFill/>
          <a:effectLst>
            <a:glow rad="101600">
              <a:srgbClr val="C00000">
                <a:alpha val="60000"/>
              </a:srgb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800" b="1" dirty="0">
                <a:solidFill>
                  <a:schemeClr val="bg1"/>
                </a:solidFill>
                <a:effectLst>
                  <a:glow rad="63500">
                    <a:srgbClr val="FF0000">
                      <a:alpha val="40000"/>
                    </a:srgbClr>
                  </a:glow>
                </a:effectLst>
                <a:latin typeface="Calibri" pitchFamily="34" charset="0"/>
                <a:ea typeface="+mn-ea"/>
                <a:cs typeface="Tahoma" pitchFamily="34" charset="0"/>
              </a:rPr>
              <a:t>KM105+500.000 </a:t>
            </a:r>
            <a:endParaRPr lang="ko-KR" altLang="en-US" sz="800" b="1" dirty="0" smtClean="0">
              <a:solidFill>
                <a:schemeClr val="bg1"/>
              </a:solidFill>
              <a:effectLst>
                <a:glow rad="63500">
                  <a:srgbClr val="FF0000">
                    <a:alpha val="40000"/>
                  </a:srgb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60069" y="4939417"/>
            <a:ext cx="1232631" cy="215444"/>
          </a:xfrm>
          <a:prstGeom prst="rect">
            <a:avLst/>
          </a:prstGeom>
          <a:noFill/>
          <a:effectLst>
            <a:glow rad="101600">
              <a:srgbClr val="FF0000">
                <a:alpha val="60000"/>
              </a:srgb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800" b="1" dirty="0" smtClean="0">
                <a:solidFill>
                  <a:schemeClr val="bg1"/>
                </a:solidFill>
                <a:effectLst>
                  <a:glow rad="63500">
                    <a:srgbClr val="FF0000">
                      <a:alpha val="40000"/>
                    </a:srgbClr>
                  </a:glow>
                </a:effectLst>
                <a:latin typeface="Calibri" pitchFamily="34" charset="0"/>
                <a:ea typeface="+mn-ea"/>
                <a:cs typeface="Tahoma" pitchFamily="34" charset="0"/>
              </a:rPr>
              <a:t>KM180+397.204 </a:t>
            </a:r>
            <a:endParaRPr lang="ko-KR" altLang="en-US" sz="800" b="1" dirty="0" smtClean="0">
              <a:solidFill>
                <a:schemeClr val="bg1"/>
              </a:solidFill>
              <a:effectLst>
                <a:glow rad="63500">
                  <a:srgbClr val="FF0000">
                    <a:alpha val="40000"/>
                  </a:srgb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60069" y="5176143"/>
            <a:ext cx="1232631" cy="215444"/>
          </a:xfrm>
          <a:prstGeom prst="rect">
            <a:avLst/>
          </a:prstGeom>
          <a:noFill/>
          <a:effectLst>
            <a:glow rad="101600">
              <a:srgbClr val="FF0000">
                <a:alpha val="60000"/>
              </a:srgb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800" b="1" dirty="0">
                <a:solidFill>
                  <a:schemeClr val="bg1"/>
                </a:solidFill>
                <a:effectLst>
                  <a:glow rad="63500">
                    <a:srgbClr val="FF0000">
                      <a:alpha val="40000"/>
                    </a:srgbClr>
                  </a:glow>
                </a:effectLst>
                <a:latin typeface="Calibri" pitchFamily="34" charset="0"/>
                <a:ea typeface="+mn-ea"/>
                <a:cs typeface="Tahoma" pitchFamily="34" charset="0"/>
              </a:rPr>
              <a:t>KM185+569.000</a:t>
            </a:r>
            <a:endParaRPr lang="ko-KR" altLang="en-US" sz="800" b="1" dirty="0" smtClean="0">
              <a:solidFill>
                <a:schemeClr val="bg1"/>
              </a:solidFill>
              <a:effectLst>
                <a:glow rad="63500">
                  <a:srgbClr val="FF0000">
                    <a:alpha val="40000"/>
                  </a:srgb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60069" y="5831835"/>
            <a:ext cx="1232631" cy="215444"/>
          </a:xfrm>
          <a:prstGeom prst="rect">
            <a:avLst/>
          </a:prstGeom>
          <a:noFill/>
          <a:effectLst>
            <a:glow rad="101600">
              <a:srgbClr val="FF0000">
                <a:alpha val="60000"/>
              </a:srgb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800" b="1" dirty="0">
                <a:solidFill>
                  <a:schemeClr val="bg1"/>
                </a:solidFill>
                <a:effectLst>
                  <a:glow rad="63500">
                    <a:srgbClr val="FF0000">
                      <a:alpha val="40000"/>
                    </a:srgbClr>
                  </a:glow>
                </a:effectLst>
                <a:latin typeface="Calibri" pitchFamily="34" charset="0"/>
                <a:ea typeface="+mn-ea"/>
                <a:cs typeface="Tahoma" pitchFamily="34" charset="0"/>
              </a:rPr>
              <a:t>KM194+769.733</a:t>
            </a:r>
            <a:endParaRPr lang="ko-KR" altLang="en-US" sz="800" b="1" dirty="0" smtClean="0">
              <a:solidFill>
                <a:schemeClr val="bg1"/>
              </a:solidFill>
              <a:effectLst>
                <a:glow rad="63500">
                  <a:srgbClr val="FF0000">
                    <a:alpha val="40000"/>
                  </a:srgb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441121" y="4269180"/>
            <a:ext cx="136815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300" b="1" dirty="0" smtClean="0">
                <a:solidFill>
                  <a:schemeClr val="bg1"/>
                </a:solidFill>
                <a:effectLst>
                  <a:glow rad="63500">
                    <a:srgbClr val="002060">
                      <a:alpha val="40000"/>
                    </a:srgbClr>
                  </a:glow>
                </a:effectLst>
                <a:latin typeface="Calibri" pitchFamily="34" charset="0"/>
                <a:ea typeface="+mn-ea"/>
                <a:cs typeface="Tahoma" pitchFamily="34" charset="0"/>
              </a:rPr>
              <a:t>Marmara Sea</a:t>
            </a:r>
            <a:endParaRPr lang="ko-KR" altLang="en-US" sz="1300" b="1" dirty="0" smtClean="0">
              <a:solidFill>
                <a:schemeClr val="bg1"/>
              </a:solidFill>
              <a:effectLst>
                <a:glow rad="63500">
                  <a:srgbClr val="002060">
                    <a:alpha val="40000"/>
                  </a:srgb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 rot="4112255">
            <a:off x="2499830" y="5901871"/>
            <a:ext cx="6840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n-ea"/>
                <a:cs typeface="Tahoma" pitchFamily="34" charset="0"/>
                <a:sym typeface="Wingdings" panose="05000000000000000000" pitchFamily="2" charset="2"/>
              </a:rPr>
              <a:t>Izmir </a:t>
            </a:r>
            <a:endParaRPr lang="ko-KR" altLang="en-US" sz="1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 rot="20387260">
            <a:off x="5617597" y="1119079"/>
            <a:ext cx="844757" cy="246221"/>
          </a:xfrm>
          <a:prstGeom prst="rect">
            <a:avLst/>
          </a:prstGeom>
          <a:noFill/>
          <a:effectLst>
            <a:glow rad="101600">
              <a:schemeClr val="accent3">
                <a:lumMod val="60000"/>
                <a:lumOff val="40000"/>
                <a:alpha val="60000"/>
              </a:scheme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smtClean="0">
                <a:solidFill>
                  <a:schemeClr val="bg1"/>
                </a:solidFill>
                <a:effectLst>
                  <a:glow rad="63500">
                    <a:schemeClr val="accent6">
                      <a:lumMod val="50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n-ea"/>
                <a:cs typeface="Tahoma" pitchFamily="34" charset="0"/>
                <a:sym typeface="Wingdings" panose="05000000000000000000" pitchFamily="2" charset="2"/>
              </a:rPr>
              <a:t>Kayseri</a:t>
            </a:r>
            <a:endParaRPr lang="ko-KR" altLang="en-US" sz="1000" b="1" dirty="0" smtClean="0">
              <a:solidFill>
                <a:schemeClr val="bg1"/>
              </a:solidFill>
              <a:effectLst>
                <a:glow rad="63500">
                  <a:schemeClr val="accent6">
                    <a:lumMod val="50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289768" y="3169043"/>
            <a:ext cx="1406154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1000" b="1" dirty="0" smtClean="0">
                <a:solidFill>
                  <a:schemeClr val="bg1"/>
                </a:solidFill>
                <a:effectLst>
                  <a:glow rad="101600">
                    <a:schemeClr val="accent5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맑은 고딕"/>
              </a:rPr>
              <a:t>TEKİRDAĞ-ÇANAKKALE</a:t>
            </a:r>
          </a:p>
          <a:p>
            <a:pPr lvl="0" algn="ctr"/>
            <a:r>
              <a:rPr lang="en-US" altLang="ko-KR" sz="1600" b="1" dirty="0">
                <a:solidFill>
                  <a:schemeClr val="bg1"/>
                </a:solidFill>
                <a:effectLst>
                  <a:glow rad="101600">
                    <a:schemeClr val="accent5">
                      <a:satMod val="175000"/>
                      <a:alpha val="40000"/>
                    </a:schemeClr>
                  </a:glow>
                </a:effectLst>
                <a:latin typeface="Calibri" pitchFamily="34" charset="0"/>
              </a:rPr>
              <a:t>74.897 </a:t>
            </a:r>
            <a:r>
              <a:rPr lang="en-US" altLang="ko-KR" sz="1600" b="1" dirty="0" smtClean="0">
                <a:solidFill>
                  <a:schemeClr val="bg1"/>
                </a:solidFill>
                <a:effectLst>
                  <a:glow rad="101600">
                    <a:schemeClr val="accent5">
                      <a:satMod val="175000"/>
                      <a:alpha val="40000"/>
                    </a:schemeClr>
                  </a:glow>
                </a:effectLst>
                <a:latin typeface="Calibri" pitchFamily="34" charset="0"/>
              </a:rPr>
              <a:t>km</a:t>
            </a:r>
            <a:endParaRPr lang="ko-KR" altLang="en-US" sz="1600" b="1" dirty="0">
              <a:solidFill>
                <a:schemeClr val="bg1"/>
              </a:solidFill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28667" y="5076521"/>
            <a:ext cx="11112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000" b="1" kern="0" dirty="0" smtClean="0">
                <a:solidFill>
                  <a:schemeClr val="bg1"/>
                </a:solidFill>
                <a:effectLst>
                  <a:glow rad="101600">
                    <a:srgbClr val="FF0000"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맑은 고딕"/>
              </a:rPr>
              <a:t>Bridge </a:t>
            </a:r>
            <a:r>
              <a:rPr lang="en-US" altLang="ko-KR" sz="1400" b="1" kern="0" dirty="0" smtClean="0">
                <a:solidFill>
                  <a:schemeClr val="bg1"/>
                </a:solidFill>
                <a:effectLst>
                  <a:glow rad="101600">
                    <a:srgbClr val="FF0000"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맑은 고딕"/>
              </a:rPr>
              <a:t>5.17km</a:t>
            </a:r>
            <a:endParaRPr lang="ko-KR" altLang="en-US" sz="3200" b="1" kern="0" dirty="0">
              <a:solidFill>
                <a:schemeClr val="bg1"/>
              </a:solidFill>
              <a:effectLst>
                <a:glow rad="101600">
                  <a:srgbClr val="FF0000">
                    <a:alpha val="4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62670" y="5451630"/>
            <a:ext cx="1915965" cy="4124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ko-KR" sz="1000" b="1" dirty="0" smtClean="0">
                <a:solidFill>
                  <a:schemeClr val="bg1"/>
                </a:solidFill>
                <a:effectLst>
                  <a:glow rad="101600">
                    <a:schemeClr val="accent5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맑은 고딕"/>
              </a:rPr>
              <a:t>ÇANAKKALE – SAVAŞTEPE</a:t>
            </a:r>
          </a:p>
          <a:p>
            <a:pPr algn="ctr">
              <a:lnSpc>
                <a:spcPct val="80000"/>
              </a:lnSpc>
            </a:pPr>
            <a:r>
              <a:rPr lang="en-US" altLang="ko-KR" sz="1600" b="1" dirty="0" smtClean="0">
                <a:solidFill>
                  <a:schemeClr val="bg1"/>
                </a:solidFill>
                <a:effectLst>
                  <a:glow rad="101600">
                    <a:schemeClr val="accent5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맑은 고딕"/>
              </a:rPr>
              <a:t>9.20km</a:t>
            </a:r>
            <a:endParaRPr lang="ko-KR" altLang="en-US" sz="1600" b="1" dirty="0">
              <a:solidFill>
                <a:schemeClr val="bg1"/>
              </a:solidFill>
              <a:effectLst>
                <a:glow rad="101600">
                  <a:schemeClr val="accent5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22" name="타원 21"/>
          <p:cNvSpPr/>
          <p:nvPr/>
        </p:nvSpPr>
        <p:spPr bwMode="auto">
          <a:xfrm>
            <a:off x="2720752" y="4653136"/>
            <a:ext cx="92913" cy="9291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/>
            <a:endParaRPr lang="ko-KR" altLang="en-US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757045" y="4581128"/>
            <a:ext cx="1368152" cy="246221"/>
          </a:xfrm>
          <a:prstGeom prst="rect">
            <a:avLst/>
          </a:prstGeom>
          <a:noFill/>
          <a:effectLst>
            <a:glow rad="101600">
              <a:schemeClr val="accent3">
                <a:lumMod val="60000"/>
                <a:lumOff val="40000"/>
                <a:alpha val="60000"/>
              </a:scheme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smtClean="0">
                <a:solidFill>
                  <a:schemeClr val="bg1"/>
                </a:solidFill>
                <a:effectLst>
                  <a:glow rad="63500">
                    <a:schemeClr val="accent6">
                      <a:lumMod val="50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n-ea"/>
                <a:cs typeface="Tahoma" pitchFamily="34" charset="0"/>
              </a:rPr>
              <a:t>Gelibolu</a:t>
            </a:r>
            <a:endParaRPr lang="ko-KR" altLang="en-US" sz="1000" b="1" dirty="0" smtClean="0">
              <a:solidFill>
                <a:schemeClr val="bg1"/>
              </a:solidFill>
              <a:effectLst>
                <a:glow rad="63500">
                  <a:schemeClr val="accent6">
                    <a:lumMod val="50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24" name="타원 23"/>
          <p:cNvSpPr/>
          <p:nvPr/>
        </p:nvSpPr>
        <p:spPr bwMode="auto">
          <a:xfrm>
            <a:off x="3836587" y="1382579"/>
            <a:ext cx="92913" cy="9291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/>
            <a:endParaRPr lang="ko-KR" altLang="en-US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872880" y="1310571"/>
            <a:ext cx="1368152" cy="246221"/>
          </a:xfrm>
          <a:prstGeom prst="rect">
            <a:avLst/>
          </a:prstGeom>
          <a:noFill/>
          <a:effectLst>
            <a:glow rad="101600">
              <a:schemeClr val="accent3">
                <a:lumMod val="60000"/>
                <a:lumOff val="40000"/>
                <a:alpha val="60000"/>
              </a:scheme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err="1" smtClean="0">
                <a:solidFill>
                  <a:schemeClr val="bg1"/>
                </a:solidFill>
                <a:effectLst>
                  <a:glow rad="63500">
                    <a:schemeClr val="accent6">
                      <a:lumMod val="50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n-ea"/>
                <a:cs typeface="Tahoma" pitchFamily="34" charset="0"/>
              </a:rPr>
              <a:t>Malkara</a:t>
            </a:r>
            <a:endParaRPr lang="ko-KR" altLang="en-US" sz="1000" b="1" dirty="0" smtClean="0">
              <a:solidFill>
                <a:schemeClr val="bg1"/>
              </a:solidFill>
              <a:effectLst>
                <a:glow rad="63500">
                  <a:schemeClr val="accent6">
                    <a:lumMod val="50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26" name="타원 25"/>
          <p:cNvSpPr/>
          <p:nvPr/>
        </p:nvSpPr>
        <p:spPr bwMode="auto">
          <a:xfrm>
            <a:off x="3296817" y="3789040"/>
            <a:ext cx="92913" cy="9291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/>
            <a:endParaRPr lang="ko-KR" altLang="en-US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333109" y="3717032"/>
            <a:ext cx="755795" cy="246221"/>
          </a:xfrm>
          <a:prstGeom prst="rect">
            <a:avLst/>
          </a:prstGeom>
          <a:noFill/>
          <a:effectLst>
            <a:glow rad="101600">
              <a:schemeClr val="accent3">
                <a:lumMod val="60000"/>
                <a:lumOff val="40000"/>
                <a:alpha val="60000"/>
              </a:scheme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err="1" smtClean="0">
                <a:solidFill>
                  <a:schemeClr val="bg1"/>
                </a:solidFill>
                <a:effectLst>
                  <a:glow rad="63500">
                    <a:schemeClr val="accent6">
                      <a:lumMod val="50000"/>
                      <a:alpha val="40000"/>
                    </a:schemeClr>
                  </a:glow>
                </a:effectLst>
                <a:latin typeface="Calibri" pitchFamily="34" charset="0"/>
                <a:ea typeface="+mn-ea"/>
                <a:cs typeface="Tahoma" pitchFamily="34" charset="0"/>
              </a:rPr>
              <a:t>Korukoy</a:t>
            </a:r>
            <a:endParaRPr lang="ko-KR" altLang="en-US" sz="1000" b="1" dirty="0" smtClean="0">
              <a:solidFill>
                <a:schemeClr val="bg1"/>
              </a:solidFill>
              <a:effectLst>
                <a:glow rad="63500">
                  <a:schemeClr val="accent6">
                    <a:lumMod val="50000"/>
                    <a:alpha val="40000"/>
                  </a:scheme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28" name="타원 27"/>
          <p:cNvSpPr/>
          <p:nvPr/>
        </p:nvSpPr>
        <p:spPr bwMode="auto">
          <a:xfrm>
            <a:off x="2750149" y="5214347"/>
            <a:ext cx="92913" cy="9291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/>
            <a:endParaRPr lang="ko-KR" altLang="en-US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786442" y="5142339"/>
            <a:ext cx="1368152" cy="246221"/>
          </a:xfrm>
          <a:prstGeom prst="rect">
            <a:avLst/>
          </a:prstGeom>
          <a:noFill/>
          <a:effectLst>
            <a:glow rad="101600">
              <a:schemeClr val="accent3">
                <a:lumMod val="60000"/>
                <a:lumOff val="40000"/>
                <a:alpha val="60000"/>
              </a:scheme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err="1" smtClean="0">
                <a:solidFill>
                  <a:schemeClr val="bg1"/>
                </a:solidFill>
                <a:effectLst>
                  <a:glow rad="63500">
                    <a:schemeClr val="accent6">
                      <a:lumMod val="50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n-ea"/>
                <a:cs typeface="Tahoma" pitchFamily="34" charset="0"/>
              </a:rPr>
              <a:t>Lapseki</a:t>
            </a:r>
            <a:endParaRPr lang="ko-KR" altLang="en-US" sz="1000" b="1" dirty="0" smtClean="0">
              <a:solidFill>
                <a:schemeClr val="bg1"/>
              </a:solidFill>
              <a:effectLst>
                <a:glow rad="63500">
                  <a:schemeClr val="accent6">
                    <a:lumMod val="50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30" name="타원 29"/>
          <p:cNvSpPr/>
          <p:nvPr/>
        </p:nvSpPr>
        <p:spPr bwMode="auto">
          <a:xfrm>
            <a:off x="3800872" y="3356992"/>
            <a:ext cx="92913" cy="9291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/>
            <a:endParaRPr lang="ko-KR" altLang="en-US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837164" y="3284984"/>
            <a:ext cx="827804" cy="246221"/>
          </a:xfrm>
          <a:prstGeom prst="rect">
            <a:avLst/>
          </a:prstGeom>
          <a:noFill/>
          <a:effectLst>
            <a:glow rad="101600">
              <a:schemeClr val="accent3">
                <a:lumMod val="60000"/>
                <a:lumOff val="40000"/>
                <a:alpha val="60000"/>
              </a:scheme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err="1" smtClean="0">
                <a:solidFill>
                  <a:schemeClr val="bg1"/>
                </a:solidFill>
                <a:effectLst>
                  <a:glow rad="63500">
                    <a:schemeClr val="accent6">
                      <a:lumMod val="50000"/>
                      <a:alpha val="40000"/>
                    </a:schemeClr>
                  </a:glow>
                </a:effectLst>
                <a:latin typeface="Calibri" pitchFamily="34" charset="0"/>
                <a:ea typeface="+mn-ea"/>
                <a:cs typeface="Tahoma" pitchFamily="34" charset="0"/>
              </a:rPr>
              <a:t>Kavakkoy</a:t>
            </a:r>
            <a:endParaRPr lang="ko-KR" altLang="en-US" sz="1000" b="1" dirty="0" smtClean="0">
              <a:solidFill>
                <a:schemeClr val="bg1"/>
              </a:solidFill>
              <a:effectLst>
                <a:glow rad="63500">
                  <a:schemeClr val="accent6">
                    <a:lumMod val="50000"/>
                    <a:alpha val="40000"/>
                  </a:scheme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32" name="타원 31"/>
          <p:cNvSpPr/>
          <p:nvPr/>
        </p:nvSpPr>
        <p:spPr bwMode="auto">
          <a:xfrm>
            <a:off x="4981316" y="3305889"/>
            <a:ext cx="92913" cy="9291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/>
            <a:endParaRPr lang="ko-KR" altLang="en-US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017608" y="3233881"/>
            <a:ext cx="827804" cy="246221"/>
          </a:xfrm>
          <a:prstGeom prst="rect">
            <a:avLst/>
          </a:prstGeom>
          <a:noFill/>
          <a:effectLst>
            <a:glow rad="101600">
              <a:schemeClr val="accent3">
                <a:lumMod val="60000"/>
                <a:lumOff val="40000"/>
                <a:alpha val="60000"/>
              </a:scheme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err="1" smtClean="0">
                <a:solidFill>
                  <a:schemeClr val="bg1"/>
                </a:solidFill>
                <a:effectLst>
                  <a:glow rad="63500">
                    <a:schemeClr val="accent6">
                      <a:lumMod val="50000"/>
                      <a:alpha val="40000"/>
                    </a:schemeClr>
                  </a:glow>
                </a:effectLst>
                <a:latin typeface="Calibri" pitchFamily="34" charset="0"/>
                <a:ea typeface="+mn-ea"/>
                <a:cs typeface="Tahoma" pitchFamily="34" charset="0"/>
              </a:rPr>
              <a:t>Sarkoy</a:t>
            </a:r>
            <a:endParaRPr lang="ko-KR" altLang="en-US" sz="1000" b="1" dirty="0" smtClean="0">
              <a:solidFill>
                <a:schemeClr val="bg1"/>
              </a:solidFill>
              <a:effectLst>
                <a:glow rad="63500">
                  <a:schemeClr val="accent6">
                    <a:lumMod val="50000"/>
                    <a:alpha val="40000"/>
                  </a:scheme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34" name="타원 33"/>
          <p:cNvSpPr/>
          <p:nvPr/>
        </p:nvSpPr>
        <p:spPr bwMode="auto">
          <a:xfrm>
            <a:off x="4909565" y="2830520"/>
            <a:ext cx="92913" cy="9291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/>
            <a:endParaRPr lang="ko-KR" altLang="en-US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945857" y="2758512"/>
            <a:ext cx="827804" cy="246221"/>
          </a:xfrm>
          <a:prstGeom prst="rect">
            <a:avLst/>
          </a:prstGeom>
          <a:noFill/>
          <a:effectLst>
            <a:glow rad="101600">
              <a:schemeClr val="accent3">
                <a:lumMod val="60000"/>
                <a:lumOff val="40000"/>
                <a:alpha val="60000"/>
              </a:scheme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err="1" smtClean="0">
                <a:solidFill>
                  <a:schemeClr val="bg1"/>
                </a:solidFill>
                <a:effectLst>
                  <a:glow rad="63500">
                    <a:schemeClr val="accent6">
                      <a:lumMod val="50000"/>
                      <a:alpha val="40000"/>
                    </a:schemeClr>
                  </a:glow>
                </a:effectLst>
                <a:latin typeface="Calibri" pitchFamily="34" charset="0"/>
                <a:ea typeface="+mn-ea"/>
                <a:cs typeface="Tahoma" pitchFamily="34" charset="0"/>
              </a:rPr>
              <a:t>Golcuk</a:t>
            </a:r>
            <a:endParaRPr lang="ko-KR" altLang="en-US" sz="1000" b="1" dirty="0" smtClean="0">
              <a:solidFill>
                <a:schemeClr val="bg1"/>
              </a:solidFill>
              <a:effectLst>
                <a:glow rad="63500">
                  <a:schemeClr val="accent6">
                    <a:lumMod val="50000"/>
                    <a:alpha val="40000"/>
                  </a:scheme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36" name="타원 35"/>
          <p:cNvSpPr/>
          <p:nvPr/>
        </p:nvSpPr>
        <p:spPr bwMode="auto">
          <a:xfrm>
            <a:off x="4966770" y="2132856"/>
            <a:ext cx="92913" cy="9291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/>
            <a:endParaRPr lang="ko-KR" altLang="en-US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003062" y="2060848"/>
            <a:ext cx="827804" cy="246221"/>
          </a:xfrm>
          <a:prstGeom prst="rect">
            <a:avLst/>
          </a:prstGeom>
          <a:noFill/>
          <a:effectLst>
            <a:glow rad="101600">
              <a:schemeClr val="accent3">
                <a:lumMod val="60000"/>
                <a:lumOff val="40000"/>
                <a:alpha val="60000"/>
              </a:scheme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err="1" smtClean="0">
                <a:solidFill>
                  <a:schemeClr val="bg1"/>
                </a:solidFill>
                <a:effectLst>
                  <a:glow rad="63500">
                    <a:schemeClr val="accent6">
                      <a:lumMod val="50000"/>
                      <a:alpha val="40000"/>
                    </a:schemeClr>
                  </a:glow>
                </a:effectLst>
                <a:latin typeface="Calibri" pitchFamily="34" charset="0"/>
                <a:ea typeface="+mn-ea"/>
                <a:cs typeface="Tahoma" pitchFamily="34" charset="0"/>
              </a:rPr>
              <a:t>Saglamtas</a:t>
            </a:r>
            <a:endParaRPr lang="ko-KR" altLang="en-US" sz="1000" b="1" dirty="0" smtClean="0">
              <a:solidFill>
                <a:schemeClr val="bg1"/>
              </a:solidFill>
              <a:effectLst>
                <a:glow rad="63500">
                  <a:schemeClr val="accent6">
                    <a:lumMod val="50000"/>
                    <a:alpha val="40000"/>
                  </a:scheme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38" name="타원 37"/>
          <p:cNvSpPr/>
          <p:nvPr/>
        </p:nvSpPr>
        <p:spPr bwMode="auto">
          <a:xfrm>
            <a:off x="5952517" y="2584299"/>
            <a:ext cx="92913" cy="9291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0" tIns="0" rIns="0" bIns="0" rtlCol="0" anchor="ctr"/>
          <a:lstStyle/>
          <a:p>
            <a:pPr algn="ctr"/>
            <a:endParaRPr lang="ko-KR" altLang="en-US"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  <a:latin typeface="Calibri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988809" y="2512291"/>
            <a:ext cx="827804" cy="246221"/>
          </a:xfrm>
          <a:prstGeom prst="rect">
            <a:avLst/>
          </a:prstGeom>
          <a:noFill/>
          <a:effectLst>
            <a:glow rad="101600">
              <a:schemeClr val="accent3">
                <a:lumMod val="60000"/>
                <a:lumOff val="40000"/>
                <a:alpha val="60000"/>
              </a:schemeClr>
            </a:glow>
          </a:effectLst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000" b="1" dirty="0" err="1" smtClean="0">
                <a:solidFill>
                  <a:schemeClr val="bg1"/>
                </a:solidFill>
                <a:effectLst>
                  <a:glow rad="63500">
                    <a:schemeClr val="accent6">
                      <a:lumMod val="50000"/>
                      <a:alpha val="40000"/>
                    </a:schemeClr>
                  </a:glow>
                </a:effectLst>
                <a:latin typeface="Calibri" pitchFamily="34" charset="0"/>
                <a:ea typeface="+mn-ea"/>
                <a:cs typeface="Tahoma" pitchFamily="34" charset="0"/>
              </a:rPr>
              <a:t>Gazikoy</a:t>
            </a:r>
            <a:endParaRPr lang="ko-KR" altLang="en-US" sz="1000" b="1" dirty="0" smtClean="0">
              <a:solidFill>
                <a:schemeClr val="bg1"/>
              </a:solidFill>
              <a:effectLst>
                <a:glow rad="63500">
                  <a:schemeClr val="accent6">
                    <a:lumMod val="50000"/>
                    <a:alpha val="40000"/>
                  </a:scheme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2438400" y="5085184"/>
            <a:ext cx="228600" cy="229766"/>
            <a:chOff x="2436019" y="5085184"/>
            <a:chExt cx="228600" cy="229766"/>
          </a:xfrm>
          <a:effectLst>
            <a:glow rad="63500">
              <a:schemeClr val="bg1">
                <a:alpha val="40000"/>
              </a:schemeClr>
            </a:glow>
          </a:effectLst>
        </p:grpSpPr>
        <p:cxnSp>
          <p:nvCxnSpPr>
            <p:cNvPr id="41" name="직선 연결선 40"/>
            <p:cNvCxnSpPr/>
            <p:nvPr/>
          </p:nvCxnSpPr>
          <p:spPr>
            <a:xfrm>
              <a:off x="2504728" y="5085184"/>
              <a:ext cx="0" cy="159490"/>
            </a:xfrm>
            <a:prstGeom prst="line">
              <a:avLst/>
            </a:prstGeom>
            <a:noFill/>
            <a:ln w="12700">
              <a:solidFill>
                <a:srgbClr val="FF0000"/>
              </a:solidFill>
              <a:prstDash val="solid"/>
              <a:round/>
              <a:headEnd/>
              <a:tailEnd/>
            </a:ln>
          </p:spPr>
        </p:cxnSp>
        <p:sp>
          <p:nvSpPr>
            <p:cNvPr id="42" name="자유형 41"/>
            <p:cNvSpPr/>
            <p:nvPr/>
          </p:nvSpPr>
          <p:spPr bwMode="auto">
            <a:xfrm>
              <a:off x="2436019" y="5088731"/>
              <a:ext cx="64294" cy="47678"/>
            </a:xfrm>
            <a:custGeom>
              <a:avLst/>
              <a:gdLst>
                <a:gd name="connsiteX0" fmla="*/ 0 w 64294"/>
                <a:gd name="connsiteY0" fmla="*/ 47625 h 47678"/>
                <a:gd name="connsiteX1" fmla="*/ 42862 w 64294"/>
                <a:gd name="connsiteY1" fmla="*/ 40482 h 47678"/>
                <a:gd name="connsiteX2" fmla="*/ 50006 w 64294"/>
                <a:gd name="connsiteY2" fmla="*/ 33338 h 47678"/>
                <a:gd name="connsiteX3" fmla="*/ 59531 w 64294"/>
                <a:gd name="connsiteY3" fmla="*/ 11907 h 47678"/>
                <a:gd name="connsiteX4" fmla="*/ 64294 w 64294"/>
                <a:gd name="connsiteY4" fmla="*/ 0 h 47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294" h="47678">
                  <a:moveTo>
                    <a:pt x="0" y="47625"/>
                  </a:moveTo>
                  <a:cubicBezTo>
                    <a:pt x="23098" y="46085"/>
                    <a:pt x="29502" y="51616"/>
                    <a:pt x="42862" y="40482"/>
                  </a:cubicBezTo>
                  <a:cubicBezTo>
                    <a:pt x="45449" y="38326"/>
                    <a:pt x="47625" y="35719"/>
                    <a:pt x="50006" y="33338"/>
                  </a:cubicBezTo>
                  <a:cubicBezTo>
                    <a:pt x="55674" y="16335"/>
                    <a:pt x="51984" y="23227"/>
                    <a:pt x="59531" y="11907"/>
                  </a:cubicBezTo>
                  <a:cubicBezTo>
                    <a:pt x="62473" y="3079"/>
                    <a:pt x="60789" y="7008"/>
                    <a:pt x="64294" y="0"/>
                  </a:cubicBezTo>
                </a:path>
              </a:pathLst>
            </a:custGeom>
            <a:noFill/>
            <a:ln w="127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ko-KR" altLang="en-US">
                <a:effectLst>
                  <a:glow rad="101600">
                    <a:schemeClr val="accent5">
                      <a:satMod val="175000"/>
                      <a:alpha val="40000"/>
                    </a:schemeClr>
                  </a:glow>
                </a:effectLst>
                <a:latin typeface="Calibri" pitchFamily="34" charset="0"/>
              </a:endParaRPr>
            </a:p>
          </p:txBody>
        </p:sp>
        <p:sp>
          <p:nvSpPr>
            <p:cNvPr id="43" name="자유형 42"/>
            <p:cNvSpPr/>
            <p:nvPr/>
          </p:nvSpPr>
          <p:spPr bwMode="auto">
            <a:xfrm>
              <a:off x="2507456" y="5098256"/>
              <a:ext cx="157163" cy="216694"/>
            </a:xfrm>
            <a:custGeom>
              <a:avLst/>
              <a:gdLst>
                <a:gd name="connsiteX0" fmla="*/ 0 w 157163"/>
                <a:gd name="connsiteY0" fmla="*/ 0 h 216694"/>
                <a:gd name="connsiteX1" fmla="*/ 2382 w 157163"/>
                <a:gd name="connsiteY1" fmla="*/ 28575 h 216694"/>
                <a:gd name="connsiteX2" fmla="*/ 7144 w 157163"/>
                <a:gd name="connsiteY2" fmla="*/ 42863 h 216694"/>
                <a:gd name="connsiteX3" fmla="*/ 9525 w 157163"/>
                <a:gd name="connsiteY3" fmla="*/ 52388 h 216694"/>
                <a:gd name="connsiteX4" fmla="*/ 14288 w 157163"/>
                <a:gd name="connsiteY4" fmla="*/ 61913 h 216694"/>
                <a:gd name="connsiteX5" fmla="*/ 23813 w 157163"/>
                <a:gd name="connsiteY5" fmla="*/ 76200 h 216694"/>
                <a:gd name="connsiteX6" fmla="*/ 28575 w 157163"/>
                <a:gd name="connsiteY6" fmla="*/ 90488 h 216694"/>
                <a:gd name="connsiteX7" fmla="*/ 42863 w 157163"/>
                <a:gd name="connsiteY7" fmla="*/ 111919 h 216694"/>
                <a:gd name="connsiteX8" fmla="*/ 57150 w 157163"/>
                <a:gd name="connsiteY8" fmla="*/ 116682 h 216694"/>
                <a:gd name="connsiteX9" fmla="*/ 71438 w 157163"/>
                <a:gd name="connsiteY9" fmla="*/ 109538 h 216694"/>
                <a:gd name="connsiteX10" fmla="*/ 80963 w 157163"/>
                <a:gd name="connsiteY10" fmla="*/ 95250 h 216694"/>
                <a:gd name="connsiteX11" fmla="*/ 85725 w 157163"/>
                <a:gd name="connsiteY11" fmla="*/ 61913 h 216694"/>
                <a:gd name="connsiteX12" fmla="*/ 88107 w 157163"/>
                <a:gd name="connsiteY12" fmla="*/ 54769 h 216694"/>
                <a:gd name="connsiteX13" fmla="*/ 92869 w 157163"/>
                <a:gd name="connsiteY13" fmla="*/ 61913 h 216694"/>
                <a:gd name="connsiteX14" fmla="*/ 97632 w 157163"/>
                <a:gd name="connsiteY14" fmla="*/ 95250 h 216694"/>
                <a:gd name="connsiteX15" fmla="*/ 100013 w 157163"/>
                <a:gd name="connsiteY15" fmla="*/ 104775 h 216694"/>
                <a:gd name="connsiteX16" fmla="*/ 104775 w 157163"/>
                <a:gd name="connsiteY16" fmla="*/ 111919 h 216694"/>
                <a:gd name="connsiteX17" fmla="*/ 111919 w 157163"/>
                <a:gd name="connsiteY17" fmla="*/ 135732 h 216694"/>
                <a:gd name="connsiteX18" fmla="*/ 119063 w 157163"/>
                <a:gd name="connsiteY18" fmla="*/ 157163 h 216694"/>
                <a:gd name="connsiteX19" fmla="*/ 126207 w 157163"/>
                <a:gd name="connsiteY19" fmla="*/ 164307 h 216694"/>
                <a:gd name="connsiteX20" fmla="*/ 135732 w 157163"/>
                <a:gd name="connsiteY20" fmla="*/ 178594 h 216694"/>
                <a:gd name="connsiteX21" fmla="*/ 140494 w 157163"/>
                <a:gd name="connsiteY21" fmla="*/ 192882 h 216694"/>
                <a:gd name="connsiteX22" fmla="*/ 147638 w 157163"/>
                <a:gd name="connsiteY22" fmla="*/ 202407 h 216694"/>
                <a:gd name="connsiteX23" fmla="*/ 157163 w 157163"/>
                <a:gd name="connsiteY23" fmla="*/ 216694 h 21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7163" h="216694">
                  <a:moveTo>
                    <a:pt x="0" y="0"/>
                  </a:moveTo>
                  <a:cubicBezTo>
                    <a:pt x="794" y="9525"/>
                    <a:pt x="811" y="19147"/>
                    <a:pt x="2382" y="28575"/>
                  </a:cubicBezTo>
                  <a:cubicBezTo>
                    <a:pt x="3207" y="33527"/>
                    <a:pt x="5557" y="38100"/>
                    <a:pt x="7144" y="42863"/>
                  </a:cubicBezTo>
                  <a:cubicBezTo>
                    <a:pt x="8179" y="45968"/>
                    <a:pt x="8376" y="49324"/>
                    <a:pt x="9525" y="52388"/>
                  </a:cubicBezTo>
                  <a:cubicBezTo>
                    <a:pt x="10771" y="55712"/>
                    <a:pt x="12462" y="58869"/>
                    <a:pt x="14288" y="61913"/>
                  </a:cubicBezTo>
                  <a:cubicBezTo>
                    <a:pt x="17233" y="66821"/>
                    <a:pt x="23813" y="76200"/>
                    <a:pt x="23813" y="76200"/>
                  </a:cubicBezTo>
                  <a:cubicBezTo>
                    <a:pt x="25400" y="80963"/>
                    <a:pt x="25790" y="86311"/>
                    <a:pt x="28575" y="90488"/>
                  </a:cubicBezTo>
                  <a:lnTo>
                    <a:pt x="42863" y="111919"/>
                  </a:lnTo>
                  <a:cubicBezTo>
                    <a:pt x="45648" y="116096"/>
                    <a:pt x="57150" y="116682"/>
                    <a:pt x="57150" y="116682"/>
                  </a:cubicBezTo>
                  <a:cubicBezTo>
                    <a:pt x="62244" y="114984"/>
                    <a:pt x="67638" y="113881"/>
                    <a:pt x="71438" y="109538"/>
                  </a:cubicBezTo>
                  <a:cubicBezTo>
                    <a:pt x="75207" y="105230"/>
                    <a:pt x="80963" y="95250"/>
                    <a:pt x="80963" y="95250"/>
                  </a:cubicBezTo>
                  <a:cubicBezTo>
                    <a:pt x="86864" y="77548"/>
                    <a:pt x="80507" y="98436"/>
                    <a:pt x="85725" y="61913"/>
                  </a:cubicBezTo>
                  <a:cubicBezTo>
                    <a:pt x="86080" y="59428"/>
                    <a:pt x="87313" y="57150"/>
                    <a:pt x="88107" y="54769"/>
                  </a:cubicBezTo>
                  <a:cubicBezTo>
                    <a:pt x="89694" y="57150"/>
                    <a:pt x="91864" y="59233"/>
                    <a:pt x="92869" y="61913"/>
                  </a:cubicBezTo>
                  <a:cubicBezTo>
                    <a:pt x="95390" y="68636"/>
                    <a:pt x="97058" y="91519"/>
                    <a:pt x="97632" y="95250"/>
                  </a:cubicBezTo>
                  <a:cubicBezTo>
                    <a:pt x="98130" y="98485"/>
                    <a:pt x="98724" y="101767"/>
                    <a:pt x="100013" y="104775"/>
                  </a:cubicBezTo>
                  <a:cubicBezTo>
                    <a:pt x="101140" y="107406"/>
                    <a:pt x="103188" y="109538"/>
                    <a:pt x="104775" y="111919"/>
                  </a:cubicBezTo>
                  <a:cubicBezTo>
                    <a:pt x="109086" y="137775"/>
                    <a:pt x="104009" y="115958"/>
                    <a:pt x="111919" y="135732"/>
                  </a:cubicBezTo>
                  <a:cubicBezTo>
                    <a:pt x="111928" y="135755"/>
                    <a:pt x="117869" y="153579"/>
                    <a:pt x="119063" y="157163"/>
                  </a:cubicBezTo>
                  <a:cubicBezTo>
                    <a:pt x="120128" y="160358"/>
                    <a:pt x="123826" y="161926"/>
                    <a:pt x="126207" y="164307"/>
                  </a:cubicBezTo>
                  <a:cubicBezTo>
                    <a:pt x="134085" y="187941"/>
                    <a:pt x="120866" y="151834"/>
                    <a:pt x="135732" y="178594"/>
                  </a:cubicBezTo>
                  <a:cubicBezTo>
                    <a:pt x="138170" y="182983"/>
                    <a:pt x="137482" y="188866"/>
                    <a:pt x="140494" y="192882"/>
                  </a:cubicBezTo>
                  <a:cubicBezTo>
                    <a:pt x="142875" y="196057"/>
                    <a:pt x="145362" y="199156"/>
                    <a:pt x="147638" y="202407"/>
                  </a:cubicBezTo>
                  <a:cubicBezTo>
                    <a:pt x="150920" y="207096"/>
                    <a:pt x="157163" y="216694"/>
                    <a:pt x="157163" y="216694"/>
                  </a:cubicBezTo>
                </a:path>
              </a:pathLst>
            </a:custGeom>
            <a:noFill/>
            <a:ln w="127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ko-KR" altLang="en-US">
                <a:effectLst>
                  <a:glow rad="101600">
                    <a:schemeClr val="accent5">
                      <a:satMod val="175000"/>
                      <a:alpha val="40000"/>
                    </a:schemeClr>
                  </a:glow>
                </a:effectLst>
                <a:latin typeface="Calibri" pitchFamily="34" charset="0"/>
              </a:endParaRPr>
            </a:p>
          </p:txBody>
        </p:sp>
        <p:cxnSp>
          <p:nvCxnSpPr>
            <p:cNvPr id="44" name="직선 연결선 43"/>
            <p:cNvCxnSpPr/>
            <p:nvPr/>
          </p:nvCxnSpPr>
          <p:spPr>
            <a:xfrm>
              <a:off x="2602145" y="5147770"/>
              <a:ext cx="0" cy="159490"/>
            </a:xfrm>
            <a:prstGeom prst="line">
              <a:avLst/>
            </a:prstGeom>
            <a:noFill/>
            <a:ln w="12700">
              <a:solidFill>
                <a:srgbClr val="FF0000"/>
              </a:solidFill>
              <a:prstDash val="solid"/>
              <a:round/>
              <a:headEnd/>
              <a:tailEnd/>
            </a:ln>
          </p:spPr>
        </p:cxnSp>
        <p:cxnSp>
          <p:nvCxnSpPr>
            <p:cNvPr id="45" name="직선 연결선 44"/>
            <p:cNvCxnSpPr>
              <a:stCxn id="42" idx="0"/>
            </p:cNvCxnSpPr>
            <p:nvPr/>
          </p:nvCxnSpPr>
          <p:spPr>
            <a:xfrm>
              <a:off x="2436019" y="5136356"/>
              <a:ext cx="228600" cy="178594"/>
            </a:xfrm>
            <a:prstGeom prst="line">
              <a:avLst/>
            </a:prstGeom>
            <a:noFill/>
            <a:ln w="12700">
              <a:solidFill>
                <a:srgbClr val="FF0000"/>
              </a:solidFill>
              <a:prstDash val="solid"/>
              <a:round/>
              <a:headEnd/>
              <a:tailEnd/>
            </a:ln>
          </p:spPr>
        </p:cxnSp>
      </p:grpSp>
      <p:graphicFrame>
        <p:nvGraphicFramePr>
          <p:cNvPr id="51" name="표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6038781"/>
              </p:ext>
            </p:extLst>
          </p:nvPr>
        </p:nvGraphicFramePr>
        <p:xfrm>
          <a:off x="5241032" y="1111376"/>
          <a:ext cx="4270439" cy="16925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4559"/>
                <a:gridCol w="1506776"/>
                <a:gridCol w="936130"/>
                <a:gridCol w="1122974"/>
              </a:tblGrid>
              <a:tr h="411784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Project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000" b="0" u="none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</a:rPr>
                        <a:t>1915 </a:t>
                      </a:r>
                      <a:r>
                        <a:rPr lang="en-US" altLang="ko-KR" sz="1000" b="0" u="none" dirty="0" err="1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</a:rPr>
                        <a:t>Çanakkale</a:t>
                      </a:r>
                      <a:r>
                        <a:rPr lang="en-US" altLang="ko-KR" sz="1000" b="0" u="none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</a:rPr>
                        <a:t> </a:t>
                      </a:r>
                      <a:br>
                        <a:rPr lang="en-US" altLang="ko-KR" sz="1000" b="0" u="none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</a:rPr>
                      </a:br>
                      <a:r>
                        <a:rPr lang="en-US" altLang="ko-KR" sz="1000" b="0" u="none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</a:rPr>
                        <a:t>Bridge Project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</a:rPr>
                        <a:t>Total investment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u="none" kern="1200" dirty="0" smtClean="0">
                          <a:solidFill>
                            <a:sysClr val="windowText" lastClr="000000"/>
                          </a:solidFill>
                          <a:latin typeface="+mj-lt"/>
                          <a:ea typeface="나눔바른고딕" panose="020B060302010102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1" u="none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나눔바른고딕" panose="020B0603020101020101" pitchFamily="50" charset="-127"/>
                          <a:cs typeface="+mn-cs"/>
                        </a:rPr>
                        <a:t>EUR 3,*** mil</a:t>
                      </a:r>
                      <a:endParaRPr lang="en-US" altLang="ko-KR" sz="1050" b="1" u="none" kern="1200" dirty="0" smtClean="0">
                        <a:solidFill>
                          <a:sysClr val="windowText" lastClr="000000"/>
                        </a:solidFill>
                        <a:latin typeface="+mj-lt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90000"/>
                      </a:srgbClr>
                    </a:solidFill>
                  </a:tcPr>
                </a:tc>
              </a:tr>
              <a:tr h="411784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Type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Suspension bridge</a:t>
                      </a:r>
                      <a:r>
                        <a:rPr lang="ko-KR" altLang="en-US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 </a:t>
                      </a:r>
                      <a:r>
                        <a:rPr lang="en-US" altLang="ko-KR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(3,623m)</a:t>
                      </a:r>
                      <a:r>
                        <a:rPr lang="en-US" altLang="ko-KR" sz="1000" b="0" u="none" kern="1200" baseline="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+connection road</a:t>
                      </a:r>
                      <a:r>
                        <a:rPr lang="ko-KR" altLang="en-US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 </a:t>
                      </a:r>
                      <a:r>
                        <a:rPr lang="en-US" altLang="ko-KR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(85km)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</a:rPr>
                        <a:t>Construction cost</a:t>
                      </a:r>
                      <a:endParaRPr lang="ko-KR" altLang="en-US" sz="1000" b="0" dirty="0" smtClean="0">
                        <a:solidFill>
                          <a:sysClr val="windowText" lastClr="000000"/>
                        </a:solidFill>
                        <a:latin typeface="+mj-ea"/>
                        <a:ea typeface="+mj-ea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u="none" kern="1200" dirty="0" smtClean="0">
                          <a:solidFill>
                            <a:sysClr val="windowText" lastClr="000000"/>
                          </a:solidFill>
                          <a:latin typeface="+mj-lt"/>
                          <a:ea typeface="나눔바른고딕" panose="020B060302010102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1" u="none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나눔바른고딕" panose="020B0603020101020101" pitchFamily="50" charset="-127"/>
                          <a:cs typeface="+mn-cs"/>
                        </a:rPr>
                        <a:t>EUR</a:t>
                      </a:r>
                      <a:r>
                        <a:rPr lang="ko-KR" altLang="en-US" sz="1050" b="1" u="none" kern="1200" smtClean="0">
                          <a:solidFill>
                            <a:sysClr val="windowText" lastClr="000000"/>
                          </a:solidFill>
                          <a:latin typeface="+mn-lt"/>
                          <a:ea typeface="나눔바른고딕" panose="020B0603020101020101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1" u="none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나눔바른고딕" panose="020B0603020101020101" pitchFamily="50" charset="-127"/>
                          <a:cs typeface="+mn-cs"/>
                        </a:rPr>
                        <a:t>2,430 mil</a:t>
                      </a:r>
                      <a:endParaRPr lang="en-US" altLang="ko-KR" sz="1050" b="1" u="none" kern="1200" dirty="0" smtClean="0">
                        <a:solidFill>
                          <a:sysClr val="windowText" lastClr="000000"/>
                        </a:solidFill>
                        <a:latin typeface="+mj-lt"/>
                        <a:ea typeface="나눔바른고딕" panose="020B0603020101020101" pitchFamily="50" charset="-127"/>
                        <a:cs typeface="+mn-cs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90000"/>
                      </a:srgbClr>
                    </a:solidFill>
                  </a:tcPr>
                </a:tc>
              </a:tr>
              <a:tr h="411784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Model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93663" algn="l"/>
                        </a:tabLst>
                        <a:defRPr/>
                      </a:pPr>
                      <a:r>
                        <a:rPr lang="en-US" altLang="ko-KR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Build</a:t>
                      </a:r>
                      <a:r>
                        <a:rPr lang="en-US" altLang="ko-KR" sz="1000" b="0" u="none" kern="1200" baseline="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-</a:t>
                      </a:r>
                      <a:r>
                        <a:rPr lang="en-US" altLang="ko-KR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Operate-Transfer</a:t>
                      </a:r>
                      <a:br>
                        <a:rPr lang="en-US" altLang="ko-KR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lang="en-US" altLang="ko-KR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(with</a:t>
                      </a:r>
                      <a:r>
                        <a:rPr lang="en-US" altLang="ko-KR" sz="1000" b="0" u="none" kern="1200" baseline="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 </a:t>
                      </a:r>
                      <a:r>
                        <a:rPr lang="en-US" altLang="ko-KR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MTG)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</a:rPr>
                        <a:t>Order</a:t>
                      </a:r>
                      <a:r>
                        <a:rPr lang="en-US" altLang="ko-KR" sz="1000" b="0" baseline="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</a:rPr>
                        <a:t> day</a:t>
                      </a:r>
                      <a:endParaRPr lang="ko-KR" altLang="en-US" sz="1000" b="0" dirty="0" smtClean="0">
                        <a:solidFill>
                          <a:sysClr val="windowText" lastClr="000000"/>
                        </a:solidFill>
                        <a:latin typeface="+mj-ea"/>
                        <a:ea typeface="+mj-ea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u="none" kern="1200" dirty="0" smtClean="0">
                          <a:solidFill>
                            <a:sysClr val="windowText" lastClr="000000"/>
                          </a:solidFill>
                          <a:latin typeface="+mj-lt"/>
                          <a:ea typeface="나눔바른고딕" panose="020B0603020101020101" pitchFamily="50" charset="-127"/>
                          <a:cs typeface="+mn-cs"/>
                        </a:rPr>
                        <a:t>   2016.10.26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90000"/>
                      </a:srgbClr>
                    </a:solidFill>
                  </a:tcPr>
                </a:tc>
              </a:tr>
              <a:tr h="411784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err="1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Orderer</a:t>
                      </a:r>
                      <a:endParaRPr lang="ko-KR" altLang="en-US" sz="1000" b="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General Directorate</a:t>
                      </a:r>
                      <a:r>
                        <a:rPr lang="en-US" altLang="ko-KR" sz="1000" b="0" u="none" kern="1200" baseline="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 of Highways(</a:t>
                      </a:r>
                      <a:r>
                        <a:rPr lang="en-US" altLang="ko-KR" sz="1000" b="0" u="none" kern="120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KGM)</a:t>
                      </a:r>
                      <a:r>
                        <a:rPr lang="en-US" altLang="ko-KR" sz="1000" b="0" u="none" kern="1200" baseline="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  <a:cs typeface="+mn-cs"/>
                        </a:rPr>
                        <a:t> Turkey</a:t>
                      </a:r>
                      <a:endParaRPr lang="en-US" altLang="ko-KR" sz="1000" b="0" u="none" kern="1200" dirty="0" smtClean="0">
                        <a:solidFill>
                          <a:sysClr val="windowText" lastClr="000000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 smtClean="0">
                          <a:solidFill>
                            <a:sysClr val="windowText" lastClr="000000"/>
                          </a:solidFill>
                          <a:latin typeface="+mj-ea"/>
                          <a:ea typeface="+mj-ea"/>
                        </a:rPr>
                        <a:t>Bidding day</a:t>
                      </a:r>
                      <a:endParaRPr lang="ko-KR" altLang="en-US" sz="1000" b="0" dirty="0" smtClean="0">
                        <a:solidFill>
                          <a:sysClr val="windowText" lastClr="000000"/>
                        </a:solidFill>
                        <a:latin typeface="+mj-ea"/>
                        <a:ea typeface="+mj-ea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u="none" kern="1200" dirty="0" smtClean="0">
                          <a:solidFill>
                            <a:sysClr val="windowText" lastClr="000000"/>
                          </a:solidFill>
                          <a:latin typeface="+mj-lt"/>
                          <a:ea typeface="나눔바른고딕" panose="020B0603020101020101" pitchFamily="50" charset="-127"/>
                          <a:cs typeface="+mn-cs"/>
                        </a:rPr>
                        <a:t>   2017.01.26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9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2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9699561"/>
              </p:ext>
            </p:extLst>
          </p:nvPr>
        </p:nvGraphicFramePr>
        <p:xfrm>
          <a:off x="5241032" y="3995154"/>
          <a:ext cx="4299453" cy="2218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7097"/>
                <a:gridCol w="1799191"/>
                <a:gridCol w="1606270"/>
                <a:gridCol w="676895"/>
              </a:tblGrid>
              <a:tr h="106708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onsortium</a:t>
                      </a:r>
                      <a:endParaRPr kumimoji="0" lang="ko-KR" altLang="en-US" sz="8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4" marR="33234" marT="18000" marB="18000" anchor="ctr" horzOverflow="overflow"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69A">
                        <a:alpha val="90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eriod</a:t>
                      </a:r>
                      <a:endParaRPr kumimoji="0" lang="ko-KR" altLang="en-US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4" marR="33234" marT="1800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69A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ko-KR" altLang="en-US" sz="12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4" marR="33234" marT="1800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69A"/>
                    </a:solidFill>
                  </a:tcPr>
                </a:tc>
              </a:tr>
              <a:tr h="106708">
                <a:tc gridSpan="2"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ko-KR" altLang="en-US" sz="12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4" marR="33234" marT="18000" marB="18000" anchor="ctr" horzOverflow="overflow"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69A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eriod</a:t>
                      </a:r>
                      <a:endParaRPr kumimoji="0" lang="ko-KR" altLang="en-US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4" marR="33234" marT="1800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69A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atio</a:t>
                      </a:r>
                      <a:endParaRPr kumimoji="0" lang="ko-KR" altLang="en-US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3234" marR="33234" marT="1800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C669A">
                        <a:alpha val="90000"/>
                      </a:srgbClr>
                    </a:solidFill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</a:pPr>
                      <a:endParaRPr lang="en-GB" sz="100" b="1" spc="0" dirty="0">
                        <a:ln cmpd="dbl">
                          <a:solidFill>
                            <a:schemeClr val="tx1"/>
                          </a:solidFill>
                        </a:ln>
                        <a:solidFill>
                          <a:schemeClr val="bg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T="0" marB="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</a:pPr>
                      <a:endParaRPr lang="en-GB" sz="100" b="1" spc="0" dirty="0">
                        <a:ln cmpd="dbl">
                          <a:solidFill>
                            <a:schemeClr val="tx1"/>
                          </a:solidFill>
                        </a:ln>
                        <a:solidFill>
                          <a:schemeClr val="bg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</a:pPr>
                      <a:endParaRPr lang="en-GB" sz="100" b="1" spc="0" dirty="0">
                        <a:ln cmpd="dbl">
                          <a:solidFill>
                            <a:schemeClr val="tx1"/>
                          </a:solidFill>
                        </a:ln>
                        <a:solidFill>
                          <a:schemeClr val="bg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89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ko-KR" sz="9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 horzOverflow="overflow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EE3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u="sng" dirty="0" smtClean="0">
                          <a:solidFill>
                            <a:srgbClr val="0000FF"/>
                          </a:solidFill>
                        </a:rPr>
                        <a:t>DAELIM</a:t>
                      </a:r>
                      <a:r>
                        <a:rPr lang="en-US" altLang="ko-KR" sz="900" b="1" dirty="0" smtClean="0"/>
                        <a:t> + SK</a:t>
                      </a:r>
                      <a:endParaRPr lang="ko-KR" altLang="ko-KR" sz="900" b="1" dirty="0" smtClean="0"/>
                    </a:p>
                  </a:txBody>
                  <a:tcPr marL="180000" marR="36000" marT="36000" marB="36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C0DEE3">
                        <a:alpha val="9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66675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1" u="sng" kern="1200" dirty="0" smtClean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</a:rPr>
                        <a:t>16years 2months 12days</a:t>
                      </a:r>
                    </a:p>
                  </a:txBody>
                  <a:tcPr marL="0" marR="72000" marT="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EE3">
                        <a:alpha val="9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.0%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99" marR="72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EE3">
                        <a:alpha val="90000"/>
                      </a:srgbClr>
                    </a:solidFill>
                  </a:tcPr>
                </a:tc>
              </a:tr>
              <a:tr h="1288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b="1" dirty="0" err="1" smtClean="0">
                          <a:solidFill>
                            <a:schemeClr val="tx1"/>
                          </a:solidFill>
                        </a:rPr>
                        <a:t>Limak</a:t>
                      </a:r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 + Yapi Merkezi</a:t>
                      </a:r>
                      <a:endParaRPr lang="ko-KR" altLang="ko-KR" sz="9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80000" marR="36000" marT="36000" marB="36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EE3">
                        <a:alpha val="9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28892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ko-KR" sz="900" dirty="0" smtClean="0"/>
                        <a:t>2</a:t>
                      </a:r>
                      <a:endParaRPr lang="ko-KR" altLang="en-US" sz="900" dirty="0"/>
                    </a:p>
                  </a:txBody>
                  <a:tcPr marL="36000" marR="36000" marT="36000" marB="36000" anchor="ctr" horzOverflow="overflow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2EC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ko-KR" sz="900" dirty="0" smtClean="0"/>
                        <a:t>Itochu + JOIN + JEX </a:t>
                      </a:r>
                    </a:p>
                  </a:txBody>
                  <a:tcPr marL="180000" marR="36000" marT="36000" marB="36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CE2EC">
                        <a:alpha val="9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66675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years 10months 24days</a:t>
                      </a:r>
                    </a:p>
                  </a:txBody>
                  <a:tcPr marL="0" marR="72000" marT="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0.4%</a:t>
                      </a:r>
                      <a:endParaRPr lang="en-US" altLang="ko-KR" sz="9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99" marR="72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90000"/>
                      </a:schemeClr>
                    </a:solidFill>
                  </a:tcPr>
                </a:tc>
              </a:tr>
              <a:tr h="1288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err="1" smtClean="0"/>
                        <a:t>Makyol</a:t>
                      </a:r>
                      <a:r>
                        <a:rPr lang="en-US" altLang="ko-KR" sz="900" dirty="0" smtClean="0"/>
                        <a:t> + </a:t>
                      </a:r>
                      <a:r>
                        <a:rPr lang="en-US" altLang="ko-KR" sz="900" dirty="0" err="1" smtClean="0"/>
                        <a:t>Nurol</a:t>
                      </a:r>
                      <a:endParaRPr lang="ko-KR" altLang="en-US" sz="900" dirty="0" smtClean="0"/>
                    </a:p>
                  </a:txBody>
                  <a:tcPr marL="180000" marR="36000" marT="36000" marB="36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2EC">
                        <a:alpha val="9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28892">
                <a:tc rowSpan="2"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/>
                        <a:t>3</a:t>
                      </a:r>
                      <a:endParaRPr lang="ko-KR" altLang="ko-KR" sz="900" dirty="0" smtClean="0"/>
                    </a:p>
                  </a:txBody>
                  <a:tcPr marL="36000" marR="36000" marT="36000" marB="36000" anchor="ctr" horzOverflow="overflow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2EC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dirty="0" err="1" smtClean="0"/>
                        <a:t>Astaldi</a:t>
                      </a:r>
                      <a:endParaRPr lang="ko-KR" altLang="ko-KR" sz="900" dirty="0" smtClean="0"/>
                    </a:p>
                  </a:txBody>
                  <a:tcPr marL="180000" marR="36000" marT="36000" marB="36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CE2EC">
                        <a:alpha val="9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66675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years 5months 15days</a:t>
                      </a:r>
                      <a:endParaRPr lang="ko-KR" altLang="ko-KR" sz="900" b="1" u="sng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3.9%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99" marR="72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90000"/>
                      </a:schemeClr>
                    </a:solidFill>
                  </a:tcPr>
                </a:tc>
              </a:tr>
              <a:tr h="1288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dirty="0" err="1" smtClean="0"/>
                        <a:t>Ictas</a:t>
                      </a:r>
                      <a:r>
                        <a:rPr lang="en-US" altLang="ko-KR" sz="900" dirty="0" smtClean="0"/>
                        <a:t> </a:t>
                      </a:r>
                      <a:endParaRPr lang="ko-KR" altLang="ko-KR" sz="900" dirty="0" smtClean="0"/>
                    </a:p>
                  </a:txBody>
                  <a:tcPr marL="180000" marR="36000" marT="36000" marB="36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2EC">
                        <a:alpha val="9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2889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900" dirty="0" smtClean="0"/>
                        <a:t>4</a:t>
                      </a:r>
                      <a:endParaRPr lang="ko-KR" altLang="ko-KR" sz="900" dirty="0" smtClean="0"/>
                    </a:p>
                  </a:txBody>
                  <a:tcPr marL="36000" marR="36000" marT="36000" marB="36000" anchor="ctr" horzOverflow="overflow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2EC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/>
                        <a:t>CRMBEG</a:t>
                      </a:r>
                      <a:endParaRPr lang="ko-KR" altLang="ko-KR" sz="900" dirty="0" smtClean="0"/>
                    </a:p>
                  </a:txBody>
                  <a:tcPr marL="180000" marR="36000" marT="36000" marB="36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CE2EC">
                        <a:alpha val="9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66675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ko-K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years 8months 19days</a:t>
                      </a:r>
                      <a:endParaRPr lang="ko-KR" altLang="ko-KR" sz="9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r" fontAlgn="ctr">
                        <a:buFont typeface="Arial" panose="020B0604020202020204" pitchFamily="34" charset="0"/>
                        <a:buNone/>
                      </a:pPr>
                      <a:r>
                        <a:rPr lang="en-US" altLang="ko-KR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5.5%</a:t>
                      </a:r>
                      <a:endParaRPr lang="en-US" altLang="ko-KR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99" marR="72000"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90000"/>
                      </a:schemeClr>
                    </a:solidFill>
                  </a:tcPr>
                </a:tc>
              </a:tr>
              <a:tr h="12889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err="1" smtClean="0"/>
                        <a:t>Cengiz</a:t>
                      </a:r>
                      <a:r>
                        <a:rPr lang="en-US" altLang="ko-KR" sz="900" dirty="0" smtClean="0"/>
                        <a:t> + </a:t>
                      </a:r>
                      <a:r>
                        <a:rPr lang="en-US" altLang="ko-KR" sz="900" dirty="0" err="1" smtClean="0"/>
                        <a:t>Kolin</a:t>
                      </a:r>
                      <a:endParaRPr lang="ko-KR" altLang="ko-KR" sz="900" dirty="0" smtClean="0"/>
                    </a:p>
                  </a:txBody>
                  <a:tcPr marL="180000" marR="36000" marT="36000" marB="36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2EC">
                        <a:alpha val="9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0670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9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verage Period</a:t>
                      </a:r>
                      <a:endParaRPr kumimoji="0" lang="ko-KR" altLang="en-US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72000" marR="132923" marT="18000" marB="18000" anchor="ctr" horzOverflow="overflow"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C1E8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66675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altLang="ko-KR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years</a:t>
                      </a:r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months</a:t>
                      </a:r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ko-KR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6days</a:t>
                      </a:r>
                    </a:p>
                  </a:txBody>
                  <a:tcPr marL="0" marR="72000" marT="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C1E8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6675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altLang="ko-KR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0.0%</a:t>
                      </a:r>
                    </a:p>
                  </a:txBody>
                  <a:tcPr marL="0" marR="72000" marT="0" marB="18000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C1E8">
                        <a:alpha val="9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5138215" y="3745305"/>
            <a:ext cx="13681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100" b="1" dirty="0" smtClean="0">
                <a:solidFill>
                  <a:schemeClr val="bg1"/>
                </a:solidFill>
                <a:effectLst>
                  <a:glow rad="63500">
                    <a:srgbClr val="002060">
                      <a:alpha val="40000"/>
                    </a:srgbClr>
                  </a:glow>
                </a:effectLst>
                <a:latin typeface="Calibri" pitchFamily="34" charset="0"/>
                <a:cs typeface="Tahoma" pitchFamily="34" charset="0"/>
              </a:rPr>
              <a:t>Bid results</a:t>
            </a:r>
            <a:endParaRPr lang="ko-KR" altLang="en-US" sz="1100" b="1" dirty="0" smtClean="0">
              <a:solidFill>
                <a:schemeClr val="bg1"/>
              </a:solidFill>
              <a:effectLst>
                <a:glow rad="63500">
                  <a:srgbClr val="002060">
                    <a:alpha val="40000"/>
                  </a:srgbClr>
                </a:glow>
              </a:effectLst>
              <a:latin typeface="Calibri" pitchFamily="34" charset="0"/>
              <a:ea typeface="+mn-ea"/>
              <a:cs typeface="Tahoma" pitchFamily="34" charset="0"/>
            </a:endParaRPr>
          </a:p>
        </p:txBody>
      </p:sp>
      <p:sp>
        <p:nvSpPr>
          <p:cNvPr id="54" name="직사각형 53"/>
          <p:cNvSpPr/>
          <p:nvPr/>
        </p:nvSpPr>
        <p:spPr bwMode="auto">
          <a:xfrm>
            <a:off x="5219700" y="4371975"/>
            <a:ext cx="4343400" cy="1238249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olid"/>
            <a:miter lim="800000"/>
          </a:ln>
          <a:effectLst/>
          <a:extLst/>
        </p:spPr>
        <p:txBody>
          <a:bodyPr lIns="45720" tIns="27432" rIns="45720" bIns="27432" rtlCol="0" anchor="ctr"/>
          <a:lstStyle/>
          <a:p>
            <a:pPr algn="ctr" defTabSz="914400" latinLnBrk="0">
              <a:lnSpc>
                <a:spcPct val="90000"/>
              </a:lnSpc>
            </a:pPr>
            <a:endParaRPr lang="ko-KR" alt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55" name="텍스트 개체 틀 7"/>
          <p:cNvSpPr txBox="1">
            <a:spLocks/>
          </p:cNvSpPr>
          <p:nvPr/>
        </p:nvSpPr>
        <p:spPr>
          <a:xfrm>
            <a:off x="272480" y="548680"/>
            <a:ext cx="9289032" cy="3189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ko-KR"/>
            </a:defPPr>
            <a:lvl1pPr marL="133350" indent="-133350" latinLnBrk="0">
              <a:spcBef>
                <a:spcPts val="600"/>
              </a:spcBef>
              <a:buSzPct val="70000"/>
              <a:buFont typeface="Wingdings" pitchFamily="2" charset="2"/>
              <a:buChar char="n"/>
              <a:defRPr kumimoji="1" sz="1200">
                <a:latin typeface="맑은 고딕" pitchFamily="50" charset="-127"/>
                <a:ea typeface="맑은 고딕" pitchFamily="50" charset="-127"/>
              </a:defRPr>
            </a:lvl1pPr>
            <a:lvl2pPr marL="376238" lvl="1" indent="-107950" latinLnBrk="0">
              <a:spcBef>
                <a:spcPts val="300"/>
              </a:spcBef>
              <a:buFont typeface="맑은 고딕" pitchFamily="50" charset="-127"/>
              <a:buChar char="–"/>
              <a:defRPr kumimoji="1" sz="1100">
                <a:latin typeface="맑은 고딕" pitchFamily="50" charset="-127"/>
                <a:ea typeface="맑은 고딕" pitchFamily="50" charset="-127"/>
              </a:defRPr>
            </a:lvl2pPr>
            <a:lvl3pPr marL="623888" lvl="2" indent="-85725" latinLnBrk="0">
              <a:spcBef>
                <a:spcPts val="300"/>
              </a:spcBef>
              <a:buFont typeface="Arial" pitchFamily="34" charset="0"/>
              <a:buChar char="•"/>
              <a:defRPr kumimoji="1" sz="1000">
                <a:latin typeface="맑은 고딕" pitchFamily="50" charset="-127"/>
                <a:ea typeface="맑은 고딕" pitchFamily="50" charset="-127"/>
              </a:defRPr>
            </a:lvl3pPr>
            <a:lvl4pPr marL="668338" indent="-133350">
              <a:spcBef>
                <a:spcPts val="300"/>
              </a:spcBef>
              <a:buFont typeface="Times New Roman" pitchFamily="18" charset="0"/>
              <a:buChar char="»"/>
              <a:defRPr kumimoji="1" sz="900">
                <a:latin typeface="맑은 고딕" pitchFamily="50" charset="-127"/>
                <a:ea typeface="맑은 고딕" pitchFamily="50" charset="-127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kumimoji="1" sz="1400">
                <a:ea typeface="돋움" pitchFamily="50" charset="-127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altLang="ko-KR" sz="1600" b="1" dirty="0">
                <a:latin typeface="Calibri" panose="020F0502020204030204" pitchFamily="34" charset="0"/>
              </a:rPr>
              <a:t> Conspectus of the project</a:t>
            </a:r>
            <a:endParaRPr lang="en-US" altLang="ko-KR" sz="1600" b="1" dirty="0"/>
          </a:p>
        </p:txBody>
      </p:sp>
    </p:spTree>
    <p:extLst>
      <p:ext uri="{BB962C8B-B14F-4D97-AF65-F5344CB8AC3E}">
        <p14:creationId xmlns:p14="http://schemas.microsoft.com/office/powerpoint/2010/main" val="702895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89984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63" imgW="270" imgH="270" progId="TCLayout.ActiveDocument.1">
                  <p:embed/>
                </p:oleObj>
              </mc:Choice>
              <mc:Fallback>
                <p:oleObj name="think-cell Slide" r:id="rId6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5" name="Picture 2" descr="\\ecm.daelim.co.kr\DavWWWRoot\sites\201501008\Docs\5 회사소개자료\Global Infra Developer Brochure\01 사진 및 관련 자료\01 Civil\01 Main - Bridge_이순신대교\2013+이순신대교+개통16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6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6" r="121"/>
          <a:stretch/>
        </p:blipFill>
        <p:spPr bwMode="auto">
          <a:xfrm>
            <a:off x="-2381" y="-2381"/>
            <a:ext cx="992155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0" name="Rounded Rectangle 189"/>
          <p:cNvSpPr/>
          <p:nvPr>
            <p:custDataLst>
              <p:tags r:id="rId4"/>
            </p:custDataLst>
          </p:nvPr>
        </p:nvSpPr>
        <p:spPr bwMode="auto">
          <a:xfrm>
            <a:off x="3797233" y="1730616"/>
            <a:ext cx="2203326" cy="648000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141" name="Rounded Rectangle 140"/>
          <p:cNvSpPr/>
          <p:nvPr>
            <p:custDataLst>
              <p:tags r:id="rId5"/>
            </p:custDataLst>
          </p:nvPr>
        </p:nvSpPr>
        <p:spPr bwMode="auto">
          <a:xfrm>
            <a:off x="7140322" y="2787514"/>
            <a:ext cx="2353482" cy="1696913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76" name="Rounded Rectangle 75"/>
          <p:cNvSpPr/>
          <p:nvPr>
            <p:custDataLst>
              <p:tags r:id="rId6"/>
            </p:custDataLst>
          </p:nvPr>
        </p:nvSpPr>
        <p:spPr bwMode="auto">
          <a:xfrm>
            <a:off x="362208" y="2730174"/>
            <a:ext cx="2418786" cy="1755300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77" name="Rounded Rectangle 76"/>
          <p:cNvSpPr/>
          <p:nvPr>
            <p:custDataLst>
              <p:tags r:id="rId7"/>
            </p:custDataLst>
          </p:nvPr>
        </p:nvSpPr>
        <p:spPr bwMode="auto">
          <a:xfrm>
            <a:off x="2330139" y="5330652"/>
            <a:ext cx="2203200" cy="1250664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78" name="Rounded Rectangle 77"/>
          <p:cNvSpPr/>
          <p:nvPr>
            <p:custDataLst>
              <p:tags r:id="rId8"/>
            </p:custDataLst>
          </p:nvPr>
        </p:nvSpPr>
        <p:spPr bwMode="auto">
          <a:xfrm>
            <a:off x="5372662" y="5330652"/>
            <a:ext cx="2203200" cy="1250664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grpSp>
        <p:nvGrpSpPr>
          <p:cNvPr id="79" name="Group 78"/>
          <p:cNvGrpSpPr/>
          <p:nvPr>
            <p:custDataLst>
              <p:tags r:id="rId9"/>
            </p:custDataLst>
          </p:nvPr>
        </p:nvGrpSpPr>
        <p:grpSpPr>
          <a:xfrm>
            <a:off x="4373841" y="3177607"/>
            <a:ext cx="1158318" cy="852122"/>
            <a:chOff x="3890978" y="3352800"/>
            <a:chExt cx="1158318" cy="852122"/>
          </a:xfrm>
        </p:grpSpPr>
        <p:sp>
          <p:nvSpPr>
            <p:cNvPr id="80" name="모서리가 둥근 직사각형 14"/>
            <p:cNvSpPr/>
            <p:nvPr/>
          </p:nvSpPr>
          <p:spPr bwMode="auto">
            <a:xfrm>
              <a:off x="3890978" y="3352800"/>
              <a:ext cx="1158318" cy="852122"/>
            </a:xfrm>
            <a:prstGeom prst="roundRect">
              <a:avLst/>
            </a:prstGeom>
            <a:solidFill>
              <a:schemeClr val="accent3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0" tIns="0" rIns="0" bIns="0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ko-KR" altLang="en-US" b="1" kern="0" dirty="0">
                <a:solidFill>
                  <a:schemeClr val="bg1"/>
                </a:solidFill>
              </a:endParaRPr>
            </a:p>
          </p:txBody>
        </p:sp>
        <p:grpSp>
          <p:nvGrpSpPr>
            <p:cNvPr id="81" name="Group 80"/>
            <p:cNvGrpSpPr/>
            <p:nvPr/>
          </p:nvGrpSpPr>
          <p:grpSpPr>
            <a:xfrm>
              <a:off x="4140523" y="3455811"/>
              <a:ext cx="659229" cy="646100"/>
              <a:chOff x="4140522" y="3454840"/>
              <a:chExt cx="659229" cy="646100"/>
            </a:xfrm>
          </p:grpSpPr>
          <p:sp>
            <p:nvSpPr>
              <p:cNvPr id="83" name="Freeform 82"/>
              <p:cNvSpPr/>
              <p:nvPr/>
            </p:nvSpPr>
            <p:spPr bwMode="auto">
              <a:xfrm>
                <a:off x="4151028" y="3573029"/>
                <a:ext cx="648723" cy="520032"/>
              </a:xfrm>
              <a:custGeom>
                <a:avLst/>
                <a:gdLst>
                  <a:gd name="connsiteX0" fmla="*/ 0 w 2072081"/>
                  <a:gd name="connsiteY0" fmla="*/ 444617 h 1661021"/>
                  <a:gd name="connsiteX1" fmla="*/ 1392572 w 2072081"/>
                  <a:gd name="connsiteY1" fmla="*/ 1132514 h 1661021"/>
                  <a:gd name="connsiteX2" fmla="*/ 1342239 w 2072081"/>
                  <a:gd name="connsiteY2" fmla="*/ 1208015 h 1661021"/>
                  <a:gd name="connsiteX3" fmla="*/ 1208015 w 2072081"/>
                  <a:gd name="connsiteY3" fmla="*/ 1241571 h 1661021"/>
                  <a:gd name="connsiteX4" fmla="*/ 998290 w 2072081"/>
                  <a:gd name="connsiteY4" fmla="*/ 1661021 h 1661021"/>
                  <a:gd name="connsiteX5" fmla="*/ 2072081 w 2072081"/>
                  <a:gd name="connsiteY5" fmla="*/ 1661021 h 1661021"/>
                  <a:gd name="connsiteX6" fmla="*/ 1719743 w 2072081"/>
                  <a:gd name="connsiteY6" fmla="*/ 897622 h 1661021"/>
                  <a:gd name="connsiteX7" fmla="*/ 1644242 w 2072081"/>
                  <a:gd name="connsiteY7" fmla="*/ 855678 h 1661021"/>
                  <a:gd name="connsiteX8" fmla="*/ 1526796 w 2072081"/>
                  <a:gd name="connsiteY8" fmla="*/ 947956 h 1661021"/>
                  <a:gd name="connsiteX9" fmla="*/ 1468073 w 2072081"/>
                  <a:gd name="connsiteY9" fmla="*/ 1031846 h 1661021"/>
                  <a:gd name="connsiteX10" fmla="*/ 1166070 w 2072081"/>
                  <a:gd name="connsiteY10" fmla="*/ 880844 h 1661021"/>
                  <a:gd name="connsiteX11" fmla="*/ 1023457 w 2072081"/>
                  <a:gd name="connsiteY11" fmla="*/ 226503 h 1661021"/>
                  <a:gd name="connsiteX12" fmla="*/ 721453 w 2072081"/>
                  <a:gd name="connsiteY12" fmla="*/ 0 h 1661021"/>
                  <a:gd name="connsiteX13" fmla="*/ 377505 w 2072081"/>
                  <a:gd name="connsiteY13" fmla="*/ 16778 h 1661021"/>
                  <a:gd name="connsiteX14" fmla="*/ 75501 w 2072081"/>
                  <a:gd name="connsiteY14" fmla="*/ 352338 h 1661021"/>
                  <a:gd name="connsiteX15" fmla="*/ 218114 w 2072081"/>
                  <a:gd name="connsiteY15" fmla="*/ 427839 h 1661021"/>
                  <a:gd name="connsiteX16" fmla="*/ 402672 w 2072081"/>
                  <a:gd name="connsiteY16" fmla="*/ 234892 h 1661021"/>
                  <a:gd name="connsiteX17" fmla="*/ 494950 w 2072081"/>
                  <a:gd name="connsiteY17" fmla="*/ 226503 h 1661021"/>
                  <a:gd name="connsiteX18" fmla="*/ 343949 w 2072081"/>
                  <a:gd name="connsiteY18" fmla="*/ 478173 h 1661021"/>
                  <a:gd name="connsiteX19" fmla="*/ 738231 w 2072081"/>
                  <a:gd name="connsiteY19" fmla="*/ 671120 h 1661021"/>
                  <a:gd name="connsiteX20" fmla="*/ 880844 w 2072081"/>
                  <a:gd name="connsiteY20" fmla="*/ 453006 h 1661021"/>
                  <a:gd name="connsiteX21" fmla="*/ 981512 w 2072081"/>
                  <a:gd name="connsiteY21" fmla="*/ 805344 h 1661021"/>
                  <a:gd name="connsiteX22" fmla="*/ 75501 w 2072081"/>
                  <a:gd name="connsiteY22" fmla="*/ 352338 h 1661021"/>
                  <a:gd name="connsiteX23" fmla="*/ 8389 w 2072081"/>
                  <a:gd name="connsiteY23" fmla="*/ 377505 h 1661021"/>
                  <a:gd name="connsiteX24" fmla="*/ 0 w 2072081"/>
                  <a:gd name="connsiteY24" fmla="*/ 444617 h 1661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072081" h="1661021">
                    <a:moveTo>
                      <a:pt x="0" y="444617"/>
                    </a:moveTo>
                    <a:lnTo>
                      <a:pt x="1392572" y="1132514"/>
                    </a:lnTo>
                    <a:lnTo>
                      <a:pt x="1342239" y="1208015"/>
                    </a:lnTo>
                    <a:lnTo>
                      <a:pt x="1208015" y="1241571"/>
                    </a:lnTo>
                    <a:lnTo>
                      <a:pt x="998290" y="1661021"/>
                    </a:lnTo>
                    <a:lnTo>
                      <a:pt x="2072081" y="1661021"/>
                    </a:lnTo>
                    <a:lnTo>
                      <a:pt x="1719743" y="897622"/>
                    </a:lnTo>
                    <a:lnTo>
                      <a:pt x="1644242" y="855678"/>
                    </a:lnTo>
                    <a:lnTo>
                      <a:pt x="1526796" y="947956"/>
                    </a:lnTo>
                    <a:lnTo>
                      <a:pt x="1468073" y="1031846"/>
                    </a:lnTo>
                    <a:lnTo>
                      <a:pt x="1166070" y="880844"/>
                    </a:lnTo>
                    <a:lnTo>
                      <a:pt x="1023457" y="226503"/>
                    </a:lnTo>
                    <a:lnTo>
                      <a:pt x="721453" y="0"/>
                    </a:lnTo>
                    <a:lnTo>
                      <a:pt x="377505" y="16778"/>
                    </a:lnTo>
                    <a:lnTo>
                      <a:pt x="75501" y="352338"/>
                    </a:lnTo>
                    <a:lnTo>
                      <a:pt x="218114" y="427839"/>
                    </a:lnTo>
                    <a:lnTo>
                      <a:pt x="402672" y="234892"/>
                    </a:lnTo>
                    <a:lnTo>
                      <a:pt x="494950" y="226503"/>
                    </a:lnTo>
                    <a:lnTo>
                      <a:pt x="343949" y="478173"/>
                    </a:lnTo>
                    <a:lnTo>
                      <a:pt x="738231" y="671120"/>
                    </a:lnTo>
                    <a:lnTo>
                      <a:pt x="880844" y="453006"/>
                    </a:lnTo>
                    <a:lnTo>
                      <a:pt x="981512" y="805344"/>
                    </a:lnTo>
                    <a:lnTo>
                      <a:pt x="75501" y="352338"/>
                    </a:lnTo>
                    <a:lnTo>
                      <a:pt x="8389" y="377505"/>
                    </a:lnTo>
                    <a:lnTo>
                      <a:pt x="0" y="444617"/>
                    </a:lnTo>
                    <a:close/>
                  </a:path>
                </a:pathLst>
              </a:custGeom>
              <a:solidFill>
                <a:srgbClr val="2C4272"/>
              </a:solidFill>
              <a:ln w="3175" cap="flat" cmpd="sng" algn="ctr">
                <a:noFill/>
                <a:prstDash val="solid"/>
                <a:miter lim="800000"/>
              </a:ln>
              <a:effectLst/>
              <a:extLst/>
            </p:spPr>
            <p:txBody>
              <a:bodyPr lIns="0" tIns="0" rIns="0" bIns="0" rtlCol="0" anchor="ctr"/>
              <a:lstStyle/>
              <a:p>
                <a:pPr algn="ctr" defTabSz="914400" latinLnBrk="0">
                  <a:lnSpc>
                    <a:spcPct val="90000"/>
                  </a:lnSpc>
                </a:pPr>
                <a:endParaRPr lang="en-US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84" name="Oval 83"/>
              <p:cNvSpPr/>
              <p:nvPr/>
            </p:nvSpPr>
            <p:spPr bwMode="auto">
              <a:xfrm>
                <a:off x="4400537" y="3454840"/>
                <a:ext cx="118189" cy="118189"/>
              </a:xfrm>
              <a:prstGeom prst="ellipse">
                <a:avLst/>
              </a:prstGeom>
              <a:solidFill>
                <a:srgbClr val="2C4272"/>
              </a:solidFill>
              <a:ln w="3175" cap="flat" cmpd="sng" algn="ctr">
                <a:noFill/>
                <a:prstDash val="solid"/>
                <a:miter lim="800000"/>
              </a:ln>
              <a:effectLst/>
              <a:extLst/>
            </p:spPr>
            <p:txBody>
              <a:bodyPr lIns="0" tIns="0" rIns="0" bIns="0" rtlCol="0" anchor="ctr"/>
              <a:lstStyle/>
              <a:p>
                <a:pPr algn="ctr" defTabSz="914400" latinLnBrk="0">
                  <a:lnSpc>
                    <a:spcPct val="90000"/>
                  </a:lnSpc>
                </a:pPr>
                <a:endParaRPr lang="en-US" b="1" kern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Freeform 84"/>
              <p:cNvSpPr/>
              <p:nvPr/>
            </p:nvSpPr>
            <p:spPr bwMode="auto">
              <a:xfrm>
                <a:off x="4140522" y="3791022"/>
                <a:ext cx="278399" cy="309918"/>
              </a:xfrm>
              <a:custGeom>
                <a:avLst/>
                <a:gdLst>
                  <a:gd name="connsiteX0" fmla="*/ 268448 w 889233"/>
                  <a:gd name="connsiteY0" fmla="*/ 0 h 989901"/>
                  <a:gd name="connsiteX1" fmla="*/ 763398 w 889233"/>
                  <a:gd name="connsiteY1" fmla="*/ 234891 h 989901"/>
                  <a:gd name="connsiteX2" fmla="*/ 880844 w 889233"/>
                  <a:gd name="connsiteY2" fmla="*/ 461394 h 989901"/>
                  <a:gd name="connsiteX3" fmla="*/ 889233 w 889233"/>
                  <a:gd name="connsiteY3" fmla="*/ 947956 h 989901"/>
                  <a:gd name="connsiteX4" fmla="*/ 864066 w 889233"/>
                  <a:gd name="connsiteY4" fmla="*/ 989901 h 989901"/>
                  <a:gd name="connsiteX5" fmla="*/ 746620 w 889233"/>
                  <a:gd name="connsiteY5" fmla="*/ 964734 h 989901"/>
                  <a:gd name="connsiteX6" fmla="*/ 679508 w 889233"/>
                  <a:gd name="connsiteY6" fmla="*/ 469783 h 989901"/>
                  <a:gd name="connsiteX7" fmla="*/ 444617 w 889233"/>
                  <a:gd name="connsiteY7" fmla="*/ 293614 h 989901"/>
                  <a:gd name="connsiteX8" fmla="*/ 184558 w 889233"/>
                  <a:gd name="connsiteY8" fmla="*/ 939567 h 989901"/>
                  <a:gd name="connsiteX9" fmla="*/ 83890 w 889233"/>
                  <a:gd name="connsiteY9" fmla="*/ 964734 h 989901"/>
                  <a:gd name="connsiteX10" fmla="*/ 0 w 889233"/>
                  <a:gd name="connsiteY10" fmla="*/ 880844 h 989901"/>
                  <a:gd name="connsiteX11" fmla="*/ 268448 w 889233"/>
                  <a:gd name="connsiteY11" fmla="*/ 0 h 989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9233" h="989901">
                    <a:moveTo>
                      <a:pt x="268448" y="0"/>
                    </a:moveTo>
                    <a:lnTo>
                      <a:pt x="763398" y="234891"/>
                    </a:lnTo>
                    <a:lnTo>
                      <a:pt x="880844" y="461394"/>
                    </a:lnTo>
                    <a:lnTo>
                      <a:pt x="889233" y="947956"/>
                    </a:lnTo>
                    <a:lnTo>
                      <a:pt x="864066" y="989901"/>
                    </a:lnTo>
                    <a:lnTo>
                      <a:pt x="746620" y="964734"/>
                    </a:lnTo>
                    <a:lnTo>
                      <a:pt x="679508" y="469783"/>
                    </a:lnTo>
                    <a:lnTo>
                      <a:pt x="444617" y="293614"/>
                    </a:lnTo>
                    <a:lnTo>
                      <a:pt x="184558" y="939567"/>
                    </a:lnTo>
                    <a:lnTo>
                      <a:pt x="83890" y="964734"/>
                    </a:lnTo>
                    <a:lnTo>
                      <a:pt x="0" y="880844"/>
                    </a:lnTo>
                    <a:lnTo>
                      <a:pt x="268448" y="0"/>
                    </a:lnTo>
                    <a:close/>
                  </a:path>
                </a:pathLst>
              </a:custGeom>
              <a:solidFill>
                <a:srgbClr val="2C4272"/>
              </a:solidFill>
              <a:ln w="3175" cap="flat" cmpd="sng" algn="ctr">
                <a:noFill/>
                <a:prstDash val="solid"/>
                <a:miter lim="800000"/>
              </a:ln>
              <a:effectLst/>
              <a:extLst/>
            </p:spPr>
            <p:txBody>
              <a:bodyPr lIns="0" tIns="0" rIns="0" bIns="0" rtlCol="0" anchor="ctr"/>
              <a:lstStyle/>
              <a:p>
                <a:pPr algn="ctr" defTabSz="914400" latinLnBrk="0">
                  <a:lnSpc>
                    <a:spcPct val="90000"/>
                  </a:lnSpc>
                </a:pPr>
                <a:endParaRPr lang="en-US" b="1" ker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2" name="TextBox 81"/>
            <p:cNvSpPr txBox="1"/>
            <p:nvPr/>
          </p:nvSpPr>
          <p:spPr>
            <a:xfrm>
              <a:off x="4058617" y="3428885"/>
              <a:ext cx="823037" cy="688256"/>
            </a:xfrm>
            <a:prstGeom prst="rect">
              <a:avLst/>
            </a:prstGeom>
          </p:spPr>
          <p:txBody>
            <a:bodyPr wrap="none" lIns="36000" tIns="36000" rIns="36000" bIns="36000" rtlCol="0" anchor="ctr">
              <a:spAutoFit/>
            </a:bodyPr>
            <a:lstStyle/>
            <a:p>
              <a:pPr algn="ctr" latinLnBrk="0"/>
              <a:r>
                <a:rPr lang="en-US" sz="24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</a:rPr>
                <a:t>SPC</a:t>
              </a:r>
            </a:p>
            <a:p>
              <a:pPr algn="ctr" latinLnBrk="0"/>
              <a:r>
                <a:rPr lang="en-US" sz="16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</a:rPr>
                <a:t>(COK IYI)</a:t>
              </a:r>
            </a:p>
          </p:txBody>
        </p:sp>
      </p:grpSp>
      <p:sp>
        <p:nvSpPr>
          <p:cNvPr id="86" name="TextBox 85"/>
          <p:cNvSpPr txBox="1"/>
          <p:nvPr>
            <p:custDataLst>
              <p:tags r:id="rId10"/>
            </p:custDataLst>
          </p:nvPr>
        </p:nvSpPr>
        <p:spPr>
          <a:xfrm>
            <a:off x="402381" y="2484624"/>
            <a:ext cx="669479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Equity</a:t>
            </a:r>
            <a:endParaRPr lang="en-US" altLang="ko-KR" sz="2000" b="1" dirty="0">
              <a:solidFill>
                <a:schemeClr val="bg2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11"/>
            </p:custDataLst>
          </p:nvPr>
        </p:nvSpPr>
        <p:spPr>
          <a:xfrm>
            <a:off x="3462902" y="3437393"/>
            <a:ext cx="359073" cy="153953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latinLnBrk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tabLst>
                <a:tab pos="930275" algn="l"/>
              </a:tabLst>
            </a:pPr>
            <a:r>
              <a:rPr lang="af-ZA" altLang="ko-KR" sz="1400" b="1" dirty="0" smtClean="0">
                <a:solidFill>
                  <a:srgbClr val="C00000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25%</a:t>
            </a:r>
            <a:endParaRPr lang="af-ZA" altLang="ko-KR" sz="1100" b="1" dirty="0">
              <a:solidFill>
                <a:srgbClr val="C00000"/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12"/>
            </p:custDataLst>
          </p:nvPr>
        </p:nvSpPr>
        <p:spPr>
          <a:xfrm>
            <a:off x="6110506" y="3437393"/>
            <a:ext cx="359073" cy="153953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latinLnBrk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tabLst>
                <a:tab pos="930275" algn="l"/>
              </a:tabLst>
            </a:pPr>
            <a:r>
              <a:rPr lang="af-ZA" altLang="ko-KR" sz="1400" b="1" dirty="0" smtClean="0">
                <a:solidFill>
                  <a:srgbClr val="C00000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75%</a:t>
            </a:r>
            <a:endParaRPr lang="af-ZA" altLang="ko-KR" sz="1100" b="1" i="1" dirty="0">
              <a:solidFill>
                <a:srgbClr val="C00000"/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13"/>
            </p:custDataLst>
          </p:nvPr>
        </p:nvSpPr>
        <p:spPr>
          <a:xfrm>
            <a:off x="2388899" y="5114734"/>
            <a:ext cx="601126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DB JV</a:t>
            </a:r>
            <a:endParaRPr lang="en-US" altLang="ko-KR" sz="2000" b="1" dirty="0">
              <a:solidFill>
                <a:schemeClr val="bg2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14"/>
            </p:custDataLst>
          </p:nvPr>
        </p:nvSpPr>
        <p:spPr>
          <a:xfrm>
            <a:off x="6634673" y="5114734"/>
            <a:ext cx="819134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O</a:t>
            </a:r>
            <a:r>
              <a:rPr lang="en-US" altLang="ko-KR" sz="14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&amp;</a:t>
            </a: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M JV</a:t>
            </a:r>
            <a:endParaRPr lang="en-US" altLang="ko-KR" sz="2000" b="1" dirty="0">
              <a:solidFill>
                <a:schemeClr val="bg2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cxnSp>
        <p:nvCxnSpPr>
          <p:cNvPr id="94" name="Straight Connector 93"/>
          <p:cNvCxnSpPr/>
          <p:nvPr>
            <p:custDataLst>
              <p:tags r:id="rId15"/>
            </p:custDataLst>
          </p:nvPr>
        </p:nvCxnSpPr>
        <p:spPr>
          <a:xfrm>
            <a:off x="5555830" y="3603671"/>
            <a:ext cx="1563837" cy="13129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>
            <a:stCxn id="76" idx="3"/>
          </p:cNvCxnSpPr>
          <p:nvPr>
            <p:custDataLst>
              <p:tags r:id="rId16"/>
            </p:custDataLst>
          </p:nvPr>
        </p:nvCxnSpPr>
        <p:spPr>
          <a:xfrm flipV="1">
            <a:off x="2780994" y="3603672"/>
            <a:ext cx="1574875" cy="4152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oup 97"/>
          <p:cNvGrpSpPr/>
          <p:nvPr>
            <p:custDataLst>
              <p:tags r:id="rId17"/>
            </p:custDataLst>
          </p:nvPr>
        </p:nvGrpSpPr>
        <p:grpSpPr>
          <a:xfrm>
            <a:off x="4029241" y="4043801"/>
            <a:ext cx="1978809" cy="1285501"/>
            <a:chOff x="3923607" y="3745813"/>
            <a:chExt cx="2075752" cy="1070859"/>
          </a:xfrm>
        </p:grpSpPr>
        <p:cxnSp>
          <p:nvCxnSpPr>
            <p:cNvPr id="99" name="Straight Connector 98"/>
            <p:cNvCxnSpPr/>
            <p:nvPr/>
          </p:nvCxnSpPr>
          <p:spPr>
            <a:xfrm flipV="1">
              <a:off x="3923607" y="3745813"/>
              <a:ext cx="723208" cy="1070859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ot"/>
              <a:headEnd type="stealt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 flipH="1" flipV="1">
              <a:off x="5276151" y="3745813"/>
              <a:ext cx="723208" cy="1070859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ot"/>
              <a:headEnd type="stealt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Straight Connector 100"/>
          <p:cNvCxnSpPr/>
          <p:nvPr>
            <p:custDataLst>
              <p:tags r:id="rId18"/>
            </p:custDataLst>
          </p:nvPr>
        </p:nvCxnSpPr>
        <p:spPr>
          <a:xfrm flipV="1">
            <a:off x="4953001" y="2401173"/>
            <a:ext cx="0" cy="769835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>
            <p:custDataLst>
              <p:tags r:id="rId19"/>
            </p:custDataLst>
          </p:nvPr>
        </p:nvSpPr>
        <p:spPr>
          <a:xfrm>
            <a:off x="8819398" y="2610813"/>
            <a:ext cx="516745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Debt</a:t>
            </a:r>
            <a:endParaRPr lang="en-US" altLang="ko-KR" sz="2000" b="1" dirty="0">
              <a:solidFill>
                <a:schemeClr val="bg2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pic>
        <p:nvPicPr>
          <p:cNvPr id="142" name="Picture 3" descr="C:\Users\20150080\Desktop\logo_KGM.jp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 rotWithShape="1">
          <a:blip r:embed="rId66" cstate="print">
            <a:extLst>
              <a:ext uri="{BEBA8EAE-BF5A-486C-A8C5-ECC9F3942E4B}">
                <a14:imgProps xmlns:a14="http://schemas.microsoft.com/office/drawing/2010/main">
                  <a14:imgLayer r:embed="rId6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494" t="13994" r="23494" b="13994"/>
          <a:stretch/>
        </p:blipFill>
        <p:spPr bwMode="auto">
          <a:xfrm>
            <a:off x="3994010" y="1790007"/>
            <a:ext cx="522150" cy="531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" name="TextBox 142"/>
          <p:cNvSpPr txBox="1"/>
          <p:nvPr>
            <p:custDataLst>
              <p:tags r:id="rId21"/>
            </p:custDataLst>
          </p:nvPr>
        </p:nvSpPr>
        <p:spPr>
          <a:xfrm>
            <a:off x="2748653" y="761394"/>
            <a:ext cx="614784" cy="25237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l" rtl="1" latinLnBrk="0">
              <a:lnSpc>
                <a:spcPct val="80000"/>
              </a:lnSpc>
            </a:pPr>
            <a:r>
              <a:rPr lang="en-US" altLang="ko-KR" sz="2000" b="1" dirty="0" smtClean="0">
                <a:solidFill>
                  <a:schemeClr val="bg2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Client</a:t>
            </a:r>
            <a:endParaRPr lang="en-US" altLang="ko-KR" sz="2000" b="1" dirty="0">
              <a:solidFill>
                <a:schemeClr val="bg2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pic>
        <p:nvPicPr>
          <p:cNvPr id="157" name="Picture 156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477" y="3059073"/>
            <a:ext cx="603439" cy="97764"/>
          </a:xfrm>
          <a:prstGeom prst="rect">
            <a:avLst/>
          </a:prstGeom>
        </p:spPr>
      </p:pic>
      <p:sp>
        <p:nvSpPr>
          <p:cNvPr id="186" name="Rounded Rectangle 185"/>
          <p:cNvSpPr/>
          <p:nvPr>
            <p:custDataLst>
              <p:tags r:id="rId23"/>
            </p:custDataLst>
          </p:nvPr>
        </p:nvSpPr>
        <p:spPr bwMode="auto">
          <a:xfrm>
            <a:off x="2696569" y="991745"/>
            <a:ext cx="2203326" cy="648000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pic>
        <p:nvPicPr>
          <p:cNvPr id="2066" name="Picture 18" descr="https://media.licdn.com/media/p/1/000/1ab/0a2/15e4e48.png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 rotWithShape="1"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750" b="7375"/>
          <a:stretch/>
        </p:blipFill>
        <p:spPr bwMode="auto">
          <a:xfrm>
            <a:off x="2855064" y="1016976"/>
            <a:ext cx="598713" cy="602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8" name="TextBox 187"/>
          <p:cNvSpPr txBox="1"/>
          <p:nvPr>
            <p:custDataLst>
              <p:tags r:id="rId25"/>
            </p:custDataLst>
          </p:nvPr>
        </p:nvSpPr>
        <p:spPr>
          <a:xfrm>
            <a:off x="4565377" y="1920645"/>
            <a:ext cx="1324589" cy="323999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ko-KR"/>
            </a:defPPr>
            <a:lvl1pPr algn="ctr" latinLnBrk="0">
              <a:lnSpc>
                <a:spcPct val="70000"/>
              </a:lnSpc>
              <a:tabLst>
                <a:tab pos="930275" algn="l"/>
              </a:tabLst>
              <a:defRPr sz="1050" b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algn="l"/>
            <a:r>
              <a:rPr lang="en-US" altLang="ko-KR" sz="1400" b="0" dirty="0" smtClean="0">
                <a:solidFill>
                  <a:srgbClr val="46608A"/>
                </a:solidFill>
              </a:rPr>
              <a:t>KGM(Turkey)</a:t>
            </a:r>
          </a:p>
          <a:p>
            <a:pPr algn="l"/>
            <a:r>
              <a:rPr lang="en-US" altLang="ko-KR" sz="800" cap="small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(General </a:t>
            </a:r>
            <a:r>
              <a:rPr lang="en-US" altLang="ko-KR" sz="800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directorate of </a:t>
            </a:r>
            <a:r>
              <a:rPr lang="en-US" altLang="ko-KR" sz="800" cap="small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highways)</a:t>
            </a:r>
            <a:endParaRPr lang="en-US" altLang="ko-KR" sz="800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sp>
        <p:nvSpPr>
          <p:cNvPr id="189" name="TextBox 188"/>
          <p:cNvSpPr txBox="1"/>
          <p:nvPr>
            <p:custDataLst>
              <p:tags r:id="rId26"/>
            </p:custDataLst>
          </p:nvPr>
        </p:nvSpPr>
        <p:spPr>
          <a:xfrm>
            <a:off x="3512800" y="1224111"/>
            <a:ext cx="1309654" cy="177934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>
            <a:defPPr>
              <a:defRPr lang="ko-KR"/>
            </a:defPPr>
            <a:lvl1pPr algn="ctr" latinLnBrk="0">
              <a:lnSpc>
                <a:spcPct val="70000"/>
              </a:lnSpc>
              <a:tabLst>
                <a:tab pos="930275" algn="l"/>
              </a:tabLst>
              <a:defRPr sz="1050" b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algn="l"/>
            <a:r>
              <a:rPr lang="af-ZA" altLang="ko-KR" sz="800" dirty="0" smtClean="0">
                <a:solidFill>
                  <a:srgbClr val="46608A"/>
                </a:solidFill>
              </a:rPr>
              <a:t>Turkey Ministry of Transport,</a:t>
            </a:r>
          </a:p>
          <a:p>
            <a:pPr algn="l"/>
            <a:r>
              <a:rPr lang="af-ZA" altLang="ko-KR" sz="800" dirty="0" smtClean="0">
                <a:solidFill>
                  <a:srgbClr val="46608A"/>
                </a:solidFill>
              </a:rPr>
              <a:t>Maritime and communications</a:t>
            </a:r>
            <a:endParaRPr lang="af-ZA" altLang="ko-KR" sz="800" dirty="0">
              <a:solidFill>
                <a:srgbClr val="46608A"/>
              </a:solidFill>
            </a:endParaRPr>
          </a:p>
        </p:txBody>
      </p:sp>
      <p:sp>
        <p:nvSpPr>
          <p:cNvPr id="192" name="Rounded Rectangle 191"/>
          <p:cNvSpPr/>
          <p:nvPr>
            <p:custDataLst>
              <p:tags r:id="rId27"/>
            </p:custDataLst>
          </p:nvPr>
        </p:nvSpPr>
        <p:spPr bwMode="auto">
          <a:xfrm>
            <a:off x="5009842" y="989891"/>
            <a:ext cx="2203326" cy="648000"/>
          </a:xfrm>
          <a:prstGeom prst="roundRect">
            <a:avLst>
              <a:gd name="adj" fmla="val 10513"/>
            </a:avLst>
          </a:prstGeom>
          <a:solidFill>
            <a:srgbClr val="FFFFFF">
              <a:alpha val="74902"/>
            </a:srgbClr>
          </a:solidFill>
          <a:ln w="9525" cap="flat" cmpd="sng" algn="ctr">
            <a:solidFill>
              <a:schemeClr val="accent3">
                <a:lumMod val="20000"/>
                <a:lumOff val="80000"/>
              </a:schemeClr>
            </a:solidFill>
            <a:prstDash val="solid"/>
            <a:miter lim="800000"/>
          </a:ln>
          <a:effectLst/>
          <a:extLst/>
        </p:spPr>
        <p:txBody>
          <a:bodyPr lIns="0" tIns="0" rIns="0" bIns="0" rtlCol="0" anchor="ctr"/>
          <a:lstStyle/>
          <a:p>
            <a:pPr algn="ctr" defTabSz="914400" latinLnBrk="0">
              <a:lnSpc>
                <a:spcPct val="90000"/>
              </a:lnSpc>
            </a:pPr>
            <a:endParaRPr 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193" name="TextBox 192"/>
          <p:cNvSpPr txBox="1"/>
          <p:nvPr>
            <p:custDataLst>
              <p:tags r:id="rId28"/>
            </p:custDataLst>
          </p:nvPr>
        </p:nvSpPr>
        <p:spPr>
          <a:xfrm>
            <a:off x="5989549" y="1292676"/>
            <a:ext cx="1130118" cy="91756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>
            <a:defPPr>
              <a:defRPr lang="ko-KR"/>
            </a:defPPr>
            <a:lvl1pPr algn="ctr" latinLnBrk="0">
              <a:lnSpc>
                <a:spcPct val="70000"/>
              </a:lnSpc>
              <a:tabLst>
                <a:tab pos="930275" algn="l"/>
              </a:tabLst>
              <a:defRPr sz="1050" b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algn="l"/>
            <a:r>
              <a:rPr lang="en-US" altLang="ko-KR" sz="800" dirty="0" smtClean="0">
                <a:solidFill>
                  <a:srgbClr val="46608A"/>
                </a:solidFill>
              </a:rPr>
              <a:t>Turkey Ministry of Finance</a:t>
            </a:r>
            <a:endParaRPr lang="af-ZA" altLang="ko-KR" sz="800" dirty="0">
              <a:solidFill>
                <a:srgbClr val="46608A"/>
              </a:solidFill>
            </a:endParaRPr>
          </a:p>
        </p:txBody>
      </p:sp>
      <p:pic>
        <p:nvPicPr>
          <p:cNvPr id="2068" name="Picture 20" descr="http://www.crwflags.com/fotw/images/t/tr_mali.gif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 rotWithShape="1"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75" t="14638" r="16575" b="14638"/>
          <a:stretch/>
        </p:blipFill>
        <p:spPr bwMode="auto">
          <a:xfrm>
            <a:off x="5224234" y="1076287"/>
            <a:ext cx="681821" cy="480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8" name="TextBox 197"/>
          <p:cNvSpPr txBox="1"/>
          <p:nvPr>
            <p:custDataLst>
              <p:tags r:id="rId30"/>
            </p:custDataLst>
          </p:nvPr>
        </p:nvSpPr>
        <p:spPr>
          <a:xfrm>
            <a:off x="6239324" y="2217408"/>
            <a:ext cx="1809278" cy="296235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ko-KR"/>
            </a:defPPr>
            <a:lvl1pPr algn="ctr" latinLnBrk="0">
              <a:lnSpc>
                <a:spcPct val="70000"/>
              </a:lnSpc>
              <a:tabLst>
                <a:tab pos="930275" algn="l"/>
              </a:tabLst>
              <a:defRPr sz="1050" b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ko-KR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A</a:t>
            </a:r>
          </a:p>
          <a:p>
            <a:pPr>
              <a:defRPr/>
            </a:pPr>
            <a:r>
              <a:rPr lang="en-US" altLang="ko-KR" sz="950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(Debt Assumption Agreement)</a:t>
            </a:r>
            <a:endParaRPr lang="af-ZA" altLang="ko-KR" sz="950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sp>
        <p:nvSpPr>
          <p:cNvPr id="72" name="Freeform 71"/>
          <p:cNvSpPr/>
          <p:nvPr>
            <p:custDataLst>
              <p:tags r:id="rId31"/>
            </p:custDataLst>
          </p:nvPr>
        </p:nvSpPr>
        <p:spPr bwMode="auto">
          <a:xfrm flipH="1">
            <a:off x="3227471" y="1639745"/>
            <a:ext cx="569762" cy="416241"/>
          </a:xfrm>
          <a:custGeom>
            <a:avLst/>
            <a:gdLst>
              <a:gd name="connsiteX0" fmla="*/ 1616660 w 1616660"/>
              <a:gd name="connsiteY0" fmla="*/ 0 h 775411"/>
              <a:gd name="connsiteX1" fmla="*/ 1616660 w 1616660"/>
              <a:gd name="connsiteY1" fmla="*/ 775411 h 775411"/>
              <a:gd name="connsiteX2" fmla="*/ 1550823 w 1616660"/>
              <a:gd name="connsiteY2" fmla="*/ 775411 h 775411"/>
              <a:gd name="connsiteX3" fmla="*/ 0 w 1616660"/>
              <a:gd name="connsiteY3" fmla="*/ 775411 h 775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6660" h="775411">
                <a:moveTo>
                  <a:pt x="1616660" y="0"/>
                </a:moveTo>
                <a:lnTo>
                  <a:pt x="1616660" y="775411"/>
                </a:lnTo>
                <a:lnTo>
                  <a:pt x="1550823" y="775411"/>
                </a:lnTo>
                <a:lnTo>
                  <a:pt x="0" y="775411"/>
                </a:lnTo>
              </a:path>
            </a:pathLst>
          </a:cu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  <a:headEnd type="none"/>
            <a:tailEnd type="stealth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그룹 1"/>
          <p:cNvGrpSpPr/>
          <p:nvPr>
            <p:custDataLst>
              <p:tags r:id="rId32"/>
            </p:custDataLst>
          </p:nvPr>
        </p:nvGrpSpPr>
        <p:grpSpPr>
          <a:xfrm>
            <a:off x="956286" y="3072890"/>
            <a:ext cx="1280617" cy="1239120"/>
            <a:chOff x="1174991" y="3317455"/>
            <a:chExt cx="907926" cy="878505"/>
          </a:xfrm>
        </p:grpSpPr>
        <p:sp>
          <p:nvSpPr>
            <p:cNvPr id="103" name="Pie 412"/>
            <p:cNvSpPr/>
            <p:nvPr/>
          </p:nvSpPr>
          <p:spPr bwMode="auto">
            <a:xfrm>
              <a:off x="1204410" y="3317455"/>
              <a:ext cx="878507" cy="878505"/>
            </a:xfrm>
            <a:prstGeom prst="pie">
              <a:avLst>
                <a:gd name="adj1" fmla="val 16194508"/>
                <a:gd name="adj2" fmla="val 21591304"/>
              </a:avLst>
            </a:prstGeom>
            <a:solidFill>
              <a:schemeClr val="accent3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4" name="Pie 414"/>
            <p:cNvSpPr/>
            <p:nvPr/>
          </p:nvSpPr>
          <p:spPr bwMode="auto">
            <a:xfrm>
              <a:off x="1174991" y="3378888"/>
              <a:ext cx="816740" cy="816739"/>
            </a:xfrm>
            <a:prstGeom prst="pie">
              <a:avLst>
                <a:gd name="adj1" fmla="val 5404240"/>
                <a:gd name="adj2" fmla="val 10799754"/>
              </a:avLst>
            </a:prstGeom>
            <a:solidFill>
              <a:schemeClr val="accent4">
                <a:lumMod val="50000"/>
              </a:schemeClr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1341648" y="3895429"/>
              <a:ext cx="161381" cy="96011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9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1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0" name="Pie 412"/>
            <p:cNvSpPr/>
            <p:nvPr/>
          </p:nvSpPr>
          <p:spPr bwMode="auto">
            <a:xfrm>
              <a:off x="1174991" y="3347639"/>
              <a:ext cx="816740" cy="816739"/>
            </a:xfrm>
            <a:prstGeom prst="pie">
              <a:avLst>
                <a:gd name="adj1" fmla="val 10796468"/>
                <a:gd name="adj2" fmla="val 16191456"/>
              </a:avLst>
            </a:prstGeom>
            <a:solidFill>
              <a:srgbClr val="0070C0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1341648" y="3552215"/>
              <a:ext cx="161381" cy="96011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9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1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14" name="Pie 412"/>
            <p:cNvSpPr/>
            <p:nvPr/>
          </p:nvSpPr>
          <p:spPr bwMode="auto">
            <a:xfrm>
              <a:off x="1235294" y="3379221"/>
              <a:ext cx="816740" cy="816739"/>
            </a:xfrm>
            <a:prstGeom prst="pie">
              <a:avLst>
                <a:gd name="adj1" fmla="val 21588060"/>
                <a:gd name="adj2" fmla="val 5413412"/>
              </a:avLst>
            </a:prstGeom>
            <a:solidFill>
              <a:srgbClr val="E23600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1743521" y="3894552"/>
              <a:ext cx="177292" cy="107376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10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2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1743521" y="3538751"/>
              <a:ext cx="177292" cy="107376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10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2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</p:grpSp>
      <p:pic>
        <p:nvPicPr>
          <p:cNvPr id="126" name="Picture 125"/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603" y="5552614"/>
            <a:ext cx="603439" cy="97764"/>
          </a:xfrm>
          <a:prstGeom prst="rect">
            <a:avLst/>
          </a:prstGeom>
        </p:spPr>
      </p:pic>
      <p:grpSp>
        <p:nvGrpSpPr>
          <p:cNvPr id="136" name="그룹 1"/>
          <p:cNvGrpSpPr/>
          <p:nvPr>
            <p:custDataLst>
              <p:tags r:id="rId34"/>
            </p:custDataLst>
          </p:nvPr>
        </p:nvGrpSpPr>
        <p:grpSpPr>
          <a:xfrm>
            <a:off x="3020737" y="5538526"/>
            <a:ext cx="836368" cy="840579"/>
            <a:chOff x="1218620" y="3316976"/>
            <a:chExt cx="882982" cy="887428"/>
          </a:xfrm>
        </p:grpSpPr>
        <p:sp>
          <p:nvSpPr>
            <p:cNvPr id="149" name="Pie 411"/>
            <p:cNvSpPr/>
            <p:nvPr/>
          </p:nvSpPr>
          <p:spPr bwMode="auto">
            <a:xfrm>
              <a:off x="1254198" y="3387665"/>
              <a:ext cx="816740" cy="816739"/>
            </a:xfrm>
            <a:prstGeom prst="pie">
              <a:avLst>
                <a:gd name="adj1" fmla="val 21585512"/>
                <a:gd name="adj2" fmla="val 5392033"/>
              </a:avLst>
            </a:prstGeom>
            <a:solidFill>
              <a:srgbClr val="E23600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2" name="Pie 414"/>
            <p:cNvSpPr/>
            <p:nvPr/>
          </p:nvSpPr>
          <p:spPr bwMode="auto">
            <a:xfrm>
              <a:off x="1218620" y="3387664"/>
              <a:ext cx="816740" cy="816739"/>
            </a:xfrm>
            <a:prstGeom prst="pie">
              <a:avLst>
                <a:gd name="adj1" fmla="val 5404240"/>
                <a:gd name="adj2" fmla="val 10799754"/>
              </a:avLst>
            </a:prstGeom>
            <a:solidFill>
              <a:schemeClr val="accent4">
                <a:lumMod val="50000"/>
              </a:schemeClr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1337033" y="3862371"/>
              <a:ext cx="240313" cy="142970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9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1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58" name="Pie 412"/>
            <p:cNvSpPr/>
            <p:nvPr/>
          </p:nvSpPr>
          <p:spPr bwMode="auto">
            <a:xfrm>
              <a:off x="1218620" y="3347639"/>
              <a:ext cx="816740" cy="816739"/>
            </a:xfrm>
            <a:prstGeom prst="pie">
              <a:avLst>
                <a:gd name="adj1" fmla="val 10796468"/>
                <a:gd name="adj2" fmla="val 16191456"/>
              </a:avLst>
            </a:prstGeom>
            <a:solidFill>
              <a:srgbClr val="0070C0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0" name="TextBox 159"/>
            <p:cNvSpPr txBox="1"/>
            <p:nvPr/>
          </p:nvSpPr>
          <p:spPr>
            <a:xfrm>
              <a:off x="1337033" y="3531258"/>
              <a:ext cx="240313" cy="146558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9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1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1684337" y="3862370"/>
              <a:ext cx="240313" cy="146558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9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1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162" name="Pie 412"/>
            <p:cNvSpPr/>
            <p:nvPr/>
          </p:nvSpPr>
          <p:spPr bwMode="auto">
            <a:xfrm>
              <a:off x="1223534" y="3316976"/>
              <a:ext cx="878068" cy="878067"/>
            </a:xfrm>
            <a:prstGeom prst="pie">
              <a:avLst>
                <a:gd name="adj1" fmla="val 16187190"/>
                <a:gd name="adj2" fmla="val 21590821"/>
              </a:avLst>
            </a:prstGeom>
            <a:solidFill>
              <a:srgbClr val="1B2E5A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0" name="TextBox 169"/>
            <p:cNvSpPr txBox="1"/>
            <p:nvPr/>
          </p:nvSpPr>
          <p:spPr>
            <a:xfrm>
              <a:off x="1710666" y="3504928"/>
              <a:ext cx="264005" cy="159893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10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2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</p:grpSp>
      <p:pic>
        <p:nvPicPr>
          <p:cNvPr id="203" name="Picture 202"/>
          <p:cNvPicPr>
            <a:picLocks noChangeAspect="1"/>
          </p:cNvPicPr>
          <p:nvPr>
            <p:custDataLst>
              <p:tags r:id="rId35"/>
            </p:custDataLst>
          </p:nvPr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9686" y="5552614"/>
            <a:ext cx="603439" cy="97764"/>
          </a:xfrm>
          <a:prstGeom prst="rect">
            <a:avLst/>
          </a:prstGeom>
        </p:spPr>
      </p:pic>
      <p:grpSp>
        <p:nvGrpSpPr>
          <p:cNvPr id="204" name="그룹 1"/>
          <p:cNvGrpSpPr/>
          <p:nvPr>
            <p:custDataLst>
              <p:tags r:id="rId36"/>
            </p:custDataLst>
          </p:nvPr>
        </p:nvGrpSpPr>
        <p:grpSpPr>
          <a:xfrm>
            <a:off x="6079820" y="5538526"/>
            <a:ext cx="836368" cy="840579"/>
            <a:chOff x="1218620" y="3316976"/>
            <a:chExt cx="882982" cy="887428"/>
          </a:xfrm>
        </p:grpSpPr>
        <p:sp>
          <p:nvSpPr>
            <p:cNvPr id="208" name="Pie 411"/>
            <p:cNvSpPr/>
            <p:nvPr/>
          </p:nvSpPr>
          <p:spPr bwMode="auto">
            <a:xfrm>
              <a:off x="1254198" y="3387665"/>
              <a:ext cx="816740" cy="816739"/>
            </a:xfrm>
            <a:prstGeom prst="pie">
              <a:avLst>
                <a:gd name="adj1" fmla="val 21585512"/>
                <a:gd name="adj2" fmla="val 5392033"/>
              </a:avLst>
            </a:prstGeom>
            <a:solidFill>
              <a:srgbClr val="E23600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9" name="Pie 414"/>
            <p:cNvSpPr/>
            <p:nvPr/>
          </p:nvSpPr>
          <p:spPr bwMode="auto">
            <a:xfrm>
              <a:off x="1218620" y="3387664"/>
              <a:ext cx="816740" cy="816739"/>
            </a:xfrm>
            <a:prstGeom prst="pie">
              <a:avLst>
                <a:gd name="adj1" fmla="val 5404240"/>
                <a:gd name="adj2" fmla="val 10799754"/>
              </a:avLst>
            </a:prstGeom>
            <a:solidFill>
              <a:schemeClr val="accent4">
                <a:lumMod val="50000"/>
              </a:schemeClr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10" name="TextBox 209"/>
            <p:cNvSpPr txBox="1"/>
            <p:nvPr/>
          </p:nvSpPr>
          <p:spPr>
            <a:xfrm>
              <a:off x="1337033" y="3862371"/>
              <a:ext cx="240313" cy="142970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9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1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1" name="Pie 412"/>
            <p:cNvSpPr/>
            <p:nvPr/>
          </p:nvSpPr>
          <p:spPr bwMode="auto">
            <a:xfrm>
              <a:off x="1218620" y="3347639"/>
              <a:ext cx="816740" cy="816739"/>
            </a:xfrm>
            <a:prstGeom prst="pie">
              <a:avLst>
                <a:gd name="adj1" fmla="val 10796468"/>
                <a:gd name="adj2" fmla="val 16191456"/>
              </a:avLst>
            </a:prstGeom>
            <a:solidFill>
              <a:srgbClr val="0070C0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12" name="TextBox 211"/>
            <p:cNvSpPr txBox="1"/>
            <p:nvPr/>
          </p:nvSpPr>
          <p:spPr>
            <a:xfrm>
              <a:off x="1337033" y="3531258"/>
              <a:ext cx="240313" cy="146558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9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1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3" name="TextBox 212"/>
            <p:cNvSpPr txBox="1"/>
            <p:nvPr/>
          </p:nvSpPr>
          <p:spPr>
            <a:xfrm>
              <a:off x="1684337" y="3862370"/>
              <a:ext cx="240313" cy="146558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1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9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1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14" name="Pie 412"/>
            <p:cNvSpPr/>
            <p:nvPr/>
          </p:nvSpPr>
          <p:spPr bwMode="auto">
            <a:xfrm>
              <a:off x="1223534" y="3316976"/>
              <a:ext cx="878068" cy="878067"/>
            </a:xfrm>
            <a:prstGeom prst="pie">
              <a:avLst>
                <a:gd name="adj1" fmla="val 16187190"/>
                <a:gd name="adj2" fmla="val 21590821"/>
              </a:avLst>
            </a:prstGeom>
            <a:solidFill>
              <a:srgbClr val="1B2E5A"/>
            </a:solidFill>
            <a:ln w="3175" cap="flat" cmpd="sng" algn="ctr">
              <a:noFill/>
              <a:prstDash val="solid"/>
              <a:miter lim="800000"/>
            </a:ln>
            <a:effectLst/>
            <a:extLst/>
          </p:spPr>
          <p:txBody>
            <a:bodyPr lIns="45720" tIns="27432" rIns="45720" bIns="27432" rtlCol="0" anchor="ctr"/>
            <a:lstStyle/>
            <a:p>
              <a:pPr algn="ctr" defTabSz="914400" latinLnBrk="0">
                <a:lnSpc>
                  <a:spcPct val="90000"/>
                </a:lnSpc>
              </a:pPr>
              <a:endParaRPr lang="en-US" sz="1200" b="1" kern="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15" name="TextBox 214"/>
            <p:cNvSpPr txBox="1"/>
            <p:nvPr/>
          </p:nvSpPr>
          <p:spPr>
            <a:xfrm>
              <a:off x="1710666" y="3504928"/>
              <a:ext cx="264005" cy="159893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12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25</a:t>
              </a:r>
              <a:r>
                <a:rPr lang="en-US" altLang="ko-KR" sz="1000" b="1" dirty="0" smtClean="0">
                  <a:solidFill>
                    <a:schemeClr val="bg1"/>
                  </a:solidFill>
                  <a:latin typeface="Calibri" panose="020F0502020204030204" pitchFamily="34" charset="0"/>
                  <a:ea typeface="맑은 고딕" pitchFamily="50" charset="-127"/>
                  <a:cs typeface="Arial" panose="020B0604020202020204" pitchFamily="34" charset="0"/>
                </a:rPr>
                <a:t>%</a:t>
              </a:r>
              <a:endParaRPr lang="en-US" altLang="ko-KR" sz="1200" b="1" dirty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</p:grpSp>
      <p:pic>
        <p:nvPicPr>
          <p:cNvPr id="117" name="Picture 3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 rotWithShape="1">
          <a:blip r:embed="rId7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05" r="6458"/>
          <a:stretch/>
        </p:blipFill>
        <p:spPr bwMode="auto">
          <a:xfrm>
            <a:off x="2167377" y="4077090"/>
            <a:ext cx="444594" cy="264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" name="Picture 3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 rotWithShape="1">
          <a:blip r:embed="rId7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05" r="6458"/>
          <a:stretch/>
        </p:blipFill>
        <p:spPr bwMode="auto">
          <a:xfrm>
            <a:off x="3797233" y="6158169"/>
            <a:ext cx="444594" cy="264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0" name="Picture 3"/>
          <p:cNvPicPr>
            <a:picLocks noChangeAspect="1" noChangeArrowheads="1"/>
          </p:cNvPicPr>
          <p:nvPr>
            <p:custDataLst>
              <p:tags r:id="rId39"/>
            </p:custDataLst>
          </p:nvPr>
        </p:nvPicPr>
        <p:blipFill rotWithShape="1">
          <a:blip r:embed="rId7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05" r="6458"/>
          <a:stretch/>
        </p:blipFill>
        <p:spPr bwMode="auto">
          <a:xfrm>
            <a:off x="6884886" y="6158169"/>
            <a:ext cx="444594" cy="264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1" name="Picture 2" descr="D:\04 기타\01 사진 및 그림\Logo\01 CI\터키\20b77a4.png"/>
          <p:cNvPicPr>
            <a:picLocks noChangeAspect="1" noChangeArrowheads="1"/>
          </p:cNvPicPr>
          <p:nvPr>
            <p:custDataLst>
              <p:tags r:id="rId40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669" y="3150286"/>
            <a:ext cx="496926" cy="170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4"/>
          <p:cNvPicPr>
            <a:picLocks noChangeAspect="1" noChangeArrowheads="1"/>
          </p:cNvPicPr>
          <p:nvPr>
            <p:custDataLst>
              <p:tags r:id="rId41"/>
            </p:custDataLst>
          </p:nvPr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28" y="4177963"/>
            <a:ext cx="679299" cy="146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직선 연결선 3"/>
          <p:cNvCxnSpPr>
            <a:stCxn id="76" idx="0"/>
            <a:endCxn id="76" idx="2"/>
          </p:cNvCxnSpPr>
          <p:nvPr>
            <p:custDataLst>
              <p:tags r:id="rId42"/>
            </p:custDataLst>
          </p:nvPr>
        </p:nvCxnSpPr>
        <p:spPr>
          <a:xfrm>
            <a:off x="1571601" y="2730174"/>
            <a:ext cx="0" cy="1755300"/>
          </a:xfrm>
          <a:prstGeom prst="line">
            <a:avLst/>
          </a:prstGeom>
          <a:ln>
            <a:solidFill>
              <a:schemeClr val="accent3">
                <a:lumMod val="20000"/>
                <a:lumOff val="8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D:\04 기타\01 사진 및 그림\국기\Flag_of_South_Korea.svg.png"/>
          <p:cNvPicPr>
            <a:picLocks noChangeAspect="1" noChangeArrowheads="1"/>
          </p:cNvPicPr>
          <p:nvPr>
            <p:custDataLst>
              <p:tags r:id="rId43"/>
            </p:custDataLst>
          </p:nvPr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149" y="2778511"/>
            <a:ext cx="190921" cy="127249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10"/>
          <p:cNvPicPr>
            <a:picLocks noChangeArrowheads="1"/>
          </p:cNvPicPr>
          <p:nvPr>
            <p:custDataLst>
              <p:tags r:id="rId44"/>
            </p:custDataLst>
          </p:nvPr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1563" y="2778511"/>
            <a:ext cx="177689" cy="127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0" name="Picture 2" descr="D:\04 기타\01 사진 및 그림\Logo\01 CI\터키\20b77a4.png"/>
          <p:cNvPicPr>
            <a:picLocks noChangeAspect="1" noChangeArrowheads="1"/>
          </p:cNvPicPr>
          <p:nvPr>
            <p:custDataLst>
              <p:tags r:id="rId45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195" y="5563930"/>
            <a:ext cx="496926" cy="170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4"/>
          <p:cNvPicPr>
            <a:picLocks noChangeAspect="1" noChangeArrowheads="1"/>
          </p:cNvPicPr>
          <p:nvPr>
            <p:custDataLst>
              <p:tags r:id="rId46"/>
            </p:custDataLst>
          </p:nvPr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085" y="6325315"/>
            <a:ext cx="679299" cy="146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" name="Picture 2" descr="D:\04 기타\01 사진 및 그림\Logo\01 CI\터키\20b77a4.png"/>
          <p:cNvPicPr>
            <a:picLocks noChangeAspect="1" noChangeArrowheads="1"/>
          </p:cNvPicPr>
          <p:nvPr>
            <p:custDataLst>
              <p:tags r:id="rId47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602" y="5563930"/>
            <a:ext cx="496926" cy="170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4"/>
          <p:cNvPicPr>
            <a:picLocks noChangeAspect="1" noChangeArrowheads="1"/>
          </p:cNvPicPr>
          <p:nvPr>
            <p:custDataLst>
              <p:tags r:id="rId48"/>
            </p:custDataLst>
          </p:nvPr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492" y="6325315"/>
            <a:ext cx="679299" cy="146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2" name="Straight Connector 100"/>
          <p:cNvCxnSpPr/>
          <p:nvPr>
            <p:custDataLst>
              <p:tags r:id="rId49"/>
            </p:custDataLst>
          </p:nvPr>
        </p:nvCxnSpPr>
        <p:spPr>
          <a:xfrm flipV="1">
            <a:off x="6290042" y="1619396"/>
            <a:ext cx="0" cy="170166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  <a:headEnd type="stealt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>
            <p:custDataLst>
              <p:tags r:id="rId50"/>
            </p:custDataLst>
          </p:nvPr>
        </p:nvSpPr>
        <p:spPr>
          <a:xfrm>
            <a:off x="8152218" y="3523070"/>
            <a:ext cx="179536" cy="174920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latinLnBrk="0">
              <a:lnSpc>
                <a:spcPct val="80000"/>
              </a:lnSpc>
            </a:pPr>
            <a:r>
              <a:rPr lang="ko-KR" altLang="en-US" sz="1400" b="1" dirty="0" smtClean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정</a:t>
            </a:r>
            <a:endParaRPr lang="en-US" altLang="ko-KR" sz="1400" b="1" dirty="0">
              <a:solidFill>
                <a:schemeClr val="bg1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13" name="Rectangle 2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0" y="0"/>
            <a:ext cx="9906000" cy="432000"/>
          </a:xfrm>
          <a:prstGeom prst="rect">
            <a:avLst/>
          </a:prstGeom>
          <a:gradFill>
            <a:gsLst>
              <a:gs pos="59000">
                <a:srgbClr val="4A6093"/>
              </a:gs>
              <a:gs pos="27000">
                <a:schemeClr val="accent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/>
        </p:spPr>
        <p:txBody>
          <a:bodyPr wrap="none" lIns="91423" tIns="45712" rIns="91423" bIns="45712" anchor="ctr"/>
          <a:lstStyle/>
          <a:p>
            <a:pPr algn="ctr"/>
            <a:endParaRPr lang="ko-KR" altLang="ko-KR" sz="1800" dirty="0">
              <a:ea typeface="맑은 고딕" pitchFamily="50" charset="-127"/>
            </a:endParaRPr>
          </a:p>
        </p:txBody>
      </p:sp>
      <p:sp>
        <p:nvSpPr>
          <p:cNvPr id="10" name="AutoShape 12" descr="yapi kredi logo에 대한 이미지 검색결과"/>
          <p:cNvSpPr>
            <a:spLocks noChangeAspect="1" noChangeArrowheads="1"/>
          </p:cNvSpPr>
          <p:nvPr>
            <p:custDataLst>
              <p:tags r:id="rId52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제목 10"/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273000" y="47060"/>
            <a:ext cx="5035758" cy="338982"/>
          </a:xfrm>
          <a:prstGeom prst="rect">
            <a:avLst/>
          </a:prstGeom>
          <a:noFill/>
        </p:spPr>
        <p:txBody>
          <a:bodyPr wrap="none" lIns="71987" tIns="35994" rIns="71987" bIns="35994" anchor="ctr">
            <a:spAutoFit/>
          </a:bodyPr>
          <a:lstStyle>
            <a:lvl1pPr algn="l" defTabSz="914235" rtl="0" eaLnBrk="1" latinLnBrk="0" hangingPunct="1">
              <a:spcBef>
                <a:spcPct val="0"/>
              </a:spcBef>
              <a:buNone/>
              <a:defRPr kumimoji="1" lang="ko-KR" altLang="en-US" sz="1600" b="1" kern="1200" baseline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en-US" altLang="ko-KR" dirty="0" smtClean="0"/>
              <a:t>Turkey </a:t>
            </a:r>
            <a:r>
              <a:rPr lang="en-US" altLang="ko-KR" dirty="0" err="1" smtClean="0"/>
              <a:t>Canakkale</a:t>
            </a:r>
            <a:r>
              <a:rPr lang="en-US" altLang="ko-KR" dirty="0" smtClean="0"/>
              <a:t> Bridge Project : Business Model</a:t>
            </a:r>
          </a:p>
        </p:txBody>
      </p:sp>
      <p:grpSp>
        <p:nvGrpSpPr>
          <p:cNvPr id="139" name="Group 398"/>
          <p:cNvGrpSpPr/>
          <p:nvPr>
            <p:custDataLst>
              <p:tags r:id="rId54"/>
            </p:custDataLst>
          </p:nvPr>
        </p:nvGrpSpPr>
        <p:grpSpPr>
          <a:xfrm>
            <a:off x="9140637" y="16669"/>
            <a:ext cx="764103" cy="415331"/>
            <a:chOff x="1124867" y="3167149"/>
            <a:chExt cx="1196851" cy="650553"/>
          </a:xfrm>
        </p:grpSpPr>
        <p:sp>
          <p:nvSpPr>
            <p:cNvPr id="140" name="Freeform 399"/>
            <p:cNvSpPr/>
            <p:nvPr/>
          </p:nvSpPr>
          <p:spPr>
            <a:xfrm>
              <a:off x="1148586" y="3167149"/>
              <a:ext cx="1170752" cy="501468"/>
            </a:xfrm>
            <a:custGeom>
              <a:avLst/>
              <a:gdLst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926975 w 6168044"/>
                <a:gd name="connsiteY24" fmla="*/ 2144683 h 2460567"/>
                <a:gd name="connsiteX25" fmla="*/ 5652655 w 6168044"/>
                <a:gd name="connsiteY25" fmla="*/ 1911927 h 2460567"/>
                <a:gd name="connsiteX26" fmla="*/ 5095702 w 6168044"/>
                <a:gd name="connsiteY26" fmla="*/ 1363287 h 2460567"/>
                <a:gd name="connsiteX27" fmla="*/ 4713317 w 6168044"/>
                <a:gd name="connsiteY27" fmla="*/ 897774 h 2460567"/>
                <a:gd name="connsiteX28" fmla="*/ 4305993 w 6168044"/>
                <a:gd name="connsiteY28" fmla="*/ 340822 h 2460567"/>
                <a:gd name="connsiteX29" fmla="*/ 4305993 w 6168044"/>
                <a:gd name="connsiteY29" fmla="*/ 2128058 h 2460567"/>
                <a:gd name="connsiteX30" fmla="*/ 4181302 w 6168044"/>
                <a:gd name="connsiteY30" fmla="*/ 2128058 h 2460567"/>
                <a:gd name="connsiteX31" fmla="*/ 4181302 w 6168044"/>
                <a:gd name="connsiteY31" fmla="*/ 266007 h 2460567"/>
                <a:gd name="connsiteX32" fmla="*/ 3840480 w 6168044"/>
                <a:gd name="connsiteY32" fmla="*/ 748145 h 2460567"/>
                <a:gd name="connsiteX33" fmla="*/ 3449782 w 6168044"/>
                <a:gd name="connsiteY33" fmla="*/ 1246909 h 2460567"/>
                <a:gd name="connsiteX34" fmla="*/ 3084022 w 6168044"/>
                <a:gd name="connsiteY34" fmla="*/ 1654233 h 2460567"/>
                <a:gd name="connsiteX35" fmla="*/ 2601884 w 6168044"/>
                <a:gd name="connsiteY35" fmla="*/ 2061556 h 2460567"/>
                <a:gd name="connsiteX36" fmla="*/ 2385753 w 6168044"/>
                <a:gd name="connsiteY36" fmla="*/ 2244436 h 2460567"/>
                <a:gd name="connsiteX37" fmla="*/ 2003367 w 6168044"/>
                <a:gd name="connsiteY37" fmla="*/ 2377440 h 2460567"/>
                <a:gd name="connsiteX38" fmla="*/ 1695797 w 6168044"/>
                <a:gd name="connsiteY38" fmla="*/ 2294313 h 2460567"/>
                <a:gd name="connsiteX39" fmla="*/ 1379913 w 6168044"/>
                <a:gd name="connsiteY39" fmla="*/ 2103120 h 2460567"/>
                <a:gd name="connsiteX40" fmla="*/ 1105593 w 6168044"/>
                <a:gd name="connsiteY40" fmla="*/ 1878676 h 2460567"/>
                <a:gd name="connsiteX41" fmla="*/ 914400 w 6168044"/>
                <a:gd name="connsiteY41" fmla="*/ 1670858 h 2460567"/>
                <a:gd name="connsiteX42" fmla="*/ 665018 w 6168044"/>
                <a:gd name="connsiteY42" fmla="*/ 1305098 h 2460567"/>
                <a:gd name="connsiteX43" fmla="*/ 665018 w 6168044"/>
                <a:gd name="connsiteY43" fmla="*/ 2460567 h 2460567"/>
                <a:gd name="connsiteX44" fmla="*/ 532015 w 6168044"/>
                <a:gd name="connsiteY44" fmla="*/ 2460567 h 2460567"/>
                <a:gd name="connsiteX45" fmla="*/ 540327 w 6168044"/>
                <a:gd name="connsiteY45" fmla="*/ 1596043 h 2460567"/>
                <a:gd name="connsiteX46" fmla="*/ 482138 w 6168044"/>
                <a:gd name="connsiteY46" fmla="*/ 1654233 h 2460567"/>
                <a:gd name="connsiteX47" fmla="*/ 299258 w 6168044"/>
                <a:gd name="connsiteY47" fmla="*/ 2044931 h 2460567"/>
                <a:gd name="connsiteX48" fmla="*/ 116378 w 6168044"/>
                <a:gd name="connsiteY48" fmla="*/ 2360814 h 2460567"/>
                <a:gd name="connsiteX49" fmla="*/ 74815 w 6168044"/>
                <a:gd name="connsiteY49" fmla="*/ 2452254 h 2460567"/>
                <a:gd name="connsiteX50" fmla="*/ 0 w 6168044"/>
                <a:gd name="connsiteY50" fmla="*/ 2377440 h 2460567"/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926975 w 6168044"/>
                <a:gd name="connsiteY24" fmla="*/ 2144683 h 2460567"/>
                <a:gd name="connsiteX25" fmla="*/ 5744564 w 6168044"/>
                <a:gd name="connsiteY25" fmla="*/ 1985880 h 2460567"/>
                <a:gd name="connsiteX26" fmla="*/ 5652655 w 6168044"/>
                <a:gd name="connsiteY26" fmla="*/ 1911927 h 2460567"/>
                <a:gd name="connsiteX27" fmla="*/ 5095702 w 6168044"/>
                <a:gd name="connsiteY27" fmla="*/ 1363287 h 2460567"/>
                <a:gd name="connsiteX28" fmla="*/ 4713317 w 6168044"/>
                <a:gd name="connsiteY28" fmla="*/ 897774 h 2460567"/>
                <a:gd name="connsiteX29" fmla="*/ 4305993 w 6168044"/>
                <a:gd name="connsiteY29" fmla="*/ 340822 h 2460567"/>
                <a:gd name="connsiteX30" fmla="*/ 4305993 w 6168044"/>
                <a:gd name="connsiteY30" fmla="*/ 2128058 h 2460567"/>
                <a:gd name="connsiteX31" fmla="*/ 4181302 w 6168044"/>
                <a:gd name="connsiteY31" fmla="*/ 2128058 h 2460567"/>
                <a:gd name="connsiteX32" fmla="*/ 4181302 w 6168044"/>
                <a:gd name="connsiteY32" fmla="*/ 266007 h 2460567"/>
                <a:gd name="connsiteX33" fmla="*/ 3840480 w 6168044"/>
                <a:gd name="connsiteY33" fmla="*/ 748145 h 2460567"/>
                <a:gd name="connsiteX34" fmla="*/ 3449782 w 6168044"/>
                <a:gd name="connsiteY34" fmla="*/ 1246909 h 2460567"/>
                <a:gd name="connsiteX35" fmla="*/ 3084022 w 6168044"/>
                <a:gd name="connsiteY35" fmla="*/ 1654233 h 2460567"/>
                <a:gd name="connsiteX36" fmla="*/ 2601884 w 6168044"/>
                <a:gd name="connsiteY36" fmla="*/ 2061556 h 2460567"/>
                <a:gd name="connsiteX37" fmla="*/ 2385753 w 6168044"/>
                <a:gd name="connsiteY37" fmla="*/ 2244436 h 2460567"/>
                <a:gd name="connsiteX38" fmla="*/ 2003367 w 6168044"/>
                <a:gd name="connsiteY38" fmla="*/ 2377440 h 2460567"/>
                <a:gd name="connsiteX39" fmla="*/ 1695797 w 6168044"/>
                <a:gd name="connsiteY39" fmla="*/ 2294313 h 2460567"/>
                <a:gd name="connsiteX40" fmla="*/ 1379913 w 6168044"/>
                <a:gd name="connsiteY40" fmla="*/ 2103120 h 2460567"/>
                <a:gd name="connsiteX41" fmla="*/ 1105593 w 6168044"/>
                <a:gd name="connsiteY41" fmla="*/ 1878676 h 2460567"/>
                <a:gd name="connsiteX42" fmla="*/ 914400 w 6168044"/>
                <a:gd name="connsiteY42" fmla="*/ 1670858 h 2460567"/>
                <a:gd name="connsiteX43" fmla="*/ 665018 w 6168044"/>
                <a:gd name="connsiteY43" fmla="*/ 1305098 h 2460567"/>
                <a:gd name="connsiteX44" fmla="*/ 665018 w 6168044"/>
                <a:gd name="connsiteY44" fmla="*/ 2460567 h 2460567"/>
                <a:gd name="connsiteX45" fmla="*/ 532015 w 6168044"/>
                <a:gd name="connsiteY45" fmla="*/ 2460567 h 2460567"/>
                <a:gd name="connsiteX46" fmla="*/ 540327 w 6168044"/>
                <a:gd name="connsiteY46" fmla="*/ 1596043 h 2460567"/>
                <a:gd name="connsiteX47" fmla="*/ 482138 w 6168044"/>
                <a:gd name="connsiteY47" fmla="*/ 1654233 h 2460567"/>
                <a:gd name="connsiteX48" fmla="*/ 299258 w 6168044"/>
                <a:gd name="connsiteY48" fmla="*/ 2044931 h 2460567"/>
                <a:gd name="connsiteX49" fmla="*/ 116378 w 6168044"/>
                <a:gd name="connsiteY49" fmla="*/ 2360814 h 2460567"/>
                <a:gd name="connsiteX50" fmla="*/ 74815 w 6168044"/>
                <a:gd name="connsiteY50" fmla="*/ 2452254 h 2460567"/>
                <a:gd name="connsiteX51" fmla="*/ 0 w 6168044"/>
                <a:gd name="connsiteY51" fmla="*/ 2377440 h 2460567"/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744564 w 6168044"/>
                <a:gd name="connsiteY24" fmla="*/ 1985880 h 2460567"/>
                <a:gd name="connsiteX25" fmla="*/ 5652655 w 6168044"/>
                <a:gd name="connsiteY25" fmla="*/ 1911927 h 2460567"/>
                <a:gd name="connsiteX26" fmla="*/ 5095702 w 6168044"/>
                <a:gd name="connsiteY26" fmla="*/ 1363287 h 2460567"/>
                <a:gd name="connsiteX27" fmla="*/ 4713317 w 6168044"/>
                <a:gd name="connsiteY27" fmla="*/ 897774 h 2460567"/>
                <a:gd name="connsiteX28" fmla="*/ 4305993 w 6168044"/>
                <a:gd name="connsiteY28" fmla="*/ 340822 h 2460567"/>
                <a:gd name="connsiteX29" fmla="*/ 4305993 w 6168044"/>
                <a:gd name="connsiteY29" fmla="*/ 2128058 h 2460567"/>
                <a:gd name="connsiteX30" fmla="*/ 4181302 w 6168044"/>
                <a:gd name="connsiteY30" fmla="*/ 2128058 h 2460567"/>
                <a:gd name="connsiteX31" fmla="*/ 4181302 w 6168044"/>
                <a:gd name="connsiteY31" fmla="*/ 266007 h 2460567"/>
                <a:gd name="connsiteX32" fmla="*/ 3840480 w 6168044"/>
                <a:gd name="connsiteY32" fmla="*/ 748145 h 2460567"/>
                <a:gd name="connsiteX33" fmla="*/ 3449782 w 6168044"/>
                <a:gd name="connsiteY33" fmla="*/ 1246909 h 2460567"/>
                <a:gd name="connsiteX34" fmla="*/ 3084022 w 6168044"/>
                <a:gd name="connsiteY34" fmla="*/ 1654233 h 2460567"/>
                <a:gd name="connsiteX35" fmla="*/ 2601884 w 6168044"/>
                <a:gd name="connsiteY35" fmla="*/ 2061556 h 2460567"/>
                <a:gd name="connsiteX36" fmla="*/ 2385753 w 6168044"/>
                <a:gd name="connsiteY36" fmla="*/ 2244436 h 2460567"/>
                <a:gd name="connsiteX37" fmla="*/ 2003367 w 6168044"/>
                <a:gd name="connsiteY37" fmla="*/ 2377440 h 2460567"/>
                <a:gd name="connsiteX38" fmla="*/ 1695797 w 6168044"/>
                <a:gd name="connsiteY38" fmla="*/ 2294313 h 2460567"/>
                <a:gd name="connsiteX39" fmla="*/ 1379913 w 6168044"/>
                <a:gd name="connsiteY39" fmla="*/ 2103120 h 2460567"/>
                <a:gd name="connsiteX40" fmla="*/ 1105593 w 6168044"/>
                <a:gd name="connsiteY40" fmla="*/ 1878676 h 2460567"/>
                <a:gd name="connsiteX41" fmla="*/ 914400 w 6168044"/>
                <a:gd name="connsiteY41" fmla="*/ 1670858 h 2460567"/>
                <a:gd name="connsiteX42" fmla="*/ 665018 w 6168044"/>
                <a:gd name="connsiteY42" fmla="*/ 1305098 h 2460567"/>
                <a:gd name="connsiteX43" fmla="*/ 665018 w 6168044"/>
                <a:gd name="connsiteY43" fmla="*/ 2460567 h 2460567"/>
                <a:gd name="connsiteX44" fmla="*/ 532015 w 6168044"/>
                <a:gd name="connsiteY44" fmla="*/ 2460567 h 2460567"/>
                <a:gd name="connsiteX45" fmla="*/ 540327 w 6168044"/>
                <a:gd name="connsiteY45" fmla="*/ 1596043 h 2460567"/>
                <a:gd name="connsiteX46" fmla="*/ 482138 w 6168044"/>
                <a:gd name="connsiteY46" fmla="*/ 1654233 h 2460567"/>
                <a:gd name="connsiteX47" fmla="*/ 299258 w 6168044"/>
                <a:gd name="connsiteY47" fmla="*/ 2044931 h 2460567"/>
                <a:gd name="connsiteX48" fmla="*/ 116378 w 6168044"/>
                <a:gd name="connsiteY48" fmla="*/ 2360814 h 2460567"/>
                <a:gd name="connsiteX49" fmla="*/ 74815 w 6168044"/>
                <a:gd name="connsiteY49" fmla="*/ 2452254 h 2460567"/>
                <a:gd name="connsiteX50" fmla="*/ 0 w 6168044"/>
                <a:gd name="connsiteY50" fmla="*/ 2377440 h 2460567"/>
                <a:gd name="connsiteX0" fmla="*/ 0 w 5744564"/>
                <a:gd name="connsiteY0" fmla="*/ 2377440 h 2460567"/>
                <a:gd name="connsiteX1" fmla="*/ 290946 w 5744564"/>
                <a:gd name="connsiteY1" fmla="*/ 1812174 h 2460567"/>
                <a:gd name="connsiteX2" fmla="*/ 565266 w 5744564"/>
                <a:gd name="connsiteY2" fmla="*/ 1130531 h 2460567"/>
                <a:gd name="connsiteX3" fmla="*/ 590204 w 5744564"/>
                <a:gd name="connsiteY3" fmla="*/ 1014153 h 2460567"/>
                <a:gd name="connsiteX4" fmla="*/ 665018 w 5744564"/>
                <a:gd name="connsiteY4" fmla="*/ 1005840 h 2460567"/>
                <a:gd name="connsiteX5" fmla="*/ 756458 w 5744564"/>
                <a:gd name="connsiteY5" fmla="*/ 1246909 h 2460567"/>
                <a:gd name="connsiteX6" fmla="*/ 964277 w 5744564"/>
                <a:gd name="connsiteY6" fmla="*/ 1554480 h 2460567"/>
                <a:gd name="connsiteX7" fmla="*/ 1263535 w 5744564"/>
                <a:gd name="connsiteY7" fmla="*/ 1886989 h 2460567"/>
                <a:gd name="connsiteX8" fmla="*/ 1612669 w 5744564"/>
                <a:gd name="connsiteY8" fmla="*/ 2128058 h 2460567"/>
                <a:gd name="connsiteX9" fmla="*/ 1928553 w 5744564"/>
                <a:gd name="connsiteY9" fmla="*/ 2252749 h 2460567"/>
                <a:gd name="connsiteX10" fmla="*/ 2144684 w 5744564"/>
                <a:gd name="connsiteY10" fmla="*/ 2227811 h 2460567"/>
                <a:gd name="connsiteX11" fmla="*/ 2452255 w 5744564"/>
                <a:gd name="connsiteY11" fmla="*/ 2044931 h 2460567"/>
                <a:gd name="connsiteX12" fmla="*/ 2743200 w 5744564"/>
                <a:gd name="connsiteY12" fmla="*/ 1795549 h 2460567"/>
                <a:gd name="connsiteX13" fmla="*/ 3158837 w 5744564"/>
                <a:gd name="connsiteY13" fmla="*/ 1371600 h 2460567"/>
                <a:gd name="connsiteX14" fmla="*/ 3474720 w 5744564"/>
                <a:gd name="connsiteY14" fmla="*/ 1005840 h 2460567"/>
                <a:gd name="connsiteX15" fmla="*/ 3898669 w 5744564"/>
                <a:gd name="connsiteY15" fmla="*/ 440574 h 2460567"/>
                <a:gd name="connsiteX16" fmla="*/ 4148051 w 5744564"/>
                <a:gd name="connsiteY16" fmla="*/ 24938 h 2460567"/>
                <a:gd name="connsiteX17" fmla="*/ 4197927 w 5744564"/>
                <a:gd name="connsiteY17" fmla="*/ 0 h 2460567"/>
                <a:gd name="connsiteX18" fmla="*/ 4272742 w 5744564"/>
                <a:gd name="connsiteY18" fmla="*/ 24938 h 2460567"/>
                <a:gd name="connsiteX19" fmla="*/ 4447309 w 5744564"/>
                <a:gd name="connsiteY19" fmla="*/ 299258 h 2460567"/>
                <a:gd name="connsiteX20" fmla="*/ 4862946 w 5744564"/>
                <a:gd name="connsiteY20" fmla="*/ 856211 h 2460567"/>
                <a:gd name="connsiteX21" fmla="*/ 5261957 w 5744564"/>
                <a:gd name="connsiteY21" fmla="*/ 1330036 h 2460567"/>
                <a:gd name="connsiteX22" fmla="*/ 5735782 w 5744564"/>
                <a:gd name="connsiteY22" fmla="*/ 1778923 h 2460567"/>
                <a:gd name="connsiteX23" fmla="*/ 5744564 w 5744564"/>
                <a:gd name="connsiteY23" fmla="*/ 1985880 h 2460567"/>
                <a:gd name="connsiteX24" fmla="*/ 5652655 w 5744564"/>
                <a:gd name="connsiteY24" fmla="*/ 1911927 h 2460567"/>
                <a:gd name="connsiteX25" fmla="*/ 5095702 w 5744564"/>
                <a:gd name="connsiteY25" fmla="*/ 1363287 h 2460567"/>
                <a:gd name="connsiteX26" fmla="*/ 4713317 w 5744564"/>
                <a:gd name="connsiteY26" fmla="*/ 897774 h 2460567"/>
                <a:gd name="connsiteX27" fmla="*/ 4305993 w 5744564"/>
                <a:gd name="connsiteY27" fmla="*/ 340822 h 2460567"/>
                <a:gd name="connsiteX28" fmla="*/ 4305993 w 5744564"/>
                <a:gd name="connsiteY28" fmla="*/ 2128058 h 2460567"/>
                <a:gd name="connsiteX29" fmla="*/ 4181302 w 5744564"/>
                <a:gd name="connsiteY29" fmla="*/ 2128058 h 2460567"/>
                <a:gd name="connsiteX30" fmla="*/ 4181302 w 5744564"/>
                <a:gd name="connsiteY30" fmla="*/ 266007 h 2460567"/>
                <a:gd name="connsiteX31" fmla="*/ 3840480 w 5744564"/>
                <a:gd name="connsiteY31" fmla="*/ 748145 h 2460567"/>
                <a:gd name="connsiteX32" fmla="*/ 3449782 w 5744564"/>
                <a:gd name="connsiteY32" fmla="*/ 1246909 h 2460567"/>
                <a:gd name="connsiteX33" fmla="*/ 3084022 w 5744564"/>
                <a:gd name="connsiteY33" fmla="*/ 1654233 h 2460567"/>
                <a:gd name="connsiteX34" fmla="*/ 2601884 w 5744564"/>
                <a:gd name="connsiteY34" fmla="*/ 2061556 h 2460567"/>
                <a:gd name="connsiteX35" fmla="*/ 2385753 w 5744564"/>
                <a:gd name="connsiteY35" fmla="*/ 2244436 h 2460567"/>
                <a:gd name="connsiteX36" fmla="*/ 2003367 w 5744564"/>
                <a:gd name="connsiteY36" fmla="*/ 2377440 h 2460567"/>
                <a:gd name="connsiteX37" fmla="*/ 1695797 w 5744564"/>
                <a:gd name="connsiteY37" fmla="*/ 2294313 h 2460567"/>
                <a:gd name="connsiteX38" fmla="*/ 1379913 w 5744564"/>
                <a:gd name="connsiteY38" fmla="*/ 2103120 h 2460567"/>
                <a:gd name="connsiteX39" fmla="*/ 1105593 w 5744564"/>
                <a:gd name="connsiteY39" fmla="*/ 1878676 h 2460567"/>
                <a:gd name="connsiteX40" fmla="*/ 914400 w 5744564"/>
                <a:gd name="connsiteY40" fmla="*/ 1670858 h 2460567"/>
                <a:gd name="connsiteX41" fmla="*/ 665018 w 5744564"/>
                <a:gd name="connsiteY41" fmla="*/ 1305098 h 2460567"/>
                <a:gd name="connsiteX42" fmla="*/ 665018 w 5744564"/>
                <a:gd name="connsiteY42" fmla="*/ 2460567 h 2460567"/>
                <a:gd name="connsiteX43" fmla="*/ 532015 w 5744564"/>
                <a:gd name="connsiteY43" fmla="*/ 2460567 h 2460567"/>
                <a:gd name="connsiteX44" fmla="*/ 540327 w 5744564"/>
                <a:gd name="connsiteY44" fmla="*/ 1596043 h 2460567"/>
                <a:gd name="connsiteX45" fmla="*/ 482138 w 5744564"/>
                <a:gd name="connsiteY45" fmla="*/ 1654233 h 2460567"/>
                <a:gd name="connsiteX46" fmla="*/ 299258 w 5744564"/>
                <a:gd name="connsiteY46" fmla="*/ 2044931 h 2460567"/>
                <a:gd name="connsiteX47" fmla="*/ 116378 w 5744564"/>
                <a:gd name="connsiteY47" fmla="*/ 2360814 h 2460567"/>
                <a:gd name="connsiteX48" fmla="*/ 74815 w 5744564"/>
                <a:gd name="connsiteY48" fmla="*/ 2452254 h 2460567"/>
                <a:gd name="connsiteX49" fmla="*/ 0 w 5744564"/>
                <a:gd name="connsiteY49" fmla="*/ 2377440 h 2460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744564" h="2460567">
                  <a:moveTo>
                    <a:pt x="0" y="2377440"/>
                  </a:moveTo>
                  <a:lnTo>
                    <a:pt x="290946" y="1812174"/>
                  </a:lnTo>
                  <a:lnTo>
                    <a:pt x="565266" y="1130531"/>
                  </a:lnTo>
                  <a:lnTo>
                    <a:pt x="590204" y="1014153"/>
                  </a:lnTo>
                  <a:lnTo>
                    <a:pt x="665018" y="1005840"/>
                  </a:lnTo>
                  <a:lnTo>
                    <a:pt x="756458" y="1246909"/>
                  </a:lnTo>
                  <a:lnTo>
                    <a:pt x="964277" y="1554480"/>
                  </a:lnTo>
                  <a:lnTo>
                    <a:pt x="1263535" y="1886989"/>
                  </a:lnTo>
                  <a:lnTo>
                    <a:pt x="1612669" y="2128058"/>
                  </a:lnTo>
                  <a:lnTo>
                    <a:pt x="1928553" y="2252749"/>
                  </a:lnTo>
                  <a:lnTo>
                    <a:pt x="2144684" y="2227811"/>
                  </a:lnTo>
                  <a:lnTo>
                    <a:pt x="2452255" y="2044931"/>
                  </a:lnTo>
                  <a:lnTo>
                    <a:pt x="2743200" y="1795549"/>
                  </a:lnTo>
                  <a:lnTo>
                    <a:pt x="3158837" y="1371600"/>
                  </a:lnTo>
                  <a:lnTo>
                    <a:pt x="3474720" y="1005840"/>
                  </a:lnTo>
                  <a:lnTo>
                    <a:pt x="3898669" y="440574"/>
                  </a:lnTo>
                  <a:lnTo>
                    <a:pt x="4148051" y="24938"/>
                  </a:lnTo>
                  <a:lnTo>
                    <a:pt x="4197927" y="0"/>
                  </a:lnTo>
                  <a:lnTo>
                    <a:pt x="4272742" y="24938"/>
                  </a:lnTo>
                  <a:lnTo>
                    <a:pt x="4447309" y="299258"/>
                  </a:lnTo>
                  <a:lnTo>
                    <a:pt x="4862946" y="856211"/>
                  </a:lnTo>
                  <a:lnTo>
                    <a:pt x="5261957" y="1330036"/>
                  </a:lnTo>
                  <a:lnTo>
                    <a:pt x="5735782" y="1778923"/>
                  </a:lnTo>
                  <a:lnTo>
                    <a:pt x="5744564" y="1985880"/>
                  </a:lnTo>
                  <a:lnTo>
                    <a:pt x="5652655" y="1911927"/>
                  </a:lnTo>
                  <a:lnTo>
                    <a:pt x="5095702" y="1363287"/>
                  </a:lnTo>
                  <a:lnTo>
                    <a:pt x="4713317" y="897774"/>
                  </a:lnTo>
                  <a:lnTo>
                    <a:pt x="4305993" y="340822"/>
                  </a:lnTo>
                  <a:lnTo>
                    <a:pt x="4305993" y="2128058"/>
                  </a:lnTo>
                  <a:lnTo>
                    <a:pt x="4181302" y="2128058"/>
                  </a:lnTo>
                  <a:lnTo>
                    <a:pt x="4181302" y="266007"/>
                  </a:lnTo>
                  <a:lnTo>
                    <a:pt x="3840480" y="748145"/>
                  </a:lnTo>
                  <a:lnTo>
                    <a:pt x="3449782" y="1246909"/>
                  </a:lnTo>
                  <a:lnTo>
                    <a:pt x="3084022" y="1654233"/>
                  </a:lnTo>
                  <a:lnTo>
                    <a:pt x="2601884" y="2061556"/>
                  </a:lnTo>
                  <a:lnTo>
                    <a:pt x="2385753" y="2244436"/>
                  </a:lnTo>
                  <a:lnTo>
                    <a:pt x="2003367" y="2377440"/>
                  </a:lnTo>
                  <a:lnTo>
                    <a:pt x="1695797" y="2294313"/>
                  </a:lnTo>
                  <a:lnTo>
                    <a:pt x="1379913" y="2103120"/>
                  </a:lnTo>
                  <a:lnTo>
                    <a:pt x="1105593" y="1878676"/>
                  </a:lnTo>
                  <a:lnTo>
                    <a:pt x="914400" y="1670858"/>
                  </a:lnTo>
                  <a:lnTo>
                    <a:pt x="665018" y="1305098"/>
                  </a:lnTo>
                  <a:lnTo>
                    <a:pt x="665018" y="2460567"/>
                  </a:lnTo>
                  <a:lnTo>
                    <a:pt x="532015" y="2460567"/>
                  </a:lnTo>
                  <a:cubicBezTo>
                    <a:pt x="534786" y="2172392"/>
                    <a:pt x="537556" y="1884218"/>
                    <a:pt x="540327" y="1596043"/>
                  </a:cubicBezTo>
                  <a:lnTo>
                    <a:pt x="482138" y="1654233"/>
                  </a:lnTo>
                  <a:lnTo>
                    <a:pt x="299258" y="2044931"/>
                  </a:lnTo>
                  <a:lnTo>
                    <a:pt x="116378" y="2360814"/>
                  </a:lnTo>
                  <a:lnTo>
                    <a:pt x="74815" y="2452254"/>
                  </a:lnTo>
                  <a:lnTo>
                    <a:pt x="0" y="2377440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Freeform 400"/>
            <p:cNvSpPr/>
            <p:nvPr/>
          </p:nvSpPr>
          <p:spPr>
            <a:xfrm>
              <a:off x="2039707" y="3168843"/>
              <a:ext cx="279630" cy="294047"/>
            </a:xfrm>
            <a:custGeom>
              <a:avLst/>
              <a:gdLst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554480 w 2219498"/>
                <a:gd name="connsiteY4" fmla="*/ 1512916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837112 w 2219498"/>
                <a:gd name="connsiteY8" fmla="*/ 1928552 h 2161309"/>
                <a:gd name="connsiteX9" fmla="*/ 1413163 w 2219498"/>
                <a:gd name="connsiteY9" fmla="*/ 1512916 h 2161309"/>
                <a:gd name="connsiteX10" fmla="*/ 897774 w 2219498"/>
                <a:gd name="connsiteY10" fmla="*/ 964276 h 2161309"/>
                <a:gd name="connsiteX11" fmla="*/ 523702 w 2219498"/>
                <a:gd name="connsiteY11" fmla="*/ 507076 h 2161309"/>
                <a:gd name="connsiteX12" fmla="*/ 290945 w 2219498"/>
                <a:gd name="connsiteY12" fmla="*/ 216130 h 2161309"/>
                <a:gd name="connsiteX13" fmla="*/ 290945 w 2219498"/>
                <a:gd name="connsiteY13" fmla="*/ 423949 h 2161309"/>
                <a:gd name="connsiteX14" fmla="*/ 157942 w 2219498"/>
                <a:gd name="connsiteY14" fmla="*/ 266007 h 2161309"/>
                <a:gd name="connsiteX15" fmla="*/ 157942 w 2219498"/>
                <a:gd name="connsiteY15" fmla="*/ 141316 h 2161309"/>
                <a:gd name="connsiteX16" fmla="*/ 58189 w 2219498"/>
                <a:gd name="connsiteY16" fmla="*/ 141316 h 2161309"/>
                <a:gd name="connsiteX17" fmla="*/ 0 w 2219498"/>
                <a:gd name="connsiteY17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1554480 w 2219498"/>
                <a:gd name="connsiteY5" fmla="*/ 1512916 h 2161309"/>
                <a:gd name="connsiteX6" fmla="*/ 2044931 w 2219498"/>
                <a:gd name="connsiteY6" fmla="*/ 1978429 h 2161309"/>
                <a:gd name="connsiteX7" fmla="*/ 2219498 w 2219498"/>
                <a:gd name="connsiteY7" fmla="*/ 2103120 h 2161309"/>
                <a:gd name="connsiteX8" fmla="*/ 2177934 w 2219498"/>
                <a:gd name="connsiteY8" fmla="*/ 2161309 h 2161309"/>
                <a:gd name="connsiteX9" fmla="*/ 1837112 w 2219498"/>
                <a:gd name="connsiteY9" fmla="*/ 1928552 h 2161309"/>
                <a:gd name="connsiteX10" fmla="*/ 1413163 w 2219498"/>
                <a:gd name="connsiteY10" fmla="*/ 1512916 h 2161309"/>
                <a:gd name="connsiteX11" fmla="*/ 897774 w 2219498"/>
                <a:gd name="connsiteY11" fmla="*/ 964276 h 2161309"/>
                <a:gd name="connsiteX12" fmla="*/ 523702 w 2219498"/>
                <a:gd name="connsiteY12" fmla="*/ 507076 h 2161309"/>
                <a:gd name="connsiteX13" fmla="*/ 290945 w 2219498"/>
                <a:gd name="connsiteY13" fmla="*/ 216130 h 2161309"/>
                <a:gd name="connsiteX14" fmla="*/ 290945 w 2219498"/>
                <a:gd name="connsiteY14" fmla="*/ 423949 h 2161309"/>
                <a:gd name="connsiteX15" fmla="*/ 157942 w 2219498"/>
                <a:gd name="connsiteY15" fmla="*/ 266007 h 2161309"/>
                <a:gd name="connsiteX16" fmla="*/ 157942 w 2219498"/>
                <a:gd name="connsiteY16" fmla="*/ 141316 h 2161309"/>
                <a:gd name="connsiteX17" fmla="*/ 58189 w 2219498"/>
                <a:gd name="connsiteY17" fmla="*/ 141316 h 2161309"/>
                <a:gd name="connsiteX18" fmla="*/ 0 w 2219498"/>
                <a:gd name="connsiteY18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1554480 w 2219498"/>
                <a:gd name="connsiteY5" fmla="*/ 1512916 h 2161309"/>
                <a:gd name="connsiteX6" fmla="*/ 2044931 w 2219498"/>
                <a:gd name="connsiteY6" fmla="*/ 1978429 h 2161309"/>
                <a:gd name="connsiteX7" fmla="*/ 2219498 w 2219498"/>
                <a:gd name="connsiteY7" fmla="*/ 2103120 h 2161309"/>
                <a:gd name="connsiteX8" fmla="*/ 2177934 w 2219498"/>
                <a:gd name="connsiteY8" fmla="*/ 2161309 h 2161309"/>
                <a:gd name="connsiteX9" fmla="*/ 1837112 w 2219498"/>
                <a:gd name="connsiteY9" fmla="*/ 1928552 h 2161309"/>
                <a:gd name="connsiteX10" fmla="*/ 1366425 w 2219498"/>
                <a:gd name="connsiteY10" fmla="*/ 1442808 h 2161309"/>
                <a:gd name="connsiteX11" fmla="*/ 897774 w 2219498"/>
                <a:gd name="connsiteY11" fmla="*/ 964276 h 2161309"/>
                <a:gd name="connsiteX12" fmla="*/ 523702 w 2219498"/>
                <a:gd name="connsiteY12" fmla="*/ 507076 h 2161309"/>
                <a:gd name="connsiteX13" fmla="*/ 290945 w 2219498"/>
                <a:gd name="connsiteY13" fmla="*/ 216130 h 2161309"/>
                <a:gd name="connsiteX14" fmla="*/ 290945 w 2219498"/>
                <a:gd name="connsiteY14" fmla="*/ 423949 h 2161309"/>
                <a:gd name="connsiteX15" fmla="*/ 157942 w 2219498"/>
                <a:gd name="connsiteY15" fmla="*/ 266007 h 2161309"/>
                <a:gd name="connsiteX16" fmla="*/ 157942 w 2219498"/>
                <a:gd name="connsiteY16" fmla="*/ 141316 h 2161309"/>
                <a:gd name="connsiteX17" fmla="*/ 58189 w 2219498"/>
                <a:gd name="connsiteY17" fmla="*/ 141316 h 2161309"/>
                <a:gd name="connsiteX18" fmla="*/ 0 w 2219498"/>
                <a:gd name="connsiteY18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837112 w 2219498"/>
                <a:gd name="connsiteY8" fmla="*/ 1928552 h 2161309"/>
                <a:gd name="connsiteX9" fmla="*/ 1366425 w 2219498"/>
                <a:gd name="connsiteY9" fmla="*/ 1442808 h 2161309"/>
                <a:gd name="connsiteX10" fmla="*/ 897774 w 2219498"/>
                <a:gd name="connsiteY10" fmla="*/ 964276 h 2161309"/>
                <a:gd name="connsiteX11" fmla="*/ 523702 w 2219498"/>
                <a:gd name="connsiteY11" fmla="*/ 507076 h 2161309"/>
                <a:gd name="connsiteX12" fmla="*/ 290945 w 2219498"/>
                <a:gd name="connsiteY12" fmla="*/ 216130 h 2161309"/>
                <a:gd name="connsiteX13" fmla="*/ 290945 w 2219498"/>
                <a:gd name="connsiteY13" fmla="*/ 423949 h 2161309"/>
                <a:gd name="connsiteX14" fmla="*/ 157942 w 2219498"/>
                <a:gd name="connsiteY14" fmla="*/ 266007 h 2161309"/>
                <a:gd name="connsiteX15" fmla="*/ 157942 w 2219498"/>
                <a:gd name="connsiteY15" fmla="*/ 141316 h 2161309"/>
                <a:gd name="connsiteX16" fmla="*/ 58189 w 2219498"/>
                <a:gd name="connsiteY16" fmla="*/ 141316 h 2161309"/>
                <a:gd name="connsiteX17" fmla="*/ 0 w 2219498"/>
                <a:gd name="connsiteY17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366425 w 2219498"/>
                <a:gd name="connsiteY8" fmla="*/ 1442808 h 2161309"/>
                <a:gd name="connsiteX9" fmla="*/ 897774 w 2219498"/>
                <a:gd name="connsiteY9" fmla="*/ 964276 h 2161309"/>
                <a:gd name="connsiteX10" fmla="*/ 523702 w 2219498"/>
                <a:gd name="connsiteY10" fmla="*/ 507076 h 2161309"/>
                <a:gd name="connsiteX11" fmla="*/ 290945 w 2219498"/>
                <a:gd name="connsiteY11" fmla="*/ 216130 h 2161309"/>
                <a:gd name="connsiteX12" fmla="*/ 290945 w 2219498"/>
                <a:gd name="connsiteY12" fmla="*/ 423949 h 2161309"/>
                <a:gd name="connsiteX13" fmla="*/ 157942 w 2219498"/>
                <a:gd name="connsiteY13" fmla="*/ 266007 h 2161309"/>
                <a:gd name="connsiteX14" fmla="*/ 157942 w 2219498"/>
                <a:gd name="connsiteY14" fmla="*/ 141316 h 2161309"/>
                <a:gd name="connsiteX15" fmla="*/ 58189 w 2219498"/>
                <a:gd name="connsiteY15" fmla="*/ 141316 h 2161309"/>
                <a:gd name="connsiteX16" fmla="*/ 0 w 2219498"/>
                <a:gd name="connsiteY16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219498 w 2219498"/>
                <a:gd name="connsiteY5" fmla="*/ 2103120 h 2161309"/>
                <a:gd name="connsiteX6" fmla="*/ 2177934 w 2219498"/>
                <a:gd name="connsiteY6" fmla="*/ 2161309 h 2161309"/>
                <a:gd name="connsiteX7" fmla="*/ 1366425 w 2219498"/>
                <a:gd name="connsiteY7" fmla="*/ 1442808 h 2161309"/>
                <a:gd name="connsiteX8" fmla="*/ 897774 w 2219498"/>
                <a:gd name="connsiteY8" fmla="*/ 964276 h 2161309"/>
                <a:gd name="connsiteX9" fmla="*/ 523702 w 2219498"/>
                <a:gd name="connsiteY9" fmla="*/ 507076 h 2161309"/>
                <a:gd name="connsiteX10" fmla="*/ 290945 w 2219498"/>
                <a:gd name="connsiteY10" fmla="*/ 216130 h 2161309"/>
                <a:gd name="connsiteX11" fmla="*/ 290945 w 2219498"/>
                <a:gd name="connsiteY11" fmla="*/ 423949 h 2161309"/>
                <a:gd name="connsiteX12" fmla="*/ 157942 w 2219498"/>
                <a:gd name="connsiteY12" fmla="*/ 266007 h 2161309"/>
                <a:gd name="connsiteX13" fmla="*/ 157942 w 2219498"/>
                <a:gd name="connsiteY13" fmla="*/ 141316 h 2161309"/>
                <a:gd name="connsiteX14" fmla="*/ 58189 w 2219498"/>
                <a:gd name="connsiteY14" fmla="*/ 141316 h 2161309"/>
                <a:gd name="connsiteX15" fmla="*/ 0 w 2219498"/>
                <a:gd name="connsiteY15" fmla="*/ 0 h 2161309"/>
                <a:gd name="connsiteX0" fmla="*/ 0 w 2177933"/>
                <a:gd name="connsiteY0" fmla="*/ 0 h 2161309"/>
                <a:gd name="connsiteX1" fmla="*/ 290945 w 2177933"/>
                <a:gd name="connsiteY1" fmla="*/ 0 h 2161309"/>
                <a:gd name="connsiteX2" fmla="*/ 681643 w 2177933"/>
                <a:gd name="connsiteY2" fmla="*/ 532014 h 2161309"/>
                <a:gd name="connsiteX3" fmla="*/ 1147156 w 2177933"/>
                <a:gd name="connsiteY3" fmla="*/ 1080654 h 2161309"/>
                <a:gd name="connsiteX4" fmla="*/ 1372067 w 2177933"/>
                <a:gd name="connsiteY4" fmla="*/ 1334938 h 2161309"/>
                <a:gd name="connsiteX5" fmla="*/ 2177934 w 2177933"/>
                <a:gd name="connsiteY5" fmla="*/ 2161309 h 2161309"/>
                <a:gd name="connsiteX6" fmla="*/ 1366425 w 2177933"/>
                <a:gd name="connsiteY6" fmla="*/ 1442808 h 2161309"/>
                <a:gd name="connsiteX7" fmla="*/ 897774 w 2177933"/>
                <a:gd name="connsiteY7" fmla="*/ 964276 h 2161309"/>
                <a:gd name="connsiteX8" fmla="*/ 523702 w 2177933"/>
                <a:gd name="connsiteY8" fmla="*/ 507076 h 2161309"/>
                <a:gd name="connsiteX9" fmla="*/ 290945 w 2177933"/>
                <a:gd name="connsiteY9" fmla="*/ 216130 h 2161309"/>
                <a:gd name="connsiteX10" fmla="*/ 290945 w 2177933"/>
                <a:gd name="connsiteY10" fmla="*/ 423949 h 2161309"/>
                <a:gd name="connsiteX11" fmla="*/ 157942 w 2177933"/>
                <a:gd name="connsiteY11" fmla="*/ 266007 h 2161309"/>
                <a:gd name="connsiteX12" fmla="*/ 157942 w 2177933"/>
                <a:gd name="connsiteY12" fmla="*/ 141316 h 2161309"/>
                <a:gd name="connsiteX13" fmla="*/ 58189 w 2177933"/>
                <a:gd name="connsiteY13" fmla="*/ 141316 h 2161309"/>
                <a:gd name="connsiteX14" fmla="*/ 0 w 2177933"/>
                <a:gd name="connsiteY14" fmla="*/ 0 h 2161309"/>
                <a:gd name="connsiteX0" fmla="*/ 0 w 1372067"/>
                <a:gd name="connsiteY0" fmla="*/ 0 h 1442808"/>
                <a:gd name="connsiteX1" fmla="*/ 290945 w 1372067"/>
                <a:gd name="connsiteY1" fmla="*/ 0 h 1442808"/>
                <a:gd name="connsiteX2" fmla="*/ 681643 w 1372067"/>
                <a:gd name="connsiteY2" fmla="*/ 532014 h 1442808"/>
                <a:gd name="connsiteX3" fmla="*/ 1147156 w 1372067"/>
                <a:gd name="connsiteY3" fmla="*/ 1080654 h 1442808"/>
                <a:gd name="connsiteX4" fmla="*/ 1372067 w 1372067"/>
                <a:gd name="connsiteY4" fmla="*/ 1334938 h 1442808"/>
                <a:gd name="connsiteX5" fmla="*/ 1366425 w 1372067"/>
                <a:gd name="connsiteY5" fmla="*/ 1442808 h 1442808"/>
                <a:gd name="connsiteX6" fmla="*/ 897774 w 1372067"/>
                <a:gd name="connsiteY6" fmla="*/ 964276 h 1442808"/>
                <a:gd name="connsiteX7" fmla="*/ 523702 w 1372067"/>
                <a:gd name="connsiteY7" fmla="*/ 507076 h 1442808"/>
                <a:gd name="connsiteX8" fmla="*/ 290945 w 1372067"/>
                <a:gd name="connsiteY8" fmla="*/ 216130 h 1442808"/>
                <a:gd name="connsiteX9" fmla="*/ 290945 w 1372067"/>
                <a:gd name="connsiteY9" fmla="*/ 423949 h 1442808"/>
                <a:gd name="connsiteX10" fmla="*/ 157942 w 1372067"/>
                <a:gd name="connsiteY10" fmla="*/ 266007 h 1442808"/>
                <a:gd name="connsiteX11" fmla="*/ 157942 w 1372067"/>
                <a:gd name="connsiteY11" fmla="*/ 141316 h 1442808"/>
                <a:gd name="connsiteX12" fmla="*/ 58189 w 1372067"/>
                <a:gd name="connsiteY12" fmla="*/ 141316 h 1442808"/>
                <a:gd name="connsiteX13" fmla="*/ 0 w 1372067"/>
                <a:gd name="connsiteY13" fmla="*/ 0 h 144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72067" h="1442808">
                  <a:moveTo>
                    <a:pt x="0" y="0"/>
                  </a:moveTo>
                  <a:lnTo>
                    <a:pt x="290945" y="0"/>
                  </a:lnTo>
                  <a:lnTo>
                    <a:pt x="681643" y="532014"/>
                  </a:lnTo>
                  <a:lnTo>
                    <a:pt x="1147156" y="1080654"/>
                  </a:lnTo>
                  <a:lnTo>
                    <a:pt x="1372067" y="1334938"/>
                  </a:lnTo>
                  <a:lnTo>
                    <a:pt x="1366425" y="1442808"/>
                  </a:lnTo>
                  <a:lnTo>
                    <a:pt x="897774" y="964276"/>
                  </a:lnTo>
                  <a:lnTo>
                    <a:pt x="523702" y="507076"/>
                  </a:lnTo>
                  <a:lnTo>
                    <a:pt x="290945" y="216130"/>
                  </a:lnTo>
                  <a:lnTo>
                    <a:pt x="290945" y="423949"/>
                  </a:lnTo>
                  <a:lnTo>
                    <a:pt x="157942" y="266007"/>
                  </a:lnTo>
                  <a:lnTo>
                    <a:pt x="157942" y="141316"/>
                  </a:lnTo>
                  <a:lnTo>
                    <a:pt x="58189" y="1413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Freeform 401"/>
            <p:cNvSpPr/>
            <p:nvPr/>
          </p:nvSpPr>
          <p:spPr>
            <a:xfrm>
              <a:off x="1295977" y="3375529"/>
              <a:ext cx="149085" cy="177886"/>
            </a:xfrm>
            <a:custGeom>
              <a:avLst/>
              <a:gdLst>
                <a:gd name="connsiteX0" fmla="*/ 0 w 731520"/>
                <a:gd name="connsiteY0" fmla="*/ 0 h 872837"/>
                <a:gd name="connsiteX1" fmla="*/ 157942 w 731520"/>
                <a:gd name="connsiteY1" fmla="*/ 0 h 872837"/>
                <a:gd name="connsiteX2" fmla="*/ 299259 w 731520"/>
                <a:gd name="connsiteY2" fmla="*/ 274320 h 872837"/>
                <a:gd name="connsiteX3" fmla="*/ 482139 w 731520"/>
                <a:gd name="connsiteY3" fmla="*/ 565266 h 872837"/>
                <a:gd name="connsiteX4" fmla="*/ 731520 w 731520"/>
                <a:gd name="connsiteY4" fmla="*/ 872837 h 872837"/>
                <a:gd name="connsiteX5" fmla="*/ 648393 w 731520"/>
                <a:gd name="connsiteY5" fmla="*/ 864524 h 872837"/>
                <a:gd name="connsiteX6" fmla="*/ 415637 w 731520"/>
                <a:gd name="connsiteY6" fmla="*/ 606829 h 872837"/>
                <a:gd name="connsiteX7" fmla="*/ 191193 w 731520"/>
                <a:gd name="connsiteY7" fmla="*/ 257695 h 872837"/>
                <a:gd name="connsiteX8" fmla="*/ 149630 w 731520"/>
                <a:gd name="connsiteY8" fmla="*/ 274320 h 872837"/>
                <a:gd name="connsiteX9" fmla="*/ 58190 w 731520"/>
                <a:gd name="connsiteY9" fmla="*/ 124691 h 872837"/>
                <a:gd name="connsiteX10" fmla="*/ 0 w 731520"/>
                <a:gd name="connsiteY10" fmla="*/ 0 h 87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1520" h="872837">
                  <a:moveTo>
                    <a:pt x="0" y="0"/>
                  </a:moveTo>
                  <a:lnTo>
                    <a:pt x="157942" y="0"/>
                  </a:lnTo>
                  <a:lnTo>
                    <a:pt x="299259" y="274320"/>
                  </a:lnTo>
                  <a:lnTo>
                    <a:pt x="482139" y="565266"/>
                  </a:lnTo>
                  <a:lnTo>
                    <a:pt x="731520" y="872837"/>
                  </a:lnTo>
                  <a:lnTo>
                    <a:pt x="648393" y="864524"/>
                  </a:lnTo>
                  <a:lnTo>
                    <a:pt x="415637" y="606829"/>
                  </a:lnTo>
                  <a:lnTo>
                    <a:pt x="191193" y="257695"/>
                  </a:lnTo>
                  <a:lnTo>
                    <a:pt x="149630" y="274320"/>
                  </a:lnTo>
                  <a:lnTo>
                    <a:pt x="58190" y="1246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Freeform 402"/>
            <p:cNvSpPr/>
            <p:nvPr/>
          </p:nvSpPr>
          <p:spPr>
            <a:xfrm>
              <a:off x="1124867" y="3268798"/>
              <a:ext cx="1196851" cy="548904"/>
            </a:xfrm>
            <a:custGeom>
              <a:avLst/>
              <a:gdLst>
                <a:gd name="connsiteX0" fmla="*/ 4414058 w 6567055"/>
                <a:gd name="connsiteY0" fmla="*/ 0 h 2693324"/>
                <a:gd name="connsiteX1" fmla="*/ 4663440 w 6567055"/>
                <a:gd name="connsiteY1" fmla="*/ 0 h 2693324"/>
                <a:gd name="connsiteX2" fmla="*/ 4779818 w 6567055"/>
                <a:gd name="connsiteY2" fmla="*/ 307571 h 2693324"/>
                <a:gd name="connsiteX3" fmla="*/ 4779818 w 6567055"/>
                <a:gd name="connsiteY3" fmla="*/ 1612670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6442364 w 6567055"/>
                <a:gd name="connsiteY3" fmla="*/ 1637608 h 2693324"/>
                <a:gd name="connsiteX4" fmla="*/ 6567055 w 6567055"/>
                <a:gd name="connsiteY4" fmla="*/ 1712422 h 2693324"/>
                <a:gd name="connsiteX5" fmla="*/ 6567055 w 6567055"/>
                <a:gd name="connsiteY5" fmla="*/ 1778924 h 2693324"/>
                <a:gd name="connsiteX6" fmla="*/ 4763193 w 6567055"/>
                <a:gd name="connsiteY6" fmla="*/ 1778924 h 2693324"/>
                <a:gd name="connsiteX7" fmla="*/ 4779818 w 6567055"/>
                <a:gd name="connsiteY7" fmla="*/ 2094808 h 2693324"/>
                <a:gd name="connsiteX8" fmla="*/ 4846320 w 6567055"/>
                <a:gd name="connsiteY8" fmla="*/ 2593571 h 2693324"/>
                <a:gd name="connsiteX9" fmla="*/ 4879571 w 6567055"/>
                <a:gd name="connsiteY9" fmla="*/ 2693324 h 2693324"/>
                <a:gd name="connsiteX10" fmla="*/ 4164676 w 6567055"/>
                <a:gd name="connsiteY10" fmla="*/ 2693324 h 2693324"/>
                <a:gd name="connsiteX11" fmla="*/ 4256116 w 6567055"/>
                <a:gd name="connsiteY11" fmla="*/ 2327564 h 2693324"/>
                <a:gd name="connsiteX12" fmla="*/ 4297680 w 6567055"/>
                <a:gd name="connsiteY12" fmla="*/ 1803862 h 2693324"/>
                <a:gd name="connsiteX13" fmla="*/ 3940233 w 6567055"/>
                <a:gd name="connsiteY13" fmla="*/ 1795550 h 2693324"/>
                <a:gd name="connsiteX14" fmla="*/ 2651760 w 6567055"/>
                <a:gd name="connsiteY14" fmla="*/ 1886990 h 2693324"/>
                <a:gd name="connsiteX15" fmla="*/ 1604356 w 6567055"/>
                <a:gd name="connsiteY15" fmla="*/ 1986742 h 2693324"/>
                <a:gd name="connsiteX16" fmla="*/ 1014153 w 6567055"/>
                <a:gd name="connsiteY16" fmla="*/ 2086495 h 2693324"/>
                <a:gd name="connsiteX17" fmla="*/ 1014153 w 6567055"/>
                <a:gd name="connsiteY17" fmla="*/ 2402379 h 2693324"/>
                <a:gd name="connsiteX18" fmla="*/ 1072342 w 6567055"/>
                <a:gd name="connsiteY18" fmla="*/ 2693324 h 2693324"/>
                <a:gd name="connsiteX19" fmla="*/ 606829 w 6567055"/>
                <a:gd name="connsiteY19" fmla="*/ 2693324 h 2693324"/>
                <a:gd name="connsiteX20" fmla="*/ 665018 w 6567055"/>
                <a:gd name="connsiteY20" fmla="*/ 2385753 h 2693324"/>
                <a:gd name="connsiteX21" fmla="*/ 665018 w 6567055"/>
                <a:gd name="connsiteY21" fmla="*/ 2169622 h 2693324"/>
                <a:gd name="connsiteX22" fmla="*/ 274320 w 6567055"/>
                <a:gd name="connsiteY22" fmla="*/ 2219499 h 2693324"/>
                <a:gd name="connsiteX23" fmla="*/ 0 w 6567055"/>
                <a:gd name="connsiteY23" fmla="*/ 2269375 h 2693324"/>
                <a:gd name="connsiteX24" fmla="*/ 8313 w 6567055"/>
                <a:gd name="connsiteY24" fmla="*/ 2186248 h 2693324"/>
                <a:gd name="connsiteX25" fmla="*/ 324196 w 6567055"/>
                <a:gd name="connsiteY25" fmla="*/ 2069870 h 2693324"/>
                <a:gd name="connsiteX26" fmla="*/ 656705 w 6567055"/>
                <a:gd name="connsiteY26" fmla="*/ 1978430 h 2693324"/>
                <a:gd name="connsiteX27" fmla="*/ 897775 w 6567055"/>
                <a:gd name="connsiteY27" fmla="*/ 1920240 h 2693324"/>
                <a:gd name="connsiteX28" fmla="*/ 897775 w 6567055"/>
                <a:gd name="connsiteY28" fmla="*/ 931026 h 2693324"/>
                <a:gd name="connsiteX29" fmla="*/ 997527 w 6567055"/>
                <a:gd name="connsiteY29" fmla="*/ 1047404 h 2693324"/>
                <a:gd name="connsiteX30" fmla="*/ 997527 w 6567055"/>
                <a:gd name="connsiteY30" fmla="*/ 1920240 h 2693324"/>
                <a:gd name="connsiteX31" fmla="*/ 1704109 w 6567055"/>
                <a:gd name="connsiteY31" fmla="*/ 1828800 h 2693324"/>
                <a:gd name="connsiteX32" fmla="*/ 2651760 w 6567055"/>
                <a:gd name="connsiteY32" fmla="*/ 1712422 h 2693324"/>
                <a:gd name="connsiteX33" fmla="*/ 4056611 w 6567055"/>
                <a:gd name="connsiteY33" fmla="*/ 1620982 h 2693324"/>
                <a:gd name="connsiteX34" fmla="*/ 4663440 w 6567055"/>
                <a:gd name="connsiteY34" fmla="*/ 1604357 h 2693324"/>
                <a:gd name="connsiteX35" fmla="*/ 4663440 w 6567055"/>
                <a:gd name="connsiteY35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5860938 w 6567055"/>
                <a:gd name="connsiteY7" fmla="*/ 1779220 h 2693324"/>
                <a:gd name="connsiteX8" fmla="*/ 4763193 w 6567055"/>
                <a:gd name="connsiteY8" fmla="*/ 1778924 h 2693324"/>
                <a:gd name="connsiteX9" fmla="*/ 4779818 w 6567055"/>
                <a:gd name="connsiteY9" fmla="*/ 2094808 h 2693324"/>
                <a:gd name="connsiteX10" fmla="*/ 4846320 w 6567055"/>
                <a:gd name="connsiteY10" fmla="*/ 2593571 h 2693324"/>
                <a:gd name="connsiteX11" fmla="*/ 4879571 w 6567055"/>
                <a:gd name="connsiteY11" fmla="*/ 2693324 h 2693324"/>
                <a:gd name="connsiteX12" fmla="*/ 4164676 w 6567055"/>
                <a:gd name="connsiteY12" fmla="*/ 2693324 h 2693324"/>
                <a:gd name="connsiteX13" fmla="*/ 4256116 w 6567055"/>
                <a:gd name="connsiteY13" fmla="*/ 2327564 h 2693324"/>
                <a:gd name="connsiteX14" fmla="*/ 4297680 w 6567055"/>
                <a:gd name="connsiteY14" fmla="*/ 1803862 h 2693324"/>
                <a:gd name="connsiteX15" fmla="*/ 3940233 w 6567055"/>
                <a:gd name="connsiteY15" fmla="*/ 1795550 h 2693324"/>
                <a:gd name="connsiteX16" fmla="*/ 2651760 w 6567055"/>
                <a:gd name="connsiteY16" fmla="*/ 1886990 h 2693324"/>
                <a:gd name="connsiteX17" fmla="*/ 1604356 w 6567055"/>
                <a:gd name="connsiteY17" fmla="*/ 1986742 h 2693324"/>
                <a:gd name="connsiteX18" fmla="*/ 1014153 w 6567055"/>
                <a:gd name="connsiteY18" fmla="*/ 2086495 h 2693324"/>
                <a:gd name="connsiteX19" fmla="*/ 1014153 w 6567055"/>
                <a:gd name="connsiteY19" fmla="*/ 2402379 h 2693324"/>
                <a:gd name="connsiteX20" fmla="*/ 1072342 w 6567055"/>
                <a:gd name="connsiteY20" fmla="*/ 2693324 h 2693324"/>
                <a:gd name="connsiteX21" fmla="*/ 606829 w 6567055"/>
                <a:gd name="connsiteY21" fmla="*/ 2693324 h 2693324"/>
                <a:gd name="connsiteX22" fmla="*/ 665018 w 6567055"/>
                <a:gd name="connsiteY22" fmla="*/ 2385753 h 2693324"/>
                <a:gd name="connsiteX23" fmla="*/ 665018 w 6567055"/>
                <a:gd name="connsiteY23" fmla="*/ 2169622 h 2693324"/>
                <a:gd name="connsiteX24" fmla="*/ 274320 w 6567055"/>
                <a:gd name="connsiteY24" fmla="*/ 2219499 h 2693324"/>
                <a:gd name="connsiteX25" fmla="*/ 0 w 6567055"/>
                <a:gd name="connsiteY25" fmla="*/ 2269375 h 2693324"/>
                <a:gd name="connsiteX26" fmla="*/ 8313 w 6567055"/>
                <a:gd name="connsiteY26" fmla="*/ 2186248 h 2693324"/>
                <a:gd name="connsiteX27" fmla="*/ 324196 w 6567055"/>
                <a:gd name="connsiteY27" fmla="*/ 2069870 h 2693324"/>
                <a:gd name="connsiteX28" fmla="*/ 656705 w 6567055"/>
                <a:gd name="connsiteY28" fmla="*/ 1978430 h 2693324"/>
                <a:gd name="connsiteX29" fmla="*/ 897775 w 6567055"/>
                <a:gd name="connsiteY29" fmla="*/ 1920240 h 2693324"/>
                <a:gd name="connsiteX30" fmla="*/ 897775 w 6567055"/>
                <a:gd name="connsiteY30" fmla="*/ 931026 h 2693324"/>
                <a:gd name="connsiteX31" fmla="*/ 997527 w 6567055"/>
                <a:gd name="connsiteY31" fmla="*/ 1047404 h 2693324"/>
                <a:gd name="connsiteX32" fmla="*/ 997527 w 6567055"/>
                <a:gd name="connsiteY32" fmla="*/ 1920240 h 2693324"/>
                <a:gd name="connsiteX33" fmla="*/ 1704109 w 6567055"/>
                <a:gd name="connsiteY33" fmla="*/ 1828800 h 2693324"/>
                <a:gd name="connsiteX34" fmla="*/ 2651760 w 6567055"/>
                <a:gd name="connsiteY34" fmla="*/ 1712422 h 2693324"/>
                <a:gd name="connsiteX35" fmla="*/ 4056611 w 6567055"/>
                <a:gd name="connsiteY35" fmla="*/ 1620982 h 2693324"/>
                <a:gd name="connsiteX36" fmla="*/ 4663440 w 6567055"/>
                <a:gd name="connsiteY36" fmla="*/ 1604357 h 2693324"/>
                <a:gd name="connsiteX37" fmla="*/ 4663440 w 6567055"/>
                <a:gd name="connsiteY37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567055 w 6567055"/>
                <a:gd name="connsiteY4" fmla="*/ 1712422 h 2693324"/>
                <a:gd name="connsiteX5" fmla="*/ 6567055 w 6567055"/>
                <a:gd name="connsiteY5" fmla="*/ 1778924 h 2693324"/>
                <a:gd name="connsiteX6" fmla="*/ 5860938 w 6567055"/>
                <a:gd name="connsiteY6" fmla="*/ 1779220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567055 w 6567055"/>
                <a:gd name="connsiteY4" fmla="*/ 1778924 h 2693324"/>
                <a:gd name="connsiteX5" fmla="*/ 5860938 w 6567055"/>
                <a:gd name="connsiteY5" fmla="*/ 1779220 h 2693324"/>
                <a:gd name="connsiteX6" fmla="*/ 4763193 w 6567055"/>
                <a:gd name="connsiteY6" fmla="*/ 1778924 h 2693324"/>
                <a:gd name="connsiteX7" fmla="*/ 4779818 w 6567055"/>
                <a:gd name="connsiteY7" fmla="*/ 2094808 h 2693324"/>
                <a:gd name="connsiteX8" fmla="*/ 4846320 w 6567055"/>
                <a:gd name="connsiteY8" fmla="*/ 2593571 h 2693324"/>
                <a:gd name="connsiteX9" fmla="*/ 4879571 w 6567055"/>
                <a:gd name="connsiteY9" fmla="*/ 2693324 h 2693324"/>
                <a:gd name="connsiteX10" fmla="*/ 4164676 w 6567055"/>
                <a:gd name="connsiteY10" fmla="*/ 2693324 h 2693324"/>
                <a:gd name="connsiteX11" fmla="*/ 4256116 w 6567055"/>
                <a:gd name="connsiteY11" fmla="*/ 2327564 h 2693324"/>
                <a:gd name="connsiteX12" fmla="*/ 4297680 w 6567055"/>
                <a:gd name="connsiteY12" fmla="*/ 1803862 h 2693324"/>
                <a:gd name="connsiteX13" fmla="*/ 3940233 w 6567055"/>
                <a:gd name="connsiteY13" fmla="*/ 1795550 h 2693324"/>
                <a:gd name="connsiteX14" fmla="*/ 2651760 w 6567055"/>
                <a:gd name="connsiteY14" fmla="*/ 1886990 h 2693324"/>
                <a:gd name="connsiteX15" fmla="*/ 1604356 w 6567055"/>
                <a:gd name="connsiteY15" fmla="*/ 1986742 h 2693324"/>
                <a:gd name="connsiteX16" fmla="*/ 1014153 w 6567055"/>
                <a:gd name="connsiteY16" fmla="*/ 2086495 h 2693324"/>
                <a:gd name="connsiteX17" fmla="*/ 1014153 w 6567055"/>
                <a:gd name="connsiteY17" fmla="*/ 2402379 h 2693324"/>
                <a:gd name="connsiteX18" fmla="*/ 1072342 w 6567055"/>
                <a:gd name="connsiteY18" fmla="*/ 2693324 h 2693324"/>
                <a:gd name="connsiteX19" fmla="*/ 606829 w 6567055"/>
                <a:gd name="connsiteY19" fmla="*/ 2693324 h 2693324"/>
                <a:gd name="connsiteX20" fmla="*/ 665018 w 6567055"/>
                <a:gd name="connsiteY20" fmla="*/ 2385753 h 2693324"/>
                <a:gd name="connsiteX21" fmla="*/ 665018 w 6567055"/>
                <a:gd name="connsiteY21" fmla="*/ 2169622 h 2693324"/>
                <a:gd name="connsiteX22" fmla="*/ 274320 w 6567055"/>
                <a:gd name="connsiteY22" fmla="*/ 2219499 h 2693324"/>
                <a:gd name="connsiteX23" fmla="*/ 0 w 6567055"/>
                <a:gd name="connsiteY23" fmla="*/ 2269375 h 2693324"/>
                <a:gd name="connsiteX24" fmla="*/ 8313 w 6567055"/>
                <a:gd name="connsiteY24" fmla="*/ 2186248 h 2693324"/>
                <a:gd name="connsiteX25" fmla="*/ 324196 w 6567055"/>
                <a:gd name="connsiteY25" fmla="*/ 2069870 h 2693324"/>
                <a:gd name="connsiteX26" fmla="*/ 656705 w 6567055"/>
                <a:gd name="connsiteY26" fmla="*/ 1978430 h 2693324"/>
                <a:gd name="connsiteX27" fmla="*/ 897775 w 6567055"/>
                <a:gd name="connsiteY27" fmla="*/ 1920240 h 2693324"/>
                <a:gd name="connsiteX28" fmla="*/ 897775 w 6567055"/>
                <a:gd name="connsiteY28" fmla="*/ 931026 h 2693324"/>
                <a:gd name="connsiteX29" fmla="*/ 997527 w 6567055"/>
                <a:gd name="connsiteY29" fmla="*/ 1047404 h 2693324"/>
                <a:gd name="connsiteX30" fmla="*/ 997527 w 6567055"/>
                <a:gd name="connsiteY30" fmla="*/ 1920240 h 2693324"/>
                <a:gd name="connsiteX31" fmla="*/ 1704109 w 6567055"/>
                <a:gd name="connsiteY31" fmla="*/ 1828800 h 2693324"/>
                <a:gd name="connsiteX32" fmla="*/ 2651760 w 6567055"/>
                <a:gd name="connsiteY32" fmla="*/ 1712422 h 2693324"/>
                <a:gd name="connsiteX33" fmla="*/ 4056611 w 6567055"/>
                <a:gd name="connsiteY33" fmla="*/ 1620982 h 2693324"/>
                <a:gd name="connsiteX34" fmla="*/ 4663440 w 6567055"/>
                <a:gd name="connsiteY34" fmla="*/ 1604357 h 2693324"/>
                <a:gd name="connsiteX35" fmla="*/ 4663440 w 6567055"/>
                <a:gd name="connsiteY35" fmla="*/ 157942 h 2693324"/>
                <a:gd name="connsiteX0" fmla="*/ 4663440 w 5872621"/>
                <a:gd name="connsiteY0" fmla="*/ 0 h 2693324"/>
                <a:gd name="connsiteX1" fmla="*/ 4779818 w 5872621"/>
                <a:gd name="connsiteY1" fmla="*/ 307571 h 2693324"/>
                <a:gd name="connsiteX2" fmla="*/ 4779818 w 5872621"/>
                <a:gd name="connsiteY2" fmla="*/ 1612670 h 2693324"/>
                <a:gd name="connsiteX3" fmla="*/ 5872621 w 5872621"/>
                <a:gd name="connsiteY3" fmla="*/ 1615644 h 2693324"/>
                <a:gd name="connsiteX4" fmla="*/ 5860938 w 5872621"/>
                <a:gd name="connsiteY4" fmla="*/ 1779220 h 2693324"/>
                <a:gd name="connsiteX5" fmla="*/ 4763193 w 5872621"/>
                <a:gd name="connsiteY5" fmla="*/ 1778924 h 2693324"/>
                <a:gd name="connsiteX6" fmla="*/ 4779818 w 5872621"/>
                <a:gd name="connsiteY6" fmla="*/ 2094808 h 2693324"/>
                <a:gd name="connsiteX7" fmla="*/ 4846320 w 5872621"/>
                <a:gd name="connsiteY7" fmla="*/ 2593571 h 2693324"/>
                <a:gd name="connsiteX8" fmla="*/ 4879571 w 5872621"/>
                <a:gd name="connsiteY8" fmla="*/ 2693324 h 2693324"/>
                <a:gd name="connsiteX9" fmla="*/ 4164676 w 5872621"/>
                <a:gd name="connsiteY9" fmla="*/ 2693324 h 2693324"/>
                <a:gd name="connsiteX10" fmla="*/ 4256116 w 5872621"/>
                <a:gd name="connsiteY10" fmla="*/ 2327564 h 2693324"/>
                <a:gd name="connsiteX11" fmla="*/ 4297680 w 5872621"/>
                <a:gd name="connsiteY11" fmla="*/ 1803862 h 2693324"/>
                <a:gd name="connsiteX12" fmla="*/ 3940233 w 5872621"/>
                <a:gd name="connsiteY12" fmla="*/ 1795550 h 2693324"/>
                <a:gd name="connsiteX13" fmla="*/ 2651760 w 5872621"/>
                <a:gd name="connsiteY13" fmla="*/ 1886990 h 2693324"/>
                <a:gd name="connsiteX14" fmla="*/ 1604356 w 5872621"/>
                <a:gd name="connsiteY14" fmla="*/ 1986742 h 2693324"/>
                <a:gd name="connsiteX15" fmla="*/ 1014153 w 5872621"/>
                <a:gd name="connsiteY15" fmla="*/ 2086495 h 2693324"/>
                <a:gd name="connsiteX16" fmla="*/ 1014153 w 5872621"/>
                <a:gd name="connsiteY16" fmla="*/ 2402379 h 2693324"/>
                <a:gd name="connsiteX17" fmla="*/ 1072342 w 5872621"/>
                <a:gd name="connsiteY17" fmla="*/ 2693324 h 2693324"/>
                <a:gd name="connsiteX18" fmla="*/ 606829 w 5872621"/>
                <a:gd name="connsiteY18" fmla="*/ 2693324 h 2693324"/>
                <a:gd name="connsiteX19" fmla="*/ 665018 w 5872621"/>
                <a:gd name="connsiteY19" fmla="*/ 2385753 h 2693324"/>
                <a:gd name="connsiteX20" fmla="*/ 665018 w 5872621"/>
                <a:gd name="connsiteY20" fmla="*/ 2169622 h 2693324"/>
                <a:gd name="connsiteX21" fmla="*/ 274320 w 5872621"/>
                <a:gd name="connsiteY21" fmla="*/ 2219499 h 2693324"/>
                <a:gd name="connsiteX22" fmla="*/ 0 w 5872621"/>
                <a:gd name="connsiteY22" fmla="*/ 2269375 h 2693324"/>
                <a:gd name="connsiteX23" fmla="*/ 8313 w 5872621"/>
                <a:gd name="connsiteY23" fmla="*/ 2186248 h 2693324"/>
                <a:gd name="connsiteX24" fmla="*/ 324196 w 5872621"/>
                <a:gd name="connsiteY24" fmla="*/ 2069870 h 2693324"/>
                <a:gd name="connsiteX25" fmla="*/ 656705 w 5872621"/>
                <a:gd name="connsiteY25" fmla="*/ 1978430 h 2693324"/>
                <a:gd name="connsiteX26" fmla="*/ 897775 w 5872621"/>
                <a:gd name="connsiteY26" fmla="*/ 1920240 h 2693324"/>
                <a:gd name="connsiteX27" fmla="*/ 897775 w 5872621"/>
                <a:gd name="connsiteY27" fmla="*/ 931026 h 2693324"/>
                <a:gd name="connsiteX28" fmla="*/ 997527 w 5872621"/>
                <a:gd name="connsiteY28" fmla="*/ 1047404 h 2693324"/>
                <a:gd name="connsiteX29" fmla="*/ 997527 w 5872621"/>
                <a:gd name="connsiteY29" fmla="*/ 1920240 h 2693324"/>
                <a:gd name="connsiteX30" fmla="*/ 1704109 w 5872621"/>
                <a:gd name="connsiteY30" fmla="*/ 1828800 h 2693324"/>
                <a:gd name="connsiteX31" fmla="*/ 2651760 w 5872621"/>
                <a:gd name="connsiteY31" fmla="*/ 1712422 h 2693324"/>
                <a:gd name="connsiteX32" fmla="*/ 4056611 w 5872621"/>
                <a:gd name="connsiteY32" fmla="*/ 1620982 h 2693324"/>
                <a:gd name="connsiteX33" fmla="*/ 4663440 w 5872621"/>
                <a:gd name="connsiteY33" fmla="*/ 1604357 h 2693324"/>
                <a:gd name="connsiteX34" fmla="*/ 4663440 w 5872621"/>
                <a:gd name="connsiteY34" fmla="*/ 157942 h 269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872621" h="2693324">
                  <a:moveTo>
                    <a:pt x="4663440" y="0"/>
                  </a:moveTo>
                  <a:lnTo>
                    <a:pt x="4779818" y="307571"/>
                  </a:lnTo>
                  <a:lnTo>
                    <a:pt x="4779818" y="1612670"/>
                  </a:lnTo>
                  <a:lnTo>
                    <a:pt x="5872621" y="1615644"/>
                  </a:lnTo>
                  <a:lnTo>
                    <a:pt x="5860938" y="1779220"/>
                  </a:lnTo>
                  <a:lnTo>
                    <a:pt x="4763193" y="1778924"/>
                  </a:lnTo>
                  <a:lnTo>
                    <a:pt x="4779818" y="2094808"/>
                  </a:lnTo>
                  <a:lnTo>
                    <a:pt x="4846320" y="2593571"/>
                  </a:lnTo>
                  <a:lnTo>
                    <a:pt x="4879571" y="2693324"/>
                  </a:lnTo>
                  <a:lnTo>
                    <a:pt x="4164676" y="2693324"/>
                  </a:lnTo>
                  <a:lnTo>
                    <a:pt x="4256116" y="2327564"/>
                  </a:lnTo>
                  <a:lnTo>
                    <a:pt x="4297680" y="1803862"/>
                  </a:lnTo>
                  <a:lnTo>
                    <a:pt x="3940233" y="1795550"/>
                  </a:lnTo>
                  <a:lnTo>
                    <a:pt x="2651760" y="1886990"/>
                  </a:lnTo>
                  <a:lnTo>
                    <a:pt x="1604356" y="1986742"/>
                  </a:lnTo>
                  <a:lnTo>
                    <a:pt x="1014153" y="2086495"/>
                  </a:lnTo>
                  <a:lnTo>
                    <a:pt x="1014153" y="2402379"/>
                  </a:lnTo>
                  <a:lnTo>
                    <a:pt x="1072342" y="2693324"/>
                  </a:lnTo>
                  <a:lnTo>
                    <a:pt x="606829" y="2693324"/>
                  </a:lnTo>
                  <a:lnTo>
                    <a:pt x="665018" y="2385753"/>
                  </a:lnTo>
                  <a:lnTo>
                    <a:pt x="665018" y="2169622"/>
                  </a:lnTo>
                  <a:lnTo>
                    <a:pt x="274320" y="2219499"/>
                  </a:lnTo>
                  <a:lnTo>
                    <a:pt x="0" y="2269375"/>
                  </a:lnTo>
                  <a:lnTo>
                    <a:pt x="8313" y="2186248"/>
                  </a:lnTo>
                  <a:lnTo>
                    <a:pt x="324196" y="2069870"/>
                  </a:lnTo>
                  <a:lnTo>
                    <a:pt x="656705" y="1978430"/>
                  </a:lnTo>
                  <a:lnTo>
                    <a:pt x="897775" y="1920240"/>
                  </a:lnTo>
                  <a:lnTo>
                    <a:pt x="897775" y="931026"/>
                  </a:lnTo>
                  <a:lnTo>
                    <a:pt x="997527" y="1047404"/>
                  </a:lnTo>
                  <a:lnTo>
                    <a:pt x="997527" y="1920240"/>
                  </a:lnTo>
                  <a:lnTo>
                    <a:pt x="1704109" y="1828800"/>
                  </a:lnTo>
                  <a:lnTo>
                    <a:pt x="2651760" y="1712422"/>
                  </a:lnTo>
                  <a:lnTo>
                    <a:pt x="4056611" y="1620982"/>
                  </a:lnTo>
                  <a:lnTo>
                    <a:pt x="4663440" y="1604357"/>
                  </a:lnTo>
                  <a:lnTo>
                    <a:pt x="4663440" y="157942"/>
                  </a:lnTo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Freeform 403"/>
            <p:cNvSpPr/>
            <p:nvPr/>
          </p:nvSpPr>
          <p:spPr>
            <a:xfrm>
              <a:off x="1196022" y="3529697"/>
              <a:ext cx="74543" cy="133838"/>
            </a:xfrm>
            <a:custGeom>
              <a:avLst/>
              <a:gdLst>
                <a:gd name="connsiteX0" fmla="*/ 0 w 365760"/>
                <a:gd name="connsiteY0" fmla="*/ 656706 h 656706"/>
                <a:gd name="connsiteX1" fmla="*/ 182880 w 365760"/>
                <a:gd name="connsiteY1" fmla="*/ 365760 h 656706"/>
                <a:gd name="connsiteX2" fmla="*/ 365760 w 365760"/>
                <a:gd name="connsiteY2" fmla="*/ 0 h 656706"/>
                <a:gd name="connsiteX3" fmla="*/ 357447 w 365760"/>
                <a:gd name="connsiteY3" fmla="*/ 207819 h 656706"/>
                <a:gd name="connsiteX4" fmla="*/ 166254 w 365760"/>
                <a:gd name="connsiteY4" fmla="*/ 532015 h 656706"/>
                <a:gd name="connsiteX5" fmla="*/ 0 w 365760"/>
                <a:gd name="connsiteY5" fmla="*/ 656706 h 656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760" h="656706">
                  <a:moveTo>
                    <a:pt x="0" y="656706"/>
                  </a:moveTo>
                  <a:lnTo>
                    <a:pt x="182880" y="365760"/>
                  </a:lnTo>
                  <a:lnTo>
                    <a:pt x="365760" y="0"/>
                  </a:lnTo>
                  <a:lnTo>
                    <a:pt x="357447" y="207819"/>
                  </a:lnTo>
                  <a:lnTo>
                    <a:pt x="166254" y="532015"/>
                  </a:lnTo>
                  <a:lnTo>
                    <a:pt x="0" y="656706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Freeform 404"/>
            <p:cNvSpPr/>
            <p:nvPr/>
          </p:nvSpPr>
          <p:spPr>
            <a:xfrm>
              <a:off x="1736456" y="3285739"/>
              <a:ext cx="277840" cy="308335"/>
            </a:xfrm>
            <a:custGeom>
              <a:avLst/>
              <a:gdLst>
                <a:gd name="connsiteX0" fmla="*/ 0 w 1363287"/>
                <a:gd name="connsiteY0" fmla="*/ 1512916 h 1512916"/>
                <a:gd name="connsiteX1" fmla="*/ 490450 w 1363287"/>
                <a:gd name="connsiteY1" fmla="*/ 1039091 h 1512916"/>
                <a:gd name="connsiteX2" fmla="*/ 1064029 w 1363287"/>
                <a:gd name="connsiteY2" fmla="*/ 415636 h 1512916"/>
                <a:gd name="connsiteX3" fmla="*/ 1363287 w 1363287"/>
                <a:gd name="connsiteY3" fmla="*/ 0 h 1512916"/>
                <a:gd name="connsiteX4" fmla="*/ 1330036 w 1363287"/>
                <a:gd name="connsiteY4" fmla="*/ 249382 h 1512916"/>
                <a:gd name="connsiteX5" fmla="*/ 889461 w 1363287"/>
                <a:gd name="connsiteY5" fmla="*/ 756458 h 1512916"/>
                <a:gd name="connsiteX6" fmla="*/ 457200 w 1363287"/>
                <a:gd name="connsiteY6" fmla="*/ 1180407 h 1512916"/>
                <a:gd name="connsiteX7" fmla="*/ 74814 w 1363287"/>
                <a:gd name="connsiteY7" fmla="*/ 1512916 h 1512916"/>
                <a:gd name="connsiteX8" fmla="*/ 0 w 1363287"/>
                <a:gd name="connsiteY8" fmla="*/ 1512916 h 151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3287" h="1512916">
                  <a:moveTo>
                    <a:pt x="0" y="1512916"/>
                  </a:moveTo>
                  <a:lnTo>
                    <a:pt x="490450" y="1039091"/>
                  </a:lnTo>
                  <a:lnTo>
                    <a:pt x="1064029" y="415636"/>
                  </a:lnTo>
                  <a:lnTo>
                    <a:pt x="1363287" y="0"/>
                  </a:lnTo>
                  <a:lnTo>
                    <a:pt x="1330036" y="249382"/>
                  </a:lnTo>
                  <a:lnTo>
                    <a:pt x="889461" y="756458"/>
                  </a:lnTo>
                  <a:lnTo>
                    <a:pt x="457200" y="1180407"/>
                  </a:lnTo>
                  <a:lnTo>
                    <a:pt x="74814" y="1512916"/>
                  </a:lnTo>
                  <a:lnTo>
                    <a:pt x="0" y="1512916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5" name="TextBox 134"/>
          <p:cNvSpPr txBox="1"/>
          <p:nvPr>
            <p:custDataLst>
              <p:tags r:id="rId55"/>
            </p:custDataLst>
          </p:nvPr>
        </p:nvSpPr>
        <p:spPr>
          <a:xfrm>
            <a:off x="4339320" y="2675072"/>
            <a:ext cx="1469954" cy="297197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>
            <a:defPPr>
              <a:defRPr lang="ko-KR"/>
            </a:defPPr>
            <a:lvl1pPr algn="ctr" latinLnBrk="0">
              <a:lnSpc>
                <a:spcPct val="70000"/>
              </a:lnSpc>
              <a:tabLst>
                <a:tab pos="930275" algn="l"/>
              </a:tabLst>
              <a:defRPr sz="1050" b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ko-KR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C</a:t>
            </a:r>
          </a:p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ko-KR" sz="950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Implementation Contract</a:t>
            </a:r>
            <a:endParaRPr lang="af-ZA" altLang="ko-KR" sz="950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sp>
        <p:nvSpPr>
          <p:cNvPr id="105" name="TextBox 104"/>
          <p:cNvSpPr txBox="1"/>
          <p:nvPr>
            <p:custDataLst>
              <p:tags r:id="rId56"/>
            </p:custDataLst>
          </p:nvPr>
        </p:nvSpPr>
        <p:spPr>
          <a:xfrm>
            <a:off x="2814531" y="3645030"/>
            <a:ext cx="1564532" cy="296235"/>
          </a:xfrm>
          <a:prstGeom prst="rect">
            <a:avLst/>
          </a:prstGeom>
        </p:spPr>
        <p:txBody>
          <a:bodyPr wrap="none" lIns="0" tIns="0" rIns="0" bIns="0" rtlCol="0" anchor="t">
            <a:spAutoFit/>
          </a:bodyPr>
          <a:lstStyle/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af-ZA" altLang="ko-K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SHA</a:t>
            </a:r>
          </a:p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af-ZA" altLang="ko-KR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(</a:t>
            </a:r>
            <a:r>
              <a:rPr lang="af-ZA" altLang="ko-KR" sz="950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Share Holders Agreement)</a:t>
            </a:r>
          </a:p>
        </p:txBody>
      </p:sp>
      <p:sp>
        <p:nvSpPr>
          <p:cNvPr id="106" name="TextBox 105"/>
          <p:cNvSpPr txBox="1"/>
          <p:nvPr>
            <p:custDataLst>
              <p:tags r:id="rId57"/>
            </p:custDataLst>
          </p:nvPr>
        </p:nvSpPr>
        <p:spPr>
          <a:xfrm>
            <a:off x="5774607" y="3646380"/>
            <a:ext cx="1014700" cy="296235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en-US" altLang="ko-K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LA</a:t>
            </a:r>
          </a:p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en-US" altLang="ko-KR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(</a:t>
            </a:r>
            <a:r>
              <a:rPr lang="en-US" altLang="ko-KR" sz="950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Loan Agreement)</a:t>
            </a:r>
            <a:endParaRPr lang="af-ZA" altLang="ko-KR" sz="950" b="1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sp>
        <p:nvSpPr>
          <p:cNvPr id="108" name="TextBox 107"/>
          <p:cNvSpPr txBox="1"/>
          <p:nvPr>
            <p:custDataLst>
              <p:tags r:id="rId58"/>
            </p:custDataLst>
          </p:nvPr>
        </p:nvSpPr>
        <p:spPr>
          <a:xfrm>
            <a:off x="3997412" y="4593554"/>
            <a:ext cx="357470" cy="206339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af-ZA" altLang="ko-K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EPC</a:t>
            </a:r>
            <a:endParaRPr lang="af-ZA" altLang="ko-KR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59"/>
            </p:custDataLst>
          </p:nvPr>
        </p:nvSpPr>
        <p:spPr>
          <a:xfrm>
            <a:off x="5533779" y="4602296"/>
            <a:ext cx="519373" cy="204095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algn="ctr" latinLnBrk="0">
              <a:lnSpc>
                <a:spcPct val="70000"/>
              </a:lnSpc>
              <a:tabLst>
                <a:tab pos="930275" algn="l"/>
              </a:tabLst>
            </a:pPr>
            <a:r>
              <a:rPr lang="af-ZA" altLang="ko-K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O&amp;M</a:t>
            </a:r>
            <a:endParaRPr lang="af-ZA" altLang="ko-KR" b="1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graphicFrame>
        <p:nvGraphicFramePr>
          <p:cNvPr id="122" name="표 121"/>
          <p:cNvGraphicFramePr>
            <a:graphicFrameLocks noGrp="1"/>
          </p:cNvGraphicFramePr>
          <p:nvPr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2743538672"/>
              </p:ext>
            </p:extLst>
          </p:nvPr>
        </p:nvGraphicFramePr>
        <p:xfrm>
          <a:off x="7235247" y="2888170"/>
          <a:ext cx="2168999" cy="1506704"/>
        </p:xfrm>
        <a:graphic>
          <a:graphicData uri="http://schemas.openxmlformats.org/drawingml/2006/table">
            <a:tbl>
              <a:tblPr firstRow="1" bandRow="1"/>
              <a:tblGrid>
                <a:gridCol w="1084497"/>
                <a:gridCol w="1084502"/>
              </a:tblGrid>
              <a:tr h="347198"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K-ECA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K-Sure</a:t>
                      </a:r>
                    </a:p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K-Exim</a:t>
                      </a:r>
                      <a:endParaRPr lang="ko-KR" altLang="en-US" sz="9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2925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634843"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International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ICIEC</a:t>
                      </a:r>
                    </a:p>
                    <a:p>
                      <a:pPr algn="ctr" latinLnBrk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ICBC/BOC</a:t>
                      </a:r>
                    </a:p>
                    <a:p>
                      <a:pPr algn="ctr" latinLnBrk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cs typeface="Arial" panose="020B0604020202020204" pitchFamily="34" charset="0"/>
                        </a:rPr>
                        <a:t>KFH</a:t>
                      </a:r>
                    </a:p>
                    <a:p>
                      <a:pPr algn="ctr" latinLnBrk="1"/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EKF</a:t>
                      </a:r>
                      <a:endParaRPr lang="ko-KR" altLang="en-US" sz="9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2925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524663"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Turkish Local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</a:defRPr>
                      </a:lvl9pPr>
                    </a:lstStyle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Garanti</a:t>
                      </a:r>
                      <a:endParaRPr lang="en-US" altLang="ko-KR" sz="950" b="1" kern="1200" cap="small" dirty="0" smtClean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Yapi</a:t>
                      </a:r>
                      <a:r>
                        <a:rPr lang="en-US" altLang="ko-KR" sz="9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 </a:t>
                      </a:r>
                      <a:r>
                        <a:rPr lang="en-US" altLang="ko-KR" sz="950" b="1" kern="1200" cap="small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Kredi</a:t>
                      </a:r>
                      <a:endParaRPr lang="en-US" altLang="ko-KR" sz="950" b="1" kern="1200" cap="small" dirty="0" smtClean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  <a:p>
                      <a:pPr marL="0" algn="ctr" defTabSz="914235" rtl="0" eaLnBrk="1" latinLnBrk="1" hangingPunct="1"/>
                      <a:r>
                        <a:rPr lang="en-US" altLang="ko-KR" sz="950" b="1" kern="1200" cap="small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Vakiflar</a:t>
                      </a:r>
                      <a:endParaRPr lang="ko-KR" altLang="en-US" sz="9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2925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7043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0" y="57089"/>
            <a:ext cx="4498777" cy="318924"/>
          </a:xfrm>
          <a:noFill/>
        </p:spPr>
        <p:txBody>
          <a:bodyPr/>
          <a:lstStyle/>
          <a:p>
            <a:r>
              <a:rPr lang="en-US" altLang="ko-KR" dirty="0"/>
              <a:t>Turkey </a:t>
            </a:r>
            <a:r>
              <a:rPr lang="en-US" altLang="ko-KR" dirty="0" err="1"/>
              <a:t>Canakkale</a:t>
            </a:r>
            <a:r>
              <a:rPr lang="en-US" altLang="ko-KR" dirty="0"/>
              <a:t> Bridge Project </a:t>
            </a:r>
            <a:r>
              <a:rPr lang="en-US" altLang="ko-KR" dirty="0" smtClean="0"/>
              <a:t>: Cash </a:t>
            </a:r>
            <a:r>
              <a:rPr lang="en-US" altLang="ko-KR" dirty="0"/>
              <a:t>Flow</a:t>
            </a:r>
          </a:p>
        </p:txBody>
      </p:sp>
      <p:sp>
        <p:nvSpPr>
          <p:cNvPr id="103" name="직사각형 46"/>
          <p:cNvSpPr/>
          <p:nvPr/>
        </p:nvSpPr>
        <p:spPr bwMode="auto">
          <a:xfrm>
            <a:off x="272442" y="633420"/>
            <a:ext cx="9360507" cy="375526"/>
          </a:xfrm>
          <a:prstGeom prst="rect">
            <a:avLst/>
          </a:prstGeom>
          <a:gradFill>
            <a:gsLst>
              <a:gs pos="100000">
                <a:schemeClr val="bg1"/>
              </a:gs>
              <a:gs pos="15000">
                <a:srgbClr val="B2D2EC"/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lIns="360000" tIns="36000" rIns="108000" bIns="36000" rtlCol="0" anchor="ctr"/>
          <a:lstStyle/>
          <a:p>
            <a:pPr latinLnBrk="0"/>
            <a:endParaRPr lang="ko-KR" altLang="en-US" sz="1400" b="1" i="1" dirty="0">
              <a:solidFill>
                <a:srgbClr val="0000FF"/>
              </a:solidFill>
              <a:latin typeface="맑은 고딕" pitchFamily="50" charset="-127"/>
            </a:endParaRPr>
          </a:p>
        </p:txBody>
      </p:sp>
      <p:sp>
        <p:nvSpPr>
          <p:cNvPr id="104" name="직사각형 103"/>
          <p:cNvSpPr/>
          <p:nvPr/>
        </p:nvSpPr>
        <p:spPr bwMode="auto">
          <a:xfrm>
            <a:off x="272442" y="1000087"/>
            <a:ext cx="9360600" cy="5588494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  <a:extLst/>
        </p:spPr>
        <p:txBody>
          <a:bodyPr lIns="45720" tIns="27432" rIns="45720" bIns="27432" rtlCol="0" anchor="ctr"/>
          <a:lstStyle/>
          <a:p>
            <a:pPr algn="ctr" defTabSz="914400" latinLnBrk="0">
              <a:lnSpc>
                <a:spcPct val="90000"/>
              </a:lnSpc>
            </a:pPr>
            <a:endParaRPr lang="ko-KR" altLang="en-US" sz="1200" b="1" kern="0" dirty="0" smtClean="0">
              <a:solidFill>
                <a:schemeClr val="bg1"/>
              </a:solidFill>
            </a:endParaRPr>
          </a:p>
        </p:txBody>
      </p:sp>
      <p:cxnSp>
        <p:nvCxnSpPr>
          <p:cNvPr id="107" name="직선 화살표 연결선 106"/>
          <p:cNvCxnSpPr/>
          <p:nvPr/>
        </p:nvCxnSpPr>
        <p:spPr>
          <a:xfrm>
            <a:off x="909888" y="1222151"/>
            <a:ext cx="1703797" cy="0"/>
          </a:xfrm>
          <a:prstGeom prst="straightConnector1">
            <a:avLst/>
          </a:prstGeom>
          <a:ln>
            <a:solidFill>
              <a:schemeClr val="tx1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직선 화살표 연결선 108"/>
          <p:cNvCxnSpPr/>
          <p:nvPr/>
        </p:nvCxnSpPr>
        <p:spPr>
          <a:xfrm>
            <a:off x="2613685" y="1222151"/>
            <a:ext cx="3884286" cy="0"/>
          </a:xfrm>
          <a:prstGeom prst="straightConnector1">
            <a:avLst/>
          </a:prstGeom>
          <a:ln>
            <a:solidFill>
              <a:schemeClr val="tx1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직사각형 152"/>
          <p:cNvSpPr/>
          <p:nvPr/>
        </p:nvSpPr>
        <p:spPr>
          <a:xfrm>
            <a:off x="909888" y="998884"/>
            <a:ext cx="1776063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altLang="ko-KR" sz="1200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Construction</a:t>
            </a:r>
            <a:endParaRPr lang="ko-KR" altLang="en-US" sz="1200" b="1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sp>
        <p:nvSpPr>
          <p:cNvPr id="154" name="직사각형 153"/>
          <p:cNvSpPr/>
          <p:nvPr/>
        </p:nvSpPr>
        <p:spPr>
          <a:xfrm>
            <a:off x="2692698" y="998884"/>
            <a:ext cx="3805273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altLang="ko-KR" sz="1200" i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1200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Operation</a:t>
            </a:r>
            <a:endParaRPr lang="ko-KR" altLang="en-US" sz="1200" b="1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graphicFrame>
        <p:nvGraphicFramePr>
          <p:cNvPr id="179" name="표 1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794062"/>
              </p:ext>
            </p:extLst>
          </p:nvPr>
        </p:nvGraphicFramePr>
        <p:xfrm>
          <a:off x="969300" y="2956150"/>
          <a:ext cx="5571240" cy="28228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  <a:gridCol w="327720"/>
              </a:tblGrid>
              <a:tr h="282281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900" b="1" dirty="0" smtClean="0">
                          <a:solidFill>
                            <a:schemeClr val="tx1"/>
                          </a:solidFill>
                        </a:rPr>
                        <a:t>17</a:t>
                      </a:r>
                      <a:endParaRPr lang="ko-KR" alt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698728" y="2764860"/>
            <a:ext cx="222545" cy="288147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+</a:t>
            </a:r>
            <a:endParaRPr lang="ko-KR" altLang="en-US" sz="14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698728" y="3144536"/>
            <a:ext cx="222545" cy="288147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 latinLnBrk="0"/>
            <a:r>
              <a:rPr lang="en-US" altLang="ko-KR" sz="1400" b="1" dirty="0" smtClean="0">
                <a:latin typeface="맑은 고딕" pitchFamily="50" charset="-127"/>
                <a:ea typeface="맑은 고딕" pitchFamily="50" charset="-127"/>
              </a:rPr>
              <a:t>-</a:t>
            </a:r>
            <a:endParaRPr lang="ko-KR" altLang="en-US" sz="1400" b="1" dirty="0" smtClean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2642294" y="1865928"/>
            <a:ext cx="3492315" cy="1088489"/>
            <a:chOff x="2733735" y="2244888"/>
            <a:chExt cx="3188836" cy="953058"/>
          </a:xfrm>
        </p:grpSpPr>
        <p:sp>
          <p:nvSpPr>
            <p:cNvPr id="203" name="직사각형 202"/>
            <p:cNvSpPr/>
            <p:nvPr/>
          </p:nvSpPr>
          <p:spPr bwMode="auto">
            <a:xfrm>
              <a:off x="3419121" y="2245404"/>
              <a:ext cx="229485" cy="95254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4" name="직사각형 203"/>
            <p:cNvSpPr/>
            <p:nvPr/>
          </p:nvSpPr>
          <p:spPr bwMode="auto">
            <a:xfrm>
              <a:off x="3740759" y="2245403"/>
              <a:ext cx="229485" cy="95254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5" name="직사각형 204"/>
            <p:cNvSpPr/>
            <p:nvPr/>
          </p:nvSpPr>
          <p:spPr bwMode="auto">
            <a:xfrm>
              <a:off x="4088654" y="2245403"/>
              <a:ext cx="229485" cy="952541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06" name="직사각형 205"/>
            <p:cNvSpPr/>
            <p:nvPr/>
          </p:nvSpPr>
          <p:spPr bwMode="auto">
            <a:xfrm>
              <a:off x="4410293" y="2254269"/>
              <a:ext cx="229485" cy="94367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8" name="직사각형 127"/>
            <p:cNvSpPr/>
            <p:nvPr/>
          </p:nvSpPr>
          <p:spPr bwMode="auto">
            <a:xfrm>
              <a:off x="2733735" y="2245404"/>
              <a:ext cx="229485" cy="95254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9" name="직사각형 128"/>
            <p:cNvSpPr/>
            <p:nvPr/>
          </p:nvSpPr>
          <p:spPr bwMode="auto">
            <a:xfrm>
              <a:off x="3061473" y="2245404"/>
              <a:ext cx="229485" cy="95254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48" name="직사각형 247"/>
            <p:cNvSpPr/>
            <p:nvPr/>
          </p:nvSpPr>
          <p:spPr bwMode="auto">
            <a:xfrm>
              <a:off x="4723793" y="2244888"/>
              <a:ext cx="226590" cy="94907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49" name="직사각형 248"/>
            <p:cNvSpPr/>
            <p:nvPr/>
          </p:nvSpPr>
          <p:spPr bwMode="auto">
            <a:xfrm>
              <a:off x="5041374" y="2244888"/>
              <a:ext cx="226590" cy="949074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0" name="직사각형 249"/>
            <p:cNvSpPr/>
            <p:nvPr/>
          </p:nvSpPr>
          <p:spPr bwMode="auto">
            <a:xfrm>
              <a:off x="5378399" y="2247039"/>
              <a:ext cx="226590" cy="94692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251" name="직사각형 250"/>
            <p:cNvSpPr/>
            <p:nvPr/>
          </p:nvSpPr>
          <p:spPr bwMode="auto">
            <a:xfrm>
              <a:off x="5695981" y="2247039"/>
              <a:ext cx="226590" cy="94692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  <a:prstDash val="dash"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252" name="직사각형 251"/>
          <p:cNvSpPr/>
          <p:nvPr/>
        </p:nvSpPr>
        <p:spPr bwMode="auto">
          <a:xfrm>
            <a:off x="6229471" y="1397242"/>
            <a:ext cx="226590" cy="1559948"/>
          </a:xfrm>
          <a:prstGeom prst="rect">
            <a:avLst/>
          </a:prstGeom>
          <a:solidFill>
            <a:srgbClr val="265B96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050" b="0" smtClean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65" name="직사각형 264"/>
          <p:cNvSpPr/>
          <p:nvPr/>
        </p:nvSpPr>
        <p:spPr>
          <a:xfrm>
            <a:off x="6521263" y="1807679"/>
            <a:ext cx="36259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ko-KR" sz="800" b="1" dirty="0" smtClean="0">
                <a:solidFill>
                  <a:schemeClr val="bg1"/>
                </a:solidFill>
              </a:rPr>
              <a:t>898</a:t>
            </a:r>
            <a:endParaRPr lang="ko-KR" altLang="en-US" sz="800" b="1" dirty="0">
              <a:solidFill>
                <a:schemeClr val="bg1"/>
              </a:solidFill>
            </a:endParaRPr>
          </a:p>
        </p:txBody>
      </p:sp>
      <p:sp>
        <p:nvSpPr>
          <p:cNvPr id="284" name="직사각형 201"/>
          <p:cNvSpPr/>
          <p:nvPr/>
        </p:nvSpPr>
        <p:spPr>
          <a:xfrm>
            <a:off x="1028858" y="2406961"/>
            <a:ext cx="1407437" cy="17697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altLang="ko-KR" sz="1150" b="1" i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Construction profit</a:t>
            </a:r>
          </a:p>
        </p:txBody>
      </p:sp>
      <p:sp>
        <p:nvSpPr>
          <p:cNvPr id="289" name="직사각형 288"/>
          <p:cNvSpPr/>
          <p:nvPr/>
        </p:nvSpPr>
        <p:spPr bwMode="auto">
          <a:xfrm>
            <a:off x="431749" y="5425532"/>
            <a:ext cx="9057881" cy="104977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lIns="72000" tIns="0" rIns="72000" bIns="72000" rtlCol="0" anchor="ctr"/>
          <a:lstStyle/>
          <a:p>
            <a:pPr marL="180975" indent="-180975" defTabSz="914397" fontAlgn="ctr" latinLnBrk="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ko-KR" altLang="en-US" sz="22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 </a:t>
            </a:r>
            <a:r>
              <a:rPr lang="en-US" altLang="ko-KR" sz="2200" b="1" cap="small" dirty="0" smtClean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Key Success Factor of PPP in Matured Market</a:t>
            </a:r>
            <a:r>
              <a:rPr lang="en-US" altLang="ko-KR" sz="1400" b="1" spc="-50" dirty="0" smtClean="0">
                <a:latin typeface="맑은 고딕" pitchFamily="50" charset="-127"/>
                <a:ea typeface="맑은 고딕" pitchFamily="50" charset="-127"/>
              </a:rPr>
              <a:t> </a:t>
            </a:r>
          </a:p>
          <a:p>
            <a:pPr marL="1199985" lvl="2" indent="-285750" defTabSz="914397" fontAlgn="ctr" latinLnBrk="0">
              <a:lnSpc>
                <a:spcPct val="120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ko-KR" sz="2000" b="1" i="1" cap="small" dirty="0" smtClean="0">
                <a:solidFill>
                  <a:srgbClr val="C00000"/>
                </a:solidFill>
                <a:latin typeface="+mn-ea"/>
                <a:ea typeface=""/>
                <a:cs typeface=""/>
              </a:rPr>
              <a:t>World-Level </a:t>
            </a:r>
            <a:r>
              <a:rPr lang="en-US" altLang="ko-KR" sz="2000" b="1" i="1" cap="small" dirty="0">
                <a:solidFill>
                  <a:srgbClr val="C00000"/>
                </a:solidFill>
                <a:latin typeface="+mn-ea"/>
                <a:ea typeface=""/>
                <a:cs typeface=""/>
              </a:rPr>
              <a:t>EPC Capacity with </a:t>
            </a:r>
            <a:r>
              <a:rPr lang="en-US" altLang="ko-KR" sz="2000" b="1" i="1" cap="small" dirty="0" smtClean="0">
                <a:solidFill>
                  <a:srgbClr val="C00000"/>
                </a:solidFill>
                <a:latin typeface="+mn-ea"/>
                <a:ea typeface=""/>
                <a:cs typeface=""/>
              </a:rPr>
              <a:t>Various Financing </a:t>
            </a:r>
            <a:r>
              <a:rPr lang="en-US" altLang="ko-KR" sz="2000" b="1" i="1" cap="small" dirty="0">
                <a:solidFill>
                  <a:srgbClr val="C00000"/>
                </a:solidFill>
                <a:latin typeface="+mn-ea"/>
                <a:ea typeface=""/>
                <a:cs typeface=""/>
              </a:rPr>
              <a:t>Network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1029582" y="2592983"/>
            <a:ext cx="1525490" cy="350425"/>
            <a:chOff x="1121022" y="1897218"/>
            <a:chExt cx="1525490" cy="1289719"/>
          </a:xfrm>
        </p:grpSpPr>
        <p:sp>
          <p:nvSpPr>
            <p:cNvPr id="172" name="직사각형 171"/>
            <p:cNvSpPr/>
            <p:nvPr/>
          </p:nvSpPr>
          <p:spPr bwMode="auto">
            <a:xfrm>
              <a:off x="1121022" y="2347436"/>
              <a:ext cx="219366" cy="839501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0" name="직사각형 109"/>
            <p:cNvSpPr/>
            <p:nvPr/>
          </p:nvSpPr>
          <p:spPr bwMode="auto">
            <a:xfrm>
              <a:off x="1447553" y="2207638"/>
              <a:ext cx="219366" cy="979299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1" name="직사각형 110"/>
            <p:cNvSpPr/>
            <p:nvPr/>
          </p:nvSpPr>
          <p:spPr bwMode="auto">
            <a:xfrm>
              <a:off x="1774084" y="2047232"/>
              <a:ext cx="219366" cy="1139701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2" name="직사각형 111"/>
            <p:cNvSpPr/>
            <p:nvPr/>
          </p:nvSpPr>
          <p:spPr bwMode="auto">
            <a:xfrm>
              <a:off x="2100615" y="1897218"/>
              <a:ext cx="219366" cy="1289719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13" name="직사각형 112"/>
            <p:cNvSpPr/>
            <p:nvPr/>
          </p:nvSpPr>
          <p:spPr bwMode="auto">
            <a:xfrm>
              <a:off x="2427146" y="2347436"/>
              <a:ext cx="219366" cy="839501"/>
            </a:xfrm>
            <a:prstGeom prst="rect">
              <a:avLst/>
            </a:prstGeom>
            <a:solidFill>
              <a:srgbClr val="F8A79E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cxnSp>
        <p:nvCxnSpPr>
          <p:cNvPr id="136" name="직선 화살표 연결선 135"/>
          <p:cNvCxnSpPr/>
          <p:nvPr/>
        </p:nvCxnSpPr>
        <p:spPr>
          <a:xfrm>
            <a:off x="504214" y="1222151"/>
            <a:ext cx="438198" cy="0"/>
          </a:xfrm>
          <a:prstGeom prst="straightConnector1">
            <a:avLst/>
          </a:prstGeom>
          <a:ln>
            <a:solidFill>
              <a:schemeClr val="tx1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직선 연결선 137"/>
          <p:cNvCxnSpPr/>
          <p:nvPr/>
        </p:nvCxnSpPr>
        <p:spPr>
          <a:xfrm>
            <a:off x="909888" y="1504788"/>
            <a:ext cx="0" cy="3722678"/>
          </a:xfrm>
          <a:prstGeom prst="line">
            <a:avLst/>
          </a:prstGeom>
          <a:ln>
            <a:solidFill>
              <a:srgbClr val="3B756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TextBox 161"/>
          <p:cNvSpPr txBox="1"/>
          <p:nvPr/>
        </p:nvSpPr>
        <p:spPr>
          <a:xfrm>
            <a:off x="6597029" y="2612498"/>
            <a:ext cx="2934416" cy="503590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latinLnBrk="0">
              <a:lnSpc>
                <a:spcPct val="150000"/>
              </a:lnSpc>
            </a:pPr>
            <a:r>
              <a:rPr lang="en-US" altLang="ko-KR" sz="11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※ Rule of the </a:t>
            </a:r>
            <a:r>
              <a:rPr lang="en-US" altLang="ko-KR" sz="1100" b="1" cap="small" dirty="0" smtClean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game</a:t>
            </a:r>
            <a:endParaRPr lang="en-US" altLang="ko-KR" sz="1100" b="1" cap="small" dirty="0">
              <a:solidFill>
                <a:schemeClr val="tx2">
                  <a:lumMod val="25000"/>
                </a:schemeClr>
              </a:solidFill>
              <a:latin typeface="+mn-ea"/>
              <a:ea typeface=""/>
              <a:cs typeface=""/>
            </a:endParaRPr>
          </a:p>
          <a:p>
            <a:pPr latinLnBrk="0"/>
            <a:r>
              <a:rPr lang="en-US" altLang="ko-KR" sz="1150" b="1" i="1" cap="small" dirty="0" smtClean="0">
                <a:solidFill>
                  <a:srgbClr val="C00000"/>
                </a:solidFill>
                <a:latin typeface="+mn-ea"/>
                <a:ea typeface=""/>
                <a:cs typeface=""/>
              </a:rPr>
              <a:t>bidder </a:t>
            </a:r>
            <a:r>
              <a:rPr lang="en-US" altLang="ko-KR" sz="1150" b="1" i="1" cap="small" dirty="0">
                <a:solidFill>
                  <a:srgbClr val="C00000"/>
                </a:solidFill>
                <a:latin typeface="+mn-ea"/>
                <a:ea typeface=""/>
                <a:cs typeface=""/>
              </a:rPr>
              <a:t>with Minimum </a:t>
            </a:r>
            <a:r>
              <a:rPr lang="en-US" altLang="ko-KR" sz="1150" b="1" i="1" cap="small" dirty="0" smtClean="0">
                <a:solidFill>
                  <a:srgbClr val="C00000"/>
                </a:solidFill>
                <a:latin typeface="+mn-ea"/>
                <a:ea typeface=""/>
                <a:cs typeface=""/>
              </a:rPr>
              <a:t>Concession </a:t>
            </a:r>
            <a:r>
              <a:rPr lang="en-US" altLang="ko-KR" sz="1150" b="1" i="1" cap="small" dirty="0">
                <a:solidFill>
                  <a:srgbClr val="C00000"/>
                </a:solidFill>
                <a:latin typeface="+mn-ea"/>
                <a:ea typeface=""/>
                <a:cs typeface=""/>
              </a:rPr>
              <a:t>Period</a:t>
            </a:r>
          </a:p>
        </p:txBody>
      </p:sp>
      <p:grpSp>
        <p:nvGrpSpPr>
          <p:cNvPr id="165" name="그룹 164"/>
          <p:cNvGrpSpPr/>
          <p:nvPr/>
        </p:nvGrpSpPr>
        <p:grpSpPr>
          <a:xfrm>
            <a:off x="283443" y="681274"/>
            <a:ext cx="624421" cy="298184"/>
            <a:chOff x="8036036" y="5075880"/>
            <a:chExt cx="624421" cy="298184"/>
          </a:xfrm>
          <a:solidFill>
            <a:schemeClr val="bg1"/>
          </a:solidFill>
        </p:grpSpPr>
        <p:grpSp>
          <p:nvGrpSpPr>
            <p:cNvPr id="166" name="Group 182"/>
            <p:cNvGrpSpPr/>
            <p:nvPr/>
          </p:nvGrpSpPr>
          <p:grpSpPr>
            <a:xfrm>
              <a:off x="8036036" y="5078512"/>
              <a:ext cx="331300" cy="292920"/>
              <a:chOff x="1704109" y="1091494"/>
              <a:chExt cx="4829695" cy="4270215"/>
            </a:xfrm>
            <a:grpFill/>
          </p:grpSpPr>
          <p:sp>
            <p:nvSpPr>
              <p:cNvPr id="226" name="Freeform 183"/>
              <p:cNvSpPr/>
              <p:nvPr/>
            </p:nvSpPr>
            <p:spPr>
              <a:xfrm>
                <a:off x="1704109" y="2427316"/>
                <a:ext cx="4829695" cy="922713"/>
              </a:xfrm>
              <a:custGeom>
                <a:avLst/>
                <a:gdLst>
                  <a:gd name="connsiteX0" fmla="*/ 8313 w 4829695"/>
                  <a:gd name="connsiteY0" fmla="*/ 0 h 922713"/>
                  <a:gd name="connsiteX1" fmla="*/ 4829695 w 4829695"/>
                  <a:gd name="connsiteY1" fmla="*/ 0 h 922713"/>
                  <a:gd name="connsiteX2" fmla="*/ 4829695 w 4829695"/>
                  <a:gd name="connsiteY2" fmla="*/ 332509 h 922713"/>
                  <a:gd name="connsiteX3" fmla="*/ 4355869 w 4829695"/>
                  <a:gd name="connsiteY3" fmla="*/ 332509 h 922713"/>
                  <a:gd name="connsiteX4" fmla="*/ 4264429 w 4829695"/>
                  <a:gd name="connsiteY4" fmla="*/ 423949 h 922713"/>
                  <a:gd name="connsiteX5" fmla="*/ 4264429 w 4829695"/>
                  <a:gd name="connsiteY5" fmla="*/ 914400 h 922713"/>
                  <a:gd name="connsiteX6" fmla="*/ 3948546 w 4829695"/>
                  <a:gd name="connsiteY6" fmla="*/ 914400 h 922713"/>
                  <a:gd name="connsiteX7" fmla="*/ 3807229 w 4829695"/>
                  <a:gd name="connsiteY7" fmla="*/ 407324 h 922713"/>
                  <a:gd name="connsiteX8" fmla="*/ 3724102 w 4829695"/>
                  <a:gd name="connsiteY8" fmla="*/ 315884 h 922713"/>
                  <a:gd name="connsiteX9" fmla="*/ 1080655 w 4829695"/>
                  <a:gd name="connsiteY9" fmla="*/ 315884 h 922713"/>
                  <a:gd name="connsiteX10" fmla="*/ 980902 w 4829695"/>
                  <a:gd name="connsiteY10" fmla="*/ 382386 h 922713"/>
                  <a:gd name="connsiteX11" fmla="*/ 847898 w 4829695"/>
                  <a:gd name="connsiteY11" fmla="*/ 922713 h 922713"/>
                  <a:gd name="connsiteX12" fmla="*/ 540327 w 4829695"/>
                  <a:gd name="connsiteY12" fmla="*/ 922713 h 922713"/>
                  <a:gd name="connsiteX13" fmla="*/ 540327 w 4829695"/>
                  <a:gd name="connsiteY13" fmla="*/ 415637 h 922713"/>
                  <a:gd name="connsiteX14" fmla="*/ 465512 w 4829695"/>
                  <a:gd name="connsiteY14" fmla="*/ 340822 h 922713"/>
                  <a:gd name="connsiteX15" fmla="*/ 0 w 4829695"/>
                  <a:gd name="connsiteY15" fmla="*/ 340822 h 922713"/>
                  <a:gd name="connsiteX16" fmla="*/ 8313 w 4829695"/>
                  <a:gd name="connsiteY16" fmla="*/ 0 h 922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829695" h="922713">
                    <a:moveTo>
                      <a:pt x="8313" y="0"/>
                    </a:moveTo>
                    <a:lnTo>
                      <a:pt x="4829695" y="0"/>
                    </a:lnTo>
                    <a:lnTo>
                      <a:pt x="4829695" y="332509"/>
                    </a:lnTo>
                    <a:lnTo>
                      <a:pt x="4355869" y="332509"/>
                    </a:lnTo>
                    <a:lnTo>
                      <a:pt x="4264429" y="423949"/>
                    </a:lnTo>
                    <a:lnTo>
                      <a:pt x="4264429" y="914400"/>
                    </a:lnTo>
                    <a:lnTo>
                      <a:pt x="3948546" y="914400"/>
                    </a:lnTo>
                    <a:lnTo>
                      <a:pt x="3807229" y="407324"/>
                    </a:lnTo>
                    <a:lnTo>
                      <a:pt x="3724102" y="315884"/>
                    </a:lnTo>
                    <a:lnTo>
                      <a:pt x="1080655" y="315884"/>
                    </a:lnTo>
                    <a:lnTo>
                      <a:pt x="980902" y="382386"/>
                    </a:lnTo>
                    <a:lnTo>
                      <a:pt x="847898" y="922713"/>
                    </a:lnTo>
                    <a:lnTo>
                      <a:pt x="540327" y="922713"/>
                    </a:lnTo>
                    <a:lnTo>
                      <a:pt x="540327" y="415637"/>
                    </a:lnTo>
                    <a:lnTo>
                      <a:pt x="465512" y="340822"/>
                    </a:lnTo>
                    <a:lnTo>
                      <a:pt x="0" y="340822"/>
                    </a:lnTo>
                    <a:lnTo>
                      <a:pt x="831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latin typeface="+mn-ea"/>
                </a:endParaRPr>
              </a:p>
            </p:txBody>
          </p:sp>
          <p:grpSp>
            <p:nvGrpSpPr>
              <p:cNvPr id="227" name="Group 184"/>
              <p:cNvGrpSpPr/>
              <p:nvPr/>
            </p:nvGrpSpPr>
            <p:grpSpPr>
              <a:xfrm>
                <a:off x="2726575" y="1091494"/>
                <a:ext cx="1184069" cy="4270215"/>
                <a:chOff x="2726575" y="1091494"/>
                <a:chExt cx="1184069" cy="4270215"/>
              </a:xfrm>
              <a:grpFill/>
            </p:grpSpPr>
            <p:sp>
              <p:nvSpPr>
                <p:cNvPr id="231" name="Freeform 188"/>
                <p:cNvSpPr/>
                <p:nvPr/>
              </p:nvSpPr>
              <p:spPr>
                <a:xfrm>
                  <a:off x="2726575" y="3017520"/>
                  <a:ext cx="1147156" cy="2344189"/>
                </a:xfrm>
                <a:custGeom>
                  <a:avLst/>
                  <a:gdLst>
                    <a:gd name="connsiteX0" fmla="*/ 432261 w 1147156"/>
                    <a:gd name="connsiteY0" fmla="*/ 0 h 2344189"/>
                    <a:gd name="connsiteX1" fmla="*/ 1147156 w 1147156"/>
                    <a:gd name="connsiteY1" fmla="*/ 0 h 2344189"/>
                    <a:gd name="connsiteX2" fmla="*/ 1055716 w 1147156"/>
                    <a:gd name="connsiteY2" fmla="*/ 2344189 h 2344189"/>
                    <a:gd name="connsiteX3" fmla="*/ 0 w 1147156"/>
                    <a:gd name="connsiteY3" fmla="*/ 2344189 h 2344189"/>
                    <a:gd name="connsiteX4" fmla="*/ 432261 w 1147156"/>
                    <a:gd name="connsiteY4" fmla="*/ 0 h 2344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7156" h="2344189">
                      <a:moveTo>
                        <a:pt x="432261" y="0"/>
                      </a:moveTo>
                      <a:lnTo>
                        <a:pt x="1147156" y="0"/>
                      </a:lnTo>
                      <a:lnTo>
                        <a:pt x="1055716" y="2344189"/>
                      </a:lnTo>
                      <a:lnTo>
                        <a:pt x="0" y="2344189"/>
                      </a:lnTo>
                      <a:lnTo>
                        <a:pt x="4322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latin typeface="+mn-ea"/>
                  </a:endParaRPr>
                </a:p>
              </p:txBody>
            </p:sp>
            <p:sp>
              <p:nvSpPr>
                <p:cNvPr id="232" name="Freeform 189"/>
                <p:cNvSpPr/>
                <p:nvPr/>
              </p:nvSpPr>
              <p:spPr>
                <a:xfrm>
                  <a:off x="3336744" y="1091494"/>
                  <a:ext cx="573900" cy="1061431"/>
                </a:xfrm>
                <a:custGeom>
                  <a:avLst/>
                  <a:gdLst>
                    <a:gd name="connsiteX0" fmla="*/ 432261 w 1147156"/>
                    <a:gd name="connsiteY0" fmla="*/ 0 h 2344189"/>
                    <a:gd name="connsiteX1" fmla="*/ 1147156 w 1147156"/>
                    <a:gd name="connsiteY1" fmla="*/ 0 h 2344189"/>
                    <a:gd name="connsiteX2" fmla="*/ 1055716 w 1147156"/>
                    <a:gd name="connsiteY2" fmla="*/ 2344189 h 2344189"/>
                    <a:gd name="connsiteX3" fmla="*/ 0 w 1147156"/>
                    <a:gd name="connsiteY3" fmla="*/ 2344189 h 2344189"/>
                    <a:gd name="connsiteX4" fmla="*/ 432261 w 1147156"/>
                    <a:gd name="connsiteY4" fmla="*/ 0 h 2344189"/>
                    <a:gd name="connsiteX0" fmla="*/ 317619 w 1147156"/>
                    <a:gd name="connsiteY0" fmla="*/ 0 h 2382402"/>
                    <a:gd name="connsiteX1" fmla="*/ 1147156 w 1147156"/>
                    <a:gd name="connsiteY1" fmla="*/ 38213 h 2382402"/>
                    <a:gd name="connsiteX2" fmla="*/ 1055716 w 1147156"/>
                    <a:gd name="connsiteY2" fmla="*/ 2382402 h 2382402"/>
                    <a:gd name="connsiteX3" fmla="*/ 0 w 1147156"/>
                    <a:gd name="connsiteY3" fmla="*/ 2382402 h 2382402"/>
                    <a:gd name="connsiteX4" fmla="*/ 317619 w 1147156"/>
                    <a:gd name="connsiteY4" fmla="*/ 0 h 2382402"/>
                    <a:gd name="connsiteX0" fmla="*/ 317619 w 1128051"/>
                    <a:gd name="connsiteY0" fmla="*/ 38213 h 2420615"/>
                    <a:gd name="connsiteX1" fmla="*/ 1128051 w 1128051"/>
                    <a:gd name="connsiteY1" fmla="*/ 0 h 2420615"/>
                    <a:gd name="connsiteX2" fmla="*/ 1055716 w 1128051"/>
                    <a:gd name="connsiteY2" fmla="*/ 2420615 h 2420615"/>
                    <a:gd name="connsiteX3" fmla="*/ 0 w 1128051"/>
                    <a:gd name="connsiteY3" fmla="*/ 2420615 h 2420615"/>
                    <a:gd name="connsiteX4" fmla="*/ 317619 w 1128051"/>
                    <a:gd name="connsiteY4" fmla="*/ 38213 h 2420615"/>
                    <a:gd name="connsiteX0" fmla="*/ 508691 w 1319123"/>
                    <a:gd name="connsiteY0" fmla="*/ 38213 h 2439723"/>
                    <a:gd name="connsiteX1" fmla="*/ 1319123 w 1319123"/>
                    <a:gd name="connsiteY1" fmla="*/ 0 h 2439723"/>
                    <a:gd name="connsiteX2" fmla="*/ 1246788 w 1319123"/>
                    <a:gd name="connsiteY2" fmla="*/ 2420615 h 2439723"/>
                    <a:gd name="connsiteX3" fmla="*/ 0 w 1319123"/>
                    <a:gd name="connsiteY3" fmla="*/ 2439723 h 2439723"/>
                    <a:gd name="connsiteX4" fmla="*/ 508691 w 1319123"/>
                    <a:gd name="connsiteY4" fmla="*/ 38213 h 243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19123" h="2439723">
                      <a:moveTo>
                        <a:pt x="508691" y="38213"/>
                      </a:moveTo>
                      <a:lnTo>
                        <a:pt x="1319123" y="0"/>
                      </a:lnTo>
                      <a:lnTo>
                        <a:pt x="1246788" y="2420615"/>
                      </a:lnTo>
                      <a:lnTo>
                        <a:pt x="0" y="2439723"/>
                      </a:lnTo>
                      <a:lnTo>
                        <a:pt x="508691" y="382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dirty="0">
                    <a:latin typeface="+mn-ea"/>
                  </a:endParaRPr>
                </a:p>
              </p:txBody>
            </p:sp>
          </p:grpSp>
          <p:grpSp>
            <p:nvGrpSpPr>
              <p:cNvPr id="228" name="Group 185"/>
              <p:cNvGrpSpPr/>
              <p:nvPr/>
            </p:nvGrpSpPr>
            <p:grpSpPr>
              <a:xfrm flipH="1">
                <a:off x="4314306" y="1091494"/>
                <a:ext cx="1184069" cy="4270215"/>
                <a:chOff x="2726575" y="1091494"/>
                <a:chExt cx="1184069" cy="4270215"/>
              </a:xfrm>
              <a:grpFill/>
            </p:grpSpPr>
            <p:sp>
              <p:nvSpPr>
                <p:cNvPr id="229" name="Freeform 186"/>
                <p:cNvSpPr/>
                <p:nvPr/>
              </p:nvSpPr>
              <p:spPr>
                <a:xfrm>
                  <a:off x="2726575" y="3017520"/>
                  <a:ext cx="1147156" cy="2344189"/>
                </a:xfrm>
                <a:custGeom>
                  <a:avLst/>
                  <a:gdLst>
                    <a:gd name="connsiteX0" fmla="*/ 432261 w 1147156"/>
                    <a:gd name="connsiteY0" fmla="*/ 0 h 2344189"/>
                    <a:gd name="connsiteX1" fmla="*/ 1147156 w 1147156"/>
                    <a:gd name="connsiteY1" fmla="*/ 0 h 2344189"/>
                    <a:gd name="connsiteX2" fmla="*/ 1055716 w 1147156"/>
                    <a:gd name="connsiteY2" fmla="*/ 2344189 h 2344189"/>
                    <a:gd name="connsiteX3" fmla="*/ 0 w 1147156"/>
                    <a:gd name="connsiteY3" fmla="*/ 2344189 h 2344189"/>
                    <a:gd name="connsiteX4" fmla="*/ 432261 w 1147156"/>
                    <a:gd name="connsiteY4" fmla="*/ 0 h 23441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47156" h="2344189">
                      <a:moveTo>
                        <a:pt x="432261" y="0"/>
                      </a:moveTo>
                      <a:lnTo>
                        <a:pt x="1147156" y="0"/>
                      </a:lnTo>
                      <a:lnTo>
                        <a:pt x="1055716" y="2344189"/>
                      </a:lnTo>
                      <a:lnTo>
                        <a:pt x="0" y="2344189"/>
                      </a:lnTo>
                      <a:lnTo>
                        <a:pt x="43226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latin typeface="+mn-ea"/>
                  </a:endParaRPr>
                </a:p>
              </p:txBody>
            </p:sp>
            <p:sp>
              <p:nvSpPr>
                <p:cNvPr id="230" name="Freeform 187"/>
                <p:cNvSpPr/>
                <p:nvPr/>
              </p:nvSpPr>
              <p:spPr>
                <a:xfrm>
                  <a:off x="3336744" y="1091494"/>
                  <a:ext cx="573900" cy="1061431"/>
                </a:xfrm>
                <a:custGeom>
                  <a:avLst/>
                  <a:gdLst>
                    <a:gd name="connsiteX0" fmla="*/ 432261 w 1147156"/>
                    <a:gd name="connsiteY0" fmla="*/ 0 h 2344189"/>
                    <a:gd name="connsiteX1" fmla="*/ 1147156 w 1147156"/>
                    <a:gd name="connsiteY1" fmla="*/ 0 h 2344189"/>
                    <a:gd name="connsiteX2" fmla="*/ 1055716 w 1147156"/>
                    <a:gd name="connsiteY2" fmla="*/ 2344189 h 2344189"/>
                    <a:gd name="connsiteX3" fmla="*/ 0 w 1147156"/>
                    <a:gd name="connsiteY3" fmla="*/ 2344189 h 2344189"/>
                    <a:gd name="connsiteX4" fmla="*/ 432261 w 1147156"/>
                    <a:gd name="connsiteY4" fmla="*/ 0 h 2344189"/>
                    <a:gd name="connsiteX0" fmla="*/ 317619 w 1147156"/>
                    <a:gd name="connsiteY0" fmla="*/ 0 h 2382402"/>
                    <a:gd name="connsiteX1" fmla="*/ 1147156 w 1147156"/>
                    <a:gd name="connsiteY1" fmla="*/ 38213 h 2382402"/>
                    <a:gd name="connsiteX2" fmla="*/ 1055716 w 1147156"/>
                    <a:gd name="connsiteY2" fmla="*/ 2382402 h 2382402"/>
                    <a:gd name="connsiteX3" fmla="*/ 0 w 1147156"/>
                    <a:gd name="connsiteY3" fmla="*/ 2382402 h 2382402"/>
                    <a:gd name="connsiteX4" fmla="*/ 317619 w 1147156"/>
                    <a:gd name="connsiteY4" fmla="*/ 0 h 2382402"/>
                    <a:gd name="connsiteX0" fmla="*/ 317619 w 1128051"/>
                    <a:gd name="connsiteY0" fmla="*/ 38213 h 2420615"/>
                    <a:gd name="connsiteX1" fmla="*/ 1128051 w 1128051"/>
                    <a:gd name="connsiteY1" fmla="*/ 0 h 2420615"/>
                    <a:gd name="connsiteX2" fmla="*/ 1055716 w 1128051"/>
                    <a:gd name="connsiteY2" fmla="*/ 2420615 h 2420615"/>
                    <a:gd name="connsiteX3" fmla="*/ 0 w 1128051"/>
                    <a:gd name="connsiteY3" fmla="*/ 2420615 h 2420615"/>
                    <a:gd name="connsiteX4" fmla="*/ 317619 w 1128051"/>
                    <a:gd name="connsiteY4" fmla="*/ 38213 h 2420615"/>
                    <a:gd name="connsiteX0" fmla="*/ 508691 w 1319123"/>
                    <a:gd name="connsiteY0" fmla="*/ 38213 h 2439723"/>
                    <a:gd name="connsiteX1" fmla="*/ 1319123 w 1319123"/>
                    <a:gd name="connsiteY1" fmla="*/ 0 h 2439723"/>
                    <a:gd name="connsiteX2" fmla="*/ 1246788 w 1319123"/>
                    <a:gd name="connsiteY2" fmla="*/ 2420615 h 2439723"/>
                    <a:gd name="connsiteX3" fmla="*/ 0 w 1319123"/>
                    <a:gd name="connsiteY3" fmla="*/ 2439723 h 2439723"/>
                    <a:gd name="connsiteX4" fmla="*/ 508691 w 1319123"/>
                    <a:gd name="connsiteY4" fmla="*/ 38213 h 2439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19123" h="2439723">
                      <a:moveTo>
                        <a:pt x="508691" y="38213"/>
                      </a:moveTo>
                      <a:lnTo>
                        <a:pt x="1319123" y="0"/>
                      </a:lnTo>
                      <a:lnTo>
                        <a:pt x="1246788" y="2420615"/>
                      </a:lnTo>
                      <a:lnTo>
                        <a:pt x="0" y="2439723"/>
                      </a:lnTo>
                      <a:lnTo>
                        <a:pt x="508691" y="382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dirty="0">
                    <a:latin typeface="+mn-ea"/>
                  </a:endParaRPr>
                </a:p>
              </p:txBody>
            </p:sp>
          </p:grpSp>
        </p:grpSp>
        <p:grpSp>
          <p:nvGrpSpPr>
            <p:cNvPr id="182" name="Group 202"/>
            <p:cNvGrpSpPr/>
            <p:nvPr/>
          </p:nvGrpSpPr>
          <p:grpSpPr>
            <a:xfrm>
              <a:off x="8183431" y="5075880"/>
              <a:ext cx="477026" cy="298184"/>
              <a:chOff x="316601" y="3193031"/>
              <a:chExt cx="267934" cy="181442"/>
            </a:xfrm>
            <a:grpFill/>
          </p:grpSpPr>
          <p:sp>
            <p:nvSpPr>
              <p:cNvPr id="183" name="Rectangle 203"/>
              <p:cNvSpPr/>
              <p:nvPr/>
            </p:nvSpPr>
            <p:spPr bwMode="auto">
              <a:xfrm>
                <a:off x="316601" y="3301848"/>
                <a:ext cx="267934" cy="18546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1400" b="0" smtClean="0">
                  <a:latin typeface="+mn-ea"/>
                </a:endParaRPr>
              </a:p>
            </p:txBody>
          </p:sp>
          <p:sp>
            <p:nvSpPr>
              <p:cNvPr id="185" name="Freeform 204"/>
              <p:cNvSpPr/>
              <p:nvPr/>
            </p:nvSpPr>
            <p:spPr bwMode="auto">
              <a:xfrm>
                <a:off x="442167" y="3193031"/>
                <a:ext cx="17066" cy="181442"/>
              </a:xfrm>
              <a:custGeom>
                <a:avLst/>
                <a:gdLst>
                  <a:gd name="connsiteX0" fmla="*/ 0 w 124097"/>
                  <a:gd name="connsiteY0" fmla="*/ 888275 h 1319349"/>
                  <a:gd name="connsiteX1" fmla="*/ 0 w 124097"/>
                  <a:gd name="connsiteY1" fmla="*/ 1319349 h 1319349"/>
                  <a:gd name="connsiteX2" fmla="*/ 124097 w 124097"/>
                  <a:gd name="connsiteY2" fmla="*/ 1319349 h 1319349"/>
                  <a:gd name="connsiteX3" fmla="*/ 124097 w 124097"/>
                  <a:gd name="connsiteY3" fmla="*/ 904603 h 1319349"/>
                  <a:gd name="connsiteX4" fmla="*/ 81643 w 124097"/>
                  <a:gd name="connsiteY4" fmla="*/ 0 h 1319349"/>
                  <a:gd name="connsiteX5" fmla="*/ 39189 w 124097"/>
                  <a:gd name="connsiteY5" fmla="*/ 0 h 1319349"/>
                  <a:gd name="connsiteX6" fmla="*/ 0 w 124097"/>
                  <a:gd name="connsiteY6" fmla="*/ 888275 h 1319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4097" h="1319349">
                    <a:moveTo>
                      <a:pt x="0" y="888275"/>
                    </a:moveTo>
                    <a:lnTo>
                      <a:pt x="0" y="1319349"/>
                    </a:lnTo>
                    <a:lnTo>
                      <a:pt x="124097" y="1319349"/>
                    </a:lnTo>
                    <a:lnTo>
                      <a:pt x="124097" y="904603"/>
                    </a:lnTo>
                    <a:lnTo>
                      <a:pt x="81643" y="0"/>
                    </a:lnTo>
                    <a:lnTo>
                      <a:pt x="39189" y="0"/>
                    </a:lnTo>
                    <a:lnTo>
                      <a:pt x="0" y="88827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1400" b="0" smtClean="0">
                  <a:latin typeface="+mn-ea"/>
                </a:endParaRPr>
              </a:p>
            </p:txBody>
          </p:sp>
          <p:cxnSp>
            <p:nvCxnSpPr>
              <p:cNvPr id="188" name="Straight Connector 205"/>
              <p:cNvCxnSpPr/>
              <p:nvPr/>
            </p:nvCxnSpPr>
            <p:spPr>
              <a:xfrm flipV="1">
                <a:off x="316601" y="3193031"/>
                <a:ext cx="130955" cy="118090"/>
              </a:xfrm>
              <a:prstGeom prst="lin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Straight Connector 206"/>
              <p:cNvCxnSpPr/>
              <p:nvPr/>
            </p:nvCxnSpPr>
            <p:spPr>
              <a:xfrm flipV="1">
                <a:off x="351895" y="3208301"/>
                <a:ext cx="96110" cy="98356"/>
              </a:xfrm>
              <a:prstGeom prst="lin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Straight Connector 207"/>
              <p:cNvCxnSpPr/>
              <p:nvPr/>
            </p:nvCxnSpPr>
            <p:spPr>
              <a:xfrm flipV="1">
                <a:off x="378393" y="3223571"/>
                <a:ext cx="70061" cy="82637"/>
              </a:xfrm>
              <a:prstGeom prst="lin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Straight Connector 208"/>
              <p:cNvCxnSpPr/>
              <p:nvPr/>
            </p:nvCxnSpPr>
            <p:spPr>
              <a:xfrm flipV="1">
                <a:off x="403544" y="3240637"/>
                <a:ext cx="45360" cy="63325"/>
              </a:xfrm>
              <a:prstGeom prst="lin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09"/>
              <p:cNvCxnSpPr/>
              <p:nvPr/>
            </p:nvCxnSpPr>
            <p:spPr>
              <a:xfrm flipV="1">
                <a:off x="419262" y="3264889"/>
                <a:ext cx="26947" cy="42217"/>
              </a:xfrm>
              <a:prstGeom prst="lin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Straight Connector 210"/>
              <p:cNvCxnSpPr/>
              <p:nvPr/>
            </p:nvCxnSpPr>
            <p:spPr>
              <a:xfrm flipV="1">
                <a:off x="436827" y="3287953"/>
                <a:ext cx="8216" cy="16748"/>
              </a:xfrm>
              <a:prstGeom prst="line">
                <a:avLst/>
              </a:prstGeom>
              <a:grpFill/>
              <a:ln w="9525">
                <a:solidFill>
                  <a:schemeClr val="accent3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1"/>
              <p:cNvCxnSpPr/>
              <p:nvPr/>
            </p:nvCxnSpPr>
            <p:spPr>
              <a:xfrm flipH="1" flipV="1">
                <a:off x="452047" y="3193031"/>
                <a:ext cx="130955" cy="118090"/>
              </a:xfrm>
              <a:prstGeom prst="lin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2"/>
              <p:cNvCxnSpPr/>
              <p:nvPr/>
            </p:nvCxnSpPr>
            <p:spPr>
              <a:xfrm flipH="1" flipV="1">
                <a:off x="451598" y="3208301"/>
                <a:ext cx="96110" cy="98356"/>
              </a:xfrm>
              <a:prstGeom prst="lin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13"/>
              <p:cNvCxnSpPr/>
              <p:nvPr/>
            </p:nvCxnSpPr>
            <p:spPr>
              <a:xfrm flipH="1" flipV="1">
                <a:off x="451149" y="3223571"/>
                <a:ext cx="70061" cy="82637"/>
              </a:xfrm>
              <a:prstGeom prst="lin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14"/>
              <p:cNvCxnSpPr/>
              <p:nvPr/>
            </p:nvCxnSpPr>
            <p:spPr>
              <a:xfrm flipH="1" flipV="1">
                <a:off x="450700" y="3240637"/>
                <a:ext cx="45360" cy="63325"/>
              </a:xfrm>
              <a:prstGeom prst="lin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15"/>
              <p:cNvCxnSpPr/>
              <p:nvPr/>
            </p:nvCxnSpPr>
            <p:spPr>
              <a:xfrm flipH="1" flipV="1">
                <a:off x="453395" y="3264889"/>
                <a:ext cx="26947" cy="42217"/>
              </a:xfrm>
              <a:prstGeom prst="lin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16"/>
              <p:cNvCxnSpPr/>
              <p:nvPr/>
            </p:nvCxnSpPr>
            <p:spPr>
              <a:xfrm flipH="1" flipV="1">
                <a:off x="454560" y="3287953"/>
                <a:ext cx="8216" cy="16748"/>
              </a:xfrm>
              <a:prstGeom prst="lin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4" name="직사각형 233"/>
          <p:cNvSpPr/>
          <p:nvPr/>
        </p:nvSpPr>
        <p:spPr>
          <a:xfrm>
            <a:off x="541194" y="669025"/>
            <a:ext cx="45113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0"/>
            <a:r>
              <a:rPr lang="en-US" altLang="ko-KR" sz="1400" b="1" i="1" dirty="0" smtClean="0">
                <a:solidFill>
                  <a:srgbClr val="0000FF"/>
                </a:solidFill>
                <a:latin typeface="맑은 고딕" pitchFamily="50" charset="-127"/>
              </a:rPr>
              <a:t>Turkey </a:t>
            </a:r>
            <a:r>
              <a:rPr lang="en-US" altLang="ko-KR" sz="1400" b="1" i="1" dirty="0" err="1" smtClean="0">
                <a:solidFill>
                  <a:srgbClr val="0000FF"/>
                </a:solidFill>
                <a:latin typeface="맑은 고딕" pitchFamily="50" charset="-127"/>
              </a:rPr>
              <a:t>Canakkale</a:t>
            </a:r>
            <a:r>
              <a:rPr lang="en-US" altLang="ko-KR" sz="1400" b="1" i="1" dirty="0" smtClean="0">
                <a:solidFill>
                  <a:srgbClr val="0000FF"/>
                </a:solidFill>
                <a:latin typeface="맑은 고딕" pitchFamily="50" charset="-127"/>
              </a:rPr>
              <a:t> Bridge Project</a:t>
            </a:r>
            <a:r>
              <a:rPr lang="en-US" altLang="ko-KR" sz="1200" i="1" dirty="0" smtClean="0">
                <a:solidFill>
                  <a:srgbClr val="0000FF"/>
                </a:solidFill>
                <a:latin typeface="맑은 고딕" pitchFamily="50" charset="-127"/>
              </a:rPr>
              <a:t>– Investor’s</a:t>
            </a:r>
            <a:r>
              <a:rPr lang="ko-KR" altLang="en-US" sz="1200" i="1" dirty="0" smtClean="0">
                <a:solidFill>
                  <a:srgbClr val="0000FF"/>
                </a:solidFill>
                <a:latin typeface="맑은 고딕" pitchFamily="50" charset="-127"/>
              </a:rPr>
              <a:t> </a:t>
            </a:r>
            <a:r>
              <a:rPr lang="en-US" altLang="ko-KR" sz="1200" i="1" dirty="0" smtClean="0">
                <a:solidFill>
                  <a:srgbClr val="0000FF"/>
                </a:solidFill>
                <a:latin typeface="맑은 고딕" pitchFamily="50" charset="-127"/>
              </a:rPr>
              <a:t>Cash Flow</a:t>
            </a:r>
            <a:endParaRPr lang="ko-KR" altLang="en-US" sz="1200" i="1" dirty="0">
              <a:solidFill>
                <a:srgbClr val="0000FF"/>
              </a:solidFill>
              <a:latin typeface="맑은 고딕" pitchFamily="50" charset="-127"/>
            </a:endParaRPr>
          </a:p>
        </p:txBody>
      </p:sp>
      <p:grpSp>
        <p:nvGrpSpPr>
          <p:cNvPr id="89" name="그룹 88"/>
          <p:cNvGrpSpPr/>
          <p:nvPr/>
        </p:nvGrpSpPr>
        <p:grpSpPr>
          <a:xfrm>
            <a:off x="2642294" y="1418724"/>
            <a:ext cx="3492315" cy="418584"/>
            <a:chOff x="2733735" y="2600298"/>
            <a:chExt cx="3188836" cy="2170394"/>
          </a:xfrm>
          <a:solidFill>
            <a:srgbClr val="265B96"/>
          </a:solidFill>
        </p:grpSpPr>
        <p:sp>
          <p:nvSpPr>
            <p:cNvPr id="90" name="직사각형 89"/>
            <p:cNvSpPr/>
            <p:nvPr/>
          </p:nvSpPr>
          <p:spPr bwMode="auto">
            <a:xfrm>
              <a:off x="3419121" y="3549845"/>
              <a:ext cx="229485" cy="122084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1" name="직사각형 90"/>
            <p:cNvSpPr/>
            <p:nvPr/>
          </p:nvSpPr>
          <p:spPr bwMode="auto">
            <a:xfrm>
              <a:off x="3740759" y="3414196"/>
              <a:ext cx="229485" cy="135649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2" name="직사각형 91"/>
            <p:cNvSpPr/>
            <p:nvPr/>
          </p:nvSpPr>
          <p:spPr bwMode="auto">
            <a:xfrm>
              <a:off x="4088654" y="3278546"/>
              <a:ext cx="229485" cy="149214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3" name="직사각형 92"/>
            <p:cNvSpPr/>
            <p:nvPr/>
          </p:nvSpPr>
          <p:spPr bwMode="auto">
            <a:xfrm>
              <a:off x="4410293" y="3142896"/>
              <a:ext cx="229485" cy="162779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4" name="직사각형 93"/>
            <p:cNvSpPr/>
            <p:nvPr/>
          </p:nvSpPr>
          <p:spPr bwMode="auto">
            <a:xfrm>
              <a:off x="2733735" y="3818153"/>
              <a:ext cx="229485" cy="95253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5" name="직사각형 94"/>
            <p:cNvSpPr/>
            <p:nvPr/>
          </p:nvSpPr>
          <p:spPr bwMode="auto">
            <a:xfrm>
              <a:off x="3061473" y="3685495"/>
              <a:ext cx="229485" cy="108519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6" name="직사각형 95"/>
            <p:cNvSpPr/>
            <p:nvPr/>
          </p:nvSpPr>
          <p:spPr bwMode="auto">
            <a:xfrm>
              <a:off x="4723793" y="3007247"/>
              <a:ext cx="226590" cy="176344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7" name="직사각형 96"/>
            <p:cNvSpPr/>
            <p:nvPr/>
          </p:nvSpPr>
          <p:spPr bwMode="auto">
            <a:xfrm>
              <a:off x="5041374" y="2871597"/>
              <a:ext cx="226590" cy="189909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8" name="직사각형 97"/>
            <p:cNvSpPr/>
            <p:nvPr/>
          </p:nvSpPr>
          <p:spPr bwMode="auto">
            <a:xfrm>
              <a:off x="5378399" y="2735947"/>
              <a:ext cx="226590" cy="203474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99" name="직사각형 98"/>
            <p:cNvSpPr/>
            <p:nvPr/>
          </p:nvSpPr>
          <p:spPr bwMode="auto">
            <a:xfrm>
              <a:off x="5695981" y="2600298"/>
              <a:ext cx="226590" cy="217039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100" name="직사각형 99"/>
          <p:cNvSpPr/>
          <p:nvPr/>
        </p:nvSpPr>
        <p:spPr>
          <a:xfrm>
            <a:off x="2917290" y="2250792"/>
            <a:ext cx="2934971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r>
              <a:rPr lang="en-US" altLang="ko-KR" sz="1200" b="1" i="1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Repayment of the principal and interest</a:t>
            </a:r>
          </a:p>
        </p:txBody>
      </p:sp>
      <p:sp>
        <p:nvSpPr>
          <p:cNvPr id="7" name="자유형 6"/>
          <p:cNvSpPr/>
          <p:nvPr/>
        </p:nvSpPr>
        <p:spPr bwMode="auto">
          <a:xfrm>
            <a:off x="2585086" y="1328096"/>
            <a:ext cx="3964980" cy="1676400"/>
          </a:xfrm>
          <a:custGeom>
            <a:avLst/>
            <a:gdLst>
              <a:gd name="connsiteX0" fmla="*/ 0 w 4010025"/>
              <a:gd name="connsiteY0" fmla="*/ 190500 h 1676400"/>
              <a:gd name="connsiteX1" fmla="*/ 0 w 4010025"/>
              <a:gd name="connsiteY1" fmla="*/ 1676400 h 1676400"/>
              <a:gd name="connsiteX2" fmla="*/ 4010025 w 4010025"/>
              <a:gd name="connsiteY2" fmla="*/ 1676400 h 1676400"/>
              <a:gd name="connsiteX3" fmla="*/ 4010025 w 4010025"/>
              <a:gd name="connsiteY3" fmla="*/ 0 h 1676400"/>
              <a:gd name="connsiteX4" fmla="*/ 0 w 4010025"/>
              <a:gd name="connsiteY4" fmla="*/ 190500 h 1676400"/>
              <a:gd name="connsiteX0" fmla="*/ 3211 w 4010025"/>
              <a:gd name="connsiteY0" fmla="*/ 288925 h 1676400"/>
              <a:gd name="connsiteX1" fmla="*/ 0 w 4010025"/>
              <a:gd name="connsiteY1" fmla="*/ 1676400 h 1676400"/>
              <a:gd name="connsiteX2" fmla="*/ 4010025 w 4010025"/>
              <a:gd name="connsiteY2" fmla="*/ 1676400 h 1676400"/>
              <a:gd name="connsiteX3" fmla="*/ 4010025 w 4010025"/>
              <a:gd name="connsiteY3" fmla="*/ 0 h 1676400"/>
              <a:gd name="connsiteX4" fmla="*/ 3211 w 4010025"/>
              <a:gd name="connsiteY4" fmla="*/ 288925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10025" h="1676400">
                <a:moveTo>
                  <a:pt x="3211" y="288925"/>
                </a:moveTo>
                <a:cubicBezTo>
                  <a:pt x="2141" y="751417"/>
                  <a:pt x="1070" y="1213908"/>
                  <a:pt x="0" y="1676400"/>
                </a:cubicBezTo>
                <a:lnTo>
                  <a:pt x="4010025" y="1676400"/>
                </a:lnTo>
                <a:lnTo>
                  <a:pt x="4010025" y="0"/>
                </a:lnTo>
                <a:lnTo>
                  <a:pt x="3211" y="288925"/>
                </a:lnTo>
                <a:close/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ysDash"/>
            <a:miter lim="800000"/>
          </a:ln>
          <a:effectLst/>
          <a:extLst/>
        </p:spPr>
        <p:txBody>
          <a:bodyPr lIns="45720" tIns="27432" rIns="45720" bIns="27432" rtlCol="0" anchor="ctr"/>
          <a:lstStyle/>
          <a:p>
            <a:pPr algn="ctr" defTabSz="914400" latinLnBrk="0">
              <a:lnSpc>
                <a:spcPct val="90000"/>
              </a:lnSpc>
            </a:pPr>
            <a:endParaRPr lang="ko-KR" alt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102" name="직사각형 101"/>
          <p:cNvSpPr/>
          <p:nvPr/>
        </p:nvSpPr>
        <p:spPr>
          <a:xfrm>
            <a:off x="6569225" y="1543094"/>
            <a:ext cx="1651093" cy="35394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altLang="ko-KR" sz="1150" b="1" i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Guaranteed Revenue</a:t>
            </a:r>
            <a:r>
              <a:rPr lang="ko-KR" altLang="en-US" sz="1150" b="1" i="1" cap="small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 </a:t>
            </a:r>
            <a:r>
              <a:rPr lang="en-US" altLang="ko-KR" sz="1150" b="1" i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: </a:t>
            </a:r>
            <a:endParaRPr lang="en-US" altLang="ko-KR" sz="1150" b="1" i="1" cap="small" dirty="0" smtClean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  <a:p>
            <a:r>
              <a:rPr lang="en-US" altLang="ko-KR" sz="1150" b="1" i="1" cap="small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370</a:t>
            </a:r>
            <a:r>
              <a:rPr lang="ko-KR" altLang="en-US" sz="1150" b="1" i="1" cap="small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 </a:t>
            </a:r>
            <a:r>
              <a:rPr lang="en-US" altLang="ko-KR" sz="1150" b="1" i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~ 450 million Euro</a:t>
            </a:r>
          </a:p>
        </p:txBody>
      </p:sp>
      <p:cxnSp>
        <p:nvCxnSpPr>
          <p:cNvPr id="9" name="구부러진 연결선 8"/>
          <p:cNvCxnSpPr>
            <a:endCxn id="7" idx="3"/>
          </p:cNvCxnSpPr>
          <p:nvPr/>
        </p:nvCxnSpPr>
        <p:spPr>
          <a:xfrm rot="10800000">
            <a:off x="6550066" y="1328097"/>
            <a:ext cx="313118" cy="308011"/>
          </a:xfrm>
          <a:prstGeom prst="curvedConnector3">
            <a:avLst/>
          </a:prstGeom>
          <a:ln>
            <a:solidFill>
              <a:schemeClr val="tx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그룹 2"/>
          <p:cNvGrpSpPr/>
          <p:nvPr/>
        </p:nvGrpSpPr>
        <p:grpSpPr>
          <a:xfrm>
            <a:off x="1029582" y="3175894"/>
            <a:ext cx="1527254" cy="2223021"/>
            <a:chOff x="1121022" y="3203054"/>
            <a:chExt cx="1527254" cy="1476517"/>
          </a:xfrm>
        </p:grpSpPr>
        <p:sp>
          <p:nvSpPr>
            <p:cNvPr id="119" name="직사각형 118"/>
            <p:cNvSpPr/>
            <p:nvPr/>
          </p:nvSpPr>
          <p:spPr bwMode="auto">
            <a:xfrm>
              <a:off x="1122786" y="4118779"/>
              <a:ext cx="219366" cy="311818"/>
            </a:xfrm>
            <a:prstGeom prst="rect">
              <a:avLst/>
            </a:prstGeom>
            <a:solidFill>
              <a:srgbClr val="B9CDED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0" name="직사각형 119"/>
            <p:cNvSpPr/>
            <p:nvPr/>
          </p:nvSpPr>
          <p:spPr bwMode="auto">
            <a:xfrm>
              <a:off x="1449317" y="4211287"/>
              <a:ext cx="219366" cy="363744"/>
            </a:xfrm>
            <a:prstGeom prst="rect">
              <a:avLst/>
            </a:prstGeom>
            <a:solidFill>
              <a:srgbClr val="B9CDED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1" name="직사각형 120"/>
            <p:cNvSpPr/>
            <p:nvPr/>
          </p:nvSpPr>
          <p:spPr bwMode="auto">
            <a:xfrm>
              <a:off x="1775848" y="4256246"/>
              <a:ext cx="219366" cy="423325"/>
            </a:xfrm>
            <a:prstGeom prst="rect">
              <a:avLst/>
            </a:prstGeom>
            <a:solidFill>
              <a:srgbClr val="B9CDED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2" name="직사각형 121"/>
            <p:cNvSpPr/>
            <p:nvPr/>
          </p:nvSpPr>
          <p:spPr bwMode="auto">
            <a:xfrm>
              <a:off x="2102379" y="4110665"/>
              <a:ext cx="219366" cy="438011"/>
            </a:xfrm>
            <a:prstGeom prst="rect">
              <a:avLst/>
            </a:prstGeom>
            <a:solidFill>
              <a:srgbClr val="B9CDED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123" name="직사각형 122"/>
            <p:cNvSpPr/>
            <p:nvPr/>
          </p:nvSpPr>
          <p:spPr bwMode="auto">
            <a:xfrm>
              <a:off x="2428910" y="3820521"/>
              <a:ext cx="219366" cy="311818"/>
            </a:xfrm>
            <a:prstGeom prst="rect">
              <a:avLst/>
            </a:prstGeom>
            <a:solidFill>
              <a:srgbClr val="B9CDED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05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grpSp>
          <p:nvGrpSpPr>
            <p:cNvPr id="132" name="그룹 131"/>
            <p:cNvGrpSpPr/>
            <p:nvPr/>
          </p:nvGrpSpPr>
          <p:grpSpPr>
            <a:xfrm>
              <a:off x="1121022" y="3203054"/>
              <a:ext cx="1525490" cy="995848"/>
              <a:chOff x="1121022" y="3374454"/>
              <a:chExt cx="1525490" cy="2000675"/>
            </a:xfrm>
          </p:grpSpPr>
          <p:sp>
            <p:nvSpPr>
              <p:cNvPr id="133" name="직사각형 132"/>
              <p:cNvSpPr/>
              <p:nvPr/>
            </p:nvSpPr>
            <p:spPr bwMode="auto">
              <a:xfrm>
                <a:off x="1121022" y="3374454"/>
                <a:ext cx="219366" cy="1724967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65000"/>
                  </a:schemeClr>
                </a:solidFill>
                <a:prstDash val="dash"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ko-KR" altLang="en-US" sz="1050" b="0" smtClean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4" name="직사각형 133"/>
              <p:cNvSpPr/>
              <p:nvPr/>
            </p:nvSpPr>
            <p:spPr bwMode="auto">
              <a:xfrm>
                <a:off x="1447553" y="3374454"/>
                <a:ext cx="219366" cy="1926687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65000"/>
                  </a:schemeClr>
                </a:solidFill>
                <a:prstDash val="dash"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ko-KR" altLang="en-US" sz="1050" b="0" smtClean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7" name="직사각형 136"/>
              <p:cNvSpPr/>
              <p:nvPr/>
            </p:nvSpPr>
            <p:spPr bwMode="auto">
              <a:xfrm>
                <a:off x="1774084" y="3374454"/>
                <a:ext cx="219366" cy="2000675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65000"/>
                  </a:schemeClr>
                </a:solidFill>
                <a:prstDash val="dash"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ko-KR" altLang="en-US" sz="1050" b="0" smtClean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39" name="직사각형 138"/>
              <p:cNvSpPr/>
              <p:nvPr/>
            </p:nvSpPr>
            <p:spPr bwMode="auto">
              <a:xfrm>
                <a:off x="2100615" y="3374454"/>
                <a:ext cx="219366" cy="1724967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65000"/>
                  </a:schemeClr>
                </a:solidFill>
                <a:prstDash val="dash"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ko-KR" altLang="en-US" sz="1050" b="0" smtClean="0">
                  <a:latin typeface="맑은 고딕" pitchFamily="50" charset="-127"/>
                  <a:ea typeface="맑은 고딕" pitchFamily="50" charset="-127"/>
                </a:endParaRPr>
              </a:p>
            </p:txBody>
          </p:sp>
          <p:sp>
            <p:nvSpPr>
              <p:cNvPr id="140" name="직사각형 139"/>
              <p:cNvSpPr/>
              <p:nvPr/>
            </p:nvSpPr>
            <p:spPr bwMode="auto">
              <a:xfrm>
                <a:off x="2427146" y="3374454"/>
                <a:ext cx="219366" cy="1122810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bg1">
                    <a:lumMod val="65000"/>
                  </a:schemeClr>
                </a:solidFill>
                <a:prstDash val="dash"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ko-KR" altLang="en-US" sz="1050" b="0" smtClean="0">
                  <a:latin typeface="맑은 고딕" pitchFamily="50" charset="-127"/>
                  <a:ea typeface="맑은 고딕" pitchFamily="50" charset="-127"/>
                </a:endParaRPr>
              </a:p>
            </p:txBody>
          </p:sp>
        </p:grpSp>
      </p:grpSp>
      <p:sp>
        <p:nvSpPr>
          <p:cNvPr id="141" name="직사각형 140"/>
          <p:cNvSpPr/>
          <p:nvPr/>
        </p:nvSpPr>
        <p:spPr>
          <a:xfrm>
            <a:off x="1604955" y="3623257"/>
            <a:ext cx="323807" cy="16927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/>
            <a:r>
              <a:rPr lang="en-US" altLang="ko-KR" sz="1100" b="1" i="1" dirty="0" smtClean="0">
                <a:solidFill>
                  <a:schemeClr val="bg1">
                    <a:lumMod val="50000"/>
                  </a:schemeClr>
                </a:solidFill>
                <a:latin typeface="맑은 고딕" pitchFamily="50" charset="-127"/>
                <a:ea typeface="맑은 고딕" pitchFamily="50" charset="-127"/>
              </a:rPr>
              <a:t>Loan</a:t>
            </a:r>
          </a:p>
        </p:txBody>
      </p:sp>
      <p:sp>
        <p:nvSpPr>
          <p:cNvPr id="144" name="직사각형 143"/>
          <p:cNvSpPr/>
          <p:nvPr/>
        </p:nvSpPr>
        <p:spPr>
          <a:xfrm>
            <a:off x="992899" y="4596872"/>
            <a:ext cx="1764907" cy="17697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altLang="ko-KR" sz="1150" b="1" i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Equity</a:t>
            </a:r>
            <a:r>
              <a:rPr lang="ko-KR" altLang="en-US" sz="1150" b="1" i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 </a:t>
            </a:r>
            <a:r>
              <a:rPr lang="en-US" altLang="ko-KR" sz="1150" b="1" i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: 900 million Euro</a:t>
            </a:r>
          </a:p>
        </p:txBody>
      </p:sp>
      <p:sp>
        <p:nvSpPr>
          <p:cNvPr id="145" name="Rounded Rectangle 3"/>
          <p:cNvSpPr/>
          <p:nvPr/>
        </p:nvSpPr>
        <p:spPr bwMode="auto">
          <a:xfrm>
            <a:off x="4464612" y="3457086"/>
            <a:ext cx="4897288" cy="1477009"/>
          </a:xfrm>
          <a:prstGeom prst="roundRect">
            <a:avLst>
              <a:gd name="adj" fmla="val 9616"/>
            </a:avLst>
          </a:prstGeom>
          <a:solidFill>
            <a:srgbClr val="ECF2F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144000" tIns="0" rIns="144000" bIns="0" rtlCol="0" anchor="t"/>
          <a:lstStyle/>
          <a:p>
            <a:pPr algn="ctr" latinLnBrk="0">
              <a:spcAft>
                <a:spcPts val="300"/>
              </a:spcAft>
            </a:pPr>
            <a:r>
              <a:rPr lang="en-US" altLang="ko-KR" sz="11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Equivalent Economic </a:t>
            </a:r>
            <a:r>
              <a:rPr lang="en-US" altLang="ko-KR" sz="1100" b="1" cap="small" dirty="0" smtClean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Impact (in Revenue)</a:t>
            </a:r>
            <a:endParaRPr lang="en-US" sz="1100" b="1" dirty="0">
              <a:latin typeface="맑은 고딕" pitchFamily="50" charset="-127"/>
              <a:ea typeface="맑은 고딕" pitchFamily="50" charset="-127"/>
            </a:endParaRPr>
          </a:p>
          <a:p>
            <a:pPr algn="ctr" latinLnBrk="0"/>
            <a:endParaRPr lang="en-US" sz="700" b="1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146" name="표 1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1607354"/>
              </p:ext>
            </p:extLst>
          </p:nvPr>
        </p:nvGraphicFramePr>
        <p:xfrm>
          <a:off x="4525034" y="3758526"/>
          <a:ext cx="4836866" cy="1087934"/>
        </p:xfrm>
        <a:graphic>
          <a:graphicData uri="http://schemas.openxmlformats.org/drawingml/2006/table">
            <a:tbl>
              <a:tblPr firstRow="1" firstCol="1" bandRow="1"/>
              <a:tblGrid>
                <a:gridCol w="2418433"/>
                <a:gridCol w="2418433"/>
              </a:tblGrid>
              <a:tr h="39820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100" b="1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Hyundai</a:t>
                      </a:r>
                      <a:r>
                        <a:rPr lang="en-US" altLang="ko-KR" sz="1100" b="1" kern="100" baseline="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motor</a:t>
                      </a:r>
                      <a:endParaRPr lang="en-US" altLang="ko-KR" sz="1100" b="1" kern="100" dirty="0" smtClean="0">
                        <a:effectLst/>
                        <a:latin typeface="+mn-lt"/>
                        <a:ea typeface="+mn-ea"/>
                        <a:cs typeface="Times New Roman"/>
                      </a:endParaRPr>
                    </a:p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(Operating profit</a:t>
                      </a:r>
                      <a:r>
                        <a:rPr lang="ko-KR" altLang="en-US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</a:t>
                      </a:r>
                      <a:r>
                        <a:rPr lang="en-US" altLang="ko-KR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5.55%)</a:t>
                      </a:r>
                      <a:endParaRPr lang="ko-KR" sz="1000" b="0" kern="100" dirty="0"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</a:txBody>
                  <a:tcPr marL="74698" marR="74698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EF3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100" b="1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Samsung</a:t>
                      </a:r>
                    </a:p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(Operating</a:t>
                      </a:r>
                      <a:r>
                        <a:rPr lang="en-US" altLang="ko-KR" sz="1000" b="0" kern="100" baseline="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profit</a:t>
                      </a:r>
                      <a:r>
                        <a:rPr lang="ko-KR" altLang="en-US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</a:t>
                      </a:r>
                      <a:r>
                        <a:rPr lang="en-US" altLang="ko-KR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14.49%)</a:t>
                      </a:r>
                      <a:endParaRPr lang="ko-KR" altLang="ko-KR" sz="1000" b="0" kern="100" dirty="0">
                        <a:effectLst/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74698" marR="74698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EF3"/>
                    </a:solidFill>
                  </a:tcPr>
                </a:tc>
              </a:tr>
              <a:tr h="68973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2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LF SONATA</a:t>
                      </a:r>
                      <a:r>
                        <a:rPr lang="ko-KR" altLang="en-US" sz="12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 </a:t>
                      </a:r>
                      <a:r>
                        <a:rPr lang="en-US" altLang="ko-KR" sz="12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1.1 million EA</a:t>
                      </a:r>
                      <a:endParaRPr lang="en-US" altLang="ko-KR" sz="1200" b="0" u="none" kern="100" dirty="0" smtClean="0">
                        <a:solidFill>
                          <a:schemeClr val="tx1"/>
                        </a:solidFill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</a:txBody>
                  <a:tcPr marL="78423" marR="78423" marT="39211" marB="39211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15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200" b="1" u="sng" kern="100" dirty="0" err="1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Gallaxy</a:t>
                      </a:r>
                      <a:r>
                        <a:rPr lang="ko-KR" altLang="en-US" sz="1200" b="1" u="sng" kern="10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 </a:t>
                      </a:r>
                      <a:r>
                        <a:rPr lang="en-US" altLang="ko-KR" sz="12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S8 10.3 million EA</a:t>
                      </a:r>
                    </a:p>
                  </a:txBody>
                  <a:tcPr marL="78423" marR="78423" marT="39211" marB="39211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47" name="Picture 4" descr="Image result for car icon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32"/>
          <a:stretch/>
        </p:blipFill>
        <p:spPr bwMode="auto">
          <a:xfrm>
            <a:off x="6591769" y="3853509"/>
            <a:ext cx="327314" cy="234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" name="Picture 6" descr="Image result for smartphone icon 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457" y="3824191"/>
            <a:ext cx="293539" cy="293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직사각형 105"/>
          <p:cNvSpPr/>
          <p:nvPr/>
        </p:nvSpPr>
        <p:spPr>
          <a:xfrm>
            <a:off x="390737" y="1001949"/>
            <a:ext cx="638845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altLang="ko-KR" sz="1200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Tender</a:t>
            </a:r>
            <a:endParaRPr lang="ko-KR" altLang="en-US" sz="1200" b="1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sp>
        <p:nvSpPr>
          <p:cNvPr id="114" name="직사각형 113"/>
          <p:cNvSpPr/>
          <p:nvPr/>
        </p:nvSpPr>
        <p:spPr>
          <a:xfrm>
            <a:off x="7068490" y="4889638"/>
            <a:ext cx="23174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altLang="ko-KR" sz="900" i="1" dirty="0" smtClean="0"/>
              <a:t>※ </a:t>
            </a:r>
            <a:r>
              <a:rPr lang="ko-KR" altLang="en-US" sz="900" i="1"/>
              <a:t>LF </a:t>
            </a:r>
            <a:r>
              <a:rPr lang="en-US" altLang="ko-KR" sz="900" i="1" dirty="0" smtClean="0"/>
              <a:t>Sonata</a:t>
            </a:r>
            <a:r>
              <a:rPr lang="ko-KR" altLang="en-US" sz="900" i="1" smtClean="0"/>
              <a:t> : </a:t>
            </a:r>
            <a:r>
              <a:rPr lang="ko-KR" altLang="en-US" sz="900" i="1" dirty="0" smtClean="0"/>
              <a:t>25 </a:t>
            </a:r>
            <a:r>
              <a:rPr lang="en-US" altLang="ko-KR" sz="900" i="1" dirty="0" smtClean="0"/>
              <a:t>thousand USD/EA</a:t>
            </a:r>
          </a:p>
          <a:p>
            <a:pPr algn="r"/>
            <a:r>
              <a:rPr lang="en-US" altLang="ko-KR" sz="900" i="1" dirty="0" err="1" smtClean="0"/>
              <a:t>G</a:t>
            </a:r>
            <a:r>
              <a:rPr lang="en-US" altLang="ko-KR" sz="900" i="1" cap="small" dirty="0" err="1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allaxy</a:t>
            </a:r>
            <a:r>
              <a:rPr lang="ko-KR" altLang="en-US" sz="900" i="1" smtClean="0"/>
              <a:t> </a:t>
            </a:r>
            <a:r>
              <a:rPr lang="ko-KR" altLang="en-US" sz="900" i="1"/>
              <a:t>S8 </a:t>
            </a:r>
            <a:r>
              <a:rPr lang="ko-KR" altLang="en-US" sz="900" i="1" smtClean="0"/>
              <a:t>: </a:t>
            </a:r>
            <a:r>
              <a:rPr lang="ko-KR" altLang="en-US" sz="900" i="1" dirty="0" smtClean="0"/>
              <a:t>1 </a:t>
            </a:r>
            <a:r>
              <a:rPr lang="en-US" altLang="ko-KR" sz="900" i="1" dirty="0" smtClean="0"/>
              <a:t>thousand USD/EA</a:t>
            </a:r>
            <a:endParaRPr lang="ko-KR" altLang="en-US" sz="900" i="1" dirty="0"/>
          </a:p>
        </p:txBody>
      </p:sp>
    </p:spTree>
    <p:extLst>
      <p:ext uri="{BB962C8B-B14F-4D97-AF65-F5344CB8AC3E}">
        <p14:creationId xmlns:p14="http://schemas.microsoft.com/office/powerpoint/2010/main" val="287967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0" y="57089"/>
            <a:ext cx="2775165" cy="318924"/>
          </a:xfrm>
          <a:noFill/>
        </p:spPr>
        <p:txBody>
          <a:bodyPr/>
          <a:lstStyle/>
          <a:p>
            <a:r>
              <a:rPr lang="en-US" altLang="ko-KR" dirty="0" smtClean="0"/>
              <a:t>Overseas PPP Project</a:t>
            </a:r>
            <a:r>
              <a:rPr lang="ko-KR" altLang="en-US" dirty="0" smtClean="0"/>
              <a:t> </a:t>
            </a:r>
            <a:r>
              <a:rPr lang="en-US" altLang="ko-KR" dirty="0" smtClean="0"/>
              <a:t>List</a:t>
            </a:r>
            <a:r>
              <a:rPr lang="ko-KR" altLang="en-US" dirty="0" smtClean="0"/>
              <a:t> </a:t>
            </a:r>
            <a:endParaRPr lang="ko-KR" altLang="en-US" dirty="0"/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9793952"/>
              </p:ext>
            </p:extLst>
          </p:nvPr>
        </p:nvGraphicFramePr>
        <p:xfrm>
          <a:off x="288681" y="792361"/>
          <a:ext cx="9344968" cy="56538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1809"/>
                <a:gridCol w="936130"/>
                <a:gridCol w="2088290"/>
                <a:gridCol w="792110"/>
                <a:gridCol w="759596"/>
                <a:gridCol w="1017084"/>
                <a:gridCol w="1235031"/>
                <a:gridCol w="1524918"/>
              </a:tblGrid>
              <a:tr h="3600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kern="1200" cap="small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Country</a:t>
                      </a:r>
                      <a:endParaRPr lang="en-US" sz="1200" b="1" kern="1200" cap="small" dirty="0">
                        <a:solidFill>
                          <a:schemeClr val="tx2">
                            <a:lumMod val="25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kern="1200" cap="small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Company</a:t>
                      </a:r>
                      <a:endParaRPr lang="en-US" sz="1200" b="1" kern="1200" cap="small" dirty="0">
                        <a:solidFill>
                          <a:schemeClr val="tx2">
                            <a:lumMod val="25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kern="1200" cap="small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Project</a:t>
                      </a:r>
                      <a:endParaRPr lang="en-US" sz="1200" b="1" kern="1200" cap="small" dirty="0">
                        <a:solidFill>
                          <a:schemeClr val="tx2">
                            <a:lumMod val="25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kern="1200" cap="small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Scale</a:t>
                      </a:r>
                      <a:endParaRPr lang="en-US" sz="1200" b="1" kern="1200" cap="small" dirty="0">
                        <a:solidFill>
                          <a:schemeClr val="tx2">
                            <a:lumMod val="25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kern="1200" cap="small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Model</a:t>
                      </a:r>
                      <a:endParaRPr lang="en-US" sz="1200" b="1" kern="1200" cap="small" dirty="0">
                        <a:solidFill>
                          <a:schemeClr val="tx2">
                            <a:lumMod val="25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kern="1200" cap="small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Type</a:t>
                      </a:r>
                      <a:endParaRPr lang="en-US" sz="1200" b="1" kern="1200" cap="small" dirty="0">
                        <a:solidFill>
                          <a:schemeClr val="tx2">
                            <a:lumMod val="25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kern="1200" cap="small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Progress</a:t>
                      </a:r>
                      <a:endParaRPr lang="en-US" sz="1200" b="1" kern="1200" cap="small" dirty="0">
                        <a:solidFill>
                          <a:schemeClr val="tx2">
                            <a:lumMod val="25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kern="1200" cap="small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Partnership</a:t>
                      </a:r>
                      <a:endParaRPr lang="en-US" sz="1200" b="1" kern="1200" cap="small" dirty="0">
                        <a:solidFill>
                          <a:schemeClr val="tx2">
                            <a:lumMod val="25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</a:tr>
              <a:tr h="451071">
                <a:tc rowSpan="4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2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Pakistan</a:t>
                      </a:r>
                      <a:endParaRPr lang="en-US" altLang="ko-KR" sz="12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Gulpur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102 MW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IPP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Constructing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Korea Electric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 Power Corporation</a:t>
                      </a:r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1071"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Lower Spat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Gah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496 MW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IPP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Developing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Korea Electric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 Power Corporation</a:t>
                      </a:r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1071"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Chakothi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-Hattian 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500 MW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IPP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</a:t>
                      </a:r>
                      <a:endParaRPr lang="en-US" altLang="ko-KR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Developing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1071"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Patrind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150 MW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IPP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</a:t>
                      </a:r>
                      <a:endParaRPr lang="en-US" altLang="ko-KR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Tes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K-Water(Korea Water Resources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 Corporation) </a:t>
                      </a:r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1071"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2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Nepal</a:t>
                      </a:r>
                      <a:endParaRPr lang="en-US" altLang="ko-KR" sz="12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Upper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Trishuli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– 1 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216 MW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IPP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</a:t>
                      </a:r>
                      <a:endParaRPr lang="en-US" altLang="ko-KR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Project Development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Agreemen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Korea Electric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 Power Corporation</a:t>
                      </a:r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1071"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2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Laos</a:t>
                      </a:r>
                      <a:endParaRPr lang="en-US" altLang="ko-KR" sz="12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Xepian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410 MW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IPP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</a:t>
                      </a:r>
                      <a:endParaRPr lang="en-US" altLang="ko-KR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Constructing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Korea Electric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 Power Corporation</a:t>
                      </a:r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1071">
                <a:tc rowSpan="2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2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Indonesia</a:t>
                      </a:r>
                      <a:endParaRPr lang="en-US" altLang="ko-KR" sz="12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Wampu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Hydropower Project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45 MW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BOO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Commercial operation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Korea Electric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 Power Corporation</a:t>
                      </a:r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1071"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Semangka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Hydropower Project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55.4 MW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BOO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Constructing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Korea Electric</a:t>
                      </a:r>
                      <a:r>
                        <a:rPr lang="en-US" altLang="ko-KR" sz="105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</a:rPr>
                        <a:t> Power Corporation</a:t>
                      </a:r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7694">
                <a:tc rowSpan="2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2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Turkey</a:t>
                      </a:r>
                      <a:endParaRPr lang="en-US" altLang="ko-KR" sz="12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Canakkale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Bridge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Suspension Bridge</a:t>
                      </a:r>
                    </a:p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3.5 km </a:t>
                      </a:r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BO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Toll Road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Financing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6080"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Europe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and Asia Tunnel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14.6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Km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BO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Toll Road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Commercial</a:t>
                      </a:r>
                    </a:p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operation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6080">
                <a:tc>
                  <a:txBody>
                    <a:bodyPr/>
                    <a:lstStyle/>
                    <a:p>
                      <a:pPr marL="0" marR="0" lvl="0" indent="0" algn="ct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Kazakhstan</a:t>
                      </a:r>
                      <a:endParaRPr lang="en-US" altLang="ko-KR" sz="12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Almaty</a:t>
                      </a:r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Ring road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66 km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BO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Toll Road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Financing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altLang="ko-KR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0" name="그림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200" y="1530458"/>
            <a:ext cx="765768" cy="510512"/>
          </a:xfrm>
          <a:prstGeom prst="rect">
            <a:avLst/>
          </a:prstGeom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9865" y="3554914"/>
            <a:ext cx="532438" cy="356308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9865" y="5444866"/>
            <a:ext cx="532438" cy="356308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9865" y="5948936"/>
            <a:ext cx="532438" cy="356308"/>
          </a:xfrm>
          <a:prstGeom prst="rect">
            <a:avLst/>
          </a:prstGeom>
        </p:spPr>
      </p:pic>
      <p:pic>
        <p:nvPicPr>
          <p:cNvPr id="16" name="그림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200" y="2978834"/>
            <a:ext cx="765768" cy="510512"/>
          </a:xfrm>
          <a:prstGeom prst="rect">
            <a:avLst/>
          </a:prstGeom>
        </p:spPr>
      </p:pic>
      <p:pic>
        <p:nvPicPr>
          <p:cNvPr id="17" name="그림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6702" y="2593041"/>
            <a:ext cx="827622" cy="278733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942" y="4252718"/>
            <a:ext cx="813912" cy="487013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65" t="-6250" r="-420" b="56960"/>
          <a:stretch/>
        </p:blipFill>
        <p:spPr>
          <a:xfrm>
            <a:off x="1365900" y="2076439"/>
            <a:ext cx="755997" cy="108000"/>
          </a:xfrm>
          <a:prstGeom prst="rect">
            <a:avLst/>
          </a:prstGeom>
        </p:spPr>
      </p:pic>
      <p:pic>
        <p:nvPicPr>
          <p:cNvPr id="19" name="그림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458" y="4915285"/>
            <a:ext cx="765768" cy="51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05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73000" y="57089"/>
            <a:ext cx="4096809" cy="318924"/>
          </a:xfrm>
          <a:noFill/>
        </p:spPr>
        <p:txBody>
          <a:bodyPr/>
          <a:lstStyle/>
          <a:p>
            <a:r>
              <a:rPr lang="en-US" altLang="ko-KR" dirty="0" smtClean="0"/>
              <a:t>Overseas PPP Project : Economic Impact</a:t>
            </a:r>
            <a:endParaRPr lang="ko-KR" altLang="en-US" dirty="0"/>
          </a:p>
        </p:txBody>
      </p:sp>
      <p:pic>
        <p:nvPicPr>
          <p:cNvPr id="20" name="Picture 2" descr="C:\Users\20150080\Desktop\BlankMap-World-v2.png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283" t="1507" r="8132"/>
          <a:stretch/>
        </p:blipFill>
        <p:spPr bwMode="auto">
          <a:xfrm>
            <a:off x="346493" y="476590"/>
            <a:ext cx="9431177" cy="4705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099727"/>
              </p:ext>
            </p:extLst>
          </p:nvPr>
        </p:nvGraphicFramePr>
        <p:xfrm>
          <a:off x="287399" y="894313"/>
          <a:ext cx="4934489" cy="45361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9071"/>
                <a:gridCol w="2448340"/>
                <a:gridCol w="864120"/>
                <a:gridCol w="772958"/>
              </a:tblGrid>
              <a:tr h="43269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Country</a:t>
                      </a:r>
                      <a:endParaRPr lang="en-US" sz="10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Project</a:t>
                      </a:r>
                      <a:endParaRPr lang="en-US" sz="10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Cost</a:t>
                      </a:r>
                    </a:p>
                    <a:p>
                      <a:pPr algn="ctr" fontAlgn="ctr"/>
                      <a:r>
                        <a:rPr lang="en-US" sz="10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(mil USD)</a:t>
                      </a:r>
                      <a:endParaRPr lang="en-US" sz="10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0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Profit</a:t>
                      </a:r>
                    </a:p>
                    <a:p>
                      <a:pPr algn="ctr" fontAlgn="ctr"/>
                      <a:r>
                        <a:rPr lang="en-US" sz="105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(mil USD)</a:t>
                      </a:r>
                      <a:endParaRPr lang="en-US" sz="105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DD6E5"/>
                    </a:solidFill>
                  </a:tcPr>
                </a:tc>
              </a:tr>
              <a:tr h="373043">
                <a:tc rowSpan="4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Pakistan</a:t>
                      </a:r>
                      <a:endParaRPr lang="en-US" altLang="ko-KR" sz="11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Gulpur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420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1" i="0" u="sng" strike="noStrike" kern="120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800</a:t>
                      </a:r>
                      <a:endParaRPr lang="en-US" altLang="ko-KR" sz="1050" b="1" i="0" u="sng" strike="noStrike" kern="1200" dirty="0">
                        <a:solidFill>
                          <a:srgbClr val="0000FF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3043"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Lower Spat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Gah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1,300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i="0" u="sng" strike="noStrike" kern="120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300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3043"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Chakothi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-Hattian 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400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1" i="0" u="sng" strike="noStrike" kern="120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2,500</a:t>
                      </a:r>
                      <a:endParaRPr lang="en-US" altLang="ko-KR" sz="1050" b="1" i="0" u="sng" strike="noStrike" kern="1200" dirty="0">
                        <a:solidFill>
                          <a:srgbClr val="0000FF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3043"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Patrind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500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1" i="0" u="sng" strike="noStrike" kern="120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1,000</a:t>
                      </a:r>
                      <a:endParaRPr lang="en-US" altLang="ko-KR" sz="1050" b="1" i="0" u="sng" strike="noStrike" kern="1200" dirty="0">
                        <a:solidFill>
                          <a:srgbClr val="0000FF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3043"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Nepal</a:t>
                      </a:r>
                      <a:endParaRPr lang="en-US" altLang="ko-KR" sz="11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Upper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Trishuli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– 1 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670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1" i="0" u="sng" strike="noStrike" kern="120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1,300</a:t>
                      </a:r>
                      <a:endParaRPr lang="en-US" altLang="ko-KR" sz="1050" b="1" i="0" u="sng" strike="noStrike" kern="1200" dirty="0">
                        <a:solidFill>
                          <a:srgbClr val="0000FF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3043">
                <a:tc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Laos</a:t>
                      </a:r>
                      <a:endParaRPr lang="en-US" altLang="ko-KR" sz="11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Xepian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1,100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i="0" u="sng" strike="noStrike" kern="120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100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3043">
                <a:tc rowSpan="2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Indonesia</a:t>
                      </a:r>
                      <a:endParaRPr lang="en-US" altLang="ko-KR" sz="11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Wampu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 Project</a:t>
                      </a:r>
                      <a:endParaRPr lang="en-US" altLang="ko-KR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200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1" i="0" u="sng" strike="noStrike" kern="120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380</a:t>
                      </a:r>
                      <a:endParaRPr lang="en-US" altLang="ko-KR" sz="1050" b="1" i="0" u="sng" strike="noStrike" kern="1200" dirty="0">
                        <a:solidFill>
                          <a:srgbClr val="0000FF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3043"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Semangka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Hydropower Project</a:t>
                      </a:r>
                      <a:endParaRPr lang="en-US" altLang="ko-KR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0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i="0" u="sng" strike="noStrike" kern="120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0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3043">
                <a:tc rowSpan="2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Turkey</a:t>
                      </a:r>
                      <a:endParaRPr lang="en-US" altLang="ko-KR" sz="11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Canakkale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Bridge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3,600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1" i="0" u="sng" strike="noStrike" kern="120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1,500</a:t>
                      </a:r>
                      <a:endParaRPr lang="en-US" altLang="ko-KR" sz="1050" b="1" i="0" u="sng" strike="noStrike" kern="1200" dirty="0">
                        <a:solidFill>
                          <a:srgbClr val="0000FF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3043">
                <a:tc vMerge="1">
                  <a:txBody>
                    <a:bodyPr/>
                    <a:lstStyle/>
                    <a:p>
                      <a:pPr marL="0" algn="ctr" defTabSz="914235" rtl="0" eaLnBrk="1" fontAlgn="ctr" latinLnBrk="1" hangingPunct="1"/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Europe</a:t>
                      </a:r>
                      <a:r>
                        <a:rPr lang="en-US" altLang="ko-KR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and Asia Tunnel Project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1,400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235" rtl="0" eaLnBrk="1" fontAlgn="ctr" latinLnBrk="1" hangingPunct="1"/>
                      <a:r>
                        <a:rPr lang="en-US" altLang="ko-KR" sz="1050" b="1" i="0" u="sng" strike="noStrike" kern="120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580</a:t>
                      </a:r>
                      <a:endParaRPr lang="en-US" altLang="ko-KR" sz="1050" b="1" i="0" u="sng" strike="noStrike" kern="1200" dirty="0">
                        <a:solidFill>
                          <a:srgbClr val="0000FF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3043">
                <a:tc>
                  <a:txBody>
                    <a:bodyPr/>
                    <a:lstStyle/>
                    <a:p>
                      <a:pPr marL="0" marR="0" lvl="0" indent="0" algn="ct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kern="1200" cap="small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ea"/>
                          <a:ea typeface=""/>
                          <a:cs typeface=""/>
                        </a:rPr>
                        <a:t>Kazakhstan</a:t>
                      </a:r>
                      <a:endParaRPr lang="en-US" altLang="ko-KR" sz="1100" b="1" kern="1200" cap="small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ea"/>
                        <a:ea typeface=""/>
                        <a:cs typeface="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Almaty</a:t>
                      </a:r>
                      <a:r>
                        <a:rPr lang="ko-KR" altLang="en-US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Ring road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1,000</a:t>
                      </a:r>
                      <a:endParaRPr lang="en-US" altLang="ko-KR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23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i="0" u="sng" strike="noStrike" kern="1200" dirty="0" smtClean="0">
                          <a:solidFill>
                            <a:srgbClr val="0000FF"/>
                          </a:solidFill>
                          <a:effectLst/>
                          <a:latin typeface="+mn-lt"/>
                          <a:ea typeface="맑은 고딕" panose="020B0503020000020004" pitchFamily="50" charset="-127"/>
                          <a:cs typeface="+mn-cs"/>
                        </a:rPr>
                        <a:t>410</a:t>
                      </a:r>
                      <a:endParaRPr lang="en-US" altLang="ko-KR" sz="1050" b="1" i="0" u="sng" strike="noStrike" kern="1200" dirty="0">
                        <a:solidFill>
                          <a:srgbClr val="0000FF"/>
                        </a:solidFill>
                        <a:effectLst/>
                        <a:latin typeface="+mn-lt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6" name="그림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930" y="1388946"/>
            <a:ext cx="360444" cy="24149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020" y="1986494"/>
            <a:ext cx="196684" cy="239858"/>
          </a:xfrm>
          <a:prstGeom prst="rect">
            <a:avLst/>
          </a:prstGeom>
          <a:ln w="3175">
            <a:noFill/>
          </a:ln>
        </p:spPr>
      </p:pic>
      <p:pic>
        <p:nvPicPr>
          <p:cNvPr id="8" name="그림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1158" y="1638882"/>
            <a:ext cx="360444" cy="240296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9" name="그림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930" y="2106423"/>
            <a:ext cx="360444" cy="23985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22" name="그림 2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5640" y="2640526"/>
            <a:ext cx="360444" cy="239095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5640" y="3356990"/>
            <a:ext cx="367644" cy="22977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25" name="직사각형 24"/>
          <p:cNvSpPr/>
          <p:nvPr/>
        </p:nvSpPr>
        <p:spPr>
          <a:xfrm>
            <a:off x="6338023" y="2343085"/>
            <a:ext cx="75212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latinLnBrk="0"/>
            <a:r>
              <a:rPr lang="en-US" altLang="ko-KR" sz="900" b="1" dirty="0" smtClean="0">
                <a:latin typeface="맑은 고딕" pitchFamily="50" charset="-127"/>
              </a:rPr>
              <a:t>PAKISTAN</a:t>
            </a:r>
            <a:endParaRPr lang="en-US" altLang="ko-KR" sz="900" b="1" dirty="0">
              <a:latin typeface="맑은 고딕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7328736" y="2014657"/>
            <a:ext cx="55015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latinLnBrk="0"/>
            <a:r>
              <a:rPr lang="en-US" altLang="ko-KR" sz="900" b="1" dirty="0" smtClean="0">
                <a:latin typeface="맑은 고딕" pitchFamily="50" charset="-127"/>
              </a:rPr>
              <a:t>NEPAL</a:t>
            </a:r>
            <a:endParaRPr lang="en-US" altLang="ko-KR" sz="900" b="1" dirty="0">
              <a:latin typeface="맑은 고딕" pitchFamily="50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8253284" y="2646467"/>
            <a:ext cx="56268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/>
            <a:r>
              <a:rPr lang="en-US" altLang="ko-KR" sz="900" b="1" dirty="0" smtClean="0">
                <a:latin typeface="맑은 고딕" pitchFamily="50" charset="-127"/>
              </a:rPr>
              <a:t>LAOS</a:t>
            </a:r>
            <a:endParaRPr lang="en-US" altLang="ko-KR" sz="900" b="1" dirty="0">
              <a:latin typeface="맑은 고딕" pitchFamily="50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8253284" y="3354668"/>
            <a:ext cx="87400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/>
            <a:r>
              <a:rPr lang="en-US" altLang="ko-KR" sz="900" b="1" dirty="0" smtClean="0">
                <a:latin typeface="맑은 고딕" pitchFamily="50" charset="-127"/>
              </a:rPr>
              <a:t>INDONESIA</a:t>
            </a:r>
            <a:endParaRPr lang="en-US" altLang="ko-KR" sz="900" b="1" dirty="0">
              <a:latin typeface="맑은 고딕" pitchFamily="50" charset="-127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5416666" y="1879178"/>
            <a:ext cx="61908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/>
            <a:r>
              <a:rPr lang="en-US" altLang="ko-KR" sz="900" b="1" dirty="0" smtClean="0">
                <a:latin typeface="맑은 고딕" pitchFamily="50" charset="-127"/>
              </a:rPr>
              <a:t>TURKEY</a:t>
            </a:r>
            <a:endParaRPr lang="en-US" altLang="ko-KR" sz="900" b="1" dirty="0">
              <a:latin typeface="맑은 고딕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6233829" y="1628846"/>
            <a:ext cx="96051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/>
            <a:r>
              <a:rPr lang="en-US" altLang="ko-KR" sz="900" b="1" dirty="0" smtClean="0">
                <a:latin typeface="맑은 고딕" pitchFamily="50" charset="-127"/>
              </a:rPr>
              <a:t>KAZAKHSTAN</a:t>
            </a:r>
            <a:endParaRPr lang="en-US" altLang="ko-KR" sz="900" b="1" dirty="0">
              <a:latin typeface="맑은 고딕" pitchFamily="50" charset="-127"/>
            </a:endParaRPr>
          </a:p>
        </p:txBody>
      </p:sp>
      <p:sp>
        <p:nvSpPr>
          <p:cNvPr id="32" name="Freeform 230"/>
          <p:cNvSpPr/>
          <p:nvPr/>
        </p:nvSpPr>
        <p:spPr bwMode="auto">
          <a:xfrm flipH="1">
            <a:off x="6889024" y="1404823"/>
            <a:ext cx="1575532" cy="508890"/>
          </a:xfrm>
          <a:custGeom>
            <a:avLst/>
            <a:gdLst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62795"/>
              <a:gd name="connsiteY0" fmla="*/ 200496 h 1208029"/>
              <a:gd name="connsiteX1" fmla="*/ 0 w 1562795"/>
              <a:gd name="connsiteY1" fmla="*/ 1208029 h 1208029"/>
              <a:gd name="connsiteX0" fmla="*/ 1507066 w 1561196"/>
              <a:gd name="connsiteY0" fmla="*/ 211896 h 1219429"/>
              <a:gd name="connsiteX1" fmla="*/ 0 w 1561196"/>
              <a:gd name="connsiteY1" fmla="*/ 1219429 h 1219429"/>
              <a:gd name="connsiteX0" fmla="*/ 1507066 w 1507066"/>
              <a:gd name="connsiteY0" fmla="*/ 12997611 h 14005144"/>
              <a:gd name="connsiteX1" fmla="*/ 0 w 1507066"/>
              <a:gd name="connsiteY1" fmla="*/ 14005144 h 14005144"/>
              <a:gd name="connsiteX0" fmla="*/ 1510821 w 1510821"/>
              <a:gd name="connsiteY0" fmla="*/ 15148014 h 16155547"/>
              <a:gd name="connsiteX1" fmla="*/ 3755 w 1510821"/>
              <a:gd name="connsiteY1" fmla="*/ 16155547 h 16155547"/>
              <a:gd name="connsiteX0" fmla="*/ 1532961 w 1532961"/>
              <a:gd name="connsiteY0" fmla="*/ 16595816 h 16595816"/>
              <a:gd name="connsiteX1" fmla="*/ 3692 w 1532961"/>
              <a:gd name="connsiteY1" fmla="*/ 13501469 h 16595816"/>
              <a:gd name="connsiteX0" fmla="*/ 1529269 w 1529269"/>
              <a:gd name="connsiteY0" fmla="*/ 16411399 h 16411399"/>
              <a:gd name="connsiteX1" fmla="*/ 0 w 1529269"/>
              <a:gd name="connsiteY1" fmla="*/ 13317052 h 16411399"/>
              <a:gd name="connsiteX0" fmla="*/ 1541604 w 1541604"/>
              <a:gd name="connsiteY0" fmla="*/ 16594676 h 16594676"/>
              <a:gd name="connsiteX1" fmla="*/ 0 w 1541604"/>
              <a:gd name="connsiteY1" fmla="*/ 13017755 h 16594676"/>
              <a:gd name="connsiteX0" fmla="*/ 1541604 w 1541604"/>
              <a:gd name="connsiteY0" fmla="*/ 17182124 h 17182124"/>
              <a:gd name="connsiteX1" fmla="*/ 0 w 1541604"/>
              <a:gd name="connsiteY1" fmla="*/ 13605203 h 17182124"/>
              <a:gd name="connsiteX0" fmla="*/ 1541604 w 1541604"/>
              <a:gd name="connsiteY0" fmla="*/ 27353535 h 27353535"/>
              <a:gd name="connsiteX1" fmla="*/ 0 w 1541604"/>
              <a:gd name="connsiteY1" fmla="*/ 5752415 h 27353535"/>
              <a:gd name="connsiteX0" fmla="*/ 1541604 w 1541604"/>
              <a:gd name="connsiteY0" fmla="*/ 44184592 h 44184592"/>
              <a:gd name="connsiteX1" fmla="*/ 0 w 1541604"/>
              <a:gd name="connsiteY1" fmla="*/ 22583472 h 44184592"/>
              <a:gd name="connsiteX0" fmla="*/ 1521685 w 1521685"/>
              <a:gd name="connsiteY0" fmla="*/ 37517972 h 37517972"/>
              <a:gd name="connsiteX1" fmla="*/ 0 w 1521685"/>
              <a:gd name="connsiteY1" fmla="*/ 34700634 h 37517972"/>
              <a:gd name="connsiteX0" fmla="*/ 1521685 w 1521685"/>
              <a:gd name="connsiteY0" fmla="*/ 42084358 h 42084358"/>
              <a:gd name="connsiteX1" fmla="*/ 0 w 1521685"/>
              <a:gd name="connsiteY1" fmla="*/ 39267020 h 42084358"/>
              <a:gd name="connsiteX0" fmla="*/ 1518365 w 1518365"/>
              <a:gd name="connsiteY0" fmla="*/ 35895732 h 52735838"/>
              <a:gd name="connsiteX1" fmla="*/ 0 w 1518365"/>
              <a:gd name="connsiteY1" fmla="*/ 52735838 h 52735838"/>
              <a:gd name="connsiteX0" fmla="*/ 1518365 w 1518365"/>
              <a:gd name="connsiteY0" fmla="*/ 22514052 h 39354158"/>
              <a:gd name="connsiteX1" fmla="*/ 0 w 1518365"/>
              <a:gd name="connsiteY1" fmla="*/ 39354158 h 39354158"/>
              <a:gd name="connsiteX0" fmla="*/ 1518365 w 1518365"/>
              <a:gd name="connsiteY0" fmla="*/ 21602552 h 38442658"/>
              <a:gd name="connsiteX1" fmla="*/ 0 w 1518365"/>
              <a:gd name="connsiteY1" fmla="*/ 38442658 h 38442658"/>
              <a:gd name="connsiteX0" fmla="*/ 1514509 w 1514509"/>
              <a:gd name="connsiteY0" fmla="*/ 15772970 h 62115246"/>
              <a:gd name="connsiteX1" fmla="*/ 0 w 1514509"/>
              <a:gd name="connsiteY1" fmla="*/ 62115246 h 62115246"/>
              <a:gd name="connsiteX0" fmla="*/ 1514509 w 1514509"/>
              <a:gd name="connsiteY0" fmla="*/ 804046 h 47146322"/>
              <a:gd name="connsiteX1" fmla="*/ 0 w 1514509"/>
              <a:gd name="connsiteY1" fmla="*/ 47146322 h 47146322"/>
              <a:gd name="connsiteX0" fmla="*/ 1537626 w 1537626"/>
              <a:gd name="connsiteY0" fmla="*/ 55487432 h 55487432"/>
              <a:gd name="connsiteX1" fmla="*/ 0 w 1537626"/>
              <a:gd name="connsiteY1" fmla="*/ 4907526 h 55487432"/>
              <a:gd name="connsiteX0" fmla="*/ 1537626 w 1537626"/>
              <a:gd name="connsiteY0" fmla="*/ 59970249 h 59970249"/>
              <a:gd name="connsiteX1" fmla="*/ 0 w 1537626"/>
              <a:gd name="connsiteY1" fmla="*/ 9390343 h 59970249"/>
              <a:gd name="connsiteX0" fmla="*/ 1519547 w 1519547"/>
              <a:gd name="connsiteY0" fmla="*/ 14575481 h 88707902"/>
              <a:gd name="connsiteX1" fmla="*/ 0 w 1519547"/>
              <a:gd name="connsiteY1" fmla="*/ 88707903 h 88707902"/>
              <a:gd name="connsiteX0" fmla="*/ 2550044 w 2550044"/>
              <a:gd name="connsiteY0" fmla="*/ 14198555 h 92122905"/>
              <a:gd name="connsiteX1" fmla="*/ 0 w 2550044"/>
              <a:gd name="connsiteY1" fmla="*/ 92122906 h 92122905"/>
              <a:gd name="connsiteX0" fmla="*/ 2550044 w 2550044"/>
              <a:gd name="connsiteY0" fmla="*/ 0 h 77924350"/>
              <a:gd name="connsiteX1" fmla="*/ 0 w 2550044"/>
              <a:gd name="connsiteY1" fmla="*/ 77924351 h 77924350"/>
              <a:gd name="connsiteX0" fmla="*/ 2952278 w 2952278"/>
              <a:gd name="connsiteY0" fmla="*/ 0 h 77924350"/>
              <a:gd name="connsiteX1" fmla="*/ 402234 w 2952278"/>
              <a:gd name="connsiteY1" fmla="*/ 77924351 h 77924350"/>
              <a:gd name="connsiteX0" fmla="*/ 7702273 w 7702273"/>
              <a:gd name="connsiteY0" fmla="*/ 0 h 128231179"/>
              <a:gd name="connsiteX1" fmla="*/ 119220 w 7702273"/>
              <a:gd name="connsiteY1" fmla="*/ 128231179 h 128231179"/>
              <a:gd name="connsiteX0" fmla="*/ 7855790 w 7855790"/>
              <a:gd name="connsiteY0" fmla="*/ 343527 h 128574706"/>
              <a:gd name="connsiteX1" fmla="*/ 272737 w 7855790"/>
              <a:gd name="connsiteY1" fmla="*/ 128574706 h 128574706"/>
              <a:gd name="connsiteX0" fmla="*/ 7850686 w 7850686"/>
              <a:gd name="connsiteY0" fmla="*/ 13265398 h 141496577"/>
              <a:gd name="connsiteX1" fmla="*/ 267633 w 7850686"/>
              <a:gd name="connsiteY1" fmla="*/ 141496577 h 141496577"/>
              <a:gd name="connsiteX0" fmla="*/ 9134356 w 9134356"/>
              <a:gd name="connsiteY0" fmla="*/ 11065878 h 150906325"/>
              <a:gd name="connsiteX1" fmla="*/ 230585 w 9134356"/>
              <a:gd name="connsiteY1" fmla="*/ 150906325 h 150906325"/>
              <a:gd name="connsiteX0" fmla="*/ 8903771 w 8903771"/>
              <a:gd name="connsiteY0" fmla="*/ 10623830 h 150464277"/>
              <a:gd name="connsiteX1" fmla="*/ 0 w 8903771"/>
              <a:gd name="connsiteY1" fmla="*/ 150464277 h 150464277"/>
              <a:gd name="connsiteX0" fmla="*/ 8939948 w 8939948"/>
              <a:gd name="connsiteY0" fmla="*/ 21436715 h 117811895"/>
              <a:gd name="connsiteX1" fmla="*/ 0 w 8939948"/>
              <a:gd name="connsiteY1" fmla="*/ 117811895 h 117811895"/>
              <a:gd name="connsiteX0" fmla="*/ 8976125 w 8976125"/>
              <a:gd name="connsiteY0" fmla="*/ 18428372 h 123998125"/>
              <a:gd name="connsiteX1" fmla="*/ 0 w 8976125"/>
              <a:gd name="connsiteY1" fmla="*/ 123998125 h 123998125"/>
              <a:gd name="connsiteX0" fmla="*/ 8976125 w 8976125"/>
              <a:gd name="connsiteY0" fmla="*/ 28403792 h 133973545"/>
              <a:gd name="connsiteX1" fmla="*/ 0 w 8976125"/>
              <a:gd name="connsiteY1" fmla="*/ 133973545 h 133973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976125" h="133973545">
                <a:moveTo>
                  <a:pt x="8976125" y="28403792"/>
                </a:moveTo>
                <a:cubicBezTo>
                  <a:pt x="6754700" y="-19958475"/>
                  <a:pt x="1224520" y="-19559000"/>
                  <a:pt x="0" y="133973545"/>
                </a:cubicBezTo>
              </a:path>
            </a:pathLst>
          </a:custGeom>
          <a:noFill/>
          <a:ln w="3175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 type="none"/>
            <a:tailEnd type="stealth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3" name="Freeform 230"/>
          <p:cNvSpPr/>
          <p:nvPr/>
        </p:nvSpPr>
        <p:spPr bwMode="auto">
          <a:xfrm flipH="1">
            <a:off x="5696128" y="795900"/>
            <a:ext cx="2769549" cy="1125399"/>
          </a:xfrm>
          <a:custGeom>
            <a:avLst/>
            <a:gdLst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62795"/>
              <a:gd name="connsiteY0" fmla="*/ 200496 h 1208029"/>
              <a:gd name="connsiteX1" fmla="*/ 0 w 1562795"/>
              <a:gd name="connsiteY1" fmla="*/ 1208029 h 1208029"/>
              <a:gd name="connsiteX0" fmla="*/ 1507066 w 1561196"/>
              <a:gd name="connsiteY0" fmla="*/ 211896 h 1219429"/>
              <a:gd name="connsiteX1" fmla="*/ 0 w 1561196"/>
              <a:gd name="connsiteY1" fmla="*/ 1219429 h 1219429"/>
              <a:gd name="connsiteX0" fmla="*/ 1507066 w 1507066"/>
              <a:gd name="connsiteY0" fmla="*/ 12997611 h 14005144"/>
              <a:gd name="connsiteX1" fmla="*/ 0 w 1507066"/>
              <a:gd name="connsiteY1" fmla="*/ 14005144 h 14005144"/>
              <a:gd name="connsiteX0" fmla="*/ 1510821 w 1510821"/>
              <a:gd name="connsiteY0" fmla="*/ 15148014 h 16155547"/>
              <a:gd name="connsiteX1" fmla="*/ 3755 w 1510821"/>
              <a:gd name="connsiteY1" fmla="*/ 16155547 h 16155547"/>
              <a:gd name="connsiteX0" fmla="*/ 1532961 w 1532961"/>
              <a:gd name="connsiteY0" fmla="*/ 16595816 h 16595816"/>
              <a:gd name="connsiteX1" fmla="*/ 3692 w 1532961"/>
              <a:gd name="connsiteY1" fmla="*/ 13501469 h 16595816"/>
              <a:gd name="connsiteX0" fmla="*/ 1529269 w 1529269"/>
              <a:gd name="connsiteY0" fmla="*/ 16411399 h 16411399"/>
              <a:gd name="connsiteX1" fmla="*/ 0 w 1529269"/>
              <a:gd name="connsiteY1" fmla="*/ 13317052 h 16411399"/>
              <a:gd name="connsiteX0" fmla="*/ 1541604 w 1541604"/>
              <a:gd name="connsiteY0" fmla="*/ 16594676 h 16594676"/>
              <a:gd name="connsiteX1" fmla="*/ 0 w 1541604"/>
              <a:gd name="connsiteY1" fmla="*/ 13017755 h 16594676"/>
              <a:gd name="connsiteX0" fmla="*/ 1541604 w 1541604"/>
              <a:gd name="connsiteY0" fmla="*/ 17182124 h 17182124"/>
              <a:gd name="connsiteX1" fmla="*/ 0 w 1541604"/>
              <a:gd name="connsiteY1" fmla="*/ 13605203 h 17182124"/>
              <a:gd name="connsiteX0" fmla="*/ 1541604 w 1541604"/>
              <a:gd name="connsiteY0" fmla="*/ 27353535 h 27353535"/>
              <a:gd name="connsiteX1" fmla="*/ 0 w 1541604"/>
              <a:gd name="connsiteY1" fmla="*/ 5752415 h 27353535"/>
              <a:gd name="connsiteX0" fmla="*/ 1541604 w 1541604"/>
              <a:gd name="connsiteY0" fmla="*/ 44184592 h 44184592"/>
              <a:gd name="connsiteX1" fmla="*/ 0 w 1541604"/>
              <a:gd name="connsiteY1" fmla="*/ 22583472 h 44184592"/>
              <a:gd name="connsiteX0" fmla="*/ 1521685 w 1521685"/>
              <a:gd name="connsiteY0" fmla="*/ 37517972 h 37517972"/>
              <a:gd name="connsiteX1" fmla="*/ 0 w 1521685"/>
              <a:gd name="connsiteY1" fmla="*/ 34700634 h 37517972"/>
              <a:gd name="connsiteX0" fmla="*/ 1521685 w 1521685"/>
              <a:gd name="connsiteY0" fmla="*/ 42084358 h 42084358"/>
              <a:gd name="connsiteX1" fmla="*/ 0 w 1521685"/>
              <a:gd name="connsiteY1" fmla="*/ 39267020 h 42084358"/>
              <a:gd name="connsiteX0" fmla="*/ 1518365 w 1518365"/>
              <a:gd name="connsiteY0" fmla="*/ 35895732 h 52735838"/>
              <a:gd name="connsiteX1" fmla="*/ 0 w 1518365"/>
              <a:gd name="connsiteY1" fmla="*/ 52735838 h 52735838"/>
              <a:gd name="connsiteX0" fmla="*/ 1518365 w 1518365"/>
              <a:gd name="connsiteY0" fmla="*/ 22514052 h 39354158"/>
              <a:gd name="connsiteX1" fmla="*/ 0 w 1518365"/>
              <a:gd name="connsiteY1" fmla="*/ 39354158 h 39354158"/>
              <a:gd name="connsiteX0" fmla="*/ 1518365 w 1518365"/>
              <a:gd name="connsiteY0" fmla="*/ 21602552 h 38442658"/>
              <a:gd name="connsiteX1" fmla="*/ 0 w 1518365"/>
              <a:gd name="connsiteY1" fmla="*/ 38442658 h 38442658"/>
              <a:gd name="connsiteX0" fmla="*/ 1514509 w 1514509"/>
              <a:gd name="connsiteY0" fmla="*/ 15772970 h 62115246"/>
              <a:gd name="connsiteX1" fmla="*/ 0 w 1514509"/>
              <a:gd name="connsiteY1" fmla="*/ 62115246 h 62115246"/>
              <a:gd name="connsiteX0" fmla="*/ 1514509 w 1514509"/>
              <a:gd name="connsiteY0" fmla="*/ 804046 h 47146322"/>
              <a:gd name="connsiteX1" fmla="*/ 0 w 1514509"/>
              <a:gd name="connsiteY1" fmla="*/ 47146322 h 47146322"/>
              <a:gd name="connsiteX0" fmla="*/ 1537626 w 1537626"/>
              <a:gd name="connsiteY0" fmla="*/ 55487432 h 55487432"/>
              <a:gd name="connsiteX1" fmla="*/ 0 w 1537626"/>
              <a:gd name="connsiteY1" fmla="*/ 4907526 h 55487432"/>
              <a:gd name="connsiteX0" fmla="*/ 1537626 w 1537626"/>
              <a:gd name="connsiteY0" fmla="*/ 59970249 h 59970249"/>
              <a:gd name="connsiteX1" fmla="*/ 0 w 1537626"/>
              <a:gd name="connsiteY1" fmla="*/ 9390343 h 59970249"/>
              <a:gd name="connsiteX0" fmla="*/ 1519547 w 1519547"/>
              <a:gd name="connsiteY0" fmla="*/ 14575481 h 88707902"/>
              <a:gd name="connsiteX1" fmla="*/ 0 w 1519547"/>
              <a:gd name="connsiteY1" fmla="*/ 88707903 h 88707902"/>
              <a:gd name="connsiteX0" fmla="*/ 2550044 w 2550044"/>
              <a:gd name="connsiteY0" fmla="*/ 14198555 h 92122905"/>
              <a:gd name="connsiteX1" fmla="*/ 0 w 2550044"/>
              <a:gd name="connsiteY1" fmla="*/ 92122906 h 92122905"/>
              <a:gd name="connsiteX0" fmla="*/ 2550044 w 2550044"/>
              <a:gd name="connsiteY0" fmla="*/ 0 h 77924350"/>
              <a:gd name="connsiteX1" fmla="*/ 0 w 2550044"/>
              <a:gd name="connsiteY1" fmla="*/ 77924351 h 77924350"/>
              <a:gd name="connsiteX0" fmla="*/ 2952278 w 2952278"/>
              <a:gd name="connsiteY0" fmla="*/ 0 h 77924350"/>
              <a:gd name="connsiteX1" fmla="*/ 402234 w 2952278"/>
              <a:gd name="connsiteY1" fmla="*/ 77924351 h 77924350"/>
              <a:gd name="connsiteX0" fmla="*/ 7702273 w 7702273"/>
              <a:gd name="connsiteY0" fmla="*/ 0 h 128231179"/>
              <a:gd name="connsiteX1" fmla="*/ 119220 w 7702273"/>
              <a:gd name="connsiteY1" fmla="*/ 128231179 h 128231179"/>
              <a:gd name="connsiteX0" fmla="*/ 7855790 w 7855790"/>
              <a:gd name="connsiteY0" fmla="*/ 343527 h 128574706"/>
              <a:gd name="connsiteX1" fmla="*/ 272737 w 7855790"/>
              <a:gd name="connsiteY1" fmla="*/ 128574706 h 128574706"/>
              <a:gd name="connsiteX0" fmla="*/ 7850686 w 7850686"/>
              <a:gd name="connsiteY0" fmla="*/ 13265398 h 141496577"/>
              <a:gd name="connsiteX1" fmla="*/ 267633 w 7850686"/>
              <a:gd name="connsiteY1" fmla="*/ 141496577 h 141496577"/>
              <a:gd name="connsiteX0" fmla="*/ 9134356 w 9134356"/>
              <a:gd name="connsiteY0" fmla="*/ 11065878 h 150906325"/>
              <a:gd name="connsiteX1" fmla="*/ 230585 w 9134356"/>
              <a:gd name="connsiteY1" fmla="*/ 150906325 h 150906325"/>
              <a:gd name="connsiteX0" fmla="*/ 8903771 w 8903771"/>
              <a:gd name="connsiteY0" fmla="*/ 10623830 h 150464277"/>
              <a:gd name="connsiteX1" fmla="*/ 0 w 8903771"/>
              <a:gd name="connsiteY1" fmla="*/ 150464277 h 150464277"/>
              <a:gd name="connsiteX0" fmla="*/ 8939948 w 8939948"/>
              <a:gd name="connsiteY0" fmla="*/ 21436715 h 117811895"/>
              <a:gd name="connsiteX1" fmla="*/ 0 w 8939948"/>
              <a:gd name="connsiteY1" fmla="*/ 117811895 h 117811895"/>
              <a:gd name="connsiteX0" fmla="*/ 8976125 w 8976125"/>
              <a:gd name="connsiteY0" fmla="*/ 18428372 h 123998125"/>
              <a:gd name="connsiteX1" fmla="*/ 0 w 8976125"/>
              <a:gd name="connsiteY1" fmla="*/ 123998125 h 123998125"/>
              <a:gd name="connsiteX0" fmla="*/ 8976125 w 8976125"/>
              <a:gd name="connsiteY0" fmla="*/ 28403792 h 133973545"/>
              <a:gd name="connsiteX1" fmla="*/ 0 w 8976125"/>
              <a:gd name="connsiteY1" fmla="*/ 133973545 h 133973545"/>
              <a:gd name="connsiteX0" fmla="*/ 13360806 w 13360806"/>
              <a:gd name="connsiteY0" fmla="*/ 11907531 h 221793890"/>
              <a:gd name="connsiteX1" fmla="*/ 0 w 13360806"/>
              <a:gd name="connsiteY1" fmla="*/ 221793890 h 221793890"/>
              <a:gd name="connsiteX0" fmla="*/ 15705091 w 15705091"/>
              <a:gd name="connsiteY0" fmla="*/ 40658308 h 112124555"/>
              <a:gd name="connsiteX1" fmla="*/ 0 w 15705091"/>
              <a:gd name="connsiteY1" fmla="*/ 112124555 h 112124555"/>
              <a:gd name="connsiteX0" fmla="*/ 15705091 w 15705091"/>
              <a:gd name="connsiteY0" fmla="*/ 214231831 h 285698078"/>
              <a:gd name="connsiteX1" fmla="*/ 0 w 15705091"/>
              <a:gd name="connsiteY1" fmla="*/ 285698078 h 285698078"/>
              <a:gd name="connsiteX0" fmla="*/ 15778682 w 15778682"/>
              <a:gd name="connsiteY0" fmla="*/ 224813290 h 296279537"/>
              <a:gd name="connsiteX1" fmla="*/ 73591 w 15778682"/>
              <a:gd name="connsiteY1" fmla="*/ 296279537 h 296279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778682" h="296279537">
                <a:moveTo>
                  <a:pt x="15778682" y="224813290"/>
                </a:moveTo>
                <a:cubicBezTo>
                  <a:pt x="10909084" y="-220754514"/>
                  <a:pt x="-1046171" y="100619032"/>
                  <a:pt x="73591" y="296279537"/>
                </a:cubicBezTo>
              </a:path>
            </a:pathLst>
          </a:custGeom>
          <a:noFill/>
          <a:ln w="3175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 type="none"/>
            <a:tailEnd type="stealth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4" name="Freeform 230"/>
          <p:cNvSpPr/>
          <p:nvPr/>
        </p:nvSpPr>
        <p:spPr bwMode="auto">
          <a:xfrm flipH="1">
            <a:off x="6875775" y="1709992"/>
            <a:ext cx="1545052" cy="358029"/>
          </a:xfrm>
          <a:custGeom>
            <a:avLst/>
            <a:gdLst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62795"/>
              <a:gd name="connsiteY0" fmla="*/ 200496 h 1208029"/>
              <a:gd name="connsiteX1" fmla="*/ 0 w 1562795"/>
              <a:gd name="connsiteY1" fmla="*/ 1208029 h 1208029"/>
              <a:gd name="connsiteX0" fmla="*/ 1507066 w 1561196"/>
              <a:gd name="connsiteY0" fmla="*/ 211896 h 1219429"/>
              <a:gd name="connsiteX1" fmla="*/ 0 w 1561196"/>
              <a:gd name="connsiteY1" fmla="*/ 1219429 h 1219429"/>
              <a:gd name="connsiteX0" fmla="*/ 1507066 w 1507066"/>
              <a:gd name="connsiteY0" fmla="*/ 12997611 h 14005144"/>
              <a:gd name="connsiteX1" fmla="*/ 0 w 1507066"/>
              <a:gd name="connsiteY1" fmla="*/ 14005144 h 14005144"/>
              <a:gd name="connsiteX0" fmla="*/ 1510821 w 1510821"/>
              <a:gd name="connsiteY0" fmla="*/ 15148014 h 16155547"/>
              <a:gd name="connsiteX1" fmla="*/ 3755 w 1510821"/>
              <a:gd name="connsiteY1" fmla="*/ 16155547 h 16155547"/>
              <a:gd name="connsiteX0" fmla="*/ 1532961 w 1532961"/>
              <a:gd name="connsiteY0" fmla="*/ 16595816 h 16595816"/>
              <a:gd name="connsiteX1" fmla="*/ 3692 w 1532961"/>
              <a:gd name="connsiteY1" fmla="*/ 13501469 h 16595816"/>
              <a:gd name="connsiteX0" fmla="*/ 1529269 w 1529269"/>
              <a:gd name="connsiteY0" fmla="*/ 16411399 h 16411399"/>
              <a:gd name="connsiteX1" fmla="*/ 0 w 1529269"/>
              <a:gd name="connsiteY1" fmla="*/ 13317052 h 16411399"/>
              <a:gd name="connsiteX0" fmla="*/ 1541604 w 1541604"/>
              <a:gd name="connsiteY0" fmla="*/ 16594676 h 16594676"/>
              <a:gd name="connsiteX1" fmla="*/ 0 w 1541604"/>
              <a:gd name="connsiteY1" fmla="*/ 13017755 h 16594676"/>
              <a:gd name="connsiteX0" fmla="*/ 1541604 w 1541604"/>
              <a:gd name="connsiteY0" fmla="*/ 17182124 h 17182124"/>
              <a:gd name="connsiteX1" fmla="*/ 0 w 1541604"/>
              <a:gd name="connsiteY1" fmla="*/ 13605203 h 17182124"/>
              <a:gd name="connsiteX0" fmla="*/ 1541604 w 1541604"/>
              <a:gd name="connsiteY0" fmla="*/ 27353535 h 27353535"/>
              <a:gd name="connsiteX1" fmla="*/ 0 w 1541604"/>
              <a:gd name="connsiteY1" fmla="*/ 5752415 h 27353535"/>
              <a:gd name="connsiteX0" fmla="*/ 1541604 w 1541604"/>
              <a:gd name="connsiteY0" fmla="*/ 44184592 h 44184592"/>
              <a:gd name="connsiteX1" fmla="*/ 0 w 1541604"/>
              <a:gd name="connsiteY1" fmla="*/ 22583472 h 44184592"/>
              <a:gd name="connsiteX0" fmla="*/ 1521685 w 1521685"/>
              <a:gd name="connsiteY0" fmla="*/ 37517972 h 37517972"/>
              <a:gd name="connsiteX1" fmla="*/ 0 w 1521685"/>
              <a:gd name="connsiteY1" fmla="*/ 34700634 h 37517972"/>
              <a:gd name="connsiteX0" fmla="*/ 1521685 w 1521685"/>
              <a:gd name="connsiteY0" fmla="*/ 42084358 h 42084358"/>
              <a:gd name="connsiteX1" fmla="*/ 0 w 1521685"/>
              <a:gd name="connsiteY1" fmla="*/ 39267020 h 42084358"/>
              <a:gd name="connsiteX0" fmla="*/ 1518365 w 1518365"/>
              <a:gd name="connsiteY0" fmla="*/ 35895732 h 52735838"/>
              <a:gd name="connsiteX1" fmla="*/ 0 w 1518365"/>
              <a:gd name="connsiteY1" fmla="*/ 52735838 h 52735838"/>
              <a:gd name="connsiteX0" fmla="*/ 1518365 w 1518365"/>
              <a:gd name="connsiteY0" fmla="*/ 22514052 h 39354158"/>
              <a:gd name="connsiteX1" fmla="*/ 0 w 1518365"/>
              <a:gd name="connsiteY1" fmla="*/ 39354158 h 39354158"/>
              <a:gd name="connsiteX0" fmla="*/ 1518365 w 1518365"/>
              <a:gd name="connsiteY0" fmla="*/ 21602552 h 38442658"/>
              <a:gd name="connsiteX1" fmla="*/ 0 w 1518365"/>
              <a:gd name="connsiteY1" fmla="*/ 38442658 h 38442658"/>
              <a:gd name="connsiteX0" fmla="*/ 1514509 w 1514509"/>
              <a:gd name="connsiteY0" fmla="*/ 15772970 h 62115246"/>
              <a:gd name="connsiteX1" fmla="*/ 0 w 1514509"/>
              <a:gd name="connsiteY1" fmla="*/ 62115246 h 62115246"/>
              <a:gd name="connsiteX0" fmla="*/ 1514509 w 1514509"/>
              <a:gd name="connsiteY0" fmla="*/ 804046 h 47146322"/>
              <a:gd name="connsiteX1" fmla="*/ 0 w 1514509"/>
              <a:gd name="connsiteY1" fmla="*/ 47146322 h 47146322"/>
              <a:gd name="connsiteX0" fmla="*/ 1537626 w 1537626"/>
              <a:gd name="connsiteY0" fmla="*/ 55487432 h 55487432"/>
              <a:gd name="connsiteX1" fmla="*/ 0 w 1537626"/>
              <a:gd name="connsiteY1" fmla="*/ 4907526 h 55487432"/>
              <a:gd name="connsiteX0" fmla="*/ 1537626 w 1537626"/>
              <a:gd name="connsiteY0" fmla="*/ 59970249 h 59970249"/>
              <a:gd name="connsiteX1" fmla="*/ 0 w 1537626"/>
              <a:gd name="connsiteY1" fmla="*/ 9390343 h 59970249"/>
              <a:gd name="connsiteX0" fmla="*/ 1519547 w 1519547"/>
              <a:gd name="connsiteY0" fmla="*/ 14575481 h 88707902"/>
              <a:gd name="connsiteX1" fmla="*/ 0 w 1519547"/>
              <a:gd name="connsiteY1" fmla="*/ 88707903 h 88707902"/>
              <a:gd name="connsiteX0" fmla="*/ 2550044 w 2550044"/>
              <a:gd name="connsiteY0" fmla="*/ 14198555 h 92122905"/>
              <a:gd name="connsiteX1" fmla="*/ 0 w 2550044"/>
              <a:gd name="connsiteY1" fmla="*/ 92122906 h 92122905"/>
              <a:gd name="connsiteX0" fmla="*/ 2550044 w 2550044"/>
              <a:gd name="connsiteY0" fmla="*/ 0 h 77924350"/>
              <a:gd name="connsiteX1" fmla="*/ 0 w 2550044"/>
              <a:gd name="connsiteY1" fmla="*/ 77924351 h 77924350"/>
              <a:gd name="connsiteX0" fmla="*/ 2952278 w 2952278"/>
              <a:gd name="connsiteY0" fmla="*/ 0 h 77924350"/>
              <a:gd name="connsiteX1" fmla="*/ 402234 w 2952278"/>
              <a:gd name="connsiteY1" fmla="*/ 77924351 h 77924350"/>
              <a:gd name="connsiteX0" fmla="*/ 7702273 w 7702273"/>
              <a:gd name="connsiteY0" fmla="*/ 0 h 128231179"/>
              <a:gd name="connsiteX1" fmla="*/ 119220 w 7702273"/>
              <a:gd name="connsiteY1" fmla="*/ 128231179 h 128231179"/>
              <a:gd name="connsiteX0" fmla="*/ 7855790 w 7855790"/>
              <a:gd name="connsiteY0" fmla="*/ 343527 h 128574706"/>
              <a:gd name="connsiteX1" fmla="*/ 272737 w 7855790"/>
              <a:gd name="connsiteY1" fmla="*/ 128574706 h 128574706"/>
              <a:gd name="connsiteX0" fmla="*/ 7850686 w 7850686"/>
              <a:gd name="connsiteY0" fmla="*/ 13265398 h 141496577"/>
              <a:gd name="connsiteX1" fmla="*/ 267633 w 7850686"/>
              <a:gd name="connsiteY1" fmla="*/ 141496577 h 141496577"/>
              <a:gd name="connsiteX0" fmla="*/ 9134356 w 9134356"/>
              <a:gd name="connsiteY0" fmla="*/ 11065878 h 150906325"/>
              <a:gd name="connsiteX1" fmla="*/ 230585 w 9134356"/>
              <a:gd name="connsiteY1" fmla="*/ 150906325 h 150906325"/>
              <a:gd name="connsiteX0" fmla="*/ 8903771 w 8903771"/>
              <a:gd name="connsiteY0" fmla="*/ 10623830 h 150464277"/>
              <a:gd name="connsiteX1" fmla="*/ 0 w 8903771"/>
              <a:gd name="connsiteY1" fmla="*/ 150464277 h 150464277"/>
              <a:gd name="connsiteX0" fmla="*/ 8939948 w 8939948"/>
              <a:gd name="connsiteY0" fmla="*/ 21436715 h 117811895"/>
              <a:gd name="connsiteX1" fmla="*/ 0 w 8939948"/>
              <a:gd name="connsiteY1" fmla="*/ 117811895 h 117811895"/>
              <a:gd name="connsiteX0" fmla="*/ 8976125 w 8976125"/>
              <a:gd name="connsiteY0" fmla="*/ 18428372 h 123998125"/>
              <a:gd name="connsiteX1" fmla="*/ 0 w 8976125"/>
              <a:gd name="connsiteY1" fmla="*/ 123998125 h 123998125"/>
              <a:gd name="connsiteX0" fmla="*/ 8976125 w 8976125"/>
              <a:gd name="connsiteY0" fmla="*/ 28403792 h 133973545"/>
              <a:gd name="connsiteX1" fmla="*/ 0 w 8976125"/>
              <a:gd name="connsiteY1" fmla="*/ 133973545 h 133973545"/>
              <a:gd name="connsiteX0" fmla="*/ 8932712 w 8932712"/>
              <a:gd name="connsiteY0" fmla="*/ 96056365 h 96056365"/>
              <a:gd name="connsiteX1" fmla="*/ 0 w 8932712"/>
              <a:gd name="connsiteY1" fmla="*/ 73236449 h 96056365"/>
              <a:gd name="connsiteX0" fmla="*/ 8802474 w 8802474"/>
              <a:gd name="connsiteY0" fmla="*/ 115342722 h 115342722"/>
              <a:gd name="connsiteX1" fmla="*/ 0 w 8802474"/>
              <a:gd name="connsiteY1" fmla="*/ 66443655 h 115342722"/>
              <a:gd name="connsiteX0" fmla="*/ 8802474 w 8802474"/>
              <a:gd name="connsiteY0" fmla="*/ 112672939 h 112672939"/>
              <a:gd name="connsiteX1" fmla="*/ 0 w 8802474"/>
              <a:gd name="connsiteY1" fmla="*/ 63773872 h 112672939"/>
              <a:gd name="connsiteX0" fmla="*/ 8802474 w 8802474"/>
              <a:gd name="connsiteY0" fmla="*/ 121726138 h 121726138"/>
              <a:gd name="connsiteX1" fmla="*/ 0 w 8802474"/>
              <a:gd name="connsiteY1" fmla="*/ 72827071 h 121726138"/>
              <a:gd name="connsiteX0" fmla="*/ 8802474 w 8802474"/>
              <a:gd name="connsiteY0" fmla="*/ 121726138 h 121726138"/>
              <a:gd name="connsiteX1" fmla="*/ 0 w 8802474"/>
              <a:gd name="connsiteY1" fmla="*/ 72827071 h 121726138"/>
              <a:gd name="connsiteX0" fmla="*/ 8802474 w 8802474"/>
              <a:gd name="connsiteY0" fmla="*/ 94256941 h 94256941"/>
              <a:gd name="connsiteX1" fmla="*/ 0 w 8802474"/>
              <a:gd name="connsiteY1" fmla="*/ 45357874 h 94256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02474" h="94256941">
                <a:moveTo>
                  <a:pt x="8802474" y="94256941"/>
                </a:moveTo>
                <a:cubicBezTo>
                  <a:pt x="6624462" y="5772902"/>
                  <a:pt x="4697537" y="-39967761"/>
                  <a:pt x="0" y="45357874"/>
                </a:cubicBezTo>
              </a:path>
            </a:pathLst>
          </a:custGeom>
          <a:noFill/>
          <a:ln w="3175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 type="none"/>
            <a:tailEnd type="stealth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5" name="Freeform 230"/>
          <p:cNvSpPr/>
          <p:nvPr/>
        </p:nvSpPr>
        <p:spPr bwMode="auto">
          <a:xfrm flipH="1">
            <a:off x="8052677" y="1927704"/>
            <a:ext cx="461459" cy="696280"/>
          </a:xfrm>
          <a:custGeom>
            <a:avLst/>
            <a:gdLst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62795"/>
              <a:gd name="connsiteY0" fmla="*/ 200496 h 1208029"/>
              <a:gd name="connsiteX1" fmla="*/ 0 w 1562795"/>
              <a:gd name="connsiteY1" fmla="*/ 1208029 h 1208029"/>
              <a:gd name="connsiteX0" fmla="*/ 1507066 w 1561196"/>
              <a:gd name="connsiteY0" fmla="*/ 211896 h 1219429"/>
              <a:gd name="connsiteX1" fmla="*/ 0 w 1561196"/>
              <a:gd name="connsiteY1" fmla="*/ 1219429 h 1219429"/>
              <a:gd name="connsiteX0" fmla="*/ 1507066 w 1507066"/>
              <a:gd name="connsiteY0" fmla="*/ 12997611 h 14005144"/>
              <a:gd name="connsiteX1" fmla="*/ 0 w 1507066"/>
              <a:gd name="connsiteY1" fmla="*/ 14005144 h 14005144"/>
              <a:gd name="connsiteX0" fmla="*/ 1510821 w 1510821"/>
              <a:gd name="connsiteY0" fmla="*/ 15148014 h 16155547"/>
              <a:gd name="connsiteX1" fmla="*/ 3755 w 1510821"/>
              <a:gd name="connsiteY1" fmla="*/ 16155547 h 16155547"/>
              <a:gd name="connsiteX0" fmla="*/ 1532961 w 1532961"/>
              <a:gd name="connsiteY0" fmla="*/ 16595816 h 16595816"/>
              <a:gd name="connsiteX1" fmla="*/ 3692 w 1532961"/>
              <a:gd name="connsiteY1" fmla="*/ 13501469 h 16595816"/>
              <a:gd name="connsiteX0" fmla="*/ 1529269 w 1529269"/>
              <a:gd name="connsiteY0" fmla="*/ 16411399 h 16411399"/>
              <a:gd name="connsiteX1" fmla="*/ 0 w 1529269"/>
              <a:gd name="connsiteY1" fmla="*/ 13317052 h 16411399"/>
              <a:gd name="connsiteX0" fmla="*/ 1541604 w 1541604"/>
              <a:gd name="connsiteY0" fmla="*/ 16594676 h 16594676"/>
              <a:gd name="connsiteX1" fmla="*/ 0 w 1541604"/>
              <a:gd name="connsiteY1" fmla="*/ 13017755 h 16594676"/>
              <a:gd name="connsiteX0" fmla="*/ 1541604 w 1541604"/>
              <a:gd name="connsiteY0" fmla="*/ 17182124 h 17182124"/>
              <a:gd name="connsiteX1" fmla="*/ 0 w 1541604"/>
              <a:gd name="connsiteY1" fmla="*/ 13605203 h 17182124"/>
              <a:gd name="connsiteX0" fmla="*/ 1541604 w 1541604"/>
              <a:gd name="connsiteY0" fmla="*/ 27353535 h 27353535"/>
              <a:gd name="connsiteX1" fmla="*/ 0 w 1541604"/>
              <a:gd name="connsiteY1" fmla="*/ 5752415 h 27353535"/>
              <a:gd name="connsiteX0" fmla="*/ 1541604 w 1541604"/>
              <a:gd name="connsiteY0" fmla="*/ 44184592 h 44184592"/>
              <a:gd name="connsiteX1" fmla="*/ 0 w 1541604"/>
              <a:gd name="connsiteY1" fmla="*/ 22583472 h 44184592"/>
              <a:gd name="connsiteX0" fmla="*/ 1521685 w 1521685"/>
              <a:gd name="connsiteY0" fmla="*/ 37517972 h 37517972"/>
              <a:gd name="connsiteX1" fmla="*/ 0 w 1521685"/>
              <a:gd name="connsiteY1" fmla="*/ 34700634 h 37517972"/>
              <a:gd name="connsiteX0" fmla="*/ 1521685 w 1521685"/>
              <a:gd name="connsiteY0" fmla="*/ 42084358 h 42084358"/>
              <a:gd name="connsiteX1" fmla="*/ 0 w 1521685"/>
              <a:gd name="connsiteY1" fmla="*/ 39267020 h 42084358"/>
              <a:gd name="connsiteX0" fmla="*/ 1518365 w 1518365"/>
              <a:gd name="connsiteY0" fmla="*/ 35895732 h 52735838"/>
              <a:gd name="connsiteX1" fmla="*/ 0 w 1518365"/>
              <a:gd name="connsiteY1" fmla="*/ 52735838 h 52735838"/>
              <a:gd name="connsiteX0" fmla="*/ 1518365 w 1518365"/>
              <a:gd name="connsiteY0" fmla="*/ 22514052 h 39354158"/>
              <a:gd name="connsiteX1" fmla="*/ 0 w 1518365"/>
              <a:gd name="connsiteY1" fmla="*/ 39354158 h 39354158"/>
              <a:gd name="connsiteX0" fmla="*/ 1518365 w 1518365"/>
              <a:gd name="connsiteY0" fmla="*/ 21602552 h 38442658"/>
              <a:gd name="connsiteX1" fmla="*/ 0 w 1518365"/>
              <a:gd name="connsiteY1" fmla="*/ 38442658 h 38442658"/>
              <a:gd name="connsiteX0" fmla="*/ 1514509 w 1514509"/>
              <a:gd name="connsiteY0" fmla="*/ 15772970 h 62115246"/>
              <a:gd name="connsiteX1" fmla="*/ 0 w 1514509"/>
              <a:gd name="connsiteY1" fmla="*/ 62115246 h 62115246"/>
              <a:gd name="connsiteX0" fmla="*/ 1514509 w 1514509"/>
              <a:gd name="connsiteY0" fmla="*/ 804046 h 47146322"/>
              <a:gd name="connsiteX1" fmla="*/ 0 w 1514509"/>
              <a:gd name="connsiteY1" fmla="*/ 47146322 h 47146322"/>
              <a:gd name="connsiteX0" fmla="*/ 1537626 w 1537626"/>
              <a:gd name="connsiteY0" fmla="*/ 55487432 h 55487432"/>
              <a:gd name="connsiteX1" fmla="*/ 0 w 1537626"/>
              <a:gd name="connsiteY1" fmla="*/ 4907526 h 55487432"/>
              <a:gd name="connsiteX0" fmla="*/ 1537626 w 1537626"/>
              <a:gd name="connsiteY0" fmla="*/ 59970249 h 59970249"/>
              <a:gd name="connsiteX1" fmla="*/ 0 w 1537626"/>
              <a:gd name="connsiteY1" fmla="*/ 9390343 h 59970249"/>
              <a:gd name="connsiteX0" fmla="*/ 1519547 w 1519547"/>
              <a:gd name="connsiteY0" fmla="*/ 14575481 h 88707902"/>
              <a:gd name="connsiteX1" fmla="*/ 0 w 1519547"/>
              <a:gd name="connsiteY1" fmla="*/ 88707903 h 88707902"/>
              <a:gd name="connsiteX0" fmla="*/ 2550044 w 2550044"/>
              <a:gd name="connsiteY0" fmla="*/ 14198555 h 92122905"/>
              <a:gd name="connsiteX1" fmla="*/ 0 w 2550044"/>
              <a:gd name="connsiteY1" fmla="*/ 92122906 h 92122905"/>
              <a:gd name="connsiteX0" fmla="*/ 2550044 w 2550044"/>
              <a:gd name="connsiteY0" fmla="*/ 0 h 77924350"/>
              <a:gd name="connsiteX1" fmla="*/ 0 w 2550044"/>
              <a:gd name="connsiteY1" fmla="*/ 77924351 h 77924350"/>
              <a:gd name="connsiteX0" fmla="*/ 2952278 w 2952278"/>
              <a:gd name="connsiteY0" fmla="*/ 0 h 77924350"/>
              <a:gd name="connsiteX1" fmla="*/ 402234 w 2952278"/>
              <a:gd name="connsiteY1" fmla="*/ 77924351 h 77924350"/>
              <a:gd name="connsiteX0" fmla="*/ 7702273 w 7702273"/>
              <a:gd name="connsiteY0" fmla="*/ 0 h 128231179"/>
              <a:gd name="connsiteX1" fmla="*/ 119220 w 7702273"/>
              <a:gd name="connsiteY1" fmla="*/ 128231179 h 128231179"/>
              <a:gd name="connsiteX0" fmla="*/ 7855790 w 7855790"/>
              <a:gd name="connsiteY0" fmla="*/ 343527 h 128574706"/>
              <a:gd name="connsiteX1" fmla="*/ 272737 w 7855790"/>
              <a:gd name="connsiteY1" fmla="*/ 128574706 h 128574706"/>
              <a:gd name="connsiteX0" fmla="*/ 7850686 w 7850686"/>
              <a:gd name="connsiteY0" fmla="*/ 13265398 h 141496577"/>
              <a:gd name="connsiteX1" fmla="*/ 267633 w 7850686"/>
              <a:gd name="connsiteY1" fmla="*/ 141496577 h 141496577"/>
              <a:gd name="connsiteX0" fmla="*/ 9134356 w 9134356"/>
              <a:gd name="connsiteY0" fmla="*/ 11065878 h 150906325"/>
              <a:gd name="connsiteX1" fmla="*/ 230585 w 9134356"/>
              <a:gd name="connsiteY1" fmla="*/ 150906325 h 150906325"/>
              <a:gd name="connsiteX0" fmla="*/ 8903771 w 8903771"/>
              <a:gd name="connsiteY0" fmla="*/ 10623830 h 150464277"/>
              <a:gd name="connsiteX1" fmla="*/ 0 w 8903771"/>
              <a:gd name="connsiteY1" fmla="*/ 150464277 h 150464277"/>
              <a:gd name="connsiteX0" fmla="*/ 8939948 w 8939948"/>
              <a:gd name="connsiteY0" fmla="*/ 21436715 h 117811895"/>
              <a:gd name="connsiteX1" fmla="*/ 0 w 8939948"/>
              <a:gd name="connsiteY1" fmla="*/ 117811895 h 117811895"/>
              <a:gd name="connsiteX0" fmla="*/ 8976125 w 8976125"/>
              <a:gd name="connsiteY0" fmla="*/ 18428372 h 123998125"/>
              <a:gd name="connsiteX1" fmla="*/ 0 w 8976125"/>
              <a:gd name="connsiteY1" fmla="*/ 123998125 h 123998125"/>
              <a:gd name="connsiteX0" fmla="*/ 8976125 w 8976125"/>
              <a:gd name="connsiteY0" fmla="*/ 28403792 h 133973545"/>
              <a:gd name="connsiteX1" fmla="*/ 0 w 8976125"/>
              <a:gd name="connsiteY1" fmla="*/ 133973545 h 133973545"/>
              <a:gd name="connsiteX0" fmla="*/ 8932712 w 8932712"/>
              <a:gd name="connsiteY0" fmla="*/ 96056365 h 96056365"/>
              <a:gd name="connsiteX1" fmla="*/ 0 w 8932712"/>
              <a:gd name="connsiteY1" fmla="*/ 73236449 h 96056365"/>
              <a:gd name="connsiteX0" fmla="*/ 8802474 w 8802474"/>
              <a:gd name="connsiteY0" fmla="*/ 115342722 h 115342722"/>
              <a:gd name="connsiteX1" fmla="*/ 0 w 8802474"/>
              <a:gd name="connsiteY1" fmla="*/ 66443655 h 115342722"/>
              <a:gd name="connsiteX0" fmla="*/ 8802474 w 8802474"/>
              <a:gd name="connsiteY0" fmla="*/ 112672939 h 112672939"/>
              <a:gd name="connsiteX1" fmla="*/ 0 w 8802474"/>
              <a:gd name="connsiteY1" fmla="*/ 63773872 h 112672939"/>
              <a:gd name="connsiteX0" fmla="*/ 8802474 w 8802474"/>
              <a:gd name="connsiteY0" fmla="*/ 121726138 h 121726138"/>
              <a:gd name="connsiteX1" fmla="*/ 0 w 8802474"/>
              <a:gd name="connsiteY1" fmla="*/ 72827071 h 121726138"/>
              <a:gd name="connsiteX0" fmla="*/ 8802474 w 8802474"/>
              <a:gd name="connsiteY0" fmla="*/ 121726138 h 121726138"/>
              <a:gd name="connsiteX1" fmla="*/ 0 w 8802474"/>
              <a:gd name="connsiteY1" fmla="*/ 72827071 h 121726138"/>
              <a:gd name="connsiteX0" fmla="*/ 8802474 w 8802474"/>
              <a:gd name="connsiteY0" fmla="*/ 94256941 h 94256941"/>
              <a:gd name="connsiteX1" fmla="*/ 0 w 8802474"/>
              <a:gd name="connsiteY1" fmla="*/ 45357874 h 94256941"/>
              <a:gd name="connsiteX0" fmla="*/ 8932712 w 8932712"/>
              <a:gd name="connsiteY0" fmla="*/ 114760377 h 114760377"/>
              <a:gd name="connsiteX1" fmla="*/ 0 w 8932712"/>
              <a:gd name="connsiteY1" fmla="*/ 37776070 h 114760377"/>
              <a:gd name="connsiteX0" fmla="*/ 2333984 w 2333984"/>
              <a:gd name="connsiteY0" fmla="*/ 205668045 h 205668045"/>
              <a:gd name="connsiteX1" fmla="*/ 0 w 2333984"/>
              <a:gd name="connsiteY1" fmla="*/ 22361043 h 205668045"/>
              <a:gd name="connsiteX0" fmla="*/ 2784963 w 2784963"/>
              <a:gd name="connsiteY0" fmla="*/ 183307002 h 183307002"/>
              <a:gd name="connsiteX1" fmla="*/ 450979 w 2784963"/>
              <a:gd name="connsiteY1" fmla="*/ 0 h 183307002"/>
              <a:gd name="connsiteX0" fmla="*/ 2629025 w 2629025"/>
              <a:gd name="connsiteY0" fmla="*/ 183307002 h 183307002"/>
              <a:gd name="connsiteX1" fmla="*/ 295041 w 2629025"/>
              <a:gd name="connsiteY1" fmla="*/ 0 h 183307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29025" h="183307002">
                <a:moveTo>
                  <a:pt x="2629025" y="183307002"/>
                </a:moveTo>
                <a:cubicBezTo>
                  <a:pt x="1927044" y="157011709"/>
                  <a:pt x="-911547" y="137350198"/>
                  <a:pt x="295041" y="0"/>
                </a:cubicBezTo>
              </a:path>
            </a:pathLst>
          </a:custGeom>
          <a:noFill/>
          <a:ln w="3175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 type="none"/>
            <a:tailEnd type="stealth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6" name="Freeform 230"/>
          <p:cNvSpPr/>
          <p:nvPr/>
        </p:nvSpPr>
        <p:spPr bwMode="auto">
          <a:xfrm flipH="1">
            <a:off x="7845327" y="1939044"/>
            <a:ext cx="592552" cy="273007"/>
          </a:xfrm>
          <a:custGeom>
            <a:avLst/>
            <a:gdLst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62795"/>
              <a:gd name="connsiteY0" fmla="*/ 200496 h 1208029"/>
              <a:gd name="connsiteX1" fmla="*/ 0 w 1562795"/>
              <a:gd name="connsiteY1" fmla="*/ 1208029 h 1208029"/>
              <a:gd name="connsiteX0" fmla="*/ 1507066 w 1561196"/>
              <a:gd name="connsiteY0" fmla="*/ 211896 h 1219429"/>
              <a:gd name="connsiteX1" fmla="*/ 0 w 1561196"/>
              <a:gd name="connsiteY1" fmla="*/ 1219429 h 1219429"/>
              <a:gd name="connsiteX0" fmla="*/ 1507066 w 1507066"/>
              <a:gd name="connsiteY0" fmla="*/ 12997611 h 14005144"/>
              <a:gd name="connsiteX1" fmla="*/ 0 w 1507066"/>
              <a:gd name="connsiteY1" fmla="*/ 14005144 h 14005144"/>
              <a:gd name="connsiteX0" fmla="*/ 1510821 w 1510821"/>
              <a:gd name="connsiteY0" fmla="*/ 15148014 h 16155547"/>
              <a:gd name="connsiteX1" fmla="*/ 3755 w 1510821"/>
              <a:gd name="connsiteY1" fmla="*/ 16155547 h 16155547"/>
              <a:gd name="connsiteX0" fmla="*/ 1532961 w 1532961"/>
              <a:gd name="connsiteY0" fmla="*/ 16595816 h 16595816"/>
              <a:gd name="connsiteX1" fmla="*/ 3692 w 1532961"/>
              <a:gd name="connsiteY1" fmla="*/ 13501469 h 16595816"/>
              <a:gd name="connsiteX0" fmla="*/ 1529269 w 1529269"/>
              <a:gd name="connsiteY0" fmla="*/ 16411399 h 16411399"/>
              <a:gd name="connsiteX1" fmla="*/ 0 w 1529269"/>
              <a:gd name="connsiteY1" fmla="*/ 13317052 h 16411399"/>
              <a:gd name="connsiteX0" fmla="*/ 1541604 w 1541604"/>
              <a:gd name="connsiteY0" fmla="*/ 16594676 h 16594676"/>
              <a:gd name="connsiteX1" fmla="*/ 0 w 1541604"/>
              <a:gd name="connsiteY1" fmla="*/ 13017755 h 16594676"/>
              <a:gd name="connsiteX0" fmla="*/ 1541604 w 1541604"/>
              <a:gd name="connsiteY0" fmla="*/ 17182124 h 17182124"/>
              <a:gd name="connsiteX1" fmla="*/ 0 w 1541604"/>
              <a:gd name="connsiteY1" fmla="*/ 13605203 h 17182124"/>
              <a:gd name="connsiteX0" fmla="*/ 1541604 w 1541604"/>
              <a:gd name="connsiteY0" fmla="*/ 27353535 h 27353535"/>
              <a:gd name="connsiteX1" fmla="*/ 0 w 1541604"/>
              <a:gd name="connsiteY1" fmla="*/ 5752415 h 27353535"/>
              <a:gd name="connsiteX0" fmla="*/ 1541604 w 1541604"/>
              <a:gd name="connsiteY0" fmla="*/ 44184592 h 44184592"/>
              <a:gd name="connsiteX1" fmla="*/ 0 w 1541604"/>
              <a:gd name="connsiteY1" fmla="*/ 22583472 h 44184592"/>
              <a:gd name="connsiteX0" fmla="*/ 1521685 w 1521685"/>
              <a:gd name="connsiteY0" fmla="*/ 37517972 h 37517972"/>
              <a:gd name="connsiteX1" fmla="*/ 0 w 1521685"/>
              <a:gd name="connsiteY1" fmla="*/ 34700634 h 37517972"/>
              <a:gd name="connsiteX0" fmla="*/ 1521685 w 1521685"/>
              <a:gd name="connsiteY0" fmla="*/ 42084358 h 42084358"/>
              <a:gd name="connsiteX1" fmla="*/ 0 w 1521685"/>
              <a:gd name="connsiteY1" fmla="*/ 39267020 h 42084358"/>
              <a:gd name="connsiteX0" fmla="*/ 1518365 w 1518365"/>
              <a:gd name="connsiteY0" fmla="*/ 35895732 h 52735838"/>
              <a:gd name="connsiteX1" fmla="*/ 0 w 1518365"/>
              <a:gd name="connsiteY1" fmla="*/ 52735838 h 52735838"/>
              <a:gd name="connsiteX0" fmla="*/ 1518365 w 1518365"/>
              <a:gd name="connsiteY0" fmla="*/ 22514052 h 39354158"/>
              <a:gd name="connsiteX1" fmla="*/ 0 w 1518365"/>
              <a:gd name="connsiteY1" fmla="*/ 39354158 h 39354158"/>
              <a:gd name="connsiteX0" fmla="*/ 1518365 w 1518365"/>
              <a:gd name="connsiteY0" fmla="*/ 21602552 h 38442658"/>
              <a:gd name="connsiteX1" fmla="*/ 0 w 1518365"/>
              <a:gd name="connsiteY1" fmla="*/ 38442658 h 38442658"/>
              <a:gd name="connsiteX0" fmla="*/ 1514509 w 1514509"/>
              <a:gd name="connsiteY0" fmla="*/ 15772970 h 62115246"/>
              <a:gd name="connsiteX1" fmla="*/ 0 w 1514509"/>
              <a:gd name="connsiteY1" fmla="*/ 62115246 h 62115246"/>
              <a:gd name="connsiteX0" fmla="*/ 1514509 w 1514509"/>
              <a:gd name="connsiteY0" fmla="*/ 804046 h 47146322"/>
              <a:gd name="connsiteX1" fmla="*/ 0 w 1514509"/>
              <a:gd name="connsiteY1" fmla="*/ 47146322 h 47146322"/>
              <a:gd name="connsiteX0" fmla="*/ 1537626 w 1537626"/>
              <a:gd name="connsiteY0" fmla="*/ 55487432 h 55487432"/>
              <a:gd name="connsiteX1" fmla="*/ 0 w 1537626"/>
              <a:gd name="connsiteY1" fmla="*/ 4907526 h 55487432"/>
              <a:gd name="connsiteX0" fmla="*/ 1537626 w 1537626"/>
              <a:gd name="connsiteY0" fmla="*/ 59970249 h 59970249"/>
              <a:gd name="connsiteX1" fmla="*/ 0 w 1537626"/>
              <a:gd name="connsiteY1" fmla="*/ 9390343 h 59970249"/>
              <a:gd name="connsiteX0" fmla="*/ 1519547 w 1519547"/>
              <a:gd name="connsiteY0" fmla="*/ 14575481 h 88707902"/>
              <a:gd name="connsiteX1" fmla="*/ 0 w 1519547"/>
              <a:gd name="connsiteY1" fmla="*/ 88707903 h 88707902"/>
              <a:gd name="connsiteX0" fmla="*/ 2550044 w 2550044"/>
              <a:gd name="connsiteY0" fmla="*/ 14198555 h 92122905"/>
              <a:gd name="connsiteX1" fmla="*/ 0 w 2550044"/>
              <a:gd name="connsiteY1" fmla="*/ 92122906 h 92122905"/>
              <a:gd name="connsiteX0" fmla="*/ 2550044 w 2550044"/>
              <a:gd name="connsiteY0" fmla="*/ 0 h 77924350"/>
              <a:gd name="connsiteX1" fmla="*/ 0 w 2550044"/>
              <a:gd name="connsiteY1" fmla="*/ 77924351 h 77924350"/>
              <a:gd name="connsiteX0" fmla="*/ 2952278 w 2952278"/>
              <a:gd name="connsiteY0" fmla="*/ 0 h 77924350"/>
              <a:gd name="connsiteX1" fmla="*/ 402234 w 2952278"/>
              <a:gd name="connsiteY1" fmla="*/ 77924351 h 77924350"/>
              <a:gd name="connsiteX0" fmla="*/ 7702273 w 7702273"/>
              <a:gd name="connsiteY0" fmla="*/ 0 h 128231179"/>
              <a:gd name="connsiteX1" fmla="*/ 119220 w 7702273"/>
              <a:gd name="connsiteY1" fmla="*/ 128231179 h 128231179"/>
              <a:gd name="connsiteX0" fmla="*/ 7855790 w 7855790"/>
              <a:gd name="connsiteY0" fmla="*/ 343527 h 128574706"/>
              <a:gd name="connsiteX1" fmla="*/ 272737 w 7855790"/>
              <a:gd name="connsiteY1" fmla="*/ 128574706 h 128574706"/>
              <a:gd name="connsiteX0" fmla="*/ 7850686 w 7850686"/>
              <a:gd name="connsiteY0" fmla="*/ 13265398 h 141496577"/>
              <a:gd name="connsiteX1" fmla="*/ 267633 w 7850686"/>
              <a:gd name="connsiteY1" fmla="*/ 141496577 h 141496577"/>
              <a:gd name="connsiteX0" fmla="*/ 9134356 w 9134356"/>
              <a:gd name="connsiteY0" fmla="*/ 11065878 h 150906325"/>
              <a:gd name="connsiteX1" fmla="*/ 230585 w 9134356"/>
              <a:gd name="connsiteY1" fmla="*/ 150906325 h 150906325"/>
              <a:gd name="connsiteX0" fmla="*/ 8903771 w 8903771"/>
              <a:gd name="connsiteY0" fmla="*/ 10623830 h 150464277"/>
              <a:gd name="connsiteX1" fmla="*/ 0 w 8903771"/>
              <a:gd name="connsiteY1" fmla="*/ 150464277 h 150464277"/>
              <a:gd name="connsiteX0" fmla="*/ 8939948 w 8939948"/>
              <a:gd name="connsiteY0" fmla="*/ 21436715 h 117811895"/>
              <a:gd name="connsiteX1" fmla="*/ 0 w 8939948"/>
              <a:gd name="connsiteY1" fmla="*/ 117811895 h 117811895"/>
              <a:gd name="connsiteX0" fmla="*/ 8976125 w 8976125"/>
              <a:gd name="connsiteY0" fmla="*/ 18428372 h 123998125"/>
              <a:gd name="connsiteX1" fmla="*/ 0 w 8976125"/>
              <a:gd name="connsiteY1" fmla="*/ 123998125 h 123998125"/>
              <a:gd name="connsiteX0" fmla="*/ 8976125 w 8976125"/>
              <a:gd name="connsiteY0" fmla="*/ 28403792 h 133973545"/>
              <a:gd name="connsiteX1" fmla="*/ 0 w 8976125"/>
              <a:gd name="connsiteY1" fmla="*/ 133973545 h 133973545"/>
              <a:gd name="connsiteX0" fmla="*/ 8932712 w 8932712"/>
              <a:gd name="connsiteY0" fmla="*/ 96056365 h 96056365"/>
              <a:gd name="connsiteX1" fmla="*/ 0 w 8932712"/>
              <a:gd name="connsiteY1" fmla="*/ 73236449 h 96056365"/>
              <a:gd name="connsiteX0" fmla="*/ 8802474 w 8802474"/>
              <a:gd name="connsiteY0" fmla="*/ 115342722 h 115342722"/>
              <a:gd name="connsiteX1" fmla="*/ 0 w 8802474"/>
              <a:gd name="connsiteY1" fmla="*/ 66443655 h 115342722"/>
              <a:gd name="connsiteX0" fmla="*/ 8802474 w 8802474"/>
              <a:gd name="connsiteY0" fmla="*/ 112672939 h 112672939"/>
              <a:gd name="connsiteX1" fmla="*/ 0 w 8802474"/>
              <a:gd name="connsiteY1" fmla="*/ 63773872 h 112672939"/>
              <a:gd name="connsiteX0" fmla="*/ 8802474 w 8802474"/>
              <a:gd name="connsiteY0" fmla="*/ 121726138 h 121726138"/>
              <a:gd name="connsiteX1" fmla="*/ 0 w 8802474"/>
              <a:gd name="connsiteY1" fmla="*/ 72827071 h 121726138"/>
              <a:gd name="connsiteX0" fmla="*/ 8802474 w 8802474"/>
              <a:gd name="connsiteY0" fmla="*/ 121726138 h 121726138"/>
              <a:gd name="connsiteX1" fmla="*/ 0 w 8802474"/>
              <a:gd name="connsiteY1" fmla="*/ 72827071 h 121726138"/>
              <a:gd name="connsiteX0" fmla="*/ 8802474 w 8802474"/>
              <a:gd name="connsiteY0" fmla="*/ 94256941 h 94256941"/>
              <a:gd name="connsiteX1" fmla="*/ 0 w 8802474"/>
              <a:gd name="connsiteY1" fmla="*/ 45357874 h 94256941"/>
              <a:gd name="connsiteX0" fmla="*/ 8932712 w 8932712"/>
              <a:gd name="connsiteY0" fmla="*/ 114760377 h 114760377"/>
              <a:gd name="connsiteX1" fmla="*/ 0 w 8932712"/>
              <a:gd name="connsiteY1" fmla="*/ 37776070 h 114760377"/>
              <a:gd name="connsiteX0" fmla="*/ 2333984 w 2333984"/>
              <a:gd name="connsiteY0" fmla="*/ 205668045 h 205668045"/>
              <a:gd name="connsiteX1" fmla="*/ 0 w 2333984"/>
              <a:gd name="connsiteY1" fmla="*/ 22361043 h 205668045"/>
              <a:gd name="connsiteX0" fmla="*/ 2784963 w 2784963"/>
              <a:gd name="connsiteY0" fmla="*/ 183307002 h 183307002"/>
              <a:gd name="connsiteX1" fmla="*/ 450979 w 2784963"/>
              <a:gd name="connsiteY1" fmla="*/ 0 h 183307002"/>
              <a:gd name="connsiteX0" fmla="*/ 2629025 w 2629025"/>
              <a:gd name="connsiteY0" fmla="*/ 183307002 h 183307002"/>
              <a:gd name="connsiteX1" fmla="*/ 295041 w 2629025"/>
              <a:gd name="connsiteY1" fmla="*/ 0 h 183307002"/>
              <a:gd name="connsiteX0" fmla="*/ 2429965 w 2429965"/>
              <a:gd name="connsiteY0" fmla="*/ 189325268 h 189325268"/>
              <a:gd name="connsiteX1" fmla="*/ 313044 w 2429965"/>
              <a:gd name="connsiteY1" fmla="*/ 0 h 189325268"/>
              <a:gd name="connsiteX0" fmla="*/ 3606808 w 3606808"/>
              <a:gd name="connsiteY0" fmla="*/ 58929510 h 72600662"/>
              <a:gd name="connsiteX1" fmla="*/ 230919 w 3606808"/>
              <a:gd name="connsiteY1" fmla="*/ 0 h 72600662"/>
              <a:gd name="connsiteX0" fmla="*/ 3375889 w 3375889"/>
              <a:gd name="connsiteY0" fmla="*/ 58929510 h 64186410"/>
              <a:gd name="connsiteX1" fmla="*/ 0 w 3375889"/>
              <a:gd name="connsiteY1" fmla="*/ 0 h 64186410"/>
              <a:gd name="connsiteX0" fmla="*/ 3375889 w 3375889"/>
              <a:gd name="connsiteY0" fmla="*/ 58929510 h 71873520"/>
              <a:gd name="connsiteX1" fmla="*/ 0 w 3375889"/>
              <a:gd name="connsiteY1" fmla="*/ 0 h 7187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75889" h="71873520">
                <a:moveTo>
                  <a:pt x="3375889" y="58929510"/>
                </a:moveTo>
                <a:cubicBezTo>
                  <a:pt x="3021210" y="54701191"/>
                  <a:pt x="1745475" y="117289313"/>
                  <a:pt x="0" y="0"/>
                </a:cubicBezTo>
              </a:path>
            </a:pathLst>
          </a:custGeom>
          <a:noFill/>
          <a:ln w="3175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 type="none"/>
            <a:tailEnd type="stealth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sp>
        <p:nvSpPr>
          <p:cNvPr id="39" name="Freeform 230"/>
          <p:cNvSpPr/>
          <p:nvPr/>
        </p:nvSpPr>
        <p:spPr bwMode="auto">
          <a:xfrm flipH="1">
            <a:off x="8283406" y="1954796"/>
            <a:ext cx="856542" cy="1420180"/>
          </a:xfrm>
          <a:custGeom>
            <a:avLst/>
            <a:gdLst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07066"/>
              <a:gd name="connsiteY0" fmla="*/ 0 h 1007533"/>
              <a:gd name="connsiteX1" fmla="*/ 0 w 1507066"/>
              <a:gd name="connsiteY1" fmla="*/ 1007533 h 1007533"/>
              <a:gd name="connsiteX0" fmla="*/ 1507066 w 1562795"/>
              <a:gd name="connsiteY0" fmla="*/ 200496 h 1208029"/>
              <a:gd name="connsiteX1" fmla="*/ 0 w 1562795"/>
              <a:gd name="connsiteY1" fmla="*/ 1208029 h 1208029"/>
              <a:gd name="connsiteX0" fmla="*/ 1507066 w 1561196"/>
              <a:gd name="connsiteY0" fmla="*/ 211896 h 1219429"/>
              <a:gd name="connsiteX1" fmla="*/ 0 w 1561196"/>
              <a:gd name="connsiteY1" fmla="*/ 1219429 h 1219429"/>
              <a:gd name="connsiteX0" fmla="*/ 1507066 w 1507066"/>
              <a:gd name="connsiteY0" fmla="*/ 12997611 h 14005144"/>
              <a:gd name="connsiteX1" fmla="*/ 0 w 1507066"/>
              <a:gd name="connsiteY1" fmla="*/ 14005144 h 14005144"/>
              <a:gd name="connsiteX0" fmla="*/ 1510821 w 1510821"/>
              <a:gd name="connsiteY0" fmla="*/ 15148014 h 16155547"/>
              <a:gd name="connsiteX1" fmla="*/ 3755 w 1510821"/>
              <a:gd name="connsiteY1" fmla="*/ 16155547 h 16155547"/>
              <a:gd name="connsiteX0" fmla="*/ 1532961 w 1532961"/>
              <a:gd name="connsiteY0" fmla="*/ 16595816 h 16595816"/>
              <a:gd name="connsiteX1" fmla="*/ 3692 w 1532961"/>
              <a:gd name="connsiteY1" fmla="*/ 13501469 h 16595816"/>
              <a:gd name="connsiteX0" fmla="*/ 1529269 w 1529269"/>
              <a:gd name="connsiteY0" fmla="*/ 16411399 h 16411399"/>
              <a:gd name="connsiteX1" fmla="*/ 0 w 1529269"/>
              <a:gd name="connsiteY1" fmla="*/ 13317052 h 16411399"/>
              <a:gd name="connsiteX0" fmla="*/ 1541604 w 1541604"/>
              <a:gd name="connsiteY0" fmla="*/ 16594676 h 16594676"/>
              <a:gd name="connsiteX1" fmla="*/ 0 w 1541604"/>
              <a:gd name="connsiteY1" fmla="*/ 13017755 h 16594676"/>
              <a:gd name="connsiteX0" fmla="*/ 1541604 w 1541604"/>
              <a:gd name="connsiteY0" fmla="*/ 17182124 h 17182124"/>
              <a:gd name="connsiteX1" fmla="*/ 0 w 1541604"/>
              <a:gd name="connsiteY1" fmla="*/ 13605203 h 17182124"/>
              <a:gd name="connsiteX0" fmla="*/ 1541604 w 1541604"/>
              <a:gd name="connsiteY0" fmla="*/ 27353535 h 27353535"/>
              <a:gd name="connsiteX1" fmla="*/ 0 w 1541604"/>
              <a:gd name="connsiteY1" fmla="*/ 5752415 h 27353535"/>
              <a:gd name="connsiteX0" fmla="*/ 1541604 w 1541604"/>
              <a:gd name="connsiteY0" fmla="*/ 44184592 h 44184592"/>
              <a:gd name="connsiteX1" fmla="*/ 0 w 1541604"/>
              <a:gd name="connsiteY1" fmla="*/ 22583472 h 44184592"/>
              <a:gd name="connsiteX0" fmla="*/ 1521685 w 1521685"/>
              <a:gd name="connsiteY0" fmla="*/ 37517972 h 37517972"/>
              <a:gd name="connsiteX1" fmla="*/ 0 w 1521685"/>
              <a:gd name="connsiteY1" fmla="*/ 34700634 h 37517972"/>
              <a:gd name="connsiteX0" fmla="*/ 1521685 w 1521685"/>
              <a:gd name="connsiteY0" fmla="*/ 42084358 h 42084358"/>
              <a:gd name="connsiteX1" fmla="*/ 0 w 1521685"/>
              <a:gd name="connsiteY1" fmla="*/ 39267020 h 42084358"/>
              <a:gd name="connsiteX0" fmla="*/ 1518365 w 1518365"/>
              <a:gd name="connsiteY0" fmla="*/ 35895732 h 52735838"/>
              <a:gd name="connsiteX1" fmla="*/ 0 w 1518365"/>
              <a:gd name="connsiteY1" fmla="*/ 52735838 h 52735838"/>
              <a:gd name="connsiteX0" fmla="*/ 1518365 w 1518365"/>
              <a:gd name="connsiteY0" fmla="*/ 22514052 h 39354158"/>
              <a:gd name="connsiteX1" fmla="*/ 0 w 1518365"/>
              <a:gd name="connsiteY1" fmla="*/ 39354158 h 39354158"/>
              <a:gd name="connsiteX0" fmla="*/ 1518365 w 1518365"/>
              <a:gd name="connsiteY0" fmla="*/ 21602552 h 38442658"/>
              <a:gd name="connsiteX1" fmla="*/ 0 w 1518365"/>
              <a:gd name="connsiteY1" fmla="*/ 38442658 h 38442658"/>
              <a:gd name="connsiteX0" fmla="*/ 1514509 w 1514509"/>
              <a:gd name="connsiteY0" fmla="*/ 15772970 h 62115246"/>
              <a:gd name="connsiteX1" fmla="*/ 0 w 1514509"/>
              <a:gd name="connsiteY1" fmla="*/ 62115246 h 62115246"/>
              <a:gd name="connsiteX0" fmla="*/ 1514509 w 1514509"/>
              <a:gd name="connsiteY0" fmla="*/ 804046 h 47146322"/>
              <a:gd name="connsiteX1" fmla="*/ 0 w 1514509"/>
              <a:gd name="connsiteY1" fmla="*/ 47146322 h 47146322"/>
              <a:gd name="connsiteX0" fmla="*/ 1537626 w 1537626"/>
              <a:gd name="connsiteY0" fmla="*/ 55487432 h 55487432"/>
              <a:gd name="connsiteX1" fmla="*/ 0 w 1537626"/>
              <a:gd name="connsiteY1" fmla="*/ 4907526 h 55487432"/>
              <a:gd name="connsiteX0" fmla="*/ 1537626 w 1537626"/>
              <a:gd name="connsiteY0" fmla="*/ 59970249 h 59970249"/>
              <a:gd name="connsiteX1" fmla="*/ 0 w 1537626"/>
              <a:gd name="connsiteY1" fmla="*/ 9390343 h 59970249"/>
              <a:gd name="connsiteX0" fmla="*/ 1519547 w 1519547"/>
              <a:gd name="connsiteY0" fmla="*/ 14575481 h 88707902"/>
              <a:gd name="connsiteX1" fmla="*/ 0 w 1519547"/>
              <a:gd name="connsiteY1" fmla="*/ 88707903 h 88707902"/>
              <a:gd name="connsiteX0" fmla="*/ 2550044 w 2550044"/>
              <a:gd name="connsiteY0" fmla="*/ 14198555 h 92122905"/>
              <a:gd name="connsiteX1" fmla="*/ 0 w 2550044"/>
              <a:gd name="connsiteY1" fmla="*/ 92122906 h 92122905"/>
              <a:gd name="connsiteX0" fmla="*/ 2550044 w 2550044"/>
              <a:gd name="connsiteY0" fmla="*/ 0 h 77924350"/>
              <a:gd name="connsiteX1" fmla="*/ 0 w 2550044"/>
              <a:gd name="connsiteY1" fmla="*/ 77924351 h 77924350"/>
              <a:gd name="connsiteX0" fmla="*/ 2952278 w 2952278"/>
              <a:gd name="connsiteY0" fmla="*/ 0 h 77924350"/>
              <a:gd name="connsiteX1" fmla="*/ 402234 w 2952278"/>
              <a:gd name="connsiteY1" fmla="*/ 77924351 h 77924350"/>
              <a:gd name="connsiteX0" fmla="*/ 7702273 w 7702273"/>
              <a:gd name="connsiteY0" fmla="*/ 0 h 128231179"/>
              <a:gd name="connsiteX1" fmla="*/ 119220 w 7702273"/>
              <a:gd name="connsiteY1" fmla="*/ 128231179 h 128231179"/>
              <a:gd name="connsiteX0" fmla="*/ 7855790 w 7855790"/>
              <a:gd name="connsiteY0" fmla="*/ 343527 h 128574706"/>
              <a:gd name="connsiteX1" fmla="*/ 272737 w 7855790"/>
              <a:gd name="connsiteY1" fmla="*/ 128574706 h 128574706"/>
              <a:gd name="connsiteX0" fmla="*/ 7850686 w 7850686"/>
              <a:gd name="connsiteY0" fmla="*/ 13265398 h 141496577"/>
              <a:gd name="connsiteX1" fmla="*/ 267633 w 7850686"/>
              <a:gd name="connsiteY1" fmla="*/ 141496577 h 141496577"/>
              <a:gd name="connsiteX0" fmla="*/ 9134356 w 9134356"/>
              <a:gd name="connsiteY0" fmla="*/ 11065878 h 150906325"/>
              <a:gd name="connsiteX1" fmla="*/ 230585 w 9134356"/>
              <a:gd name="connsiteY1" fmla="*/ 150906325 h 150906325"/>
              <a:gd name="connsiteX0" fmla="*/ 8903771 w 8903771"/>
              <a:gd name="connsiteY0" fmla="*/ 10623830 h 150464277"/>
              <a:gd name="connsiteX1" fmla="*/ 0 w 8903771"/>
              <a:gd name="connsiteY1" fmla="*/ 150464277 h 150464277"/>
              <a:gd name="connsiteX0" fmla="*/ 8939948 w 8939948"/>
              <a:gd name="connsiteY0" fmla="*/ 21436715 h 117811895"/>
              <a:gd name="connsiteX1" fmla="*/ 0 w 8939948"/>
              <a:gd name="connsiteY1" fmla="*/ 117811895 h 117811895"/>
              <a:gd name="connsiteX0" fmla="*/ 8976125 w 8976125"/>
              <a:gd name="connsiteY0" fmla="*/ 18428372 h 123998125"/>
              <a:gd name="connsiteX1" fmla="*/ 0 w 8976125"/>
              <a:gd name="connsiteY1" fmla="*/ 123998125 h 123998125"/>
              <a:gd name="connsiteX0" fmla="*/ 8976125 w 8976125"/>
              <a:gd name="connsiteY0" fmla="*/ 28403792 h 133973545"/>
              <a:gd name="connsiteX1" fmla="*/ 0 w 8976125"/>
              <a:gd name="connsiteY1" fmla="*/ 133973545 h 133973545"/>
              <a:gd name="connsiteX0" fmla="*/ 8932712 w 8932712"/>
              <a:gd name="connsiteY0" fmla="*/ 96056365 h 96056365"/>
              <a:gd name="connsiteX1" fmla="*/ 0 w 8932712"/>
              <a:gd name="connsiteY1" fmla="*/ 73236449 h 96056365"/>
              <a:gd name="connsiteX0" fmla="*/ 8802474 w 8802474"/>
              <a:gd name="connsiteY0" fmla="*/ 115342722 h 115342722"/>
              <a:gd name="connsiteX1" fmla="*/ 0 w 8802474"/>
              <a:gd name="connsiteY1" fmla="*/ 66443655 h 115342722"/>
              <a:gd name="connsiteX0" fmla="*/ 8802474 w 8802474"/>
              <a:gd name="connsiteY0" fmla="*/ 112672939 h 112672939"/>
              <a:gd name="connsiteX1" fmla="*/ 0 w 8802474"/>
              <a:gd name="connsiteY1" fmla="*/ 63773872 h 112672939"/>
              <a:gd name="connsiteX0" fmla="*/ 8802474 w 8802474"/>
              <a:gd name="connsiteY0" fmla="*/ 121726138 h 121726138"/>
              <a:gd name="connsiteX1" fmla="*/ 0 w 8802474"/>
              <a:gd name="connsiteY1" fmla="*/ 72827071 h 121726138"/>
              <a:gd name="connsiteX0" fmla="*/ 8802474 w 8802474"/>
              <a:gd name="connsiteY0" fmla="*/ 121726138 h 121726138"/>
              <a:gd name="connsiteX1" fmla="*/ 0 w 8802474"/>
              <a:gd name="connsiteY1" fmla="*/ 72827071 h 121726138"/>
              <a:gd name="connsiteX0" fmla="*/ 8802474 w 8802474"/>
              <a:gd name="connsiteY0" fmla="*/ 94256941 h 94256941"/>
              <a:gd name="connsiteX1" fmla="*/ 0 w 8802474"/>
              <a:gd name="connsiteY1" fmla="*/ 45357874 h 94256941"/>
              <a:gd name="connsiteX0" fmla="*/ 8932712 w 8932712"/>
              <a:gd name="connsiteY0" fmla="*/ 114760377 h 114760377"/>
              <a:gd name="connsiteX1" fmla="*/ 0 w 8932712"/>
              <a:gd name="connsiteY1" fmla="*/ 37776070 h 114760377"/>
              <a:gd name="connsiteX0" fmla="*/ 2333984 w 2333984"/>
              <a:gd name="connsiteY0" fmla="*/ 205668045 h 205668045"/>
              <a:gd name="connsiteX1" fmla="*/ 0 w 2333984"/>
              <a:gd name="connsiteY1" fmla="*/ 22361043 h 205668045"/>
              <a:gd name="connsiteX0" fmla="*/ 2784963 w 2784963"/>
              <a:gd name="connsiteY0" fmla="*/ 183307002 h 183307002"/>
              <a:gd name="connsiteX1" fmla="*/ 450979 w 2784963"/>
              <a:gd name="connsiteY1" fmla="*/ 0 h 183307002"/>
              <a:gd name="connsiteX0" fmla="*/ 2629025 w 2629025"/>
              <a:gd name="connsiteY0" fmla="*/ 183307002 h 183307002"/>
              <a:gd name="connsiteX1" fmla="*/ 295041 w 2629025"/>
              <a:gd name="connsiteY1" fmla="*/ 0 h 183307002"/>
              <a:gd name="connsiteX0" fmla="*/ 1848320 w 1848320"/>
              <a:gd name="connsiteY0" fmla="*/ 373885417 h 373885417"/>
              <a:gd name="connsiteX1" fmla="*/ 382590 w 1848320"/>
              <a:gd name="connsiteY1" fmla="*/ 0 h 373885417"/>
              <a:gd name="connsiteX0" fmla="*/ 5437585 w 5437585"/>
              <a:gd name="connsiteY0" fmla="*/ 373885417 h 373885417"/>
              <a:gd name="connsiteX1" fmla="*/ 3971855 w 5437585"/>
              <a:gd name="connsiteY1" fmla="*/ 0 h 373885417"/>
              <a:gd name="connsiteX0" fmla="*/ 4879892 w 4879892"/>
              <a:gd name="connsiteY0" fmla="*/ 373885417 h 373885417"/>
              <a:gd name="connsiteX1" fmla="*/ 3414162 w 4879892"/>
              <a:gd name="connsiteY1" fmla="*/ 0 h 373885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879892" h="373885417">
                <a:moveTo>
                  <a:pt x="4879892" y="373885417"/>
                </a:moveTo>
                <a:cubicBezTo>
                  <a:pt x="4177911" y="347590124"/>
                  <a:pt x="-4738453" y="173459792"/>
                  <a:pt x="3414162" y="0"/>
                </a:cubicBezTo>
              </a:path>
            </a:pathLst>
          </a:custGeom>
          <a:noFill/>
          <a:ln w="3175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 type="none"/>
            <a:tailEnd type="stealth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>
              <a:latin typeface="나눔바른고딕" panose="020B0603020101020101" pitchFamily="50" charset="-127"/>
              <a:ea typeface="나눔바른고딕" panose="020B0603020101020101" pitchFamily="50" charset="-127"/>
            </a:endParaRPr>
          </a:p>
        </p:txBody>
      </p:sp>
      <p:pic>
        <p:nvPicPr>
          <p:cNvPr id="40" name="Picture 2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6143" y="1723620"/>
            <a:ext cx="360444" cy="234289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1" name="직사각형 40"/>
          <p:cNvSpPr/>
          <p:nvPr/>
        </p:nvSpPr>
        <p:spPr>
          <a:xfrm>
            <a:off x="8841413" y="1653793"/>
            <a:ext cx="7177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atinLnBrk="0"/>
            <a:r>
              <a:rPr lang="en-US" altLang="ko-KR" sz="900" b="1" dirty="0" smtClean="0">
                <a:latin typeface="맑은 고딕" pitchFamily="50" charset="-127"/>
              </a:rPr>
              <a:t>Republic of KOREA</a:t>
            </a:r>
            <a:endParaRPr lang="en-US" altLang="ko-KR" sz="900" b="1" dirty="0">
              <a:latin typeface="맑은 고딕" pitchFamily="50" charset="-127"/>
            </a:endParaRPr>
          </a:p>
        </p:txBody>
      </p:sp>
      <p:sp>
        <p:nvSpPr>
          <p:cNvPr id="42" name="직사각형 41"/>
          <p:cNvSpPr/>
          <p:nvPr/>
        </p:nvSpPr>
        <p:spPr bwMode="auto">
          <a:xfrm>
            <a:off x="344487" y="5680377"/>
            <a:ext cx="9217025" cy="6432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lIns="1656000" tIns="72000" rIns="0" bIns="0" rtlCol="0" anchor="ctr" anchorCtr="0"/>
          <a:lstStyle/>
          <a:p>
            <a:pPr defTabSz="914397" fontAlgn="ctr" latinLnBrk="0">
              <a:lnSpc>
                <a:spcPts val="1000"/>
              </a:lnSpc>
              <a:defRPr/>
            </a:pPr>
            <a:r>
              <a:rPr lang="en-US" altLang="ko-KR" b="1" cap="small" dirty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	</a:t>
            </a:r>
            <a:r>
              <a:rPr lang="en-US" altLang="ko-KR" sz="1900" b="1" cap="small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USD 13 </a:t>
            </a:r>
            <a:r>
              <a:rPr lang="en-US" altLang="ko-KR" sz="1900" b="1" cap="small" dirty="0" err="1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bil</a:t>
            </a:r>
            <a:r>
              <a:rPr lang="en-US" altLang="ko-KR" sz="1900" b="1" cap="small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 in profit (Equivalent USD 250 </a:t>
            </a:r>
            <a:r>
              <a:rPr lang="en-US" altLang="ko-KR" sz="1900" b="1" cap="small" dirty="0" err="1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Bil</a:t>
            </a:r>
            <a:r>
              <a:rPr lang="en-US" altLang="ko-KR" sz="1900" b="1" cap="small" dirty="0" smtClean="0">
                <a:solidFill>
                  <a:schemeClr val="tx2">
                    <a:lumMod val="50000"/>
                  </a:schemeClr>
                </a:solidFill>
                <a:latin typeface="+mn-ea"/>
                <a:ea typeface=""/>
                <a:cs typeface=""/>
              </a:rPr>
              <a:t> in Revenue)</a:t>
            </a:r>
            <a:endParaRPr lang="en-US" altLang="ko-KR" sz="1900" b="1" cap="small" dirty="0">
              <a:solidFill>
                <a:schemeClr val="tx2">
                  <a:lumMod val="50000"/>
                </a:schemeClr>
              </a:solidFill>
              <a:latin typeface="+mn-ea"/>
              <a:ea typeface=""/>
              <a:cs typeface=""/>
            </a:endParaRPr>
          </a:p>
        </p:txBody>
      </p:sp>
      <p:sp>
        <p:nvSpPr>
          <p:cNvPr id="43" name="모서리가 둥근 직사각형 42"/>
          <p:cNvSpPr/>
          <p:nvPr/>
        </p:nvSpPr>
        <p:spPr bwMode="auto">
          <a:xfrm>
            <a:off x="438027" y="5769819"/>
            <a:ext cx="2066633" cy="474126"/>
          </a:xfrm>
          <a:prstGeom prst="roundRect">
            <a:avLst>
              <a:gd name="adj" fmla="val 12225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  <a:headEnd/>
            <a:tailEnd/>
          </a:ln>
          <a:effectLst/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</a:pPr>
            <a:r>
              <a:rPr lang="en-US" altLang="ko-KR" sz="16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Economic Potential</a:t>
            </a:r>
          </a:p>
        </p:txBody>
      </p:sp>
      <p:graphicFrame>
        <p:nvGraphicFramePr>
          <p:cNvPr id="48" name="표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0286228"/>
              </p:ext>
            </p:extLst>
          </p:nvPr>
        </p:nvGraphicFramePr>
        <p:xfrm>
          <a:off x="5470648" y="3862609"/>
          <a:ext cx="4032249" cy="1582671"/>
        </p:xfrm>
        <a:graphic>
          <a:graphicData uri="http://schemas.openxmlformats.org/drawingml/2006/table">
            <a:tbl>
              <a:tblPr firstRow="1" firstCol="1" bandRow="1"/>
              <a:tblGrid>
                <a:gridCol w="1210592"/>
                <a:gridCol w="1368190"/>
                <a:gridCol w="1453467"/>
              </a:tblGrid>
              <a:tr h="71436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900" b="1" kern="100" dirty="0" smtClean="0"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A</a:t>
                      </a:r>
                      <a:r>
                        <a:rPr lang="en-US" altLang="ko-KR" sz="900" b="1" kern="100" baseline="0" dirty="0" smtClean="0"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 </a:t>
                      </a:r>
                      <a:r>
                        <a:rPr lang="en-US" altLang="ko-KR" sz="900" b="1" kern="100" dirty="0" smtClean="0"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Korean</a:t>
                      </a:r>
                      <a:r>
                        <a:rPr lang="en-US" altLang="ko-KR" sz="900" b="1" kern="100" baseline="0" dirty="0" smtClean="0"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 Construction Company’s Overseas Contract</a:t>
                      </a:r>
                      <a:endParaRPr lang="ko-KR" sz="900" b="1" kern="100" dirty="0"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000" b="1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Hyundai Motor</a:t>
                      </a:r>
                    </a:p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(Operating profit</a:t>
                      </a:r>
                      <a:r>
                        <a:rPr lang="ko-KR" altLang="en-US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</a:t>
                      </a:r>
                      <a:r>
                        <a:rPr lang="en-US" altLang="ko-KR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5.55%)</a:t>
                      </a:r>
                      <a:endParaRPr lang="ko-KR" sz="900" b="0" kern="100" dirty="0"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6E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000" b="1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Samsung</a:t>
                      </a:r>
                    </a:p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(Operating profit</a:t>
                      </a:r>
                      <a:r>
                        <a:rPr lang="ko-KR" altLang="en-US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</a:t>
                      </a:r>
                      <a:r>
                        <a:rPr lang="en-US" altLang="ko-KR" sz="9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14.49%)</a:t>
                      </a:r>
                      <a:endParaRPr lang="ko-KR" altLang="ko-KR" sz="900" b="0" kern="100" dirty="0">
                        <a:effectLst/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6E5"/>
                    </a:solidFill>
                  </a:tcPr>
                </a:tc>
              </a:tr>
              <a:tr h="86831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1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10 year’s Sales</a:t>
                      </a:r>
                    </a:p>
                  </a:txBody>
                  <a:tcPr marL="72000" marR="72000" marT="36000" marB="36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1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LF SONATA </a:t>
                      </a:r>
                      <a:endParaRPr lang="en-US" altLang="ko-KR" sz="1100" b="1" u="none" kern="100" dirty="0" smtClean="0">
                        <a:solidFill>
                          <a:srgbClr val="C00000"/>
                        </a:solidFill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1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9.5 million</a:t>
                      </a:r>
                      <a:r>
                        <a:rPr lang="en-US" altLang="ko-KR" sz="1100" b="1" u="sng" kern="100" baseline="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 EA</a:t>
                      </a:r>
                      <a:endParaRPr lang="en-US" altLang="ko-KR" sz="1100" b="0" u="none" kern="100" dirty="0" smtClean="0">
                        <a:solidFill>
                          <a:schemeClr val="tx1"/>
                        </a:solidFill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15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100" b="1" u="sng" kern="100" baseline="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Galaxy </a:t>
                      </a:r>
                      <a:r>
                        <a:rPr lang="en-US" altLang="ko-KR" sz="11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S8</a:t>
                      </a:r>
                      <a:r>
                        <a:rPr lang="en-US" altLang="ko-KR" sz="1100" b="1" u="none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 </a:t>
                      </a:r>
                    </a:p>
                    <a:p>
                      <a:pPr marL="0" algn="ctr" defTabSz="914400" rtl="0" eaLnBrk="1" latinLnBrk="1" hangingPunct="1">
                        <a:lnSpc>
                          <a:spcPct val="115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1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90 million</a:t>
                      </a:r>
                      <a:r>
                        <a:rPr lang="en-US" altLang="ko-KR" sz="1100" b="1" u="sng" kern="100" baseline="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 EA</a:t>
                      </a:r>
                      <a:endParaRPr lang="ko-KR" altLang="en-US" sz="1100" b="1" u="sng" kern="100" dirty="0" smtClean="0">
                        <a:solidFill>
                          <a:srgbClr val="C00000"/>
                        </a:solidFill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</a:txBody>
                  <a:tcPr marL="72000" marR="72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1" name="직사각형 50"/>
          <p:cNvSpPr/>
          <p:nvPr/>
        </p:nvSpPr>
        <p:spPr>
          <a:xfrm>
            <a:off x="5470648" y="5430478"/>
            <a:ext cx="403224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altLang="ko-KR" sz="900" i="1" dirty="0" smtClean="0"/>
              <a:t>※ 2016</a:t>
            </a:r>
            <a:r>
              <a:rPr lang="ko-KR" altLang="en-US" sz="900" i="1" dirty="0" smtClean="0"/>
              <a:t> </a:t>
            </a:r>
            <a:r>
              <a:rPr lang="en-US" altLang="ko-KR" sz="900" i="1" dirty="0" smtClean="0"/>
              <a:t>Korea Overseas Contract : 28.2 billion USD</a:t>
            </a:r>
          </a:p>
        </p:txBody>
      </p:sp>
    </p:spTree>
    <p:extLst>
      <p:ext uri="{BB962C8B-B14F-4D97-AF65-F5344CB8AC3E}">
        <p14:creationId xmlns:p14="http://schemas.microsoft.com/office/powerpoint/2010/main" val="3390130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C:\Users\20150080\Desktop\BlankMap-World-v2.png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283" t="1507" r="8132"/>
          <a:stretch/>
        </p:blipFill>
        <p:spPr bwMode="auto">
          <a:xfrm>
            <a:off x="346493" y="476590"/>
            <a:ext cx="9431177" cy="4705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제목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1" name="제목 10"/>
          <p:cNvSpPr txBox="1">
            <a:spLocks/>
          </p:cNvSpPr>
          <p:nvPr/>
        </p:nvSpPr>
        <p:spPr>
          <a:xfrm>
            <a:off x="3080740" y="2708900"/>
            <a:ext cx="4464620" cy="1078736"/>
          </a:xfrm>
          <a:prstGeom prst="rect">
            <a:avLst/>
          </a:prstGeom>
          <a:noFill/>
        </p:spPr>
        <p:txBody>
          <a:bodyPr wrap="square" lIns="71987" tIns="35994" rIns="71987" bIns="35994" anchor="t">
            <a:spAutoFit/>
          </a:bodyPr>
          <a:lstStyle>
            <a:lvl1pPr algn="l" defTabSz="914235" rtl="0" eaLnBrk="1" latinLnBrk="0" hangingPunct="1">
              <a:spcBef>
                <a:spcPct val="0"/>
              </a:spcBef>
              <a:buNone/>
              <a:defRPr kumimoji="1" lang="ko-KR" altLang="en-US" sz="1600" b="1" kern="1200" baseline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  <a:cs typeface="Arial" pitchFamily="34" charset="0"/>
              </a:defRPr>
            </a:lvl1pPr>
          </a:lstStyle>
          <a:p>
            <a:pPr>
              <a:lnSpc>
                <a:spcPct val="145000"/>
              </a:lnSpc>
            </a:pPr>
            <a:r>
              <a:rPr lang="en-US" altLang="ko-KR" sz="5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Thank you !!!</a:t>
            </a:r>
            <a:endParaRPr lang="ko-KR" altLang="en-US" sz="500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393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" r="327" b="20167"/>
          <a:stretch/>
        </p:blipFill>
        <p:spPr>
          <a:xfrm>
            <a:off x="1" y="1254959"/>
            <a:ext cx="9936709" cy="5603041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7329330" y="6312526"/>
            <a:ext cx="3103384" cy="288147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latinLnBrk="0"/>
            <a:r>
              <a:rPr lang="en-US" altLang="ko-KR" sz="1400" i="1" dirty="0" smtClean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</a:rPr>
              <a:t>1915 </a:t>
            </a:r>
            <a:r>
              <a:rPr lang="en-US" altLang="ko-KR" sz="1400" i="1" dirty="0">
                <a:solidFill>
                  <a:schemeClr val="bg1"/>
                </a:solidFill>
                <a:latin typeface="Calibri" panose="020F0502020204030204" pitchFamily="34" charset="0"/>
              </a:rPr>
              <a:t>Canakkale Bridge </a:t>
            </a:r>
            <a:r>
              <a:rPr lang="en-US" altLang="ko-KR" sz="1400" i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,Turkey</a:t>
            </a:r>
            <a:endParaRPr lang="ko-KR" altLang="en-US" sz="1400" i="1" dirty="0" smtClean="0">
              <a:solidFill>
                <a:schemeClr val="bg1"/>
              </a:solidFill>
              <a:latin typeface="Calibri" panose="020F0502020204030204" pitchFamily="34" charset="0"/>
              <a:ea typeface="맑은 고딕" pitchFamily="50" charset="-127"/>
            </a:endParaRPr>
          </a:p>
        </p:txBody>
      </p:sp>
      <p:sp>
        <p:nvSpPr>
          <p:cNvPr id="4" name="직사각형 3"/>
          <p:cNvSpPr/>
          <p:nvPr/>
        </p:nvSpPr>
        <p:spPr bwMode="auto">
          <a:xfrm>
            <a:off x="1" y="0"/>
            <a:ext cx="9936708" cy="1254959"/>
          </a:xfrm>
          <a:prstGeom prst="rect">
            <a:avLst/>
          </a:prstGeom>
          <a:gradFill flip="none" rotWithShape="1">
            <a:gsLst>
              <a:gs pos="50000">
                <a:srgbClr val="437FB5"/>
              </a:gs>
              <a:gs pos="100000">
                <a:srgbClr val="50A5D4"/>
              </a:gs>
            </a:gsLst>
            <a:lin ang="0" scaled="1"/>
            <a:tileRect/>
          </a:gradFill>
          <a:ln w="3175" cap="flat" cmpd="sng" algn="ctr">
            <a:noFill/>
            <a:prstDash val="solid"/>
            <a:miter lim="800000"/>
          </a:ln>
          <a:effectLst/>
          <a:extLst/>
        </p:spPr>
        <p:txBody>
          <a:bodyPr lIns="45720" tIns="27432" rIns="45720" bIns="27432" rtlCol="0" anchor="ctr"/>
          <a:lstStyle/>
          <a:p>
            <a:pPr algn="ctr" defTabSz="914400" latinLnBrk="0">
              <a:lnSpc>
                <a:spcPct val="90000"/>
              </a:lnSpc>
            </a:pPr>
            <a:endParaRPr lang="ko-KR" altLang="en-US" sz="1200" b="1" kern="0" dirty="0" smtClean="0">
              <a:solidFill>
                <a:schemeClr val="bg1"/>
              </a:solidFill>
            </a:endParaRPr>
          </a:p>
        </p:txBody>
      </p:sp>
      <p:sp>
        <p:nvSpPr>
          <p:cNvPr id="24" name="직사각형 23"/>
          <p:cNvSpPr/>
          <p:nvPr/>
        </p:nvSpPr>
        <p:spPr bwMode="auto">
          <a:xfrm>
            <a:off x="1" y="0"/>
            <a:ext cx="9936708" cy="685800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25010" y="451190"/>
            <a:ext cx="1606434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atinLnBrk="0"/>
            <a:r>
              <a:rPr lang="en-US" altLang="ko-KR" sz="2400" b="1" dirty="0">
                <a:solidFill>
                  <a:srgbClr val="375FB7"/>
                </a:solidFill>
                <a:latin typeface="Calibri" panose="020F0502020204030204" pitchFamily="34" charset="0"/>
                <a:ea typeface="맑은 고딕" pitchFamily="50" charset="-127"/>
                <a:cs typeface="Arial" panose="020B0604020202020204" pitchFamily="34" charset="0"/>
              </a:rPr>
              <a:t>Contents</a:t>
            </a:r>
            <a:endParaRPr lang="ko-KR" altLang="en-US" sz="2400" b="1" dirty="0">
              <a:solidFill>
                <a:srgbClr val="375FB7"/>
              </a:solidFill>
              <a:latin typeface="Calibri" panose="020F050202020403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6" name="그룹 5"/>
          <p:cNvGrpSpPr/>
          <p:nvPr/>
        </p:nvGrpSpPr>
        <p:grpSpPr>
          <a:xfrm>
            <a:off x="874193" y="1836436"/>
            <a:ext cx="9062516" cy="522451"/>
            <a:chOff x="874193" y="962946"/>
            <a:chExt cx="9062516" cy="522451"/>
          </a:xfrm>
        </p:grpSpPr>
        <p:sp>
          <p:nvSpPr>
            <p:cNvPr id="22" name="직사각형 21"/>
            <p:cNvSpPr/>
            <p:nvPr/>
          </p:nvSpPr>
          <p:spPr>
            <a:xfrm>
              <a:off x="874193" y="962946"/>
              <a:ext cx="343364" cy="52245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2400" b="1" i="1" spc="-100" dirty="0" smtClean="0">
                  <a:solidFill>
                    <a:srgbClr val="4295D7"/>
                  </a:solidFill>
                  <a:latin typeface="Arial" panose="020B0604020202020204" pitchFamily="34" charset="0"/>
                  <a:ea typeface="HY견고딕" pitchFamily="18" charset="-127"/>
                  <a:cs typeface="Arial" panose="020B0604020202020204" pitchFamily="34" charset="0"/>
                </a:rPr>
                <a:t>2</a:t>
              </a:r>
              <a:endParaRPr kumimoji="1" lang="en-US" altLang="ko-KR" sz="2400" b="1" i="1" spc="-100" dirty="0">
                <a:solidFill>
                  <a:srgbClr val="4295D7"/>
                </a:solidFill>
                <a:latin typeface="Arial" panose="020B0604020202020204" pitchFamily="34" charset="0"/>
                <a:ea typeface="HY견고딕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26" name="직선 연결선 25"/>
            <p:cNvCxnSpPr/>
            <p:nvPr/>
          </p:nvCxnSpPr>
          <p:spPr>
            <a:xfrm>
              <a:off x="1017160" y="1484730"/>
              <a:ext cx="8919549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제목 10"/>
            <p:cNvSpPr txBox="1">
              <a:spLocks/>
            </p:cNvSpPr>
            <p:nvPr/>
          </p:nvSpPr>
          <p:spPr>
            <a:xfrm>
              <a:off x="1263329" y="999172"/>
              <a:ext cx="7410051" cy="434841"/>
            </a:xfrm>
            <a:prstGeom prst="rect">
              <a:avLst/>
            </a:prstGeom>
            <a:noFill/>
          </p:spPr>
          <p:txBody>
            <a:bodyPr wrap="square" lIns="71987" tIns="35994" rIns="71987" bIns="35994" anchor="t">
              <a:spAutoFit/>
            </a:bodyPr>
            <a:lstStyle>
              <a:lvl1pPr algn="l" defTabSz="914235" rtl="0" eaLnBrk="1" latinLnBrk="0" hangingPunct="1">
                <a:spcBef>
                  <a:spcPct val="0"/>
                </a:spcBef>
                <a:buNone/>
                <a:defRPr kumimoji="1" lang="ko-KR" altLang="en-US" sz="1600" b="1" kern="1200" baseline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defRPr>
              </a:lvl1pPr>
            </a:lstStyle>
            <a:p>
              <a:pPr>
                <a:lnSpc>
                  <a:spcPct val="145000"/>
                </a:lnSpc>
              </a:pPr>
              <a:r>
                <a:rPr lang="en-US" altLang="ko-KR" sz="1800" dirty="0" smtClean="0">
                  <a:solidFill>
                    <a:srgbClr val="C00000"/>
                  </a:solidFill>
                  <a:latin typeface="Calibri" panose="020F0502020204030204" pitchFamily="34" charset="0"/>
                </a:rPr>
                <a:t>Domestic PPP Project : </a:t>
              </a:r>
              <a:r>
                <a:rPr lang="en-US" altLang="ko-KR" sz="1800" dirty="0" err="1" smtClean="0">
                  <a:solidFill>
                    <a:srgbClr val="C00000"/>
                  </a:solidFill>
                  <a:latin typeface="Calibri" panose="020F0502020204030204" pitchFamily="34" charset="0"/>
                </a:rPr>
                <a:t>Shinbundang</a:t>
              </a:r>
              <a:r>
                <a:rPr lang="en-US" altLang="ko-KR" sz="1800" dirty="0" smtClean="0">
                  <a:solidFill>
                    <a:srgbClr val="C00000"/>
                  </a:solidFill>
                  <a:latin typeface="Calibri" panose="020F0502020204030204" pitchFamily="34" charset="0"/>
                </a:rPr>
                <a:t> DX Line PPP Project</a:t>
              </a:r>
              <a:endParaRPr lang="en-US" altLang="ko-KR" sz="1800" u="sng" dirty="0" smtClean="0">
                <a:solidFill>
                  <a:srgbClr val="C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28" name="그룹 27"/>
          <p:cNvGrpSpPr/>
          <p:nvPr/>
        </p:nvGrpSpPr>
        <p:grpSpPr>
          <a:xfrm>
            <a:off x="874193" y="2639528"/>
            <a:ext cx="9062516" cy="522451"/>
            <a:chOff x="874193" y="962946"/>
            <a:chExt cx="9062516" cy="522451"/>
          </a:xfrm>
        </p:grpSpPr>
        <p:sp>
          <p:nvSpPr>
            <p:cNvPr id="29" name="직사각형 28"/>
            <p:cNvSpPr/>
            <p:nvPr/>
          </p:nvSpPr>
          <p:spPr>
            <a:xfrm>
              <a:off x="874193" y="962946"/>
              <a:ext cx="343364" cy="52245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2400" b="1" i="1" spc="-100" dirty="0" smtClean="0">
                  <a:solidFill>
                    <a:srgbClr val="4295D7"/>
                  </a:solidFill>
                  <a:latin typeface="Arial" panose="020B0604020202020204" pitchFamily="34" charset="0"/>
                  <a:ea typeface="HY견고딕" pitchFamily="18" charset="-127"/>
                  <a:cs typeface="Arial" panose="020B0604020202020204" pitchFamily="34" charset="0"/>
                </a:rPr>
                <a:t>3</a:t>
              </a:r>
              <a:endParaRPr kumimoji="1" lang="en-US" altLang="ko-KR" sz="2400" b="1" i="1" spc="-100" dirty="0">
                <a:solidFill>
                  <a:srgbClr val="4295D7"/>
                </a:solidFill>
                <a:latin typeface="Arial" panose="020B0604020202020204" pitchFamily="34" charset="0"/>
                <a:ea typeface="HY견고딕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30" name="직선 연결선 29"/>
            <p:cNvCxnSpPr/>
            <p:nvPr/>
          </p:nvCxnSpPr>
          <p:spPr>
            <a:xfrm>
              <a:off x="1017160" y="1484730"/>
              <a:ext cx="8919549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제목 10"/>
            <p:cNvSpPr txBox="1">
              <a:spLocks/>
            </p:cNvSpPr>
            <p:nvPr/>
          </p:nvSpPr>
          <p:spPr>
            <a:xfrm>
              <a:off x="1263329" y="999172"/>
              <a:ext cx="7410051" cy="432598"/>
            </a:xfrm>
            <a:prstGeom prst="rect">
              <a:avLst/>
            </a:prstGeom>
            <a:noFill/>
          </p:spPr>
          <p:txBody>
            <a:bodyPr wrap="square" lIns="71987" tIns="35994" rIns="71987" bIns="35994" anchor="t">
              <a:spAutoFit/>
            </a:bodyPr>
            <a:lstStyle>
              <a:lvl1pPr algn="l" defTabSz="914235" rtl="0" eaLnBrk="1" latinLnBrk="0" hangingPunct="1">
                <a:spcBef>
                  <a:spcPct val="0"/>
                </a:spcBef>
                <a:buNone/>
                <a:defRPr kumimoji="1" lang="ko-KR" altLang="en-US" sz="1600" b="1" kern="1200" baseline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defRPr>
              </a:lvl1pPr>
            </a:lstStyle>
            <a:p>
              <a:pPr>
                <a:lnSpc>
                  <a:spcPct val="145000"/>
                </a:lnSpc>
              </a:pPr>
              <a:r>
                <a:rPr lang="en-US" altLang="ko-KR" sz="1800" dirty="0" smtClean="0">
                  <a:solidFill>
                    <a:schemeClr val="accent3"/>
                  </a:solidFill>
                  <a:latin typeface="Calibri" panose="020F0502020204030204" pitchFamily="34" charset="0"/>
                </a:rPr>
                <a:t>Overseas PPP Project : ① Pakistan </a:t>
              </a:r>
              <a:r>
                <a:rPr lang="en-US" altLang="ko-KR" sz="1800" dirty="0" err="1" smtClean="0">
                  <a:solidFill>
                    <a:schemeClr val="accent3"/>
                  </a:solidFill>
                  <a:latin typeface="Calibri" panose="020F0502020204030204" pitchFamily="34" charset="0"/>
                </a:rPr>
                <a:t>Gulpur</a:t>
              </a:r>
              <a:r>
                <a:rPr lang="en-US" altLang="ko-KR" sz="1800" dirty="0" smtClean="0">
                  <a:solidFill>
                    <a:schemeClr val="accent3"/>
                  </a:solidFill>
                  <a:latin typeface="Calibri" panose="020F0502020204030204" pitchFamily="34" charset="0"/>
                </a:rPr>
                <a:t> Hydropower Project</a:t>
              </a:r>
              <a:endParaRPr lang="ko-KR" altLang="en-US" sz="1800" u="sng" dirty="0">
                <a:solidFill>
                  <a:schemeClr val="accent3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37" name="그룹 36"/>
          <p:cNvGrpSpPr/>
          <p:nvPr/>
        </p:nvGrpSpPr>
        <p:grpSpPr>
          <a:xfrm>
            <a:off x="874193" y="3392607"/>
            <a:ext cx="9062516" cy="522451"/>
            <a:chOff x="874193" y="962946"/>
            <a:chExt cx="9062516" cy="522451"/>
          </a:xfrm>
        </p:grpSpPr>
        <p:sp>
          <p:nvSpPr>
            <p:cNvPr id="38" name="직사각형 37"/>
            <p:cNvSpPr/>
            <p:nvPr/>
          </p:nvSpPr>
          <p:spPr>
            <a:xfrm>
              <a:off x="874193" y="962946"/>
              <a:ext cx="343364" cy="52245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2400" b="1" i="1" spc="-100" dirty="0" smtClean="0">
                  <a:solidFill>
                    <a:srgbClr val="4295D7"/>
                  </a:solidFill>
                  <a:latin typeface="Arial" panose="020B0604020202020204" pitchFamily="34" charset="0"/>
                  <a:ea typeface="HY견고딕" pitchFamily="18" charset="-127"/>
                  <a:cs typeface="Arial" panose="020B0604020202020204" pitchFamily="34" charset="0"/>
                </a:rPr>
                <a:t>4</a:t>
              </a:r>
              <a:endParaRPr kumimoji="1" lang="en-US" altLang="ko-KR" sz="2400" b="1" i="1" spc="-100" dirty="0">
                <a:solidFill>
                  <a:srgbClr val="4295D7"/>
                </a:solidFill>
                <a:latin typeface="Arial" panose="020B0604020202020204" pitchFamily="34" charset="0"/>
                <a:ea typeface="HY견고딕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39" name="직선 연결선 38"/>
            <p:cNvCxnSpPr/>
            <p:nvPr/>
          </p:nvCxnSpPr>
          <p:spPr>
            <a:xfrm>
              <a:off x="1017160" y="1484730"/>
              <a:ext cx="8919549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제목 10"/>
            <p:cNvSpPr txBox="1">
              <a:spLocks/>
            </p:cNvSpPr>
            <p:nvPr/>
          </p:nvSpPr>
          <p:spPr>
            <a:xfrm>
              <a:off x="1263329" y="999172"/>
              <a:ext cx="7410051" cy="432598"/>
            </a:xfrm>
            <a:prstGeom prst="rect">
              <a:avLst/>
            </a:prstGeom>
            <a:noFill/>
          </p:spPr>
          <p:txBody>
            <a:bodyPr wrap="square" lIns="71987" tIns="35994" rIns="71987" bIns="35994" anchor="t">
              <a:spAutoFit/>
            </a:bodyPr>
            <a:lstStyle>
              <a:lvl1pPr algn="l" defTabSz="914235" rtl="0" eaLnBrk="1" latinLnBrk="0" hangingPunct="1">
                <a:spcBef>
                  <a:spcPct val="0"/>
                </a:spcBef>
                <a:buNone/>
                <a:defRPr kumimoji="1" lang="ko-KR" altLang="en-US" sz="1600" b="1" kern="1200" baseline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defRPr>
              </a:lvl1pPr>
            </a:lstStyle>
            <a:p>
              <a:pPr>
                <a:lnSpc>
                  <a:spcPct val="145000"/>
                </a:lnSpc>
              </a:pPr>
              <a:r>
                <a:rPr lang="en-US" altLang="ko-KR" sz="1800" dirty="0">
                  <a:solidFill>
                    <a:srgbClr val="C00000"/>
                  </a:solidFill>
                  <a:latin typeface="Calibri" panose="020F0502020204030204" pitchFamily="34" charset="0"/>
                </a:rPr>
                <a:t>Overseas PPP Project : </a:t>
              </a:r>
              <a:r>
                <a:rPr lang="en-US" altLang="ko-KR" sz="1800" dirty="0" smtClean="0">
                  <a:solidFill>
                    <a:srgbClr val="C00000"/>
                  </a:solidFill>
                  <a:latin typeface="Calibri" panose="020F0502020204030204" pitchFamily="34" charset="0"/>
                </a:rPr>
                <a:t>② Turkey </a:t>
              </a:r>
              <a:r>
                <a:rPr lang="en-US" altLang="ko-KR" sz="1800" dirty="0" err="1" smtClean="0">
                  <a:solidFill>
                    <a:srgbClr val="C00000"/>
                  </a:solidFill>
                  <a:latin typeface="Calibri" panose="020F0502020204030204" pitchFamily="34" charset="0"/>
                </a:rPr>
                <a:t>Canakkale</a:t>
              </a:r>
              <a:r>
                <a:rPr lang="en-US" altLang="ko-KR" sz="1800" dirty="0" smtClean="0">
                  <a:solidFill>
                    <a:srgbClr val="C00000"/>
                  </a:solidFill>
                  <a:latin typeface="Calibri" panose="020F0502020204030204" pitchFamily="34" charset="0"/>
                </a:rPr>
                <a:t> Bridge Project </a:t>
              </a:r>
              <a:endParaRPr lang="ko-KR" altLang="en-US" sz="1800" u="sng" dirty="0">
                <a:solidFill>
                  <a:srgbClr val="C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1" name="그룹 40"/>
          <p:cNvGrpSpPr/>
          <p:nvPr/>
        </p:nvGrpSpPr>
        <p:grpSpPr>
          <a:xfrm>
            <a:off x="874193" y="4145687"/>
            <a:ext cx="9062516" cy="522451"/>
            <a:chOff x="874193" y="962946"/>
            <a:chExt cx="9062516" cy="522451"/>
          </a:xfrm>
        </p:grpSpPr>
        <p:sp>
          <p:nvSpPr>
            <p:cNvPr id="42" name="직사각형 41"/>
            <p:cNvSpPr/>
            <p:nvPr/>
          </p:nvSpPr>
          <p:spPr>
            <a:xfrm>
              <a:off x="874193" y="962946"/>
              <a:ext cx="343364" cy="52245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2400" b="1" i="1" spc="-100" dirty="0" smtClean="0">
                  <a:solidFill>
                    <a:srgbClr val="4295D7"/>
                  </a:solidFill>
                  <a:latin typeface="Arial" panose="020B0604020202020204" pitchFamily="34" charset="0"/>
                  <a:ea typeface="HY견고딕" pitchFamily="18" charset="-127"/>
                  <a:cs typeface="Arial" panose="020B0604020202020204" pitchFamily="34" charset="0"/>
                </a:rPr>
                <a:t>5</a:t>
              </a:r>
              <a:endParaRPr kumimoji="1" lang="en-US" altLang="ko-KR" sz="2400" b="1" i="1" spc="-100" dirty="0">
                <a:solidFill>
                  <a:srgbClr val="4295D7"/>
                </a:solidFill>
                <a:latin typeface="Arial" panose="020B0604020202020204" pitchFamily="34" charset="0"/>
                <a:ea typeface="HY견고딕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43" name="직선 연결선 42"/>
            <p:cNvCxnSpPr/>
            <p:nvPr/>
          </p:nvCxnSpPr>
          <p:spPr>
            <a:xfrm>
              <a:off x="1017160" y="1484730"/>
              <a:ext cx="8919549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제목 10"/>
            <p:cNvSpPr txBox="1">
              <a:spLocks/>
            </p:cNvSpPr>
            <p:nvPr/>
          </p:nvSpPr>
          <p:spPr>
            <a:xfrm>
              <a:off x="1263329" y="999172"/>
              <a:ext cx="7410051" cy="434841"/>
            </a:xfrm>
            <a:prstGeom prst="rect">
              <a:avLst/>
            </a:prstGeom>
            <a:noFill/>
          </p:spPr>
          <p:txBody>
            <a:bodyPr wrap="square" lIns="71987" tIns="35994" rIns="71987" bIns="35994" anchor="t">
              <a:spAutoFit/>
            </a:bodyPr>
            <a:lstStyle>
              <a:lvl1pPr algn="l" defTabSz="914235" rtl="0" eaLnBrk="1" latinLnBrk="0" hangingPunct="1">
                <a:spcBef>
                  <a:spcPct val="0"/>
                </a:spcBef>
                <a:buNone/>
                <a:defRPr kumimoji="1" lang="ko-KR" altLang="en-US" sz="1600" b="1" kern="1200" baseline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defRPr>
              </a:lvl1pPr>
            </a:lstStyle>
            <a:p>
              <a:pPr>
                <a:lnSpc>
                  <a:spcPct val="145000"/>
                </a:lnSpc>
              </a:pPr>
              <a:r>
                <a:rPr lang="en-US" altLang="ko-KR" sz="1800" dirty="0" smtClean="0">
                  <a:solidFill>
                    <a:schemeClr val="accent3"/>
                  </a:solidFill>
                  <a:latin typeface="Calibri" panose="020F0502020204030204" pitchFamily="34" charset="0"/>
                </a:rPr>
                <a:t>Overseas PPP Project List and Economic Impact</a:t>
              </a:r>
              <a:endParaRPr lang="ko-KR" altLang="en-US" sz="1800" dirty="0">
                <a:solidFill>
                  <a:schemeClr val="accent3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36" name="그룹 35"/>
          <p:cNvGrpSpPr/>
          <p:nvPr/>
        </p:nvGrpSpPr>
        <p:grpSpPr>
          <a:xfrm>
            <a:off x="874193" y="1033344"/>
            <a:ext cx="9062516" cy="572464"/>
            <a:chOff x="874193" y="962946"/>
            <a:chExt cx="9062516" cy="572464"/>
          </a:xfrm>
        </p:grpSpPr>
        <p:sp>
          <p:nvSpPr>
            <p:cNvPr id="45" name="직사각형 44"/>
            <p:cNvSpPr/>
            <p:nvPr/>
          </p:nvSpPr>
          <p:spPr>
            <a:xfrm>
              <a:off x="874193" y="962946"/>
              <a:ext cx="343364" cy="5724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2400" b="1" i="1" spc="-100" dirty="0" smtClean="0">
                  <a:solidFill>
                    <a:srgbClr val="4295D7"/>
                  </a:solidFill>
                  <a:latin typeface="Arial" panose="020B0604020202020204" pitchFamily="34" charset="0"/>
                  <a:ea typeface="HY견고딕" pitchFamily="18" charset="-127"/>
                  <a:cs typeface="Arial" panose="020B0604020202020204" pitchFamily="34" charset="0"/>
                </a:rPr>
                <a:t>1</a:t>
              </a:r>
              <a:endParaRPr kumimoji="1" lang="en-US" altLang="ko-KR" sz="2400" b="1" i="1" spc="-100" dirty="0">
                <a:solidFill>
                  <a:srgbClr val="4295D7"/>
                </a:solidFill>
                <a:latin typeface="Arial" panose="020B0604020202020204" pitchFamily="34" charset="0"/>
                <a:ea typeface="HY견고딕" pitchFamily="18" charset="-127"/>
                <a:cs typeface="Arial" panose="020B0604020202020204" pitchFamily="34" charset="0"/>
              </a:endParaRPr>
            </a:p>
          </p:txBody>
        </p:sp>
        <p:cxnSp>
          <p:nvCxnSpPr>
            <p:cNvPr id="46" name="직선 연결선 45"/>
            <p:cNvCxnSpPr/>
            <p:nvPr/>
          </p:nvCxnSpPr>
          <p:spPr>
            <a:xfrm>
              <a:off x="1017160" y="1484730"/>
              <a:ext cx="8919549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제목 10"/>
            <p:cNvSpPr txBox="1">
              <a:spLocks/>
            </p:cNvSpPr>
            <p:nvPr/>
          </p:nvSpPr>
          <p:spPr>
            <a:xfrm>
              <a:off x="1263329" y="999172"/>
              <a:ext cx="7410051" cy="518967"/>
            </a:xfrm>
            <a:prstGeom prst="rect">
              <a:avLst/>
            </a:prstGeom>
            <a:noFill/>
          </p:spPr>
          <p:txBody>
            <a:bodyPr wrap="square" lIns="71987" tIns="35994" rIns="71987" bIns="35994" anchor="t">
              <a:spAutoFit/>
            </a:bodyPr>
            <a:lstStyle>
              <a:lvl1pPr algn="l" defTabSz="914235" rtl="0" eaLnBrk="1" latinLnBrk="0" hangingPunct="1">
                <a:spcBef>
                  <a:spcPct val="0"/>
                </a:spcBef>
                <a:buNone/>
                <a:defRPr kumimoji="1" lang="ko-KR" altLang="en-US" sz="1600" b="1" kern="1200" baseline="0">
                  <a:solidFill>
                    <a:schemeClr val="bg1"/>
                  </a:solidFill>
                  <a:latin typeface="맑은 고딕" pitchFamily="50" charset="-127"/>
                  <a:ea typeface="맑은 고딕" pitchFamily="50" charset="-127"/>
                  <a:cs typeface="Arial" pitchFamily="34" charset="0"/>
                </a:defRPr>
              </a:lvl1pPr>
            </a:lstStyle>
            <a:p>
              <a:pPr>
                <a:lnSpc>
                  <a:spcPct val="145000"/>
                </a:lnSpc>
              </a:pPr>
              <a:r>
                <a:rPr lang="en-US" altLang="ko-KR" sz="20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Current State of South Korea’s Construction Industry </a:t>
              </a:r>
              <a:endParaRPr lang="ko-KR" altLang="en-US" sz="1800" dirty="0">
                <a:solidFill>
                  <a:srgbClr val="00206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7132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Current State of South Korea’s Construction Industry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2"/>
          </p:nvPr>
        </p:nvSpPr>
        <p:spPr>
          <a:xfrm>
            <a:off x="273000" y="620610"/>
            <a:ext cx="9360000" cy="272758"/>
          </a:xfrm>
        </p:spPr>
        <p:txBody>
          <a:bodyPr/>
          <a:lstStyle/>
          <a:p>
            <a:r>
              <a:rPr lang="en-US" altLang="ko-KR" sz="1300" dirty="0" smtClean="0"/>
              <a:t>□ Proportion of Construction Investment to GDP</a:t>
            </a:r>
            <a:endParaRPr lang="ko-KR" altLang="en-US" sz="1300" dirty="0"/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961686"/>
              </p:ext>
            </p:extLst>
          </p:nvPr>
        </p:nvGraphicFramePr>
        <p:xfrm>
          <a:off x="416370" y="1111314"/>
          <a:ext cx="7489040" cy="1961696"/>
        </p:xfrm>
        <a:graphic>
          <a:graphicData uri="http://schemas.openxmlformats.org/drawingml/2006/table">
            <a:tbl>
              <a:tblPr/>
              <a:tblGrid>
                <a:gridCol w="1944270"/>
                <a:gridCol w="1872260"/>
                <a:gridCol w="2016280"/>
                <a:gridCol w="1656230"/>
              </a:tblGrid>
              <a:tr h="31958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Year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GDP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Construction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Investment</a:t>
                      </a: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proportion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</a:tr>
              <a:tr h="3132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2013</a:t>
                      </a:r>
                      <a:endParaRPr lang="en-US" altLang="ko-KR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1429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213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14.9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32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2014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1,486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218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14.7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32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2015</a:t>
                      </a:r>
                      <a:endParaRPr lang="en-US" altLang="ko-KR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1,564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233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14.9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32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2016</a:t>
                      </a:r>
                      <a:endParaRPr lang="en-US" altLang="ko-KR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1,642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258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15.7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3208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2017</a:t>
                      </a:r>
                      <a:endParaRPr lang="en-US" altLang="ko-KR" sz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1,730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287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바탕"/>
                          <a:cs typeface="Arial" panose="020B0604020202020204" pitchFamily="34" charset="0"/>
                        </a:rPr>
                        <a:t>16.6%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773238" y="2084388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1" lang="ko-KR" altLang="ko-KR" smtClean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  <p:sp>
        <p:nvSpPr>
          <p:cNvPr id="11" name="텍스트 개체 틀 2"/>
          <p:cNvSpPr txBox="1">
            <a:spLocks/>
          </p:cNvSpPr>
          <p:nvPr/>
        </p:nvSpPr>
        <p:spPr>
          <a:xfrm>
            <a:off x="6897270" y="836640"/>
            <a:ext cx="1656230" cy="234286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>
            <a:lvl1pPr marL="0" indent="0" algn="l" defTabSz="914235" rtl="0" eaLnBrk="1" latinLnBrk="0" hangingPunct="1">
              <a:spcBef>
                <a:spcPct val="20000"/>
              </a:spcBef>
              <a:buSzPct val="70000"/>
              <a:buFontTx/>
              <a:buNone/>
              <a:defRPr kumimoji="1" lang="ko-KR" altLang="en-US" sz="1600" b="1" kern="1200" baseline="0">
                <a:solidFill>
                  <a:schemeClr val="tx1"/>
                </a:solidFill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2pPr marL="742816" indent="-285699" algn="l" defTabSz="91423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kumimoji="1" lang="ko-KR" altLang="en-US" sz="11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1142794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kumimoji="1" lang="ko-KR" altLang="en-US" sz="10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599911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kumimoji="1" lang="ko-KR" altLang="en-US" sz="9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828800" indent="0" algn="l" defTabSz="914235" rtl="0" eaLnBrk="1" latinLnBrk="1" hangingPunct="1">
              <a:spcBef>
                <a:spcPct val="20000"/>
              </a:spcBef>
              <a:buFont typeface="Arial" pitchFamily="34" charset="0"/>
              <a:buNone/>
              <a:defRPr kumimoji="1" lang="ko-KR" altLang="en-US" sz="1400" kern="1200">
                <a:solidFill>
                  <a:schemeClr val="tx1"/>
                </a:solidFill>
                <a:latin typeface="+mn-lt"/>
                <a:ea typeface="돋움" pitchFamily="50" charset="-127"/>
                <a:cs typeface="+mn-cs"/>
              </a:defRPr>
            </a:lvl5pPr>
            <a:lvl6pPr marL="2514147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64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82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99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050" b="0" dirty="0" smtClean="0">
                <a:solidFill>
                  <a:srgbClr val="000000"/>
                </a:solidFill>
                <a:latin typeface="나눔고딕"/>
                <a:ea typeface="나눔고딕"/>
              </a:rPr>
              <a:t>※ billion  USD</a:t>
            </a:r>
            <a:endParaRPr lang="en-US" sz="1050" b="0" dirty="0">
              <a:solidFill>
                <a:srgbClr val="000000"/>
              </a:solidFill>
            </a:endParaRPr>
          </a:p>
        </p:txBody>
      </p:sp>
      <p:graphicFrame>
        <p:nvGraphicFramePr>
          <p:cNvPr id="5" name="차트 4"/>
          <p:cNvGraphicFramePr/>
          <p:nvPr>
            <p:extLst>
              <p:ext uri="{D42A27DB-BD31-4B8C-83A1-F6EECF244321}">
                <p14:modId xmlns:p14="http://schemas.microsoft.com/office/powerpoint/2010/main" val="3760961633"/>
              </p:ext>
            </p:extLst>
          </p:nvPr>
        </p:nvGraphicFramePr>
        <p:xfrm>
          <a:off x="416369" y="3284980"/>
          <a:ext cx="7453035" cy="3192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2282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Current State of South Korea’s Construction Industry</a:t>
            </a:r>
            <a:endParaRPr lang="ko-KR" altLang="en-US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773238" y="2084388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1" lang="ko-KR" altLang="ko-KR" smtClean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  <p:sp>
        <p:nvSpPr>
          <p:cNvPr id="10" name="텍스트 개체 틀 2"/>
          <p:cNvSpPr txBox="1">
            <a:spLocks/>
          </p:cNvSpPr>
          <p:nvPr/>
        </p:nvSpPr>
        <p:spPr>
          <a:xfrm>
            <a:off x="8121440" y="692620"/>
            <a:ext cx="1656230" cy="234286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>
            <a:lvl1pPr marL="0" indent="0" algn="l" defTabSz="914235" rtl="0" eaLnBrk="1" latinLnBrk="0" hangingPunct="1">
              <a:spcBef>
                <a:spcPct val="20000"/>
              </a:spcBef>
              <a:buSzPct val="70000"/>
              <a:buFontTx/>
              <a:buNone/>
              <a:defRPr kumimoji="1" lang="ko-KR" altLang="en-US" sz="1600" b="1" kern="1200" baseline="0">
                <a:solidFill>
                  <a:schemeClr val="tx1"/>
                </a:solidFill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2pPr marL="742816" indent="-285699" algn="l" defTabSz="91423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kumimoji="1" lang="ko-KR" altLang="en-US" sz="11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1142794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kumimoji="1" lang="ko-KR" altLang="en-US" sz="10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599911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kumimoji="1" lang="ko-KR" altLang="en-US" sz="9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828800" indent="0" algn="l" defTabSz="914235" rtl="0" eaLnBrk="1" latinLnBrk="1" hangingPunct="1">
              <a:spcBef>
                <a:spcPct val="20000"/>
              </a:spcBef>
              <a:buFont typeface="Arial" pitchFamily="34" charset="0"/>
              <a:buNone/>
              <a:defRPr kumimoji="1" lang="ko-KR" altLang="en-US" sz="1400" kern="1200">
                <a:solidFill>
                  <a:schemeClr val="tx1"/>
                </a:solidFill>
                <a:latin typeface="+mn-lt"/>
                <a:ea typeface="돋움" pitchFamily="50" charset="-127"/>
                <a:cs typeface="+mn-cs"/>
              </a:defRPr>
            </a:lvl5pPr>
            <a:lvl6pPr marL="2514147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64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82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99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000" b="0" dirty="0" smtClean="0">
                <a:solidFill>
                  <a:srgbClr val="000000"/>
                </a:solidFill>
                <a:latin typeface="나눔고딕"/>
                <a:ea typeface="나눔고딕"/>
              </a:rPr>
              <a:t>※ </a:t>
            </a:r>
            <a:r>
              <a:rPr lang="en-US" altLang="ko-KR" sz="1050" b="0" dirty="0" smtClean="0">
                <a:solidFill>
                  <a:srgbClr val="000000"/>
                </a:solidFill>
                <a:latin typeface="나눔고딕"/>
                <a:ea typeface="나눔고딕"/>
              </a:rPr>
              <a:t>billion</a:t>
            </a:r>
            <a:r>
              <a:rPr lang="en-US" altLang="ko-KR" sz="1000" b="0" dirty="0" smtClean="0">
                <a:solidFill>
                  <a:srgbClr val="000000"/>
                </a:solidFill>
                <a:latin typeface="나눔고딕"/>
                <a:ea typeface="나눔고딕"/>
              </a:rPr>
              <a:t>  </a:t>
            </a:r>
            <a:r>
              <a:rPr lang="en-US" altLang="ko-KR" sz="1050" b="0" dirty="0" smtClean="0">
                <a:solidFill>
                  <a:srgbClr val="000000"/>
                </a:solidFill>
                <a:latin typeface="나눔고딕"/>
                <a:ea typeface="나눔고딕"/>
              </a:rPr>
              <a:t>USD</a:t>
            </a:r>
            <a:endParaRPr lang="en-US" sz="1050" b="0" dirty="0">
              <a:solidFill>
                <a:srgbClr val="000000"/>
              </a:solidFill>
            </a:endParaRPr>
          </a:p>
        </p:txBody>
      </p:sp>
      <p:sp>
        <p:nvSpPr>
          <p:cNvPr id="9" name="텍스트 개체 틀 2"/>
          <p:cNvSpPr txBox="1">
            <a:spLocks/>
          </p:cNvSpPr>
          <p:nvPr/>
        </p:nvSpPr>
        <p:spPr>
          <a:xfrm>
            <a:off x="272350" y="594680"/>
            <a:ext cx="9360000" cy="272758"/>
          </a:xfrm>
          <a:prstGeom prst="rect">
            <a:avLst/>
          </a:prstGeom>
        </p:spPr>
        <p:txBody>
          <a:bodyPr lIns="72000" tIns="36000" rIns="72000" bIns="36000">
            <a:spAutoFit/>
          </a:bodyPr>
          <a:lstStyle>
            <a:lvl1pPr marL="0" indent="0" algn="l" defTabSz="914235" rtl="0" eaLnBrk="1" latinLnBrk="0" hangingPunct="1">
              <a:spcBef>
                <a:spcPct val="20000"/>
              </a:spcBef>
              <a:buSzPct val="70000"/>
              <a:buFontTx/>
              <a:buNone/>
              <a:defRPr kumimoji="1" lang="ko-KR" altLang="en-US" sz="1600" b="1" kern="1200" baseline="0">
                <a:solidFill>
                  <a:schemeClr val="tx1"/>
                </a:solidFill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2pPr marL="742816" indent="-285699" algn="l" defTabSz="91423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kumimoji="1" lang="ko-KR" altLang="en-US" sz="11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1142794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kumimoji="1" lang="ko-KR" altLang="en-US" sz="10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599911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kumimoji="1" lang="ko-KR" altLang="en-US" sz="9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828800" indent="0" algn="l" defTabSz="914235" rtl="0" eaLnBrk="1" latinLnBrk="1" hangingPunct="1">
              <a:spcBef>
                <a:spcPct val="20000"/>
              </a:spcBef>
              <a:buFont typeface="Arial" pitchFamily="34" charset="0"/>
              <a:buNone/>
              <a:defRPr kumimoji="1" lang="ko-KR" altLang="en-US" sz="1400" kern="1200">
                <a:solidFill>
                  <a:schemeClr val="tx1"/>
                </a:solidFill>
                <a:latin typeface="+mn-lt"/>
                <a:ea typeface="돋움" pitchFamily="50" charset="-127"/>
                <a:cs typeface="+mn-cs"/>
              </a:defRPr>
            </a:lvl5pPr>
            <a:lvl6pPr marL="2514147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64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82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99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300" dirty="0" smtClean="0">
                <a:solidFill>
                  <a:srgbClr val="000000"/>
                </a:solidFill>
              </a:rPr>
              <a:t>□ Proportion of Type of Construction Investment</a:t>
            </a:r>
            <a:endParaRPr lang="en-US" sz="1300" dirty="0">
              <a:solidFill>
                <a:srgbClr val="000000"/>
              </a:solidFill>
            </a:endParaRPr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6545448"/>
              </p:ext>
            </p:extLst>
          </p:nvPr>
        </p:nvGraphicFramePr>
        <p:xfrm>
          <a:off x="416371" y="934266"/>
          <a:ext cx="8713209" cy="2534412"/>
        </p:xfrm>
        <a:graphic>
          <a:graphicData uri="http://schemas.openxmlformats.org/drawingml/2006/table">
            <a:tbl>
              <a:tblPr/>
              <a:tblGrid>
                <a:gridCol w="1428198"/>
                <a:gridCol w="549307"/>
                <a:gridCol w="902894"/>
                <a:gridCol w="576080"/>
                <a:gridCol w="864120"/>
                <a:gridCol w="576080"/>
                <a:gridCol w="864120"/>
                <a:gridCol w="648090"/>
                <a:gridCol w="864120"/>
                <a:gridCol w="576080"/>
                <a:gridCol w="864120"/>
              </a:tblGrid>
              <a:tr h="32349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Type</a:t>
                      </a:r>
                      <a:endParaRPr lang="ko-KR" alt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HY헤드라인M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2013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2014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2015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2016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2017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213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sum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proportion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sum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proportion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sum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proportion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sum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proportion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sum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proportion</a:t>
                      </a:r>
                      <a:endParaRPr lang="en-US" sz="11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</a:tr>
              <a:tr h="32349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Total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13.1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0.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18.3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0.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33.1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0.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58.1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0.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87.0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0.0%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</a:tr>
              <a:tr h="32349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ilding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.4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.7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2.0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.1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6.6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.1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3.2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.9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2.1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.9%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</a:tr>
              <a:tr h="32378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   - Housing</a:t>
                      </a:r>
                      <a:endParaRPr lang="en-US" sz="1100" b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55.4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6.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62.6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8.7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74.7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32.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90.5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35.1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7.3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37.4%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</a:tr>
              <a:tr h="35940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   - Non-residential</a:t>
                      </a:r>
                    </a:p>
                    <a:p>
                      <a:pPr marL="0" marR="0" algn="l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      Building</a:t>
                      </a:r>
                      <a:endParaRPr lang="en-US" sz="1100" b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76.0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35.7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79.4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36.4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81.9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35.1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92.7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35.9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4.8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36.5%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</a:tr>
              <a:tr h="34550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Civil 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Engineering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81.6</a:t>
                      </a:r>
                      <a:endParaRPr lang="en-US" sz="11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38.3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76.4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35.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76.4</a:t>
                      </a:r>
                      <a:endParaRPr lang="en-US" sz="11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32.7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74.9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9.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74.8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6.1%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차트 7"/>
          <p:cNvGraphicFramePr/>
          <p:nvPr>
            <p:extLst>
              <p:ext uri="{D42A27DB-BD31-4B8C-83A1-F6EECF244321}">
                <p14:modId xmlns:p14="http://schemas.microsoft.com/office/powerpoint/2010/main" val="1322728512"/>
              </p:ext>
            </p:extLst>
          </p:nvPr>
        </p:nvGraphicFramePr>
        <p:xfrm>
          <a:off x="416370" y="3501010"/>
          <a:ext cx="8425170" cy="3227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54067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Current State of South Korea’s Construction Industry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sz="quarter" idx="12"/>
          </p:nvPr>
        </p:nvSpPr>
        <p:spPr>
          <a:xfrm>
            <a:off x="273000" y="651281"/>
            <a:ext cx="9360000" cy="272758"/>
          </a:xfrm>
        </p:spPr>
        <p:txBody>
          <a:bodyPr/>
          <a:lstStyle/>
          <a:p>
            <a:r>
              <a:rPr lang="en-US" altLang="ko-KR" sz="1300" dirty="0" smtClean="0"/>
              <a:t>□ Proportion of Public and Private to Construction Investment</a:t>
            </a:r>
            <a:endParaRPr lang="ko-KR" altLang="en-US" sz="1300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773238" y="2084388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1" lang="ko-KR" altLang="ko-KR" smtClean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  <p:sp>
        <p:nvSpPr>
          <p:cNvPr id="10" name="텍스트 개체 틀 2"/>
          <p:cNvSpPr txBox="1">
            <a:spLocks/>
          </p:cNvSpPr>
          <p:nvPr/>
        </p:nvSpPr>
        <p:spPr>
          <a:xfrm>
            <a:off x="7833400" y="764630"/>
            <a:ext cx="1656230" cy="234286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>
            <a:lvl1pPr marL="0" indent="0" algn="l" defTabSz="914235" rtl="0" eaLnBrk="1" latinLnBrk="0" hangingPunct="1">
              <a:spcBef>
                <a:spcPct val="20000"/>
              </a:spcBef>
              <a:buSzPct val="70000"/>
              <a:buFontTx/>
              <a:buNone/>
              <a:defRPr kumimoji="1" lang="ko-KR" altLang="en-US" sz="1600" b="1" kern="1200" baseline="0">
                <a:solidFill>
                  <a:schemeClr val="tx1"/>
                </a:solidFill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  <a:lvl2pPr marL="742816" indent="-285699" algn="l" defTabSz="91423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kumimoji="1" lang="ko-KR" altLang="en-US" sz="11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1142794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kumimoji="1" lang="ko-KR" altLang="en-US" sz="10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599911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–"/>
              <a:defRPr kumimoji="1" lang="ko-KR" altLang="en-US" sz="900" kern="1200" smtClean="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828800" indent="0" algn="l" defTabSz="914235" rtl="0" eaLnBrk="1" latinLnBrk="1" hangingPunct="1">
              <a:spcBef>
                <a:spcPct val="20000"/>
              </a:spcBef>
              <a:buFont typeface="Arial" pitchFamily="34" charset="0"/>
              <a:buNone/>
              <a:defRPr kumimoji="1" lang="ko-KR" altLang="en-US" sz="1400" kern="1200">
                <a:solidFill>
                  <a:schemeClr val="tx1"/>
                </a:solidFill>
                <a:latin typeface="+mn-lt"/>
                <a:ea typeface="돋움" pitchFamily="50" charset="-127"/>
                <a:cs typeface="+mn-cs"/>
              </a:defRPr>
            </a:lvl5pPr>
            <a:lvl6pPr marL="2514147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64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82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99" indent="-228559" algn="l" defTabSz="914235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1050" b="0" dirty="0" smtClean="0">
                <a:solidFill>
                  <a:srgbClr val="000000"/>
                </a:solidFill>
                <a:latin typeface="나눔고딕"/>
                <a:ea typeface="나눔고딕"/>
              </a:rPr>
              <a:t>※ </a:t>
            </a:r>
            <a:r>
              <a:rPr lang="en-US" altLang="ko-KR" sz="1050" b="0" smtClean="0">
                <a:solidFill>
                  <a:srgbClr val="000000"/>
                </a:solidFill>
                <a:latin typeface="나눔고딕"/>
                <a:ea typeface="나눔고딕"/>
              </a:rPr>
              <a:t>billion  USD</a:t>
            </a:r>
            <a:endParaRPr lang="en-US" sz="1050" b="0" dirty="0">
              <a:solidFill>
                <a:srgbClr val="000000"/>
              </a:solidFill>
            </a:endParaRP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5999810"/>
              </p:ext>
            </p:extLst>
          </p:nvPr>
        </p:nvGraphicFramePr>
        <p:xfrm>
          <a:off x="416370" y="1023378"/>
          <a:ext cx="8425170" cy="1714500"/>
        </p:xfrm>
        <a:graphic>
          <a:graphicData uri="http://schemas.openxmlformats.org/drawingml/2006/table">
            <a:tbl>
              <a:tblPr/>
              <a:tblGrid>
                <a:gridCol w="732623"/>
                <a:gridCol w="635567"/>
                <a:gridCol w="864120"/>
                <a:gridCol w="576080"/>
                <a:gridCol w="864120"/>
                <a:gridCol w="576706"/>
                <a:gridCol w="952411"/>
                <a:gridCol w="659361"/>
                <a:gridCol w="879148"/>
                <a:gridCol w="659361"/>
                <a:gridCol w="1025673"/>
              </a:tblGrid>
              <a:tr h="352206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HY헤드라인M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2013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2014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2015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2016</a:t>
                      </a:r>
                      <a:endParaRPr lang="en-US" sz="1100" b="1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2017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53166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sum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Proportion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sum</a:t>
                      </a:r>
                      <a:endParaRPr lang="en-US" sz="11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Proportion</a:t>
                      </a:r>
                      <a:endParaRPr lang="en-US" sz="11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sum</a:t>
                      </a:r>
                      <a:endParaRPr lang="en-US" sz="11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Proportion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sum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Proportion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Sum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HY헤드라인M"/>
                          <a:cs typeface="Arial" panose="020B0604020202020204" pitchFamily="34" charset="0"/>
                        </a:rPr>
                        <a:t>Proportion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E3FF"/>
                    </a:solidFill>
                  </a:tcPr>
                </a:tc>
              </a:tr>
              <a:tr h="28879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Total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13.1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0.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18.3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0.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33.1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0.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58.1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0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87.0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00.0%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</a:tr>
              <a:tr h="28804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Private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66.7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78.2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75.1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80.2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88.1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80.7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09.4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81.1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32.8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81.1%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</a:tr>
              <a:tr h="17964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Public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46.4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21.8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43.2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9.8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44.9</a:t>
                      </a:r>
                      <a:endParaRPr lang="en-US" sz="11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9.3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48.7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8.9%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54.2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한양그래픽"/>
                          <a:cs typeface="Arial" panose="020B0604020202020204" pitchFamily="34" charset="0"/>
                        </a:rPr>
                        <a:t>18.9%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FC7"/>
                    </a:solidFill>
                  </a:tcPr>
                </a:tc>
              </a:tr>
            </a:tbl>
          </a:graphicData>
        </a:graphic>
      </p:graphicFrame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1684338" y="2776538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1" lang="ko-KR" altLang="ko-KR" smtClean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굴림" pitchFamily="50" charset="-127"/>
            </a:endParaRPr>
          </a:p>
        </p:txBody>
      </p:sp>
      <p:graphicFrame>
        <p:nvGraphicFramePr>
          <p:cNvPr id="6" name="차트 5"/>
          <p:cNvGraphicFramePr/>
          <p:nvPr>
            <p:extLst>
              <p:ext uri="{D42A27DB-BD31-4B8C-83A1-F6EECF244321}">
                <p14:modId xmlns:p14="http://schemas.microsoft.com/office/powerpoint/2010/main" val="1176846680"/>
              </p:ext>
            </p:extLst>
          </p:nvPr>
        </p:nvGraphicFramePr>
        <p:xfrm>
          <a:off x="704410" y="3212528"/>
          <a:ext cx="7684150" cy="32532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6116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개체 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37016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0" name="그림 71" descr="용산-강남위치도-북측노선.JPG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6" t="9596" r="1515" b="3609"/>
          <a:stretch/>
        </p:blipFill>
        <p:spPr bwMode="auto">
          <a:xfrm>
            <a:off x="40485" y="504380"/>
            <a:ext cx="9814291" cy="5418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직사각형 32"/>
          <p:cNvSpPr/>
          <p:nvPr>
            <p:custDataLst>
              <p:tags r:id="rId4"/>
            </p:custDataLst>
          </p:nvPr>
        </p:nvSpPr>
        <p:spPr bwMode="auto">
          <a:xfrm>
            <a:off x="7086115" y="5877976"/>
            <a:ext cx="2741079" cy="935199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6800" rIns="9144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3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윤고딕130" pitchFamily="18" charset="-127"/>
            </a:endParaRPr>
          </a:p>
        </p:txBody>
      </p:sp>
      <p:pic>
        <p:nvPicPr>
          <p:cNvPr id="28817" name="Picture 145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40" t="50000" r="54037" b="33494"/>
          <a:stretch/>
        </p:blipFill>
        <p:spPr bwMode="auto">
          <a:xfrm>
            <a:off x="8268128" y="3645030"/>
            <a:ext cx="1530717" cy="94525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815" name="Picture 14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49" t="26838" r="68264" b="65129"/>
          <a:stretch/>
        </p:blipFill>
        <p:spPr bwMode="auto">
          <a:xfrm>
            <a:off x="8269201" y="4597456"/>
            <a:ext cx="1529645" cy="1213235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자유형 3"/>
          <p:cNvSpPr/>
          <p:nvPr>
            <p:custDataLst>
              <p:tags r:id="rId7"/>
            </p:custDataLst>
          </p:nvPr>
        </p:nvSpPr>
        <p:spPr bwMode="auto">
          <a:xfrm>
            <a:off x="9381383" y="5037231"/>
            <a:ext cx="78581" cy="119062"/>
          </a:xfrm>
          <a:custGeom>
            <a:avLst/>
            <a:gdLst>
              <a:gd name="connsiteX0" fmla="*/ 0 w 78581"/>
              <a:gd name="connsiteY0" fmla="*/ 23812 h 119062"/>
              <a:gd name="connsiteX1" fmla="*/ 45243 w 78581"/>
              <a:gd name="connsiteY1" fmla="*/ 0 h 119062"/>
              <a:gd name="connsiteX2" fmla="*/ 64293 w 78581"/>
              <a:gd name="connsiteY2" fmla="*/ 28575 h 119062"/>
              <a:gd name="connsiteX3" fmla="*/ 78581 w 78581"/>
              <a:gd name="connsiteY3" fmla="*/ 78581 h 119062"/>
              <a:gd name="connsiteX4" fmla="*/ 4762 w 78581"/>
              <a:gd name="connsiteY4" fmla="*/ 119062 h 119062"/>
              <a:gd name="connsiteX5" fmla="*/ 0 w 78581"/>
              <a:gd name="connsiteY5" fmla="*/ 23812 h 119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581" h="119062">
                <a:moveTo>
                  <a:pt x="0" y="23812"/>
                </a:moveTo>
                <a:lnTo>
                  <a:pt x="45243" y="0"/>
                </a:lnTo>
                <a:lnTo>
                  <a:pt x="64293" y="28575"/>
                </a:lnTo>
                <a:lnTo>
                  <a:pt x="78581" y="78581"/>
                </a:lnTo>
                <a:lnTo>
                  <a:pt x="4762" y="119062"/>
                </a:lnTo>
                <a:lnTo>
                  <a:pt x="0" y="23812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latinLnBrk="0" hangingPunct="0">
              <a:spcBef>
                <a:spcPct val="0"/>
              </a:spcBef>
              <a:spcAft>
                <a:spcPct val="0"/>
              </a:spcAft>
            </a:pPr>
            <a:endParaRPr lang="ko-KR" altLang="en-US" sz="2400" baseline="-25000" smtClean="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6" name="TextBox 5"/>
          <p:cNvSpPr txBox="1"/>
          <p:nvPr>
            <p:custDataLst>
              <p:tags r:id="rId8"/>
            </p:custDataLst>
          </p:nvPr>
        </p:nvSpPr>
        <p:spPr>
          <a:xfrm>
            <a:off x="9192464" y="5252957"/>
            <a:ext cx="58990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800" b="1" dirty="0" smtClean="0">
                <a:solidFill>
                  <a:srgbClr val="CECECE"/>
                </a:solidFill>
              </a:rPr>
              <a:t>East of Asia</a:t>
            </a:r>
            <a:endParaRPr lang="ko-KR" altLang="en-US" sz="800" b="1" dirty="0" smtClean="0">
              <a:solidFill>
                <a:srgbClr val="CECECE"/>
              </a:solidFill>
            </a:endParaRPr>
          </a:p>
        </p:txBody>
      </p:sp>
      <p:sp>
        <p:nvSpPr>
          <p:cNvPr id="91" name="TextBox 90"/>
          <p:cNvSpPr txBox="1"/>
          <p:nvPr>
            <p:custDataLst>
              <p:tags r:id="rId9"/>
            </p:custDataLst>
          </p:nvPr>
        </p:nvSpPr>
        <p:spPr>
          <a:xfrm>
            <a:off x="8775898" y="4656816"/>
            <a:ext cx="28052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altLang="ko-KR" sz="800" b="1" i="1" u="sng" dirty="0" smtClean="0">
                <a:solidFill>
                  <a:srgbClr val="000000"/>
                </a:solidFill>
              </a:rPr>
              <a:t>Seoul</a:t>
            </a:r>
            <a:endParaRPr lang="ko-KR" altLang="en-US" sz="800" b="1" i="1" u="sng" dirty="0" smtClean="0">
              <a:solidFill>
                <a:srgbClr val="000000"/>
              </a:solidFill>
            </a:endParaRPr>
          </a:p>
        </p:txBody>
      </p:sp>
      <p:graphicFrame>
        <p:nvGraphicFramePr>
          <p:cNvPr id="95" name="Table 76"/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72370909"/>
              </p:ext>
            </p:extLst>
          </p:nvPr>
        </p:nvGraphicFramePr>
        <p:xfrm>
          <a:off x="2814750" y="5652055"/>
          <a:ext cx="1512425" cy="1168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12425"/>
              </a:tblGrid>
              <a:tr h="289163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ngnam ~ </a:t>
                      </a:r>
                      <a:r>
                        <a:rPr lang="en-US" altLang="ko-KR" sz="900" b="1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ongja</a:t>
                      </a:r>
                      <a:r>
                        <a:rPr lang="en-US" altLang="ko-KR" sz="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altLang="ko-KR" sz="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altLang="ko-KR" sz="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8.5km)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  <a:alpha val="90000"/>
                      </a:schemeClr>
                    </a:solidFill>
                  </a:tcPr>
                </a:tc>
              </a:tr>
              <a:tr h="289163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ruction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: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5 years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Jul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5 ~ Dec 2011)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  <a:tr h="219534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D 1.6 </a:t>
                      </a:r>
                      <a:r>
                        <a:rPr lang="en-US" altLang="ko-KR" sz="900" b="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l</a:t>
                      </a:r>
                      <a:endParaRPr lang="en-US" altLang="ko-KR" sz="900" b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  <a:tr h="219534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w operating…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>
            <p:custDataLst>
              <p:tags r:id="rId11"/>
            </p:custDataLst>
          </p:nvPr>
        </p:nvSpPr>
        <p:spPr>
          <a:xfrm>
            <a:off x="2894363" y="5174246"/>
            <a:ext cx="1389059" cy="221018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none" lIns="3600" tIns="18000" rIns="3600" bIns="18000" rtlCol="0">
            <a:spAutoFit/>
          </a:bodyPr>
          <a:lstStyle/>
          <a:p>
            <a:r>
              <a:rPr lang="en-US" altLang="ko-KR" sz="1200" b="1" dirty="0" err="1" smtClean="0">
                <a:solidFill>
                  <a:srgbClr val="FF0000"/>
                </a:solidFill>
              </a:rPr>
              <a:t>Gangnam~Jeongja</a:t>
            </a:r>
            <a:endParaRPr lang="ko-KR" altLang="en-US" sz="1200" b="1" dirty="0" smtClean="0">
              <a:solidFill>
                <a:srgbClr val="FF0000"/>
              </a:solidFill>
            </a:endParaRPr>
          </a:p>
        </p:txBody>
      </p:sp>
      <p:sp>
        <p:nvSpPr>
          <p:cNvPr id="97" name="TextBox 96"/>
          <p:cNvSpPr txBox="1"/>
          <p:nvPr>
            <p:custDataLst>
              <p:tags r:id="rId12"/>
            </p:custDataLst>
          </p:nvPr>
        </p:nvSpPr>
        <p:spPr>
          <a:xfrm>
            <a:off x="5504683" y="5174246"/>
            <a:ext cx="1467606" cy="221018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none" lIns="3600" tIns="18000" rIns="3600" bIns="18000" rtlCol="0">
            <a:spAutoFit/>
          </a:bodyPr>
          <a:lstStyle/>
          <a:p>
            <a:r>
              <a:rPr lang="en-US" altLang="ko-KR" sz="1200" b="1" dirty="0" err="1" smtClean="0">
                <a:solidFill>
                  <a:srgbClr val="FF0000"/>
                </a:solidFill>
              </a:rPr>
              <a:t>Jeongja~Gwanggyo</a:t>
            </a:r>
            <a:endParaRPr lang="ko-KR" altLang="en-US" sz="1200" b="1" dirty="0" smtClean="0">
              <a:solidFill>
                <a:srgbClr val="FF0000"/>
              </a:solidFill>
            </a:endParaRPr>
          </a:p>
        </p:txBody>
      </p:sp>
      <p:sp>
        <p:nvSpPr>
          <p:cNvPr id="98" name="TextBox 97"/>
          <p:cNvSpPr txBox="1"/>
          <p:nvPr>
            <p:custDataLst>
              <p:tags r:id="rId13"/>
            </p:custDataLst>
          </p:nvPr>
        </p:nvSpPr>
        <p:spPr>
          <a:xfrm>
            <a:off x="1116227" y="5039597"/>
            <a:ext cx="736444" cy="405683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none" lIns="3600" tIns="18000" rIns="3600" bIns="18000" rtlCol="0">
            <a:spAutoFit/>
          </a:bodyPr>
          <a:lstStyle/>
          <a:p>
            <a:r>
              <a:rPr lang="en-US" altLang="ko-KR" sz="1200" b="1" dirty="0" err="1" smtClean="0">
                <a:solidFill>
                  <a:srgbClr val="FF0000"/>
                </a:solidFill>
              </a:rPr>
              <a:t>Yongsan</a:t>
            </a:r>
            <a:r>
              <a:rPr lang="en-US" altLang="ko-KR" sz="1200" b="1" dirty="0" smtClean="0">
                <a:solidFill>
                  <a:srgbClr val="FF0000"/>
                </a:solidFill>
              </a:rPr>
              <a:t>~</a:t>
            </a:r>
            <a:br>
              <a:rPr lang="en-US" altLang="ko-KR" sz="1200" b="1" dirty="0" smtClean="0">
                <a:solidFill>
                  <a:srgbClr val="FF0000"/>
                </a:solidFill>
              </a:rPr>
            </a:br>
            <a:r>
              <a:rPr lang="en-US" altLang="ko-KR" sz="1200" b="1" dirty="0" smtClean="0">
                <a:solidFill>
                  <a:srgbClr val="FF0000"/>
                </a:solidFill>
              </a:rPr>
              <a:t>Gangnam</a:t>
            </a:r>
            <a:endParaRPr lang="ko-KR" altLang="en-US" sz="1200" b="1" dirty="0" smtClean="0">
              <a:solidFill>
                <a:srgbClr val="FF0000"/>
              </a:solidFill>
            </a:endParaRPr>
          </a:p>
        </p:txBody>
      </p:sp>
      <p:sp>
        <p:nvSpPr>
          <p:cNvPr id="100" name="타원 99"/>
          <p:cNvSpPr/>
          <p:nvPr>
            <p:custDataLst>
              <p:tags r:id="rId14"/>
            </p:custDataLst>
          </p:nvPr>
        </p:nvSpPr>
        <p:spPr bwMode="auto">
          <a:xfrm>
            <a:off x="1355906" y="3229439"/>
            <a:ext cx="224631" cy="224631"/>
          </a:xfrm>
          <a:prstGeom prst="ellipse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 dirty="0" smtClean="0">
                <a:solidFill>
                  <a:srgbClr val="FFFFFF"/>
                </a:solidFill>
                <a:latin typeface="Arial" charset="0"/>
              </a:rPr>
              <a:t>3</a:t>
            </a:r>
            <a:endParaRPr lang="ko-KR" altLang="en-US" sz="1400" b="1" dirty="0" smtClean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01" name="그림 100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6" y="467446"/>
            <a:ext cx="3033564" cy="2090584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102" name="_x247156160" descr="EMB0000246442f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75" y="467445"/>
            <a:ext cx="913244" cy="70629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_x246509704" descr="EMB0000246442eb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610" y="1880733"/>
            <a:ext cx="929891" cy="677297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4" name="Table 76"/>
          <p:cNvGraphicFramePr>
            <a:graphicFrameLocks noGrp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48719374"/>
              </p:ext>
            </p:extLst>
          </p:nvPr>
        </p:nvGraphicFramePr>
        <p:xfrm>
          <a:off x="5457070" y="5639785"/>
          <a:ext cx="1512425" cy="1193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12425"/>
              </a:tblGrid>
              <a:tr h="353376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ongja</a:t>
                      </a:r>
                      <a:r>
                        <a:rPr lang="en-US" altLang="ko-KR" sz="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~ </a:t>
                      </a:r>
                      <a:r>
                        <a:rPr lang="en-US" altLang="ko-KR" sz="900" b="1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wanggyo</a:t>
                      </a:r>
                      <a:endParaRPr lang="en-US" altLang="ko-KR" sz="900" b="1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2.8km)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  <a:alpha val="90000"/>
                      </a:schemeClr>
                    </a:solidFill>
                  </a:tcPr>
                </a:tc>
              </a:tr>
              <a:tr h="330130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ruction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: 5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ears</a:t>
                      </a:r>
                      <a:b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eb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1 ~ Feb 2016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  <a:tr h="204602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D 1.3 </a:t>
                      </a:r>
                      <a:r>
                        <a:rPr lang="en-US" altLang="ko-KR" sz="900" b="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l</a:t>
                      </a:r>
                      <a:endParaRPr lang="en-US" altLang="ko-KR" sz="900" b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  <a:tr h="204602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w operating…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5" name="Table 76"/>
          <p:cNvGraphicFramePr>
            <a:graphicFrameLocks noGrp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31599256"/>
              </p:ext>
            </p:extLst>
          </p:nvPr>
        </p:nvGraphicFramePr>
        <p:xfrm>
          <a:off x="632185" y="5639785"/>
          <a:ext cx="1512425" cy="1193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12425"/>
              </a:tblGrid>
              <a:tr h="346716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ongsan</a:t>
                      </a:r>
                      <a:r>
                        <a:rPr lang="en-US" altLang="ko-KR" sz="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~ Gangnam</a:t>
                      </a:r>
                    </a:p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.8km)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  <a:alpha val="90000"/>
                      </a:schemeClr>
                    </a:solidFill>
                  </a:tcPr>
                </a:tc>
              </a:tr>
              <a:tr h="323908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ruction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: 6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ears (Aug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6 ~ Aug 2022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  <a:tr h="215526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D 1.2 </a:t>
                      </a:r>
                      <a:r>
                        <a:rPr lang="en-US" altLang="ko-KR" sz="900" b="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l</a:t>
                      </a:r>
                      <a:endParaRPr lang="en-US" altLang="ko-KR" sz="900" b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  <a:tr h="215526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der Construction…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6" name="Table 76"/>
          <p:cNvGraphicFramePr>
            <a:graphicFrameLocks noGrp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82718139"/>
              </p:ext>
            </p:extLst>
          </p:nvPr>
        </p:nvGraphicFramePr>
        <p:xfrm>
          <a:off x="3089884" y="458636"/>
          <a:ext cx="3377690" cy="97550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05481"/>
                <a:gridCol w="2572209"/>
              </a:tblGrid>
              <a:tr h="243877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cap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Project</a:t>
                      </a:r>
                      <a:endParaRPr lang="ko-KR" altLang="en-US" sz="900" b="1" cap="non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  <a:alpha val="9490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inbundang</a:t>
                      </a:r>
                      <a:r>
                        <a:rPr lang="en-US" altLang="ko-KR" sz="9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X Line Project (39.1km)</a:t>
                      </a:r>
                      <a:endParaRPr lang="en-US" altLang="ko-KR" sz="9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  <a:tr h="243877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cap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Location</a:t>
                      </a: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  <a:alpha val="9490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ongsan</a:t>
                      </a:r>
                      <a:r>
                        <a:rPr lang="en-US" altLang="ko-KR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Seoul</a:t>
                      </a:r>
                      <a:r>
                        <a:rPr lang="ko-KR" altLang="en-US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 </a:t>
                      </a:r>
                      <a:r>
                        <a:rPr lang="en-US" altLang="ko-KR" sz="9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wanggyo</a:t>
                      </a:r>
                      <a:r>
                        <a:rPr lang="en-US" altLang="ko-KR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won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  <a:tr h="243877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cap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Period</a:t>
                      </a:r>
                      <a:endParaRPr lang="ko-KR" altLang="en-US" sz="900" b="1" cap="non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  <a:alpha val="9490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ruction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: 5~</a:t>
                      </a: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5 years, O&amp;M : 30 years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  <a:tr h="243877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cap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TIC</a:t>
                      </a:r>
                      <a:endParaRPr lang="ko-KR" altLang="en-US" sz="900" b="1" cap="non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  <a:alpha val="9490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D 4.1 </a:t>
                      </a:r>
                      <a:r>
                        <a:rPr lang="en-US" altLang="ko-KR" sz="900" b="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l</a:t>
                      </a: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EPC : USD 3.6 </a:t>
                      </a:r>
                      <a:r>
                        <a:rPr lang="en-US" altLang="ko-KR" sz="900" b="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l</a:t>
                      </a: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6" name="타원 25"/>
          <p:cNvSpPr/>
          <p:nvPr>
            <p:custDataLst>
              <p:tags r:id="rId21"/>
            </p:custDataLst>
          </p:nvPr>
        </p:nvSpPr>
        <p:spPr bwMode="auto">
          <a:xfrm>
            <a:off x="2638055" y="5172559"/>
            <a:ext cx="224631" cy="224631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 dirty="0" smtClean="0">
                <a:solidFill>
                  <a:srgbClr val="FFFFFF"/>
                </a:solidFill>
                <a:latin typeface="Arial" charset="0"/>
              </a:rPr>
              <a:t>1</a:t>
            </a:r>
            <a:endParaRPr lang="ko-KR" altLang="en-US" sz="1400" b="1" dirty="0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7" name="타원 26"/>
          <p:cNvSpPr/>
          <p:nvPr>
            <p:custDataLst>
              <p:tags r:id="rId22"/>
            </p:custDataLst>
          </p:nvPr>
        </p:nvSpPr>
        <p:spPr bwMode="auto">
          <a:xfrm>
            <a:off x="5233462" y="5163594"/>
            <a:ext cx="224631" cy="224631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 dirty="0" smtClean="0">
                <a:solidFill>
                  <a:srgbClr val="FFFFFF"/>
                </a:solidFill>
                <a:latin typeface="Arial" charset="0"/>
              </a:rPr>
              <a:t>2</a:t>
            </a:r>
            <a:endParaRPr lang="ko-KR" altLang="en-US" sz="1400" b="1" dirty="0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8" name="타원 27"/>
          <p:cNvSpPr/>
          <p:nvPr>
            <p:custDataLst>
              <p:tags r:id="rId23"/>
            </p:custDataLst>
          </p:nvPr>
        </p:nvSpPr>
        <p:spPr bwMode="auto">
          <a:xfrm>
            <a:off x="848104" y="5130709"/>
            <a:ext cx="224631" cy="224631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latinLnBrk="0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 dirty="0" smtClean="0">
                <a:solidFill>
                  <a:srgbClr val="FFFFFF"/>
                </a:solidFill>
                <a:latin typeface="Arial" charset="0"/>
              </a:rPr>
              <a:t>3</a:t>
            </a:r>
            <a:endParaRPr lang="ko-KR" altLang="en-US" sz="1400" b="1" dirty="0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9" name="Rectangle 3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237343" y="6021360"/>
            <a:ext cx="2468317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spcBef>
                <a:spcPts val="200"/>
              </a:spcBef>
              <a:spcAft>
                <a:spcPts val="180"/>
              </a:spcAft>
              <a:buFontTx/>
              <a:buNone/>
            </a:pPr>
            <a:r>
              <a:rPr lang="en-US" altLang="ko-KR" sz="1400" b="1" dirty="0" smtClean="0">
                <a:solidFill>
                  <a:srgbClr val="000000"/>
                </a:solidFill>
              </a:rPr>
              <a:t>* </a:t>
            </a:r>
            <a:r>
              <a:rPr lang="en-US" altLang="ko-KR" sz="1400" b="1" u="sng" dirty="0" err="1" smtClean="0">
                <a:solidFill>
                  <a:srgbClr val="000000"/>
                </a:solidFill>
              </a:rPr>
              <a:t>Shinbundang</a:t>
            </a:r>
            <a:r>
              <a:rPr lang="en-US" altLang="ko-KR" sz="1400" b="1" u="sng" dirty="0" smtClean="0">
                <a:solidFill>
                  <a:srgbClr val="000000"/>
                </a:solidFill>
              </a:rPr>
              <a:t> DX Line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 :</a:t>
            </a:r>
            <a:br>
              <a:rPr lang="en-US" altLang="ko-KR" sz="1400" b="1" dirty="0" smtClean="0">
                <a:solidFill>
                  <a:srgbClr val="000000"/>
                </a:solidFill>
              </a:rPr>
            </a:br>
            <a:r>
              <a:rPr lang="en-US" altLang="ko-KR" sz="1400" b="1" dirty="0" smtClean="0">
                <a:solidFill>
                  <a:srgbClr val="000000"/>
                </a:solidFill>
              </a:rPr>
              <a:t> First domestic driverless</a:t>
            </a:r>
            <a:br>
              <a:rPr lang="en-US" altLang="ko-KR" sz="1400" b="1" dirty="0" smtClean="0">
                <a:solidFill>
                  <a:srgbClr val="000000"/>
                </a:solidFill>
              </a:rPr>
            </a:br>
            <a:r>
              <a:rPr lang="en-US" altLang="ko-KR" sz="1400" b="1" dirty="0" smtClean="0">
                <a:solidFill>
                  <a:srgbClr val="000000"/>
                </a:solidFill>
              </a:rPr>
              <a:t>     operating subway </a:t>
            </a:r>
          </a:p>
        </p:txBody>
      </p:sp>
      <p:sp>
        <p:nvSpPr>
          <p:cNvPr id="31" name="제목 1"/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273000" y="57089"/>
            <a:ext cx="4391960" cy="318924"/>
          </a:xfrm>
        </p:spPr>
        <p:txBody>
          <a:bodyPr/>
          <a:lstStyle/>
          <a:p>
            <a:r>
              <a:rPr lang="en-US" altLang="ko-KR" dirty="0" err="1" smtClean="0">
                <a:solidFill>
                  <a:schemeClr val="bg1"/>
                </a:solidFill>
              </a:rPr>
              <a:t>Shinbundang</a:t>
            </a:r>
            <a:r>
              <a:rPr lang="en-US" altLang="ko-KR" dirty="0" smtClean="0">
                <a:solidFill>
                  <a:schemeClr val="bg1"/>
                </a:solidFill>
              </a:rPr>
              <a:t> DX Line PPP Project : Outline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2" name="타원 1"/>
          <p:cNvSpPr/>
          <p:nvPr>
            <p:custDataLst>
              <p:tags r:id="rId26"/>
            </p:custDataLst>
          </p:nvPr>
        </p:nvSpPr>
        <p:spPr bwMode="auto">
          <a:xfrm>
            <a:off x="6177170" y="1700760"/>
            <a:ext cx="2232310" cy="1800870"/>
          </a:xfrm>
          <a:prstGeom prst="ellipse">
            <a:avLst/>
          </a:prstGeom>
          <a:noFill/>
          <a:ln w="31750" cap="flat" cmpd="sng" algn="ctr">
            <a:solidFill>
              <a:srgbClr val="FF0000"/>
            </a:solidFill>
            <a:prstDash val="sysDash"/>
            <a:miter lim="800000"/>
          </a:ln>
          <a:effectLst>
            <a:outerShdw blurRad="63500" dist="25400" dir="2700000" algn="tl" rotWithShape="0">
              <a:prstClr val="black">
                <a:alpha val="45000"/>
              </a:prstClr>
            </a:outerShdw>
          </a:effectLst>
          <a:extLst/>
        </p:spPr>
        <p:txBody>
          <a:bodyPr lIns="45720" tIns="27432" rIns="45720" bIns="27432" rtlCol="0" anchor="ctr"/>
          <a:lstStyle/>
          <a:p>
            <a:pPr algn="ctr" defTabSz="914400" latinLnBrk="0">
              <a:lnSpc>
                <a:spcPct val="90000"/>
              </a:lnSpc>
            </a:pPr>
            <a:endParaRPr lang="ko-KR" altLang="en-US" sz="1200" b="1" kern="0" dirty="0" smtClean="0">
              <a:solidFill>
                <a:srgbClr val="FFFFFF"/>
              </a:solidFill>
            </a:endParaRPr>
          </a:p>
        </p:txBody>
      </p:sp>
      <p:sp>
        <p:nvSpPr>
          <p:cNvPr id="30" name="타원 29"/>
          <p:cNvSpPr/>
          <p:nvPr>
            <p:custDataLst>
              <p:tags r:id="rId27"/>
            </p:custDataLst>
          </p:nvPr>
        </p:nvSpPr>
        <p:spPr bwMode="auto">
          <a:xfrm>
            <a:off x="3800840" y="1428569"/>
            <a:ext cx="1641799" cy="1352341"/>
          </a:xfrm>
          <a:prstGeom prst="ellipse">
            <a:avLst/>
          </a:prstGeom>
          <a:noFill/>
          <a:ln w="31750" cap="flat" cmpd="sng" algn="ctr">
            <a:solidFill>
              <a:srgbClr val="FF0000"/>
            </a:solidFill>
            <a:prstDash val="sysDash"/>
            <a:miter lim="800000"/>
          </a:ln>
          <a:effectLst>
            <a:outerShdw blurRad="63500" dist="25400" dir="2700000" algn="tl" rotWithShape="0">
              <a:prstClr val="black">
                <a:alpha val="45000"/>
              </a:prstClr>
            </a:outerShdw>
          </a:effectLst>
          <a:extLst/>
        </p:spPr>
        <p:txBody>
          <a:bodyPr lIns="45720" tIns="27432" rIns="45720" bIns="27432" rtlCol="0" anchor="ctr"/>
          <a:lstStyle/>
          <a:p>
            <a:pPr algn="ctr" defTabSz="914400" latinLnBrk="0">
              <a:lnSpc>
                <a:spcPct val="90000"/>
              </a:lnSpc>
            </a:pPr>
            <a:endParaRPr lang="ko-KR" altLang="en-US" sz="1200" b="1" kern="0" dirty="0" smtClean="0">
              <a:solidFill>
                <a:srgbClr val="FFFFFF"/>
              </a:solidFill>
            </a:endParaRPr>
          </a:p>
        </p:txBody>
      </p:sp>
      <p:sp>
        <p:nvSpPr>
          <p:cNvPr id="32" name="타원 31"/>
          <p:cNvSpPr/>
          <p:nvPr>
            <p:custDataLst>
              <p:tags r:id="rId28"/>
            </p:custDataLst>
          </p:nvPr>
        </p:nvSpPr>
        <p:spPr bwMode="auto">
          <a:xfrm>
            <a:off x="239751" y="3202647"/>
            <a:ext cx="2232310" cy="1800870"/>
          </a:xfrm>
          <a:prstGeom prst="ellipse">
            <a:avLst/>
          </a:prstGeom>
          <a:noFill/>
          <a:ln w="31750" cap="flat" cmpd="sng" algn="ctr">
            <a:solidFill>
              <a:srgbClr val="FF0000"/>
            </a:solidFill>
            <a:prstDash val="sysDash"/>
            <a:miter lim="800000"/>
          </a:ln>
          <a:effectLst>
            <a:outerShdw blurRad="63500" dist="25400" dir="2700000" algn="tl" rotWithShape="0">
              <a:prstClr val="black">
                <a:alpha val="45000"/>
              </a:prstClr>
            </a:outerShdw>
          </a:effectLst>
          <a:extLst/>
        </p:spPr>
        <p:txBody>
          <a:bodyPr lIns="45720" tIns="27432" rIns="45720" bIns="27432" rtlCol="0" anchor="ctr"/>
          <a:lstStyle/>
          <a:p>
            <a:pPr algn="ctr" defTabSz="914400" latinLnBrk="0">
              <a:lnSpc>
                <a:spcPct val="90000"/>
              </a:lnSpc>
            </a:pPr>
            <a:endParaRPr lang="ko-KR" altLang="en-US" sz="1200" b="1" kern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649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개체 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06734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25400" dir="2700000" algn="tl" rotWithShape="0">
                    <a:prstClr val="black">
                      <a:alpha val="45000"/>
                    </a:prst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ctr" defTabSz="914400" latinLnBrk="0">
              <a:spcBef>
                <a:spcPct val="0"/>
              </a:spcBef>
              <a:spcAft>
                <a:spcPct val="0"/>
              </a:spcAft>
            </a:pPr>
            <a:endParaRPr lang="ko-KR" altLang="en-US" sz="1200" kern="0" dirty="0" smtClean="0">
              <a:solidFill>
                <a:schemeClr val="bg1"/>
              </a:solidFill>
              <a:latin typeface="Noto Sans CJK KR Regular"/>
              <a:ea typeface="Noto Sans CJK KR Regular"/>
              <a:sym typeface="Noto Sans CJK KR Regular"/>
            </a:endParaRPr>
          </a:p>
        </p:txBody>
      </p:sp>
      <p:pic>
        <p:nvPicPr>
          <p:cNvPr id="43010" name="그림 43009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9">
            <a:extLst>
              <a:ext uri="{BEBA8EAE-BF5A-486C-A8C5-ECC9F3942E4B}">
                <a14:imgProps xmlns:a14="http://schemas.microsoft.com/office/drawing/2010/main">
                  <a14:imgLayer r:embed="rId60">
                    <a14:imgEffect>
                      <a14:sharpenSoften amoun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0" y="431327"/>
            <a:ext cx="9903470" cy="6436247"/>
          </a:xfrm>
          <a:prstGeom prst="rect">
            <a:avLst/>
          </a:prstGeom>
        </p:spPr>
      </p:pic>
      <p:sp>
        <p:nvSpPr>
          <p:cNvPr id="64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761390" y="838200"/>
            <a:ext cx="2016280" cy="1008140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8" name="그룹 7"/>
          <p:cNvGrpSpPr/>
          <p:nvPr>
            <p:custDataLst>
              <p:tags r:id="rId6"/>
            </p:custDataLst>
          </p:nvPr>
        </p:nvGrpSpPr>
        <p:grpSpPr>
          <a:xfrm rot="16200000">
            <a:off x="2914286" y="3011151"/>
            <a:ext cx="589584" cy="1037069"/>
            <a:chOff x="4506663" y="2852936"/>
            <a:chExt cx="751833" cy="684076"/>
          </a:xfrm>
        </p:grpSpPr>
        <p:cxnSp>
          <p:nvCxnSpPr>
            <p:cNvPr id="9" name="직선 화살표 연결선 8"/>
            <p:cNvCxnSpPr/>
            <p:nvPr/>
          </p:nvCxnSpPr>
          <p:spPr bwMode="auto">
            <a:xfrm flipV="1">
              <a:off x="4506663" y="2852936"/>
              <a:ext cx="0" cy="684076"/>
            </a:xfrm>
            <a:prstGeom prst="straightConnector1">
              <a:avLst/>
            </a:prstGeom>
            <a:solidFill>
              <a:schemeClr val="bg1"/>
            </a:solidFill>
            <a:ln w="571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cxnSp>
        <p:cxnSp>
          <p:nvCxnSpPr>
            <p:cNvPr id="10" name="직선 화살표 연결선 9"/>
            <p:cNvCxnSpPr/>
            <p:nvPr/>
          </p:nvCxnSpPr>
          <p:spPr bwMode="auto">
            <a:xfrm>
              <a:off x="5258496" y="2852936"/>
              <a:ext cx="0" cy="684076"/>
            </a:xfrm>
            <a:prstGeom prst="straightConnector1">
              <a:avLst/>
            </a:prstGeom>
            <a:solidFill>
              <a:schemeClr val="bg1"/>
            </a:solidFill>
            <a:ln w="571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cxnSp>
        <p:sp>
          <p:nvSpPr>
            <p:cNvPr id="11" name="직사각형 10"/>
            <p:cNvSpPr/>
            <p:nvPr/>
          </p:nvSpPr>
          <p:spPr bwMode="auto">
            <a:xfrm>
              <a:off x="4520952" y="2852936"/>
              <a:ext cx="720080" cy="68407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6800" rIns="91440" bIns="468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 latinLnBrk="0">
                <a:spcBef>
                  <a:spcPct val="0"/>
                </a:spcBef>
                <a:spcAft>
                  <a:spcPct val="0"/>
                </a:spcAft>
              </a:pPr>
              <a:endParaRPr lang="ko-KR" altLang="en-US" sz="11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2" name="그룹 11"/>
          <p:cNvGrpSpPr/>
          <p:nvPr>
            <p:custDataLst>
              <p:tags r:id="rId7"/>
            </p:custDataLst>
          </p:nvPr>
        </p:nvGrpSpPr>
        <p:grpSpPr>
          <a:xfrm rot="5400000" flipH="1">
            <a:off x="6082112" y="2999195"/>
            <a:ext cx="589584" cy="1060983"/>
            <a:chOff x="4506663" y="2852936"/>
            <a:chExt cx="751833" cy="684076"/>
          </a:xfrm>
        </p:grpSpPr>
        <p:cxnSp>
          <p:nvCxnSpPr>
            <p:cNvPr id="13" name="직선 화살표 연결선 12"/>
            <p:cNvCxnSpPr/>
            <p:nvPr/>
          </p:nvCxnSpPr>
          <p:spPr bwMode="auto">
            <a:xfrm flipV="1">
              <a:off x="4506663" y="2852936"/>
              <a:ext cx="0" cy="684076"/>
            </a:xfrm>
            <a:prstGeom prst="straightConnector1">
              <a:avLst/>
            </a:prstGeom>
            <a:solidFill>
              <a:schemeClr val="bg1"/>
            </a:solidFill>
            <a:ln w="571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cxnSp>
        <p:cxnSp>
          <p:nvCxnSpPr>
            <p:cNvPr id="14" name="직선 화살표 연결선 13"/>
            <p:cNvCxnSpPr/>
            <p:nvPr/>
          </p:nvCxnSpPr>
          <p:spPr bwMode="auto">
            <a:xfrm>
              <a:off x="5258496" y="2852936"/>
              <a:ext cx="0" cy="684076"/>
            </a:xfrm>
            <a:prstGeom prst="straightConnector1">
              <a:avLst/>
            </a:prstGeom>
            <a:solidFill>
              <a:schemeClr val="bg1"/>
            </a:solidFill>
            <a:ln w="571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cxnSp>
        <p:sp>
          <p:nvSpPr>
            <p:cNvPr id="15" name="직사각형 14"/>
            <p:cNvSpPr/>
            <p:nvPr/>
          </p:nvSpPr>
          <p:spPr bwMode="auto">
            <a:xfrm>
              <a:off x="4520952" y="2852936"/>
              <a:ext cx="720080" cy="68407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6800" rIns="91440" bIns="468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 latinLnBrk="0">
                <a:spcBef>
                  <a:spcPct val="0"/>
                </a:spcBef>
                <a:spcAft>
                  <a:spcPct val="0"/>
                </a:spcAft>
              </a:pPr>
              <a:endParaRPr lang="ko-KR" altLang="en-US" sz="11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그룹 15"/>
          <p:cNvGrpSpPr/>
          <p:nvPr>
            <p:custDataLst>
              <p:tags r:id="rId8"/>
            </p:custDataLst>
          </p:nvPr>
        </p:nvGrpSpPr>
        <p:grpSpPr>
          <a:xfrm>
            <a:off x="4494822" y="3972974"/>
            <a:ext cx="606168" cy="1023367"/>
            <a:chOff x="4506663" y="2852936"/>
            <a:chExt cx="751833" cy="684076"/>
          </a:xfrm>
        </p:grpSpPr>
        <p:cxnSp>
          <p:nvCxnSpPr>
            <p:cNvPr id="17" name="직선 화살표 연결선 16"/>
            <p:cNvCxnSpPr/>
            <p:nvPr/>
          </p:nvCxnSpPr>
          <p:spPr bwMode="auto">
            <a:xfrm flipV="1">
              <a:off x="4506663" y="2852936"/>
              <a:ext cx="0" cy="684076"/>
            </a:xfrm>
            <a:prstGeom prst="straightConnector1">
              <a:avLst/>
            </a:prstGeom>
            <a:solidFill>
              <a:schemeClr val="bg1"/>
            </a:solidFill>
            <a:ln w="571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cxnSp>
        <p:cxnSp>
          <p:nvCxnSpPr>
            <p:cNvPr id="18" name="직선 화살표 연결선 17"/>
            <p:cNvCxnSpPr/>
            <p:nvPr/>
          </p:nvCxnSpPr>
          <p:spPr bwMode="auto">
            <a:xfrm>
              <a:off x="5258496" y="2852936"/>
              <a:ext cx="0" cy="684076"/>
            </a:xfrm>
            <a:prstGeom prst="straightConnector1">
              <a:avLst/>
            </a:prstGeom>
            <a:solidFill>
              <a:schemeClr val="bg1"/>
            </a:solidFill>
            <a:ln w="571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cxnSp>
        <p:sp>
          <p:nvSpPr>
            <p:cNvPr id="19" name="직사각형 18"/>
            <p:cNvSpPr/>
            <p:nvPr/>
          </p:nvSpPr>
          <p:spPr bwMode="auto">
            <a:xfrm>
              <a:off x="4520952" y="2852936"/>
              <a:ext cx="720080" cy="68407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6800" rIns="91440" bIns="468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 latinLnBrk="0">
                <a:spcBef>
                  <a:spcPct val="0"/>
                </a:spcBef>
                <a:spcAft>
                  <a:spcPct val="0"/>
                </a:spcAft>
              </a:pPr>
              <a:endParaRPr lang="ko-KR" altLang="en-US" sz="11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0" name="그룹 19"/>
          <p:cNvGrpSpPr/>
          <p:nvPr>
            <p:custDataLst>
              <p:tags r:id="rId9"/>
            </p:custDataLst>
          </p:nvPr>
        </p:nvGrpSpPr>
        <p:grpSpPr>
          <a:xfrm>
            <a:off x="4494822" y="1781876"/>
            <a:ext cx="606168" cy="1264125"/>
            <a:chOff x="4506663" y="2852936"/>
            <a:chExt cx="751833" cy="684076"/>
          </a:xfrm>
        </p:grpSpPr>
        <p:cxnSp>
          <p:nvCxnSpPr>
            <p:cNvPr id="21" name="직선 화살표 연결선 20"/>
            <p:cNvCxnSpPr/>
            <p:nvPr/>
          </p:nvCxnSpPr>
          <p:spPr bwMode="auto">
            <a:xfrm flipV="1">
              <a:off x="4506663" y="2852936"/>
              <a:ext cx="0" cy="684076"/>
            </a:xfrm>
            <a:prstGeom prst="straightConnector1">
              <a:avLst/>
            </a:prstGeom>
            <a:solidFill>
              <a:schemeClr val="bg1"/>
            </a:solidFill>
            <a:ln w="571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cxnSp>
        <p:cxnSp>
          <p:nvCxnSpPr>
            <p:cNvPr id="22" name="직선 화살표 연결선 21"/>
            <p:cNvCxnSpPr/>
            <p:nvPr/>
          </p:nvCxnSpPr>
          <p:spPr bwMode="auto">
            <a:xfrm>
              <a:off x="5258496" y="2852936"/>
              <a:ext cx="0" cy="684076"/>
            </a:xfrm>
            <a:prstGeom prst="straightConnector1">
              <a:avLst/>
            </a:prstGeom>
            <a:solidFill>
              <a:schemeClr val="bg1"/>
            </a:solidFill>
            <a:ln w="57150" cap="flat" cmpd="sng" algn="ctr">
              <a:solidFill>
                <a:schemeClr val="tx2">
                  <a:lumMod val="75000"/>
                </a:schemeClr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cxnSp>
        <p:sp>
          <p:nvSpPr>
            <p:cNvPr id="23" name="직사각형 22"/>
            <p:cNvSpPr/>
            <p:nvPr/>
          </p:nvSpPr>
          <p:spPr bwMode="auto">
            <a:xfrm>
              <a:off x="4520952" y="2852936"/>
              <a:ext cx="720080" cy="68407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6800" rIns="91440" bIns="468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base" latinLnBrk="0">
                <a:spcBef>
                  <a:spcPct val="0"/>
                </a:spcBef>
                <a:spcAft>
                  <a:spcPct val="0"/>
                </a:spcAft>
              </a:pPr>
              <a:endParaRPr lang="ko-KR" altLang="en-US" sz="1100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4" name="모서리가 둥근 직사각형 23"/>
          <p:cNvSpPr/>
          <p:nvPr>
            <p:custDataLst>
              <p:tags r:id="rId10"/>
            </p:custDataLst>
          </p:nvPr>
        </p:nvSpPr>
        <p:spPr bwMode="auto">
          <a:xfrm>
            <a:off x="3727613" y="3046001"/>
            <a:ext cx="2118799" cy="926974"/>
          </a:xfrm>
          <a:prstGeom prst="roundRect">
            <a:avLst/>
          </a:prstGeom>
          <a:solidFill>
            <a:schemeClr val="accent6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46800" rIns="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600" b="1" dirty="0" smtClean="0">
                <a:solidFill>
                  <a:srgbClr val="FFFFFF"/>
                </a:solidFill>
              </a:rPr>
              <a:t>SPC</a:t>
            </a:r>
          </a:p>
          <a:p>
            <a:pPr algn="ctr"/>
            <a:r>
              <a:rPr lang="en-US" altLang="ko-KR" sz="1200" dirty="0" err="1" smtClean="0">
                <a:solidFill>
                  <a:srgbClr val="FFFFFF"/>
                </a:solidFill>
              </a:rPr>
              <a:t>Shinbundang</a:t>
            </a:r>
            <a:r>
              <a:rPr lang="en-US" altLang="ko-KR" sz="1200" dirty="0" smtClean="0">
                <a:solidFill>
                  <a:srgbClr val="FFFFFF"/>
                </a:solidFill>
              </a:rPr>
              <a:t> DX Line</a:t>
            </a:r>
            <a:endParaRPr lang="ko-KR" altLang="en-US" sz="1200" dirty="0">
              <a:solidFill>
                <a:srgbClr val="FFFFFF"/>
              </a:solidFill>
            </a:endParaRPr>
          </a:p>
        </p:txBody>
      </p:sp>
      <p:sp>
        <p:nvSpPr>
          <p:cNvPr id="25" name="모서리가 둥근 직사각형 24"/>
          <p:cNvSpPr/>
          <p:nvPr>
            <p:custDataLst>
              <p:tags r:id="rId11"/>
            </p:custDataLst>
          </p:nvPr>
        </p:nvSpPr>
        <p:spPr bwMode="auto">
          <a:xfrm>
            <a:off x="3727613" y="764630"/>
            <a:ext cx="2118799" cy="1017246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46800" rIns="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600" b="1" dirty="0" smtClean="0">
                <a:solidFill>
                  <a:srgbClr val="000000"/>
                </a:solidFill>
              </a:rPr>
              <a:t>Client</a:t>
            </a:r>
          </a:p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Ministry of Land, Infrastructure and Transport</a:t>
            </a:r>
          </a:p>
        </p:txBody>
      </p:sp>
      <p:sp>
        <p:nvSpPr>
          <p:cNvPr id="26" name="모서리가 둥근 직사각형 25"/>
          <p:cNvSpPr/>
          <p:nvPr>
            <p:custDataLst>
              <p:tags r:id="rId12"/>
            </p:custDataLst>
          </p:nvPr>
        </p:nvSpPr>
        <p:spPr bwMode="auto">
          <a:xfrm>
            <a:off x="3727613" y="4991476"/>
            <a:ext cx="2118799" cy="926974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46800" rIns="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600" b="1" dirty="0" smtClean="0">
                <a:solidFill>
                  <a:srgbClr val="000000"/>
                </a:solidFill>
              </a:rPr>
              <a:t>Equity</a:t>
            </a:r>
          </a:p>
          <a:p>
            <a:pPr algn="ctr">
              <a:lnSpc>
                <a:spcPct val="150000"/>
              </a:lnSpc>
            </a:pPr>
            <a:r>
              <a:rPr lang="en-US" altLang="ko-KR" sz="1200" dirty="0" smtClean="0">
                <a:solidFill>
                  <a:srgbClr val="000000"/>
                </a:solidFill>
              </a:rPr>
              <a:t>(CI, FI),</a:t>
            </a:r>
          </a:p>
        </p:txBody>
      </p:sp>
      <p:sp>
        <p:nvSpPr>
          <p:cNvPr id="27" name="모서리가 둥근 직사각형 26"/>
          <p:cNvSpPr/>
          <p:nvPr>
            <p:custDataLst>
              <p:tags r:id="rId13"/>
            </p:custDataLst>
          </p:nvPr>
        </p:nvSpPr>
        <p:spPr bwMode="auto">
          <a:xfrm>
            <a:off x="558082" y="2706563"/>
            <a:ext cx="2118799" cy="696450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46800" rIns="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600" b="1" dirty="0" smtClean="0">
                <a:solidFill>
                  <a:srgbClr val="000000"/>
                </a:solidFill>
              </a:rPr>
              <a:t>EPC</a:t>
            </a:r>
          </a:p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Doosan E&amp;C</a:t>
            </a:r>
            <a:br>
              <a:rPr lang="en-US" altLang="ko-KR" sz="1200" dirty="0" smtClean="0">
                <a:solidFill>
                  <a:srgbClr val="000000"/>
                </a:solidFill>
              </a:rPr>
            </a:br>
            <a:r>
              <a:rPr lang="en-US" altLang="ko-KR" sz="1200" u="sng" dirty="0" smtClean="0">
                <a:solidFill>
                  <a:srgbClr val="000000"/>
                </a:solidFill>
              </a:rPr>
              <a:t>Consortium</a:t>
            </a:r>
          </a:p>
        </p:txBody>
      </p:sp>
      <p:sp>
        <p:nvSpPr>
          <p:cNvPr id="28" name="모서리가 둥근 직사각형 27"/>
          <p:cNvSpPr/>
          <p:nvPr>
            <p:custDataLst>
              <p:tags r:id="rId14"/>
            </p:custDataLst>
          </p:nvPr>
        </p:nvSpPr>
        <p:spPr bwMode="auto">
          <a:xfrm>
            <a:off x="6907395" y="3046001"/>
            <a:ext cx="2118799" cy="926974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46800" rIns="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600" b="1" dirty="0" smtClean="0">
                <a:solidFill>
                  <a:srgbClr val="000000"/>
                </a:solidFill>
              </a:rPr>
              <a:t>Debt</a:t>
            </a:r>
          </a:p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The Korea</a:t>
            </a:r>
          </a:p>
          <a:p>
            <a:pPr algn="ctr"/>
            <a:r>
              <a:rPr lang="en-US" altLang="ko-KR" sz="1200" dirty="0" smtClean="0">
                <a:solidFill>
                  <a:srgbClr val="000000"/>
                </a:solidFill>
              </a:rPr>
              <a:t>Development Bank</a:t>
            </a:r>
          </a:p>
        </p:txBody>
      </p:sp>
      <p:sp>
        <p:nvSpPr>
          <p:cNvPr id="29" name="TextBox 28"/>
          <p:cNvSpPr txBox="1"/>
          <p:nvPr>
            <p:custDataLst>
              <p:tags r:id="rId15"/>
            </p:custDataLst>
          </p:nvPr>
        </p:nvSpPr>
        <p:spPr>
          <a:xfrm rot="5400000">
            <a:off x="4221494" y="2239083"/>
            <a:ext cx="11579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Implementation</a:t>
            </a:r>
          </a:p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Contract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30" name="TextBox 29"/>
          <p:cNvSpPr txBox="1"/>
          <p:nvPr>
            <p:custDataLst>
              <p:tags r:id="rId16"/>
            </p:custDataLst>
          </p:nvPr>
        </p:nvSpPr>
        <p:spPr>
          <a:xfrm rot="5400000">
            <a:off x="4284664" y="4304409"/>
            <a:ext cx="10048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Shareholder’s</a:t>
            </a:r>
          </a:p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agreement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31" name="TextBox 30"/>
          <p:cNvSpPr txBox="1"/>
          <p:nvPr>
            <p:custDataLst>
              <p:tags r:id="rId17"/>
            </p:custDataLst>
          </p:nvPr>
        </p:nvSpPr>
        <p:spPr>
          <a:xfrm>
            <a:off x="5960532" y="3348015"/>
            <a:ext cx="8055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Loan</a:t>
            </a:r>
            <a:br>
              <a:rPr lang="en-US" altLang="ko-KR" sz="1200" b="1" dirty="0" smtClean="0">
                <a:solidFill>
                  <a:srgbClr val="000000"/>
                </a:solidFill>
              </a:rPr>
            </a:br>
            <a:r>
              <a:rPr lang="en-US" altLang="ko-KR" sz="1200" b="1" dirty="0" smtClean="0">
                <a:solidFill>
                  <a:srgbClr val="000000"/>
                </a:solidFill>
              </a:rPr>
              <a:t>agreement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32" name="TextBox 31"/>
          <p:cNvSpPr txBox="1"/>
          <p:nvPr>
            <p:custDataLst>
              <p:tags r:id="rId18"/>
            </p:custDataLst>
          </p:nvPr>
        </p:nvSpPr>
        <p:spPr>
          <a:xfrm>
            <a:off x="2720690" y="3340693"/>
            <a:ext cx="102869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EPC,O&amp;M</a:t>
            </a:r>
          </a:p>
          <a:p>
            <a:pPr algn="ctr"/>
            <a:r>
              <a:rPr lang="en-US" altLang="ko-KR" sz="1200" b="1" dirty="0" smtClean="0">
                <a:solidFill>
                  <a:srgbClr val="000000"/>
                </a:solidFill>
              </a:rPr>
              <a:t>Contracts</a:t>
            </a:r>
            <a:endParaRPr lang="ko-KR" altLang="en-US" sz="1200" b="1" dirty="0" smtClean="0">
              <a:solidFill>
                <a:srgbClr val="000000"/>
              </a:solidFill>
            </a:endParaRPr>
          </a:p>
        </p:txBody>
      </p:sp>
      <p:sp>
        <p:nvSpPr>
          <p:cNvPr id="33" name="TextBox 32"/>
          <p:cNvSpPr txBox="1"/>
          <p:nvPr>
            <p:custDataLst>
              <p:tags r:id="rId19"/>
            </p:custDataLst>
          </p:nvPr>
        </p:nvSpPr>
        <p:spPr>
          <a:xfrm>
            <a:off x="3519087" y="2331627"/>
            <a:ext cx="111364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100" b="1" dirty="0" err="1" smtClean="0">
                <a:solidFill>
                  <a:srgbClr val="000000"/>
                </a:solidFill>
              </a:rPr>
              <a:t>Inkind</a:t>
            </a:r>
            <a:endParaRPr lang="en-US" altLang="ko-KR" sz="1100" b="1" dirty="0" smtClean="0">
              <a:solidFill>
                <a:srgbClr val="000000"/>
              </a:solidFill>
            </a:endParaRPr>
          </a:p>
          <a:p>
            <a:pPr algn="ctr"/>
            <a:r>
              <a:rPr lang="en-US" altLang="ko-KR" sz="1100" b="1" dirty="0" smtClean="0">
                <a:solidFill>
                  <a:srgbClr val="000000"/>
                </a:solidFill>
              </a:rPr>
              <a:t>Contribution</a:t>
            </a:r>
            <a:endParaRPr lang="ko-KR" altLang="en-US" sz="1100" b="1" dirty="0" smtClean="0">
              <a:solidFill>
                <a:srgbClr val="000000"/>
              </a:solidFill>
            </a:endParaRPr>
          </a:p>
        </p:txBody>
      </p:sp>
      <p:sp>
        <p:nvSpPr>
          <p:cNvPr id="34" name="TextBox 33"/>
          <p:cNvSpPr txBox="1"/>
          <p:nvPr>
            <p:custDataLst>
              <p:tags r:id="rId20"/>
            </p:custDataLst>
          </p:nvPr>
        </p:nvSpPr>
        <p:spPr>
          <a:xfrm>
            <a:off x="5116949" y="2331627"/>
            <a:ext cx="56417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rgbClr val="000000"/>
                </a:solidFill>
              </a:rPr>
              <a:t>O&amp;M</a:t>
            </a:r>
          </a:p>
          <a:p>
            <a:pPr algn="ctr"/>
            <a:r>
              <a:rPr lang="en-US" altLang="ko-KR" sz="1100" b="1" dirty="0" smtClean="0">
                <a:solidFill>
                  <a:srgbClr val="000000"/>
                </a:solidFill>
              </a:rPr>
              <a:t>Rights</a:t>
            </a:r>
            <a:endParaRPr lang="ko-KR" altLang="en-US" sz="1100" b="1" dirty="0" smtClean="0">
              <a:solidFill>
                <a:srgbClr val="000000"/>
              </a:solidFill>
            </a:endParaRPr>
          </a:p>
        </p:txBody>
      </p:sp>
      <p:sp>
        <p:nvSpPr>
          <p:cNvPr id="35" name="TextBox 34"/>
          <p:cNvSpPr txBox="1"/>
          <p:nvPr>
            <p:custDataLst>
              <p:tags r:id="rId21"/>
            </p:custDataLst>
          </p:nvPr>
        </p:nvSpPr>
        <p:spPr>
          <a:xfrm>
            <a:off x="2720691" y="3032454"/>
            <a:ext cx="78271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rgbClr val="000000"/>
                </a:solidFill>
              </a:rPr>
              <a:t>EPC/O&amp;M</a:t>
            </a:r>
            <a:endParaRPr lang="ko-KR" altLang="en-US" sz="1100" b="1" dirty="0" smtClean="0">
              <a:solidFill>
                <a:srgbClr val="000000"/>
              </a:solidFill>
            </a:endParaRPr>
          </a:p>
        </p:txBody>
      </p:sp>
      <p:sp>
        <p:nvSpPr>
          <p:cNvPr id="36" name="TextBox 35"/>
          <p:cNvSpPr txBox="1"/>
          <p:nvPr>
            <p:custDataLst>
              <p:tags r:id="rId22"/>
            </p:custDataLst>
          </p:nvPr>
        </p:nvSpPr>
        <p:spPr>
          <a:xfrm>
            <a:off x="2871036" y="3872334"/>
            <a:ext cx="87835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rgbClr val="000000"/>
                </a:solidFill>
              </a:rPr>
              <a:t>Payment</a:t>
            </a:r>
            <a:endParaRPr lang="ko-KR" altLang="en-US" sz="1100" b="1" dirty="0" smtClean="0">
              <a:solidFill>
                <a:srgbClr val="000000"/>
              </a:solidFill>
            </a:endParaRPr>
          </a:p>
        </p:txBody>
      </p:sp>
      <p:sp>
        <p:nvSpPr>
          <p:cNvPr id="37" name="TextBox 36"/>
          <p:cNvSpPr txBox="1"/>
          <p:nvPr>
            <p:custDataLst>
              <p:tags r:id="rId23"/>
            </p:custDataLst>
          </p:nvPr>
        </p:nvSpPr>
        <p:spPr>
          <a:xfrm>
            <a:off x="6184477" y="2988745"/>
            <a:ext cx="39727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rgbClr val="000000"/>
                </a:solidFill>
              </a:rPr>
              <a:t>Loan</a:t>
            </a:r>
            <a:endParaRPr lang="ko-KR" altLang="en-US" sz="1100" b="1" dirty="0" smtClean="0">
              <a:solidFill>
                <a:srgbClr val="000000"/>
              </a:solidFill>
            </a:endParaRPr>
          </a:p>
        </p:txBody>
      </p:sp>
      <p:sp>
        <p:nvSpPr>
          <p:cNvPr id="38" name="TextBox 37"/>
          <p:cNvSpPr txBox="1"/>
          <p:nvPr>
            <p:custDataLst>
              <p:tags r:id="rId24"/>
            </p:custDataLst>
          </p:nvPr>
        </p:nvSpPr>
        <p:spPr>
          <a:xfrm>
            <a:off x="5644581" y="3973938"/>
            <a:ext cx="144342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rgbClr val="000000"/>
                </a:solidFill>
              </a:rPr>
              <a:t>Principal and interest payments</a:t>
            </a:r>
            <a:endParaRPr lang="ko-KR" altLang="en-US" sz="1100" b="1" dirty="0" smtClean="0">
              <a:solidFill>
                <a:srgbClr val="000000"/>
              </a:solidFill>
            </a:endParaRPr>
          </a:p>
        </p:txBody>
      </p:sp>
      <p:sp>
        <p:nvSpPr>
          <p:cNvPr id="39" name="TextBox 38"/>
          <p:cNvSpPr txBox="1"/>
          <p:nvPr>
            <p:custDataLst>
              <p:tags r:id="rId25"/>
            </p:custDataLst>
          </p:nvPr>
        </p:nvSpPr>
        <p:spPr>
          <a:xfrm>
            <a:off x="3519087" y="4340322"/>
            <a:ext cx="96358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rgbClr val="000000"/>
                </a:solidFill>
              </a:rPr>
              <a:t>Investments</a:t>
            </a:r>
            <a:endParaRPr lang="ko-KR" altLang="en-US" sz="1100" b="1" dirty="0" smtClean="0">
              <a:solidFill>
                <a:srgbClr val="000000"/>
              </a:solidFill>
            </a:endParaRPr>
          </a:p>
        </p:txBody>
      </p:sp>
      <p:sp>
        <p:nvSpPr>
          <p:cNvPr id="40" name="TextBox 39"/>
          <p:cNvSpPr txBox="1"/>
          <p:nvPr>
            <p:custDataLst>
              <p:tags r:id="rId26"/>
            </p:custDataLst>
          </p:nvPr>
        </p:nvSpPr>
        <p:spPr>
          <a:xfrm>
            <a:off x="5097020" y="4340322"/>
            <a:ext cx="78430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rgbClr val="000000"/>
                </a:solidFill>
              </a:rPr>
              <a:t>Dividends</a:t>
            </a:r>
            <a:endParaRPr lang="ko-KR" altLang="en-US" sz="1100" b="1" dirty="0" smtClean="0">
              <a:solidFill>
                <a:srgbClr val="000000"/>
              </a:solidFill>
            </a:endParaRPr>
          </a:p>
        </p:txBody>
      </p:sp>
      <p:sp>
        <p:nvSpPr>
          <p:cNvPr id="50" name="Rectangle 3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503410" y="5955006"/>
            <a:ext cx="3449201" cy="420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 latinLnBrk="0">
              <a:spcBef>
                <a:spcPts val="200"/>
              </a:spcBef>
              <a:spcAft>
                <a:spcPts val="180"/>
              </a:spcAft>
              <a:buFontTx/>
              <a:buNone/>
            </a:pPr>
            <a:r>
              <a:rPr lang="en-US" altLang="ko-KR" sz="1200" b="1" dirty="0" smtClean="0">
                <a:solidFill>
                  <a:srgbClr val="000000"/>
                </a:solidFill>
              </a:rPr>
              <a:t>CI</a:t>
            </a:r>
            <a:r>
              <a:rPr lang="ko-KR" altLang="en-US" sz="1200" b="1" dirty="0" smtClean="0">
                <a:solidFill>
                  <a:srgbClr val="000000"/>
                </a:solidFill>
              </a:rPr>
              <a:t>＝</a:t>
            </a:r>
            <a:r>
              <a:rPr lang="en-US" altLang="ko-KR" sz="1200" b="1" dirty="0" smtClean="0">
                <a:solidFill>
                  <a:srgbClr val="000000"/>
                </a:solidFill>
              </a:rPr>
              <a:t>Doosan E&amp;C and others(7 companies)</a:t>
            </a:r>
          </a:p>
          <a:p>
            <a:pPr lvl="1" latinLnBrk="0">
              <a:spcBef>
                <a:spcPts val="200"/>
              </a:spcBef>
              <a:spcAft>
                <a:spcPts val="180"/>
              </a:spcAft>
              <a:buFontTx/>
              <a:buNone/>
            </a:pPr>
            <a:r>
              <a:rPr lang="en-US" altLang="ko-KR" sz="1200" b="1" dirty="0" smtClean="0">
                <a:solidFill>
                  <a:srgbClr val="000000"/>
                </a:solidFill>
              </a:rPr>
              <a:t>FI</a:t>
            </a:r>
            <a:r>
              <a:rPr lang="ko-KR" altLang="en-US" sz="1200" b="1" dirty="0" smtClean="0">
                <a:solidFill>
                  <a:srgbClr val="000000"/>
                </a:solidFill>
              </a:rPr>
              <a:t>＝</a:t>
            </a:r>
            <a:r>
              <a:rPr lang="en-US" altLang="ko-KR" sz="1200" b="1" dirty="0" smtClean="0">
                <a:solidFill>
                  <a:srgbClr val="000000"/>
                </a:solidFill>
              </a:rPr>
              <a:t>KDB Bank and others(3 companies)</a:t>
            </a:r>
          </a:p>
        </p:txBody>
      </p:sp>
      <p:pic>
        <p:nvPicPr>
          <p:cNvPr id="43012" name="Picture 4" descr="D:\Users\superwizet\Pictures\두산건설\두산 로고 110516\두산 로고 Full color version\Doosan_Logo_3C_RGB.jpg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155" y="3039119"/>
            <a:ext cx="477383" cy="271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3" name="Picture 5" descr="D:\Users\superwizet\Downloads\signature01.jpg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 rotWithShape="1"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85" t="63049" r="17076" b="22242"/>
          <a:stretch/>
        </p:blipFill>
        <p:spPr bwMode="auto">
          <a:xfrm>
            <a:off x="3790098" y="3542266"/>
            <a:ext cx="234538" cy="182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1" name="Picture 3" descr="D:\Users\superwizet\Downloads\logo.png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 rotWithShape="1"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099" b="-40135"/>
          <a:stretch/>
        </p:blipFill>
        <p:spPr bwMode="auto">
          <a:xfrm>
            <a:off x="3830441" y="1039807"/>
            <a:ext cx="283957" cy="390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4" descr="D:\Users\superwizet\Pictures\두산건설\두산 로고 110516\두산 로고 Full color version\Doosan_Logo_3C_RGB.jpg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9092" y="5532230"/>
            <a:ext cx="477383" cy="271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6" name="Picture 8" descr="D:\Users\superwizet\Downloads\KDB_CI_SC_Eng_JPG\KDB_CI_SC_Eng-2.jpg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2366" y="3408955"/>
            <a:ext cx="330785" cy="250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8" descr="D:\Users\superwizet\Downloads\KDB_CI_SC_Eng_JPG\KDB_CI_SC_Eng-2.jpg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7407" y="5534923"/>
            <a:ext cx="330785" cy="250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모서리가 둥근 직사각형 57"/>
          <p:cNvSpPr/>
          <p:nvPr>
            <p:custDataLst>
              <p:tags r:id="rId34"/>
            </p:custDataLst>
          </p:nvPr>
        </p:nvSpPr>
        <p:spPr bwMode="auto">
          <a:xfrm>
            <a:off x="558082" y="3673585"/>
            <a:ext cx="2118799" cy="696450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46800" rIns="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ko-KR" sz="1600" b="1" dirty="0" smtClean="0">
                <a:solidFill>
                  <a:srgbClr val="000000"/>
                </a:solidFill>
              </a:rPr>
              <a:t>O&amp;M</a:t>
            </a:r>
            <a:br>
              <a:rPr lang="en-US" altLang="ko-KR" sz="1600" b="1" dirty="0" smtClean="0">
                <a:solidFill>
                  <a:srgbClr val="000000"/>
                </a:solidFill>
              </a:rPr>
            </a:br>
            <a:r>
              <a:rPr lang="en-US" altLang="ko-KR" sz="1200" dirty="0" err="1" smtClean="0">
                <a:solidFill>
                  <a:srgbClr val="000000"/>
                </a:solidFill>
              </a:rPr>
              <a:t>Neotrans</a:t>
            </a:r>
            <a:endParaRPr lang="en-US" altLang="ko-KR" sz="1200" dirty="0" smtClean="0">
              <a:solidFill>
                <a:srgbClr val="000000"/>
              </a:solidFill>
            </a:endParaRPr>
          </a:p>
        </p:txBody>
      </p:sp>
      <p:pic>
        <p:nvPicPr>
          <p:cNvPr id="43018" name="Picture 10" descr="D:\Users\superwizet\Downloads\spc_img02.jpg"/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 rotWithShape="1"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25" t="31417" r="65305" b="21399"/>
          <a:stretch/>
        </p:blipFill>
        <p:spPr bwMode="auto">
          <a:xfrm>
            <a:off x="756081" y="3958049"/>
            <a:ext cx="357873" cy="341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>
            <p:custDataLst>
              <p:tags r:id="rId36"/>
            </p:custDataLst>
          </p:nvPr>
        </p:nvSpPr>
        <p:spPr>
          <a:xfrm>
            <a:off x="1258791" y="3448368"/>
            <a:ext cx="69410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100" b="1" dirty="0" smtClean="0">
                <a:solidFill>
                  <a:srgbClr val="FFFFFF"/>
                </a:solidFill>
              </a:rPr>
              <a:t>Subsidiary</a:t>
            </a:r>
            <a:endParaRPr lang="ko-KR" altLang="en-US" sz="1100" b="1" dirty="0" smtClean="0">
              <a:solidFill>
                <a:srgbClr val="FFFFFF"/>
              </a:solidFill>
            </a:endParaRPr>
          </a:p>
        </p:txBody>
      </p:sp>
      <p:cxnSp>
        <p:nvCxnSpPr>
          <p:cNvPr id="5" name="직선 화살표 연결선 4"/>
          <p:cNvCxnSpPr/>
          <p:nvPr>
            <p:custDataLst>
              <p:tags r:id="rId37"/>
            </p:custDataLst>
          </p:nvPr>
        </p:nvCxnSpPr>
        <p:spPr bwMode="auto">
          <a:xfrm>
            <a:off x="1172330" y="3437416"/>
            <a:ext cx="0" cy="22238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sm" len="sm"/>
          </a:ln>
          <a:effectLst/>
        </p:spPr>
      </p:cxnSp>
      <p:sp>
        <p:nvSpPr>
          <p:cNvPr id="49" name="제목 1"/>
          <p:cNvSpPr>
            <a:spLocks noGrp="1"/>
          </p:cNvSpPr>
          <p:nvPr>
            <p:ph type="title"/>
            <p:custDataLst>
              <p:tags r:id="rId38"/>
            </p:custDataLst>
          </p:nvPr>
        </p:nvSpPr>
        <p:spPr>
          <a:xfrm>
            <a:off x="128330" y="57095"/>
            <a:ext cx="5452795" cy="318912"/>
          </a:xfrm>
        </p:spPr>
        <p:txBody>
          <a:bodyPr/>
          <a:lstStyle/>
          <a:p>
            <a:r>
              <a:rPr lang="en-US" altLang="ko-KR" dirty="0" err="1" smtClean="0">
                <a:solidFill>
                  <a:schemeClr val="bg1"/>
                </a:solidFill>
                <a:latin typeface="+mj-ea"/>
              </a:rPr>
              <a:t>Shinbundang</a:t>
            </a:r>
            <a:r>
              <a:rPr lang="en-US" altLang="ko-KR" dirty="0" smtClean="0">
                <a:solidFill>
                  <a:schemeClr val="bg1"/>
                </a:solidFill>
                <a:latin typeface="+mj-ea"/>
              </a:rPr>
              <a:t> DX Line PPP Project </a:t>
            </a:r>
            <a:r>
              <a:rPr lang="en-US" altLang="ko-KR" dirty="0">
                <a:solidFill>
                  <a:schemeClr val="bg1"/>
                </a:solidFill>
                <a:latin typeface="+mj-ea"/>
              </a:rPr>
              <a:t>: </a:t>
            </a:r>
            <a:r>
              <a:rPr lang="en-US" altLang="ko-KR" dirty="0" smtClean="0">
                <a:solidFill>
                  <a:schemeClr val="bg1"/>
                </a:solidFill>
                <a:latin typeface="+mj-ea"/>
              </a:rPr>
              <a:t>Business Model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48" name="TextBox 47"/>
          <p:cNvSpPr txBox="1"/>
          <p:nvPr>
            <p:custDataLst>
              <p:tags r:id="rId39"/>
            </p:custDataLst>
          </p:nvPr>
        </p:nvSpPr>
        <p:spPr>
          <a:xfrm>
            <a:off x="3998070" y="5091803"/>
            <a:ext cx="496056" cy="17594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latinLnBrk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tabLst>
                <a:tab pos="930275" algn="l"/>
              </a:tabLst>
            </a:pPr>
            <a:r>
              <a:rPr lang="af-ZA" altLang="ko-KR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%</a:t>
            </a:r>
            <a:endParaRPr lang="af-ZA" altLang="ko-KR" sz="16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/>
          <p:cNvSpPr txBox="1"/>
          <p:nvPr>
            <p:custDataLst>
              <p:tags r:id="rId40"/>
            </p:custDataLst>
          </p:nvPr>
        </p:nvSpPr>
        <p:spPr>
          <a:xfrm>
            <a:off x="7094129" y="3197777"/>
            <a:ext cx="496056" cy="17594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latinLnBrk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tabLst>
                <a:tab pos="930275" algn="l"/>
              </a:tabLst>
            </a:pPr>
            <a:r>
              <a:rPr lang="af-ZA" altLang="ko-KR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%</a:t>
            </a:r>
            <a:endParaRPr lang="af-ZA" altLang="ko-KR" sz="16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>
            <p:custDataLst>
              <p:tags r:id="rId41"/>
            </p:custDataLst>
          </p:nvPr>
        </p:nvSpPr>
        <p:spPr>
          <a:xfrm>
            <a:off x="5086814" y="1565705"/>
            <a:ext cx="496056" cy="17235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latinLnBrk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tabLst>
                <a:tab pos="930275" algn="l"/>
              </a:tabLst>
            </a:pPr>
            <a:r>
              <a:rPr lang="af-ZA" altLang="ko-KR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%</a:t>
            </a:r>
            <a:endParaRPr lang="af-ZA" altLang="ko-KR" sz="16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3" name="Straight Connector 100"/>
          <p:cNvCxnSpPr/>
          <p:nvPr>
            <p:custDataLst>
              <p:tags r:id="rId42"/>
            </p:custDataLst>
          </p:nvPr>
        </p:nvCxnSpPr>
        <p:spPr>
          <a:xfrm flipV="1">
            <a:off x="5025010" y="1772455"/>
            <a:ext cx="0" cy="1477435"/>
          </a:xfrm>
          <a:prstGeom prst="line">
            <a:avLst/>
          </a:prstGeom>
          <a:ln w="25400">
            <a:solidFill>
              <a:srgbClr val="FF0000"/>
            </a:solidFill>
            <a:prstDash val="sysDot"/>
            <a:headEnd type="stealth" w="lg" len="lg"/>
            <a:tailEnd type="oval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100"/>
          <p:cNvCxnSpPr/>
          <p:nvPr>
            <p:custDataLst>
              <p:tags r:id="rId43"/>
            </p:custDataLst>
          </p:nvPr>
        </p:nvCxnSpPr>
        <p:spPr>
          <a:xfrm>
            <a:off x="5681125" y="3284980"/>
            <a:ext cx="1332319" cy="0"/>
          </a:xfrm>
          <a:prstGeom prst="line">
            <a:avLst/>
          </a:prstGeom>
          <a:ln w="25400">
            <a:solidFill>
              <a:srgbClr val="FF0000"/>
            </a:solidFill>
            <a:prstDash val="sysDot"/>
            <a:headEnd type="stealth" w="lg" len="lg"/>
            <a:tailEnd type="oval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100"/>
          <p:cNvCxnSpPr/>
          <p:nvPr>
            <p:custDataLst>
              <p:tags r:id="rId44"/>
            </p:custDataLst>
          </p:nvPr>
        </p:nvCxnSpPr>
        <p:spPr>
          <a:xfrm>
            <a:off x="4530459" y="3789050"/>
            <a:ext cx="0" cy="1321475"/>
          </a:xfrm>
          <a:prstGeom prst="line">
            <a:avLst/>
          </a:prstGeom>
          <a:ln w="25400">
            <a:solidFill>
              <a:srgbClr val="FF0000"/>
            </a:solidFill>
            <a:prstDash val="sysDot"/>
            <a:headEnd type="stealth" w="lg" len="lg"/>
            <a:tailEnd type="oval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개체 55"/>
          <p:cNvGraphicFramePr>
            <a:graphicFrameLocks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089943044"/>
              </p:ext>
            </p:extLst>
          </p:nvPr>
        </p:nvGraphicFramePr>
        <p:xfrm>
          <a:off x="6867525" y="808038"/>
          <a:ext cx="1381190" cy="1552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차트" r:id="rId66" imgW="1381190" imgH="1552500" progId="MSGraph.Chart.8">
                  <p:embed followColorScheme="full"/>
                </p:oleObj>
              </mc:Choice>
              <mc:Fallback>
                <p:oleObj name="차트" r:id="rId66" imgW="1381190" imgH="15525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6867525" y="808038"/>
                        <a:ext cx="1381190" cy="1552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/>
          <p:cNvSpPr/>
          <p:nvPr>
            <p:custDataLst>
              <p:tags r:id="rId46"/>
            </p:custDataLst>
          </p:nvPr>
        </p:nvSpPr>
        <p:spPr bwMode="auto">
          <a:xfrm>
            <a:off x="7135813" y="1784350"/>
            <a:ext cx="349250" cy="182563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25400" dir="2700000" algn="tl" rotWithShape="0">
                    <a:prstClr val="black">
                      <a:alpha val="45000"/>
                    </a:prstClr>
                  </a:outerShdw>
                </a:effectLst>
              </a14:hiddenEffects>
            </a:ext>
          </a:extLst>
        </p:spPr>
        <p:txBody>
          <a:bodyPr wrap="none" lIns="20638" tIns="0" rIns="20638" bIns="0" rtlCol="0" anchor="ctr"/>
          <a:lstStyle/>
          <a:p>
            <a:pPr algn="ctr" defTabSz="914400" latinLnBrk="0">
              <a:spcBef>
                <a:spcPct val="0"/>
              </a:spcBef>
              <a:spcAft>
                <a:spcPct val="0"/>
              </a:spcAft>
            </a:pPr>
            <a:fld id="{F8B2113B-E978-4F1F-BEA2-0BA61D73EF40}" type="datetime'''''''''''''''''''''''''''''5''''''''''0''''''''%'''">
              <a:rPr lang="en-US" altLang="ko-KR" sz="1200">
                <a:latin typeface="Noto Sans CJK KR Regular"/>
                <a:ea typeface="Noto Sans CJK KR Regular"/>
                <a:sym typeface="Noto Sans CJK KR Regular"/>
              </a:rPr>
              <a:pPr/>
              <a:t>50%</a:t>
            </a:fld>
            <a:endParaRPr lang="ko-KR" altLang="en-US" sz="1200" kern="0" dirty="0" smtClean="0">
              <a:latin typeface="Noto Sans CJK KR Regular"/>
              <a:ea typeface="Noto Sans CJK KR Regular"/>
              <a:sym typeface="Noto Sans CJK KR Regular"/>
            </a:endParaRPr>
          </a:p>
        </p:txBody>
      </p:sp>
      <p:sp>
        <p:nvSpPr>
          <p:cNvPr id="62" name="직사각형 61"/>
          <p:cNvSpPr/>
          <p:nvPr>
            <p:custDataLst>
              <p:tags r:id="rId47"/>
            </p:custDataLst>
          </p:nvPr>
        </p:nvSpPr>
        <p:spPr bwMode="auto">
          <a:xfrm>
            <a:off x="7135813" y="941388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1DD88539-876E-4128-992B-F611B9F1200E}" type="datetime'''2''''''''''''''''''''''''''''''''''''''''''''0''''''''''%'''">
              <a:rPr lang="en-US" altLang="ko-KR" sz="1200">
                <a:latin typeface="Noto Sans CJK KR Regular"/>
                <a:ea typeface="Noto Sans CJK KR Regular"/>
                <a:sym typeface="Noto Sans CJK KR Regular"/>
              </a:rPr>
              <a:pPr/>
              <a:t>20%</a:t>
            </a:fld>
            <a:endParaRPr kumimoji="0" lang="ko-KR" altLang="en-US" sz="1200" b="0" i="0" strike="noStrike" cap="none" normalizeH="0" dirty="0" smtClean="0">
              <a:ln>
                <a:noFill/>
              </a:ln>
              <a:effectLst/>
              <a:latin typeface="Noto Sans CJK KR Regular"/>
              <a:ea typeface="Noto Sans CJK KR Regular"/>
              <a:sym typeface="Noto Sans CJK KR Regular"/>
            </a:endParaRPr>
          </a:p>
        </p:txBody>
      </p:sp>
      <p:sp>
        <p:nvSpPr>
          <p:cNvPr id="63" name="직사각형 62"/>
          <p:cNvSpPr/>
          <p:nvPr>
            <p:custDataLst>
              <p:tags r:id="rId48"/>
            </p:custDataLst>
          </p:nvPr>
        </p:nvSpPr>
        <p:spPr bwMode="gray">
          <a:xfrm>
            <a:off x="7135813" y="1265238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CAC80A00-1967-4F6C-9752-B586136441D9}" type="datetime'''''''''''''''''''''''''3''''''''''''''''0''''''''''%'''''">
              <a:rPr lang="en-US" altLang="ko-KR" sz="1200">
                <a:solidFill>
                  <a:schemeClr val="bg1"/>
                </a:solidFill>
                <a:latin typeface="Noto Sans CJK KR Regular"/>
                <a:ea typeface="Noto Sans CJK KR Regular"/>
                <a:sym typeface="Noto Sans CJK KR Regular"/>
              </a:rPr>
              <a:pPr/>
              <a:t>30%</a:t>
            </a:fld>
            <a:endParaRPr kumimoji="0" lang="ko-KR" altLang="en-US" sz="1200" b="0" i="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Noto Sans CJK KR Regular"/>
              <a:ea typeface="Noto Sans CJK KR Regular"/>
              <a:sym typeface="Noto Sans CJK KR Regular"/>
            </a:endParaRPr>
          </a:p>
        </p:txBody>
      </p:sp>
      <p:sp>
        <p:nvSpPr>
          <p:cNvPr id="66" name="Rectangle 3"/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6969125" y="549275"/>
            <a:ext cx="302413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587" lvl="1" indent="0" latinLnBrk="0">
              <a:spcBef>
                <a:spcPts val="500"/>
              </a:spcBef>
              <a:spcAft>
                <a:spcPts val="300"/>
              </a:spcAft>
              <a:buNone/>
            </a:pPr>
            <a:r>
              <a:rPr lang="en-US" altLang="ko-KR" sz="1100" b="1" dirty="0" smtClean="0">
                <a:latin typeface="Noto Sans CJK KR Regular" pitchFamily="34" charset="-127"/>
                <a:ea typeface="Noto Sans CJK KR Regular" pitchFamily="34" charset="-127"/>
              </a:rPr>
              <a:t>MRG</a:t>
            </a:r>
            <a:r>
              <a:rPr lang="en-US" altLang="ko-KR" sz="1000" dirty="0" smtClean="0">
                <a:latin typeface="Noto Sans CJK KR Regular" pitchFamily="34" charset="-127"/>
                <a:ea typeface="Noto Sans CJK KR Regular" pitchFamily="34" charset="-127"/>
              </a:rPr>
              <a:t>(Minimum Revenue Guarantee)</a:t>
            </a:r>
            <a:endParaRPr lang="en-US" altLang="ko-KR" sz="1000" i="0" baseline="30000" dirty="0">
              <a:latin typeface="Noto Sans CJK KR Regular" pitchFamily="34" charset="-127"/>
              <a:ea typeface="Noto Sans CJK KR Regular" pitchFamily="34" charset="-127"/>
            </a:endParaRPr>
          </a:p>
        </p:txBody>
      </p:sp>
      <p:sp>
        <p:nvSpPr>
          <p:cNvPr id="68" name="Rectangle 3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7950525" y="926384"/>
            <a:ext cx="1971165" cy="846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0477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•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2pPr>
            <a:lvl3pPr marL="209550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–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314325" indent="-103188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·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420688" indent="-98425" algn="l" defTabSz="936625" rtl="0" eaLnBrk="0" fontAlgn="base" latinLnBrk="1" hangingPunct="0">
              <a:spcBef>
                <a:spcPct val="0"/>
              </a:spcBef>
              <a:spcAft>
                <a:spcPct val="0"/>
              </a:spcAft>
              <a:buChar char="›"/>
              <a:defRPr kumimoji="1"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8778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13350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17922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249488" indent="-98425" algn="l" defTabSz="936625" rtl="0" fontAlgn="base" latinLnBrk="1">
              <a:spcBef>
                <a:spcPct val="0"/>
              </a:spcBef>
              <a:spcAft>
                <a:spcPct val="0"/>
              </a:spcAft>
              <a:buChar char="›"/>
              <a:defRPr kumimoji="1"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587" lvl="1" indent="0" latinLnBrk="0">
              <a:spcBef>
                <a:spcPts val="500"/>
              </a:spcBef>
              <a:spcAft>
                <a:spcPts val="300"/>
              </a:spcAft>
              <a:buNone/>
            </a:pPr>
            <a:r>
              <a:rPr lang="en-US" altLang="ko-KR" sz="1100" b="0" i="0" dirty="0" smtClean="0">
                <a:latin typeface="Noto Sans CJK KR Regular" pitchFamily="34" charset="-127"/>
                <a:ea typeface="Noto Sans CJK KR Regular" pitchFamily="34" charset="-127"/>
              </a:rPr>
              <a:t>Government guarantee </a:t>
            </a:r>
            <a:r>
              <a:rPr lang="en-US" altLang="ko-KR" sz="1100" b="1" i="0" u="sng" dirty="0" smtClean="0">
                <a:latin typeface="Noto Sans CJK KR Regular" pitchFamily="34" charset="-127"/>
                <a:ea typeface="Noto Sans CJK KR Regular" pitchFamily="34" charset="-127"/>
              </a:rPr>
              <a:t>maximum 30% </a:t>
            </a:r>
            <a:r>
              <a:rPr lang="en-US" altLang="ko-KR" sz="1100" b="0" i="0" dirty="0" smtClean="0">
                <a:latin typeface="Noto Sans CJK KR Regular" pitchFamily="34" charset="-127"/>
                <a:ea typeface="Noto Sans CJK KR Regular" pitchFamily="34" charset="-127"/>
              </a:rPr>
              <a:t>of fare revenue if or is over 50% against implementation contract</a:t>
            </a:r>
            <a:endParaRPr lang="en-US" altLang="ko-KR" sz="1100" b="0" i="0" dirty="0">
              <a:latin typeface="Noto Sans CJK KR Regular" pitchFamily="34" charset="-127"/>
              <a:ea typeface="Noto Sans CJK KR Regular" pitchFamily="34" charset="-127"/>
            </a:endParaRPr>
          </a:p>
        </p:txBody>
      </p:sp>
      <p:cxnSp>
        <p:nvCxnSpPr>
          <p:cNvPr id="69" name="직선 연결선 68"/>
          <p:cNvCxnSpPr/>
          <p:nvPr>
            <p:custDataLst>
              <p:tags r:id="rId51"/>
            </p:custDataLst>
          </p:nvPr>
        </p:nvCxnSpPr>
        <p:spPr bwMode="auto">
          <a:xfrm>
            <a:off x="6911975" y="763588"/>
            <a:ext cx="2575880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cxnSp>
      <p:cxnSp>
        <p:nvCxnSpPr>
          <p:cNvPr id="70" name="직선 연결선 69"/>
          <p:cNvCxnSpPr/>
          <p:nvPr>
            <p:custDataLst>
              <p:tags r:id="rId52"/>
            </p:custDataLst>
          </p:nvPr>
        </p:nvCxnSpPr>
        <p:spPr bwMode="auto">
          <a:xfrm>
            <a:off x="6508750" y="1539875"/>
            <a:ext cx="125264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사각형 설명선 70"/>
          <p:cNvSpPr/>
          <p:nvPr>
            <p:custDataLst>
              <p:tags r:id="rId53"/>
            </p:custDataLst>
          </p:nvPr>
        </p:nvSpPr>
        <p:spPr bwMode="auto">
          <a:xfrm>
            <a:off x="6032500" y="1054100"/>
            <a:ext cx="935416" cy="319753"/>
          </a:xfrm>
          <a:prstGeom prst="wedgeRectCallout">
            <a:avLst>
              <a:gd name="adj1" fmla="val 22051"/>
              <a:gd name="adj2" fmla="val 90495"/>
            </a:avLst>
          </a:prstGeom>
          <a:solidFill>
            <a:schemeClr val="bg1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79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MRG Hurdl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900" kern="0" dirty="0" smtClean="0">
                <a:solidFill>
                  <a:srgbClr val="333333"/>
                </a:solidFill>
                <a:latin typeface="맑은 고딕" pitchFamily="50" charset="-127"/>
                <a:ea typeface="맑은 고딕" pitchFamily="50" charset="-127"/>
              </a:rPr>
              <a:t>(50%)</a:t>
            </a:r>
            <a:endParaRPr kumimoji="0" lang="ko-KR" altLang="en-US" sz="90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  <p:cxnSp>
        <p:nvCxnSpPr>
          <p:cNvPr id="72" name="직선 연결선 71"/>
          <p:cNvCxnSpPr/>
          <p:nvPr>
            <p:custDataLst>
              <p:tags r:id="rId54"/>
            </p:custDataLst>
          </p:nvPr>
        </p:nvCxnSpPr>
        <p:spPr bwMode="auto">
          <a:xfrm>
            <a:off x="7021513" y="1152525"/>
            <a:ext cx="73987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직선 연결선 76"/>
          <p:cNvCxnSpPr/>
          <p:nvPr/>
        </p:nvCxnSpPr>
        <p:spPr bwMode="auto">
          <a:xfrm flipV="1">
            <a:off x="7590185" y="1539875"/>
            <a:ext cx="171205" cy="1524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0" name="직선 연결선 79"/>
          <p:cNvCxnSpPr/>
          <p:nvPr/>
        </p:nvCxnSpPr>
        <p:spPr bwMode="auto">
          <a:xfrm>
            <a:off x="7590185" y="1032669"/>
            <a:ext cx="171205" cy="13124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4210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개체 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88472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직사각형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ko-KR" altLang="en-US" sz="100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graphicFrame>
        <p:nvGraphicFramePr>
          <p:cNvPr id="151" name="개체 150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1360967"/>
              </p:ext>
            </p:extLst>
          </p:nvPr>
        </p:nvGraphicFramePr>
        <p:xfrm>
          <a:off x="1706563" y="3644900"/>
          <a:ext cx="7791444" cy="1581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차트" r:id="rId72" imgW="7791444" imgH="1581120" progId="MSGraph.Chart.8">
                  <p:embed followColorScheme="full"/>
                </p:oleObj>
              </mc:Choice>
              <mc:Fallback>
                <p:oleObj name="차트" r:id="rId72" imgW="7791444" imgH="15811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706563" y="3644900"/>
                        <a:ext cx="7791444" cy="15811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5" name="직사각형 184"/>
          <p:cNvSpPr/>
          <p:nvPr>
            <p:custDataLst>
              <p:tags r:id="rId5"/>
            </p:custDataLst>
          </p:nvPr>
        </p:nvSpPr>
        <p:spPr bwMode="auto">
          <a:xfrm>
            <a:off x="6750050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749F8A44-BB6F-4BA1-BF0F-B7971A7AE522}" type="datetime'1''''''''''''''''''''''''''''''''''''''''''8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8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86" name="직사각형 185"/>
          <p:cNvSpPr/>
          <p:nvPr>
            <p:custDataLst>
              <p:tags r:id="rId6"/>
            </p:custDataLst>
          </p:nvPr>
        </p:nvSpPr>
        <p:spPr bwMode="auto">
          <a:xfrm>
            <a:off x="6540500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2A8B5E55-3F5D-4591-8CED-7027F4EB620A}" type="datetime'''''''''1''''''''''''''''''''''''''''''''''''7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7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87" name="직사각형 186"/>
          <p:cNvSpPr/>
          <p:nvPr>
            <p:custDataLst>
              <p:tags r:id="rId7"/>
            </p:custDataLst>
          </p:nvPr>
        </p:nvSpPr>
        <p:spPr bwMode="auto">
          <a:xfrm>
            <a:off x="6335713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19D84EF6-04A6-4AE3-8345-0CC28F7BA6E2}" type="datetime'''''1''6''''''''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6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88" name="직사각형 187"/>
          <p:cNvSpPr/>
          <p:nvPr>
            <p:custDataLst>
              <p:tags r:id="rId8"/>
            </p:custDataLst>
          </p:nvPr>
        </p:nvSpPr>
        <p:spPr bwMode="auto">
          <a:xfrm>
            <a:off x="6130925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64F50CA0-58A2-46AE-A12F-24D416BB4BD7}" type="datetime'''''''''''''''''''''''''''''''''''1''''''''''5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5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52" name="직사각형 151"/>
          <p:cNvSpPr/>
          <p:nvPr>
            <p:custDataLst>
              <p:tags r:id="rId9"/>
            </p:custDataLst>
          </p:nvPr>
        </p:nvSpPr>
        <p:spPr bwMode="auto">
          <a:xfrm>
            <a:off x="5926138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F66521AF-921D-4455-9A79-7AE1B2C9E585}" type="datetime'1''''4''''''''''''''''''''''''''''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4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53" name="직사각형 152"/>
          <p:cNvSpPr/>
          <p:nvPr>
            <p:custDataLst>
              <p:tags r:id="rId10"/>
            </p:custDataLst>
          </p:nvPr>
        </p:nvSpPr>
        <p:spPr bwMode="auto">
          <a:xfrm>
            <a:off x="5721350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7DD5C8DD-2DA4-4F11-B007-90C0590BD688}" type="datetime'''''''13''''''''''''''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3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54" name="직사각형 153"/>
          <p:cNvSpPr/>
          <p:nvPr>
            <p:custDataLst>
              <p:tags r:id="rId11"/>
            </p:custDataLst>
          </p:nvPr>
        </p:nvSpPr>
        <p:spPr bwMode="auto">
          <a:xfrm>
            <a:off x="5516563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1FE4E6EA-4398-4A39-839D-07F827A16433}" type="datetime'''''''''''''''''1''''''''''''''''''2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2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55" name="직사각형 154"/>
          <p:cNvSpPr/>
          <p:nvPr>
            <p:custDataLst>
              <p:tags r:id="rId12"/>
            </p:custDataLst>
          </p:nvPr>
        </p:nvSpPr>
        <p:spPr bwMode="auto">
          <a:xfrm>
            <a:off x="5311775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4B2E7EBD-EAC4-4EE4-9E1E-71BB8BDE5E5D}" type="datetime'''''''''''1''''''''1''''''''''''''''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1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56" name="직사각형 155"/>
          <p:cNvSpPr/>
          <p:nvPr>
            <p:custDataLst>
              <p:tags r:id="rId13"/>
            </p:custDataLst>
          </p:nvPr>
        </p:nvSpPr>
        <p:spPr bwMode="auto">
          <a:xfrm>
            <a:off x="5106988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F4D64523-BCDF-404C-BB14-B8EC4F89B9A8}" type="datetime'''1''''''0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0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58" name="직사각형 157"/>
          <p:cNvSpPr/>
          <p:nvPr>
            <p:custDataLst>
              <p:tags r:id="rId14"/>
            </p:custDataLst>
          </p:nvPr>
        </p:nvSpPr>
        <p:spPr bwMode="auto">
          <a:xfrm>
            <a:off x="4937125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E3365761-6A88-48E1-88FF-D6FC1D34AA5C}" type="datetime'''''''''''''''''''''''''''''''''''''''9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9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59" name="직사각형 158"/>
          <p:cNvSpPr/>
          <p:nvPr>
            <p:custDataLst>
              <p:tags r:id="rId15"/>
            </p:custDataLst>
          </p:nvPr>
        </p:nvSpPr>
        <p:spPr bwMode="auto">
          <a:xfrm>
            <a:off x="4732338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E4BE57C2-8032-4563-A77A-9DF9D54309CC}" type="datetime'''''''''''''''''''''''''''8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8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60" name="직사각형 159"/>
          <p:cNvSpPr/>
          <p:nvPr>
            <p:custDataLst>
              <p:tags r:id="rId16"/>
            </p:custDataLst>
          </p:nvPr>
        </p:nvSpPr>
        <p:spPr bwMode="auto">
          <a:xfrm>
            <a:off x="4527550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12D6DCEB-DBB3-4164-B224-B9622A78D10D}" type="datetime'''''''''''''7''''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7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61" name="직사각형 160"/>
          <p:cNvSpPr/>
          <p:nvPr>
            <p:custDataLst>
              <p:tags r:id="rId17"/>
            </p:custDataLst>
          </p:nvPr>
        </p:nvSpPr>
        <p:spPr bwMode="auto">
          <a:xfrm>
            <a:off x="4318000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D3ABC705-E54F-4A3F-B9CF-A185BFE60F1E}" type="datetime'''''''''''''''''''''''''6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6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62" name="직사각형 161"/>
          <p:cNvSpPr/>
          <p:nvPr>
            <p:custDataLst>
              <p:tags r:id="rId18"/>
            </p:custDataLst>
          </p:nvPr>
        </p:nvSpPr>
        <p:spPr bwMode="auto">
          <a:xfrm>
            <a:off x="4113213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8E4DBCAB-170B-4EDD-BBFA-C00F4D0637F4}" type="datetime'''''''''''''5''''''''''''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5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63" name="직사각형 162"/>
          <p:cNvSpPr/>
          <p:nvPr>
            <p:custDataLst>
              <p:tags r:id="rId19"/>
            </p:custDataLst>
          </p:nvPr>
        </p:nvSpPr>
        <p:spPr bwMode="auto">
          <a:xfrm>
            <a:off x="3908425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52F83056-0438-465F-AC89-5CD3CEE52206}" type="datetime'4''''''''''''''''''''''''''''''''''''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4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64" name="직사각형 163"/>
          <p:cNvSpPr/>
          <p:nvPr>
            <p:custDataLst>
              <p:tags r:id="rId20"/>
            </p:custDataLst>
          </p:nvPr>
        </p:nvSpPr>
        <p:spPr bwMode="auto">
          <a:xfrm>
            <a:off x="3703638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532403F7-9555-43FE-AE12-69F31BA94DBC}" type="datetime'''''''''''''''''''''''''''3''''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3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65" name="직사각형 164"/>
          <p:cNvSpPr/>
          <p:nvPr>
            <p:custDataLst>
              <p:tags r:id="rId21"/>
            </p:custDataLst>
          </p:nvPr>
        </p:nvSpPr>
        <p:spPr bwMode="auto">
          <a:xfrm>
            <a:off x="3498850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C3958F86-759C-4A70-9922-EEFAFD3A5B2E}" type="datetime'''''''''''''''''''''''''2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66" name="직사각형 165"/>
          <p:cNvSpPr/>
          <p:nvPr>
            <p:custDataLst>
              <p:tags r:id="rId22"/>
            </p:custDataLst>
          </p:nvPr>
        </p:nvSpPr>
        <p:spPr bwMode="auto">
          <a:xfrm>
            <a:off x="3294063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A4FFDF94-FEE3-4934-A50D-70D71ED8C823}" type="datetime'''''''1''''''''''''''''''''''''''''''''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67" name="직사각형 166"/>
          <p:cNvSpPr/>
          <p:nvPr>
            <p:custDataLst>
              <p:tags r:id="rId23"/>
            </p:custDataLst>
          </p:nvPr>
        </p:nvSpPr>
        <p:spPr bwMode="auto">
          <a:xfrm>
            <a:off x="3089275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16409D6E-2F27-4D2A-9ADB-26108DD54F9A}" type="datetime'''''''''''''''''''''''''''''''7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7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68" name="직사각형 167"/>
          <p:cNvSpPr/>
          <p:nvPr>
            <p:custDataLst>
              <p:tags r:id="rId24"/>
            </p:custDataLst>
          </p:nvPr>
        </p:nvSpPr>
        <p:spPr bwMode="auto">
          <a:xfrm>
            <a:off x="2884488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5DDEEEF4-61D6-49F2-9F29-76C7AEA64ECE}" type="datetime'''''''''''''''''''''''''''''''''''6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6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69" name="직사각형 168"/>
          <p:cNvSpPr/>
          <p:nvPr>
            <p:custDataLst>
              <p:tags r:id="rId25"/>
            </p:custDataLst>
          </p:nvPr>
        </p:nvSpPr>
        <p:spPr bwMode="auto">
          <a:xfrm>
            <a:off x="2679700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6ED6F40E-7C1A-4CD1-B6CD-DC549DDB4519}" type="datetime'''''''''''''''''''''''''''''''''''5''''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5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80" name="직사각형 179"/>
          <p:cNvSpPr/>
          <p:nvPr>
            <p:custDataLst>
              <p:tags r:id="rId26"/>
            </p:custDataLst>
          </p:nvPr>
        </p:nvSpPr>
        <p:spPr bwMode="auto">
          <a:xfrm>
            <a:off x="2474913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2E0B6DA2-CA9A-40F8-9796-2AE775BA14E7}" type="datetime'''''''''''''''''''''''''''''''''''''4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4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81" name="직사각형 180"/>
          <p:cNvSpPr/>
          <p:nvPr>
            <p:custDataLst>
              <p:tags r:id="rId27"/>
            </p:custDataLst>
          </p:nvPr>
        </p:nvSpPr>
        <p:spPr bwMode="auto">
          <a:xfrm>
            <a:off x="2270125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362727AD-7C64-4769-9CB5-A54935CC9B2D}" type="datetime'''''''''''3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3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82" name="직사각형 181"/>
          <p:cNvSpPr/>
          <p:nvPr>
            <p:custDataLst>
              <p:tags r:id="rId28"/>
            </p:custDataLst>
          </p:nvPr>
        </p:nvSpPr>
        <p:spPr bwMode="auto">
          <a:xfrm>
            <a:off x="2065338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262023EF-B334-4B89-8ED8-BE320CFAEB82}" type="datetime'''''''''''''''''''''''''''''''''''''2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83" name="직사각형 182"/>
          <p:cNvSpPr/>
          <p:nvPr>
            <p:custDataLst>
              <p:tags r:id="rId29"/>
            </p:custDataLst>
          </p:nvPr>
        </p:nvSpPr>
        <p:spPr bwMode="auto">
          <a:xfrm>
            <a:off x="1860550" y="3543300"/>
            <a:ext cx="82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A2F51D40-F9ED-44C1-AE57-6DF36E7A8156}" type="datetime'''''''''''''''''''1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75" name="직사각형 174"/>
          <p:cNvSpPr/>
          <p:nvPr>
            <p:custDataLst>
              <p:tags r:id="rId30"/>
            </p:custDataLst>
          </p:nvPr>
        </p:nvSpPr>
        <p:spPr bwMode="auto">
          <a:xfrm>
            <a:off x="9207500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9ED06086-2440-40D8-AA58-DAE67F087524}" type="datetime'3''''''''''''''''''0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30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70" name="직사각형 169"/>
          <p:cNvSpPr/>
          <p:nvPr>
            <p:custDataLst>
              <p:tags r:id="rId31"/>
            </p:custDataLst>
          </p:nvPr>
        </p:nvSpPr>
        <p:spPr bwMode="auto">
          <a:xfrm>
            <a:off x="9002713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62629EA2-8EAE-479F-AB2D-CFCCFEADE5CE}" type="datetime'''''''''2''''''''9''''''''''''''''''''''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9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71" name="직사각형 170"/>
          <p:cNvSpPr/>
          <p:nvPr>
            <p:custDataLst>
              <p:tags r:id="rId32"/>
            </p:custDataLst>
          </p:nvPr>
        </p:nvSpPr>
        <p:spPr bwMode="auto">
          <a:xfrm>
            <a:off x="8797925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67B7A8BE-A0BD-4B75-B1FF-5762A6968C51}" type="datetime'''''''''''''2''''''''8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8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72" name="직사각형 171"/>
          <p:cNvSpPr/>
          <p:nvPr>
            <p:custDataLst>
              <p:tags r:id="rId33"/>
            </p:custDataLst>
          </p:nvPr>
        </p:nvSpPr>
        <p:spPr bwMode="auto">
          <a:xfrm>
            <a:off x="8593138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EE00A8EF-7D2E-4446-BAA5-0D0AAE3F300C}" type="datetime'''2''''''''''''''''''''''''''''''''''''''''''''7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7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73" name="직사각형 172"/>
          <p:cNvSpPr/>
          <p:nvPr>
            <p:custDataLst>
              <p:tags r:id="rId34"/>
            </p:custDataLst>
          </p:nvPr>
        </p:nvSpPr>
        <p:spPr bwMode="auto">
          <a:xfrm>
            <a:off x="8388350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A1D53036-3166-4978-A345-31FCD8D55B78}" type="datetime'''2''''''''''''''''''''''''''''''''6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6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74" name="직사각형 173"/>
          <p:cNvSpPr/>
          <p:nvPr>
            <p:custDataLst>
              <p:tags r:id="rId35"/>
            </p:custDataLst>
          </p:nvPr>
        </p:nvSpPr>
        <p:spPr bwMode="auto">
          <a:xfrm>
            <a:off x="8183563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80B2FAF6-6A2F-4572-9136-A24AD41F77AD}" type="datetime'''''''''''''''''''''2''''''''''5''''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5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76" name="직사각형 175"/>
          <p:cNvSpPr/>
          <p:nvPr>
            <p:custDataLst>
              <p:tags r:id="rId36"/>
            </p:custDataLst>
          </p:nvPr>
        </p:nvSpPr>
        <p:spPr bwMode="auto">
          <a:xfrm>
            <a:off x="7978775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44AB602B-61E9-4BBC-BE56-ECC41CC50914}" type="datetime'''''''''''''''''''2''4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4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77" name="직사각형 176"/>
          <p:cNvSpPr/>
          <p:nvPr>
            <p:custDataLst>
              <p:tags r:id="rId37"/>
            </p:custDataLst>
          </p:nvPr>
        </p:nvSpPr>
        <p:spPr bwMode="auto">
          <a:xfrm>
            <a:off x="7773988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D68ED889-754F-427A-8201-8381DA374203}" type="datetime'''''''''''''''''''''''''''''''2''''''''''''''3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3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78" name="직사각형 177"/>
          <p:cNvSpPr/>
          <p:nvPr>
            <p:custDataLst>
              <p:tags r:id="rId38"/>
            </p:custDataLst>
          </p:nvPr>
        </p:nvSpPr>
        <p:spPr bwMode="auto">
          <a:xfrm>
            <a:off x="7569200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3C8ABAE3-EDDE-4280-8F98-54E6F703D37A}" type="datetime'''''''''2''''''''''''''''''''''''''''''''''''''2''''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2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79" name="직사각형 178"/>
          <p:cNvSpPr/>
          <p:nvPr>
            <p:custDataLst>
              <p:tags r:id="rId39"/>
            </p:custDataLst>
          </p:nvPr>
        </p:nvSpPr>
        <p:spPr bwMode="auto">
          <a:xfrm>
            <a:off x="7364413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C84DE84B-8DDC-4BEA-AE7A-1C5EF8D1564F}" type="datetime'''''''''''''''''''''''''''''''''''''''''''''2''1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1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57" name="직사각형 156"/>
          <p:cNvSpPr/>
          <p:nvPr>
            <p:custDataLst>
              <p:tags r:id="rId40"/>
            </p:custDataLst>
          </p:nvPr>
        </p:nvSpPr>
        <p:spPr bwMode="auto">
          <a:xfrm>
            <a:off x="7159625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97325EDE-DE5E-4A28-A105-78A857C366C9}" type="datetime'''''''''''2''0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20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sp>
        <p:nvSpPr>
          <p:cNvPr id="184" name="직사각형 183"/>
          <p:cNvSpPr/>
          <p:nvPr>
            <p:custDataLst>
              <p:tags r:id="rId41"/>
            </p:custDataLst>
          </p:nvPr>
        </p:nvSpPr>
        <p:spPr bwMode="auto">
          <a:xfrm>
            <a:off x="6954838" y="3543300"/>
            <a:ext cx="1524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523981EC-AD1F-4A25-8338-4EA781EA260C}" type="datetime'''''''''''''''''''''''1''''''''''''''''''''''''''''9'''''''''">
              <a:rPr lang="en-US" altLang="ko-KR" sz="1000" smtClean="0">
                <a:solidFill>
                  <a:srgbClr val="1E1E1E"/>
                </a:solidFill>
                <a:latin typeface="Arial"/>
                <a:sym typeface="Arial"/>
              </a:rPr>
              <a:pPr algn="ctr"/>
              <a:t>19</a:t>
            </a:fld>
            <a:endParaRPr lang="en-US" altLang="ko-KR" sz="1000" dirty="0" smtClean="0">
              <a:solidFill>
                <a:srgbClr val="1E1E1E"/>
              </a:solidFill>
              <a:latin typeface="Arial"/>
              <a:sym typeface="Arial"/>
            </a:endParaRPr>
          </a:p>
        </p:txBody>
      </p:sp>
      <p:graphicFrame>
        <p:nvGraphicFramePr>
          <p:cNvPr id="113" name="개체 112"/>
          <p:cNvGraphicFramePr>
            <a:graphicFrameLocks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057214306"/>
              </p:ext>
            </p:extLst>
          </p:nvPr>
        </p:nvGraphicFramePr>
        <p:xfrm>
          <a:off x="1706563" y="1984375"/>
          <a:ext cx="7791444" cy="1581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차트" r:id="rId74" imgW="7791444" imgH="1581120" progId="MSGraph.Chart.8">
                  <p:embed followColorScheme="full"/>
                </p:oleObj>
              </mc:Choice>
              <mc:Fallback>
                <p:oleObj name="차트" r:id="rId74" imgW="7791444" imgH="15811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706563" y="1984375"/>
                        <a:ext cx="7791444" cy="15811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직선 화살표 연결선 26"/>
          <p:cNvCxnSpPr/>
          <p:nvPr>
            <p:custDataLst>
              <p:tags r:id="rId43"/>
            </p:custDataLst>
          </p:nvPr>
        </p:nvCxnSpPr>
        <p:spPr>
          <a:xfrm>
            <a:off x="488149" y="1632890"/>
            <a:ext cx="1320915" cy="0"/>
          </a:xfrm>
          <a:prstGeom prst="straightConnector1">
            <a:avLst/>
          </a:prstGeom>
          <a:ln>
            <a:solidFill>
              <a:schemeClr val="tx1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화살표 연결선 27"/>
          <p:cNvCxnSpPr/>
          <p:nvPr>
            <p:custDataLst>
              <p:tags r:id="rId44"/>
            </p:custDataLst>
          </p:nvPr>
        </p:nvCxnSpPr>
        <p:spPr>
          <a:xfrm>
            <a:off x="1809064" y="1632890"/>
            <a:ext cx="1431074" cy="0"/>
          </a:xfrm>
          <a:prstGeom prst="straightConnector1">
            <a:avLst/>
          </a:prstGeom>
          <a:ln>
            <a:solidFill>
              <a:schemeClr val="tx1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직선 화살표 연결선 28"/>
          <p:cNvCxnSpPr/>
          <p:nvPr>
            <p:custDataLst>
              <p:tags r:id="rId45"/>
            </p:custDataLst>
          </p:nvPr>
        </p:nvCxnSpPr>
        <p:spPr>
          <a:xfrm>
            <a:off x="3256614" y="1632890"/>
            <a:ext cx="6149423" cy="0"/>
          </a:xfrm>
          <a:prstGeom prst="straightConnector1">
            <a:avLst/>
          </a:prstGeom>
          <a:ln>
            <a:solidFill>
              <a:schemeClr val="tx1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직사각형 29"/>
          <p:cNvSpPr/>
          <p:nvPr>
            <p:custDataLst>
              <p:tags r:id="rId46"/>
            </p:custDataLst>
          </p:nvPr>
        </p:nvSpPr>
        <p:spPr>
          <a:xfrm>
            <a:off x="454593" y="1294578"/>
            <a:ext cx="1320915" cy="33855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altLang="ko-KR" sz="1200" i="1" dirty="0" smtClean="0">
                <a:solidFill>
                  <a:srgbClr val="000000"/>
                </a:solidFill>
                <a:latin typeface="Arial"/>
              </a:rPr>
              <a:t> Development</a:t>
            </a:r>
            <a:br>
              <a:rPr lang="en-US" altLang="ko-KR" sz="1200" i="1" dirty="0" smtClean="0">
                <a:solidFill>
                  <a:srgbClr val="000000"/>
                </a:solidFill>
                <a:latin typeface="Arial"/>
              </a:rPr>
            </a:br>
            <a:r>
              <a:rPr lang="en-US" altLang="ko-KR" sz="1000" i="1" dirty="0" smtClean="0">
                <a:solidFill>
                  <a:srgbClr val="000000"/>
                </a:solidFill>
                <a:latin typeface="Arial"/>
              </a:rPr>
              <a:t>(5years)</a:t>
            </a:r>
            <a:endParaRPr lang="ko-KR" altLang="en-US" sz="1000" i="1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31" name="직사각형 30"/>
          <p:cNvSpPr/>
          <p:nvPr>
            <p:custDataLst>
              <p:tags r:id="rId47"/>
            </p:custDataLst>
          </p:nvPr>
        </p:nvSpPr>
        <p:spPr>
          <a:xfrm>
            <a:off x="1938588" y="1294579"/>
            <a:ext cx="1027943" cy="33855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altLang="ko-KR" sz="1200" i="1" dirty="0" smtClean="0">
                <a:solidFill>
                  <a:srgbClr val="000000"/>
                </a:solidFill>
                <a:latin typeface="Arial"/>
              </a:rPr>
              <a:t> Construction</a:t>
            </a:r>
            <a:br>
              <a:rPr lang="en-US" altLang="ko-KR" sz="1200" i="1" dirty="0" smtClean="0">
                <a:solidFill>
                  <a:srgbClr val="000000"/>
                </a:solidFill>
                <a:latin typeface="Arial"/>
              </a:rPr>
            </a:br>
            <a:r>
              <a:rPr lang="en-US" altLang="ko-KR" sz="1000" i="1" dirty="0" smtClean="0">
                <a:solidFill>
                  <a:srgbClr val="000000"/>
                </a:solidFill>
                <a:latin typeface="Arial"/>
              </a:rPr>
              <a:t>(5 ~ 6.5years)</a:t>
            </a:r>
            <a:endParaRPr lang="ko-KR" altLang="en-US" sz="1000" i="1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32" name="직사각형 31"/>
          <p:cNvSpPr/>
          <p:nvPr>
            <p:custDataLst>
              <p:tags r:id="rId48"/>
            </p:custDataLst>
          </p:nvPr>
        </p:nvSpPr>
        <p:spPr>
          <a:xfrm>
            <a:off x="5150034" y="1294579"/>
            <a:ext cx="2193915" cy="33855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altLang="ko-KR" sz="1200" i="1" dirty="0" smtClean="0">
                <a:solidFill>
                  <a:srgbClr val="000000"/>
                </a:solidFill>
                <a:latin typeface="Arial"/>
              </a:rPr>
              <a:t> Operation</a:t>
            </a:r>
            <a:br>
              <a:rPr lang="en-US" altLang="ko-KR" sz="1200" i="1" dirty="0" smtClean="0">
                <a:solidFill>
                  <a:srgbClr val="000000"/>
                </a:solidFill>
                <a:latin typeface="Arial"/>
              </a:rPr>
            </a:br>
            <a:r>
              <a:rPr lang="en-US" altLang="ko-KR" sz="1000" i="1" dirty="0" smtClean="0">
                <a:solidFill>
                  <a:srgbClr val="000000"/>
                </a:solidFill>
                <a:latin typeface="Arial"/>
              </a:rPr>
              <a:t>(30years)</a:t>
            </a:r>
            <a:endParaRPr lang="ko-KR" altLang="en-US" sz="1000" i="1" dirty="0">
              <a:solidFill>
                <a:srgbClr val="1E1E1E"/>
              </a:solidFill>
              <a:latin typeface="Arial"/>
            </a:endParaRPr>
          </a:p>
        </p:txBody>
      </p:sp>
      <p:cxnSp>
        <p:nvCxnSpPr>
          <p:cNvPr id="43" name="직선 연결선 42"/>
          <p:cNvCxnSpPr/>
          <p:nvPr>
            <p:custDataLst>
              <p:tags r:id="rId49"/>
            </p:custDataLst>
          </p:nvPr>
        </p:nvCxnSpPr>
        <p:spPr>
          <a:xfrm>
            <a:off x="1800826" y="1822459"/>
            <a:ext cx="0" cy="351566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>
            <p:custDataLst>
              <p:tags r:id="rId50"/>
            </p:custDataLst>
          </p:nvPr>
        </p:nvSpPr>
        <p:spPr>
          <a:xfrm>
            <a:off x="265604" y="3274763"/>
            <a:ext cx="222545" cy="288147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altLang="ko-KR" sz="1400" b="1" dirty="0" smtClean="0">
                <a:solidFill>
                  <a:srgbClr val="1E1E1E"/>
                </a:solidFill>
                <a:latin typeface="Arial"/>
              </a:rPr>
              <a:t>+</a:t>
            </a:r>
            <a:endParaRPr lang="ko-KR" altLang="en-US" sz="1400" b="1" dirty="0" smtClean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54" name="TextBox 53"/>
          <p:cNvSpPr txBox="1"/>
          <p:nvPr>
            <p:custDataLst>
              <p:tags r:id="rId51"/>
            </p:custDataLst>
          </p:nvPr>
        </p:nvSpPr>
        <p:spPr>
          <a:xfrm>
            <a:off x="265604" y="3687391"/>
            <a:ext cx="222545" cy="288147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altLang="ko-KR" sz="1400" b="1" dirty="0" smtClean="0">
                <a:solidFill>
                  <a:srgbClr val="1E1E1E"/>
                </a:solidFill>
                <a:latin typeface="Arial"/>
              </a:rPr>
              <a:t>-</a:t>
            </a:r>
            <a:endParaRPr lang="ko-KR" altLang="en-US" sz="1400" b="1" dirty="0" smtClean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55" name="직사각형 54"/>
          <p:cNvSpPr/>
          <p:nvPr>
            <p:custDataLst>
              <p:tags r:id="rId52"/>
            </p:custDataLst>
          </p:nvPr>
        </p:nvSpPr>
        <p:spPr>
          <a:xfrm>
            <a:off x="228607" y="3544441"/>
            <a:ext cx="1722024" cy="16158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altLang="ko-KR" sz="1050" b="1" i="1" dirty="0" smtClean="0">
                <a:solidFill>
                  <a:srgbClr val="616365"/>
                </a:solidFill>
                <a:latin typeface="Arial"/>
              </a:rPr>
              <a:t>(5years in developing)</a:t>
            </a:r>
            <a:endParaRPr lang="ko-KR" altLang="en-US" sz="1050" b="1" i="1" dirty="0">
              <a:solidFill>
                <a:srgbClr val="616365"/>
              </a:solidFill>
              <a:latin typeface="Arial"/>
            </a:endParaRPr>
          </a:p>
        </p:txBody>
      </p:sp>
      <p:sp>
        <p:nvSpPr>
          <p:cNvPr id="74" name="직사각형 201"/>
          <p:cNvSpPr/>
          <p:nvPr>
            <p:custDataLst>
              <p:tags r:id="rId53"/>
            </p:custDataLst>
          </p:nvPr>
        </p:nvSpPr>
        <p:spPr>
          <a:xfrm>
            <a:off x="1568530" y="1974026"/>
            <a:ext cx="1899559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altLang="ko-KR" sz="1000" b="1" u="sng" dirty="0" smtClean="0">
                <a:solidFill>
                  <a:srgbClr val="0088CE"/>
                </a:solidFill>
                <a:latin typeface="Arial"/>
              </a:rPr>
              <a:t>Construction profit</a:t>
            </a:r>
            <a:r>
              <a:rPr lang="ko-KR" altLang="en-US" sz="1000" b="1" u="sng" dirty="0" smtClean="0">
                <a:solidFill>
                  <a:srgbClr val="0088CE"/>
                </a:solidFill>
                <a:latin typeface="Arial"/>
              </a:rPr>
              <a:t> </a:t>
            </a:r>
            <a:r>
              <a:rPr lang="en-US" altLang="ko-KR" sz="1000" b="1" u="sng" dirty="0" smtClean="0">
                <a:solidFill>
                  <a:srgbClr val="0088CE"/>
                </a:solidFill>
                <a:latin typeface="Arial"/>
              </a:rPr>
              <a:t>200mil USD</a:t>
            </a:r>
          </a:p>
        </p:txBody>
      </p:sp>
      <p:sp>
        <p:nvSpPr>
          <p:cNvPr id="75" name="직사각형 74"/>
          <p:cNvSpPr/>
          <p:nvPr>
            <p:custDataLst>
              <p:tags r:id="rId54"/>
            </p:custDataLst>
          </p:nvPr>
        </p:nvSpPr>
        <p:spPr>
          <a:xfrm>
            <a:off x="1928580" y="5064744"/>
            <a:ext cx="1128514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altLang="ko-KR" sz="1000" b="1" u="sng" dirty="0" smtClean="0">
                <a:solidFill>
                  <a:srgbClr val="0088CE"/>
                </a:solidFill>
                <a:latin typeface="Arial"/>
              </a:rPr>
              <a:t>Equity</a:t>
            </a:r>
            <a:r>
              <a:rPr lang="ko-KR" altLang="en-US" sz="1000" b="1" u="sng" dirty="0" smtClean="0">
                <a:solidFill>
                  <a:srgbClr val="0088CE"/>
                </a:solidFill>
                <a:latin typeface="Arial"/>
              </a:rPr>
              <a:t> </a:t>
            </a:r>
            <a:r>
              <a:rPr lang="en-US" altLang="ko-KR" sz="1000" b="1" u="sng" dirty="0" smtClean="0">
                <a:solidFill>
                  <a:srgbClr val="0088CE"/>
                </a:solidFill>
                <a:latin typeface="Arial"/>
              </a:rPr>
              <a:t>300mil USD</a:t>
            </a:r>
          </a:p>
        </p:txBody>
      </p:sp>
      <p:cxnSp>
        <p:nvCxnSpPr>
          <p:cNvPr id="189" name="직선 연결선 188"/>
          <p:cNvCxnSpPr/>
          <p:nvPr>
            <p:custDataLst>
              <p:tags r:id="rId55"/>
            </p:custDataLst>
          </p:nvPr>
        </p:nvCxnSpPr>
        <p:spPr>
          <a:xfrm>
            <a:off x="3240138" y="1822459"/>
            <a:ext cx="0" cy="351566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0" name="Picture 4" descr="D:\Users\superwizet\Pictures\두산건설\두산 로고 110516\두산 로고 Full color version\Doosan_Logo_3C_RGB.jpg"/>
          <p:cNvPicPr>
            <a:picLocks noChangeAspect="1" noChangeArrowheads="1"/>
          </p:cNvPicPr>
          <p:nvPr>
            <p:custDataLst>
              <p:tags r:id="rId56"/>
            </p:custDataLst>
          </p:nvPr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483" y="1669502"/>
            <a:ext cx="477383" cy="271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1" name="직사각형 201"/>
          <p:cNvSpPr/>
          <p:nvPr>
            <p:custDataLst>
              <p:tags r:id="rId57"/>
            </p:custDataLst>
          </p:nvPr>
        </p:nvSpPr>
        <p:spPr>
          <a:xfrm>
            <a:off x="4697676" y="1942239"/>
            <a:ext cx="3199594" cy="153888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altLang="ko-KR" sz="1000" b="1" u="sng" dirty="0" smtClean="0">
                <a:solidFill>
                  <a:srgbClr val="FF66CC"/>
                </a:solidFill>
                <a:latin typeface="Arial"/>
              </a:rPr>
              <a:t>Invest profit 5,300mil</a:t>
            </a:r>
            <a:r>
              <a:rPr lang="ko-KR" altLang="en-US" sz="1000" b="1" u="sng" dirty="0" smtClean="0">
                <a:solidFill>
                  <a:srgbClr val="FF66CC"/>
                </a:solidFill>
                <a:latin typeface="Arial"/>
              </a:rPr>
              <a:t> </a:t>
            </a:r>
            <a:r>
              <a:rPr lang="en-US" altLang="ko-KR" sz="1000" b="1" u="sng" dirty="0" smtClean="0">
                <a:solidFill>
                  <a:srgbClr val="FF66CC"/>
                </a:solidFill>
                <a:latin typeface="Arial"/>
              </a:rPr>
              <a:t>+ Operation profit 500mil USD</a:t>
            </a:r>
          </a:p>
        </p:txBody>
      </p:sp>
      <p:pic>
        <p:nvPicPr>
          <p:cNvPr id="192" name="Picture 10" descr="D:\Users\superwizet\Downloads\spc_img02.jpg"/>
          <p:cNvPicPr>
            <a:picLocks noChangeAspect="1" noChangeArrowheads="1"/>
          </p:cNvPicPr>
          <p:nvPr>
            <p:custDataLst>
              <p:tags r:id="rId58"/>
            </p:custDataLst>
          </p:nvPr>
        </p:nvPicPr>
        <p:blipFill rotWithShape="1"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25" t="31417" r="65305" b="21399"/>
          <a:stretch/>
        </p:blipFill>
        <p:spPr bwMode="auto">
          <a:xfrm>
            <a:off x="5950199" y="1669502"/>
            <a:ext cx="295274" cy="281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>
            <p:custDataLst>
              <p:tags r:id="rId59"/>
            </p:custDataLst>
          </p:nvPr>
        </p:nvSpPr>
        <p:spPr>
          <a:xfrm>
            <a:off x="6245473" y="1728347"/>
            <a:ext cx="29174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000" dirty="0" smtClean="0">
                <a:solidFill>
                  <a:srgbClr val="1E1E1E"/>
                </a:solidFill>
                <a:latin typeface="Arial"/>
              </a:rPr>
              <a:t>O&amp;M</a:t>
            </a:r>
            <a:endParaRPr lang="ko-KR" altLang="en-US" sz="1000" dirty="0" smtClean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198" name="TextBox 197"/>
          <p:cNvSpPr txBox="1"/>
          <p:nvPr>
            <p:custDataLst>
              <p:tags r:id="rId60"/>
            </p:custDataLst>
          </p:nvPr>
        </p:nvSpPr>
        <p:spPr>
          <a:xfrm>
            <a:off x="2532823" y="1728347"/>
            <a:ext cx="12824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000" dirty="0" smtClean="0">
                <a:solidFill>
                  <a:srgbClr val="1E1E1E"/>
                </a:solidFill>
                <a:latin typeface="Arial"/>
              </a:rPr>
              <a:t>CI</a:t>
            </a:r>
            <a:endParaRPr lang="ko-KR" altLang="en-US" sz="1000" dirty="0" smtClean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11" name="이등변 삼각형 10"/>
          <p:cNvSpPr/>
          <p:nvPr>
            <p:custDataLst>
              <p:tags r:id="rId61"/>
            </p:custDataLst>
          </p:nvPr>
        </p:nvSpPr>
        <p:spPr bwMode="auto">
          <a:xfrm flipV="1">
            <a:off x="4953000" y="3831464"/>
            <a:ext cx="2962276" cy="134832"/>
          </a:xfrm>
          <a:prstGeom prst="triangle">
            <a:avLst/>
          </a:prstGeom>
          <a:solidFill>
            <a:srgbClr val="B9CDE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ko-KR" altLang="en-US" smtClean="0">
              <a:solidFill>
                <a:srgbClr val="1E1E1E"/>
              </a:solidFill>
            </a:endParaRPr>
          </a:p>
        </p:txBody>
      </p:sp>
      <p:sp>
        <p:nvSpPr>
          <p:cNvPr id="80" name="직사각형 79"/>
          <p:cNvSpPr/>
          <p:nvPr>
            <p:custDataLst>
              <p:tags r:id="rId62"/>
            </p:custDataLst>
          </p:nvPr>
        </p:nvSpPr>
        <p:spPr bwMode="auto">
          <a:xfrm>
            <a:off x="599515" y="5816059"/>
            <a:ext cx="8722285" cy="85339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rgbClr val="000000"/>
            </a:outerShdw>
          </a:effectLst>
          <a:extLst/>
        </p:spPr>
        <p:txBody>
          <a:bodyPr vert="horz" wrap="square" lIns="91440" tIns="46800" rIns="9144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base" latinLnBrk="0">
              <a:spcBef>
                <a:spcPct val="0"/>
              </a:spcBef>
              <a:spcAft>
                <a:spcPct val="0"/>
              </a:spcAft>
            </a:pPr>
            <a:endParaRPr lang="ko-KR" altLang="en-US" sz="1000" dirty="0" smtClean="0">
              <a:solidFill>
                <a:srgbClr val="000000">
                  <a:lumMod val="50000"/>
                  <a:lumOff val="50000"/>
                </a:srgbClr>
              </a:solidFill>
              <a:latin typeface="Noto Sans CJK KR Regular" pitchFamily="34" charset="-127"/>
              <a:ea typeface="Noto Sans CJK KR Regular" pitchFamily="34" charset="-127"/>
            </a:endParaRPr>
          </a:p>
        </p:txBody>
      </p:sp>
      <p:sp>
        <p:nvSpPr>
          <p:cNvPr id="81" name="TextBox 80"/>
          <p:cNvSpPr txBox="1"/>
          <p:nvPr>
            <p:custDataLst>
              <p:tags r:id="rId63"/>
            </p:custDataLst>
          </p:nvPr>
        </p:nvSpPr>
        <p:spPr>
          <a:xfrm>
            <a:off x="740255" y="5953456"/>
            <a:ext cx="850958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400" b="1" dirty="0" smtClean="0">
                <a:solidFill>
                  <a:srgbClr val="FF0000"/>
                </a:solidFill>
              </a:rPr>
              <a:t>PPP Business </a:t>
            </a:r>
            <a:r>
              <a:rPr lang="en-US" altLang="ko-KR" sz="1400" b="1" dirty="0" smtClean="0">
                <a:solidFill>
                  <a:srgbClr val="000000"/>
                </a:solidFill>
              </a:rPr>
              <a:t>: Integration of High level Engineering capacities (EPC + O&amp;M + Financial)</a:t>
            </a:r>
            <a:br>
              <a:rPr lang="en-US" altLang="ko-KR" sz="1400" b="1" dirty="0" smtClean="0">
                <a:solidFill>
                  <a:srgbClr val="000000"/>
                </a:solidFill>
              </a:rPr>
            </a:br>
            <a:r>
              <a:rPr lang="en-US" altLang="ko-KR" sz="1400" dirty="0" smtClean="0">
                <a:solidFill>
                  <a:srgbClr val="000000"/>
                </a:solidFill>
              </a:rPr>
              <a:t> 	         - Preliminary developing period and cost necessary</a:t>
            </a:r>
            <a:br>
              <a:rPr lang="en-US" altLang="ko-KR" sz="1400" dirty="0" smtClean="0">
                <a:solidFill>
                  <a:srgbClr val="000000"/>
                </a:solidFill>
              </a:rPr>
            </a:br>
            <a:r>
              <a:rPr lang="en-US" altLang="ko-KR" sz="1400" dirty="0" smtClean="0">
                <a:solidFill>
                  <a:srgbClr val="000000"/>
                </a:solidFill>
              </a:rPr>
              <a:t>	         - Provides higher profits (Construction profit + Operation profit + Dividend earned) </a:t>
            </a:r>
            <a:endParaRPr lang="ko-KR" alt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78" name="제목 1"/>
          <p:cNvSpPr>
            <a:spLocks noGrp="1"/>
          </p:cNvSpPr>
          <p:nvPr>
            <p:ph type="title"/>
            <p:custDataLst>
              <p:tags r:id="rId64"/>
            </p:custDataLst>
          </p:nvPr>
        </p:nvSpPr>
        <p:spPr>
          <a:xfrm>
            <a:off x="272999" y="57089"/>
            <a:ext cx="5038775" cy="318924"/>
          </a:xfrm>
          <a:noFill/>
        </p:spPr>
        <p:txBody>
          <a:bodyPr/>
          <a:lstStyle/>
          <a:p>
            <a:r>
              <a:rPr lang="en-US" altLang="ko-KR" dirty="0" err="1" smtClean="0">
                <a:solidFill>
                  <a:schemeClr val="bg1"/>
                </a:solidFill>
                <a:latin typeface="+mj-ea"/>
              </a:rPr>
              <a:t>Shinbundang</a:t>
            </a:r>
            <a:r>
              <a:rPr lang="en-US" altLang="ko-KR" dirty="0" smtClean="0">
                <a:solidFill>
                  <a:schemeClr val="bg1"/>
                </a:solidFill>
                <a:latin typeface="+mj-ea"/>
              </a:rPr>
              <a:t> DX Line PPP Project </a:t>
            </a:r>
            <a:r>
              <a:rPr lang="en-US" altLang="ko-KR" dirty="0">
                <a:solidFill>
                  <a:schemeClr val="bg1"/>
                </a:solidFill>
                <a:latin typeface="+mj-ea"/>
              </a:rPr>
              <a:t>: </a:t>
            </a:r>
            <a:r>
              <a:rPr lang="en-US" altLang="ko-KR" dirty="0" smtClean="0">
                <a:solidFill>
                  <a:schemeClr val="bg1"/>
                </a:solidFill>
              </a:rPr>
              <a:t>Cash Flow</a:t>
            </a:r>
            <a:endParaRPr lang="ko-KR" altLang="en-US" dirty="0">
              <a:solidFill>
                <a:schemeClr val="bg1"/>
              </a:solidFill>
            </a:endParaRPr>
          </a:p>
        </p:txBody>
      </p:sp>
      <p:sp>
        <p:nvSpPr>
          <p:cNvPr id="67" name="직사각형 46"/>
          <p:cNvSpPr/>
          <p:nvPr>
            <p:custDataLst>
              <p:tags r:id="rId65"/>
            </p:custDataLst>
          </p:nvPr>
        </p:nvSpPr>
        <p:spPr bwMode="auto">
          <a:xfrm>
            <a:off x="272442" y="692620"/>
            <a:ext cx="9360507" cy="375526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0" tIns="36000" rIns="108000" bIns="36000" rtlCol="0" anchor="ctr"/>
          <a:lstStyle/>
          <a:p>
            <a:endParaRPr lang="ko-KR" altLang="en-US" sz="1400" b="1" i="1" dirty="0">
              <a:solidFill>
                <a:srgbClr val="3B756B"/>
              </a:solidFill>
              <a:latin typeface="Arial"/>
            </a:endParaRPr>
          </a:p>
        </p:txBody>
      </p:sp>
      <p:sp>
        <p:nvSpPr>
          <p:cNvPr id="68" name="직사각형 67"/>
          <p:cNvSpPr/>
          <p:nvPr>
            <p:custDataLst>
              <p:tags r:id="rId66"/>
            </p:custDataLst>
          </p:nvPr>
        </p:nvSpPr>
        <p:spPr>
          <a:xfrm>
            <a:off x="445695" y="726422"/>
            <a:ext cx="7609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1400" b="1" i="1" dirty="0" err="1" smtClean="0">
                <a:solidFill>
                  <a:srgbClr val="1E1E1E"/>
                </a:solidFill>
                <a:latin typeface="Arial"/>
              </a:rPr>
              <a:t>Shinbundang</a:t>
            </a:r>
            <a:r>
              <a:rPr lang="en-US" altLang="ko-KR" sz="1400" b="1" i="1" dirty="0" smtClean="0">
                <a:solidFill>
                  <a:srgbClr val="1E1E1E"/>
                </a:solidFill>
                <a:latin typeface="Arial"/>
              </a:rPr>
              <a:t> DX Line Project</a:t>
            </a:r>
            <a:r>
              <a:rPr lang="ko-KR" altLang="en-US" sz="1400" b="1" i="1" dirty="0" smtClean="0">
                <a:solidFill>
                  <a:srgbClr val="1E1E1E"/>
                </a:solidFill>
                <a:latin typeface="Arial"/>
              </a:rPr>
              <a:t> </a:t>
            </a:r>
            <a:r>
              <a:rPr lang="en-US" altLang="ko-KR" sz="1200" i="1" dirty="0" smtClean="0">
                <a:solidFill>
                  <a:srgbClr val="1E1E1E"/>
                </a:solidFill>
                <a:latin typeface="Arial"/>
              </a:rPr>
              <a:t>– CI’s</a:t>
            </a:r>
            <a:r>
              <a:rPr lang="ko-KR" altLang="en-US" sz="1200" i="1" dirty="0" smtClean="0">
                <a:solidFill>
                  <a:srgbClr val="1E1E1E"/>
                </a:solidFill>
                <a:latin typeface="Arial"/>
              </a:rPr>
              <a:t> </a:t>
            </a:r>
            <a:r>
              <a:rPr lang="en-US" altLang="ko-KR" sz="1200" i="1" dirty="0" smtClean="0">
                <a:solidFill>
                  <a:srgbClr val="1E1E1E"/>
                </a:solidFill>
                <a:latin typeface="Arial"/>
              </a:rPr>
              <a:t>Cash Flow (CI = Construction</a:t>
            </a:r>
            <a:r>
              <a:rPr lang="ko-KR" altLang="en-US" sz="1200" i="1" dirty="0" smtClean="0">
                <a:solidFill>
                  <a:srgbClr val="1E1E1E"/>
                </a:solidFill>
                <a:latin typeface="Arial"/>
              </a:rPr>
              <a:t> </a:t>
            </a:r>
            <a:r>
              <a:rPr lang="en-US" altLang="ko-KR" sz="1200" i="1" dirty="0" smtClean="0">
                <a:solidFill>
                  <a:srgbClr val="1E1E1E"/>
                </a:solidFill>
                <a:latin typeface="Arial"/>
              </a:rPr>
              <a:t>+ Operation)</a:t>
            </a:r>
            <a:endParaRPr lang="ko-KR" altLang="en-US" sz="1400" i="1" dirty="0">
              <a:solidFill>
                <a:srgbClr val="1E1E1E"/>
              </a:solidFill>
              <a:latin typeface="Arial"/>
            </a:endParaRPr>
          </a:p>
        </p:txBody>
      </p:sp>
      <p:sp>
        <p:nvSpPr>
          <p:cNvPr id="69" name="TextBox 68"/>
          <p:cNvSpPr txBox="1"/>
          <p:nvPr>
            <p:custDataLst>
              <p:tags r:id="rId67"/>
            </p:custDataLst>
          </p:nvPr>
        </p:nvSpPr>
        <p:spPr>
          <a:xfrm>
            <a:off x="6735764" y="756995"/>
            <a:ext cx="2872472" cy="241980"/>
          </a:xfrm>
          <a:prstGeom prst="rect">
            <a:avLst/>
          </a:prstGeom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US" altLang="ko-KR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 : USD 4.1 </a:t>
            </a:r>
            <a:r>
              <a:rPr lang="en-US" altLang="ko-KR" sz="110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</a:t>
            </a:r>
            <a:endParaRPr lang="en-US" altLang="ko-KR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ounded Rectangle 3"/>
          <p:cNvSpPr/>
          <p:nvPr/>
        </p:nvSpPr>
        <p:spPr bwMode="auto">
          <a:xfrm>
            <a:off x="3989685" y="4005370"/>
            <a:ext cx="4897288" cy="1477009"/>
          </a:xfrm>
          <a:prstGeom prst="roundRect">
            <a:avLst>
              <a:gd name="adj" fmla="val 9616"/>
            </a:avLst>
          </a:prstGeom>
          <a:solidFill>
            <a:srgbClr val="ECF2F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144000" tIns="0" rIns="144000" bIns="0" rtlCol="0" anchor="t"/>
          <a:lstStyle/>
          <a:p>
            <a:pPr algn="ctr" latinLnBrk="0">
              <a:spcAft>
                <a:spcPts val="300"/>
              </a:spcAft>
            </a:pPr>
            <a:r>
              <a:rPr lang="en-US" altLang="ko-KR" sz="1100" b="1" cap="small" dirty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Equivalent Economic </a:t>
            </a:r>
            <a:r>
              <a:rPr lang="en-US" altLang="ko-KR" sz="1100" b="1" cap="small" dirty="0" smtClean="0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Impact (in Revenue)</a:t>
            </a:r>
            <a:endParaRPr lang="en-US" sz="1100" b="1" dirty="0">
              <a:latin typeface="맑은 고딕" pitchFamily="50" charset="-127"/>
              <a:ea typeface="맑은 고딕" pitchFamily="50" charset="-127"/>
            </a:endParaRPr>
          </a:p>
          <a:p>
            <a:pPr algn="ctr" latinLnBrk="0"/>
            <a:endParaRPr lang="en-US" sz="700" b="1" dirty="0"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71" name="표 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7099262"/>
              </p:ext>
            </p:extLst>
          </p:nvPr>
        </p:nvGraphicFramePr>
        <p:xfrm>
          <a:off x="4050107" y="4306810"/>
          <a:ext cx="4836866" cy="1087934"/>
        </p:xfrm>
        <a:graphic>
          <a:graphicData uri="http://schemas.openxmlformats.org/drawingml/2006/table">
            <a:tbl>
              <a:tblPr firstRow="1" firstCol="1" bandRow="1"/>
              <a:tblGrid>
                <a:gridCol w="2418433"/>
                <a:gridCol w="2418433"/>
              </a:tblGrid>
              <a:tr h="398204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100" b="1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Hyundai</a:t>
                      </a:r>
                      <a:r>
                        <a:rPr lang="en-US" altLang="ko-KR" sz="1100" b="1" kern="100" baseline="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motor</a:t>
                      </a:r>
                      <a:endParaRPr lang="en-US" altLang="ko-KR" sz="1100" b="1" kern="100" dirty="0" smtClean="0">
                        <a:effectLst/>
                        <a:latin typeface="+mn-lt"/>
                        <a:ea typeface="+mn-ea"/>
                        <a:cs typeface="Times New Roman"/>
                      </a:endParaRPr>
                    </a:p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(Operating profit</a:t>
                      </a:r>
                      <a:r>
                        <a:rPr lang="ko-KR" altLang="en-US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</a:t>
                      </a:r>
                      <a:r>
                        <a:rPr lang="en-US" altLang="ko-KR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5.55%)</a:t>
                      </a:r>
                      <a:endParaRPr lang="ko-KR" sz="1000" b="0" kern="100" dirty="0"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</a:txBody>
                  <a:tcPr marL="74698" marR="74698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EF3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100" b="1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Samsung</a:t>
                      </a:r>
                    </a:p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(Operating</a:t>
                      </a:r>
                      <a:r>
                        <a:rPr lang="en-US" altLang="ko-KR" sz="1000" b="0" kern="100" baseline="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profit</a:t>
                      </a:r>
                      <a:r>
                        <a:rPr lang="ko-KR" altLang="en-US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 </a:t>
                      </a:r>
                      <a:r>
                        <a:rPr lang="en-US" altLang="ko-KR" sz="1000" b="0" kern="100" dirty="0" smtClean="0">
                          <a:effectLst/>
                          <a:latin typeface="+mn-lt"/>
                          <a:ea typeface="+mn-ea"/>
                          <a:cs typeface="Times New Roman"/>
                        </a:rPr>
                        <a:t>14.49%)</a:t>
                      </a:r>
                      <a:endParaRPr lang="ko-KR" altLang="ko-KR" sz="1000" b="0" kern="100" dirty="0">
                        <a:effectLst/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74698" marR="74698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EF3"/>
                    </a:solidFill>
                  </a:tcPr>
                </a:tc>
              </a:tr>
              <a:tr h="689730">
                <a:tc>
                  <a:txBody>
                    <a:bodyPr/>
                    <a:lstStyle/>
                    <a:p>
                      <a:pPr algn="ctr" latinLnBrk="1">
                        <a:lnSpc>
                          <a:spcPct val="115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2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LF SONATA</a:t>
                      </a:r>
                      <a:r>
                        <a:rPr lang="ko-KR" altLang="en-US" sz="12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 </a:t>
                      </a:r>
                      <a:r>
                        <a:rPr lang="en-US" altLang="ko-KR" sz="12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4.3 million EA</a:t>
                      </a:r>
                      <a:endParaRPr lang="en-US" altLang="ko-KR" sz="1200" b="0" u="none" kern="100" dirty="0" smtClean="0">
                        <a:solidFill>
                          <a:schemeClr val="tx1"/>
                        </a:solidFill>
                        <a:effectLst/>
                        <a:latin typeface="맑은 고딕"/>
                        <a:ea typeface="맑은 고딕"/>
                        <a:cs typeface="Times New Roman"/>
                      </a:endParaRPr>
                    </a:p>
                  </a:txBody>
                  <a:tcPr marL="78423" marR="78423" marT="39211" marB="39211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>
                        <a:lnSpc>
                          <a:spcPct val="115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tabLst>
                          <a:tab pos="180340" algn="l"/>
                          <a:tab pos="577850" algn="l"/>
                          <a:tab pos="746760" algn="l"/>
                          <a:tab pos="900430" algn="l"/>
                        </a:tabLst>
                      </a:pPr>
                      <a:r>
                        <a:rPr lang="en-US" altLang="ko-KR" sz="1200" b="1" u="sng" kern="100" dirty="0" err="1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Gallaxy</a:t>
                      </a:r>
                      <a:r>
                        <a:rPr lang="ko-KR" altLang="en-US" sz="12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 </a:t>
                      </a:r>
                      <a:r>
                        <a:rPr lang="en-US" altLang="ko-KR" sz="1200" b="1" u="sng" kern="100" dirty="0" smtClean="0">
                          <a:solidFill>
                            <a:srgbClr val="C00000"/>
                          </a:solidFill>
                          <a:effectLst/>
                          <a:latin typeface="맑은 고딕"/>
                          <a:ea typeface="맑은 고딕"/>
                          <a:cs typeface="Times New Roman"/>
                        </a:rPr>
                        <a:t>S8 41.4 million EA</a:t>
                      </a:r>
                    </a:p>
                  </a:txBody>
                  <a:tcPr marL="78423" marR="78423" marT="39211" marB="39211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72" name="Picture 4" descr="Image result for car icon png"/>
          <p:cNvPicPr>
            <a:picLocks noChangeAspect="1" noChangeArrowheads="1"/>
          </p:cNvPicPr>
          <p:nvPr/>
        </p:nvPicPr>
        <p:blipFill rotWithShape="1">
          <a:blip r:embed="rId7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32"/>
          <a:stretch/>
        </p:blipFill>
        <p:spPr bwMode="auto">
          <a:xfrm>
            <a:off x="6116842" y="4401793"/>
            <a:ext cx="327314" cy="234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6" descr="Image result for smartphone icon png"/>
          <p:cNvPicPr>
            <a:picLocks noChangeAspect="1" noChangeArrowheads="1"/>
          </p:cNvPicPr>
          <p:nvPr/>
        </p:nvPicPr>
        <p:blipFill>
          <a:blip r:embed="rId7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0530" y="4372475"/>
            <a:ext cx="293539" cy="293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직사각형 76"/>
          <p:cNvSpPr/>
          <p:nvPr/>
        </p:nvSpPr>
        <p:spPr>
          <a:xfrm>
            <a:off x="6609230" y="5454245"/>
            <a:ext cx="23174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altLang="ko-KR" sz="900" i="1" dirty="0" smtClean="0"/>
              <a:t>※ </a:t>
            </a:r>
            <a:r>
              <a:rPr lang="ko-KR" altLang="en-US" sz="900" i="1" dirty="0"/>
              <a:t>LF </a:t>
            </a:r>
            <a:r>
              <a:rPr lang="en-US" altLang="ko-KR" sz="900" i="1" dirty="0" smtClean="0"/>
              <a:t>Sonata</a:t>
            </a:r>
            <a:r>
              <a:rPr lang="ko-KR" altLang="en-US" sz="900" i="1" dirty="0" smtClean="0"/>
              <a:t> : 25 </a:t>
            </a:r>
            <a:r>
              <a:rPr lang="en-US" altLang="ko-KR" sz="900" i="1" dirty="0" smtClean="0"/>
              <a:t>thousand USD/EA</a:t>
            </a:r>
          </a:p>
          <a:p>
            <a:pPr algn="r"/>
            <a:r>
              <a:rPr lang="en-US" altLang="ko-KR" sz="900" i="1" dirty="0" err="1" smtClean="0"/>
              <a:t>G</a:t>
            </a:r>
            <a:r>
              <a:rPr lang="en-US" altLang="ko-KR" sz="900" i="1" cap="small" dirty="0" err="1">
                <a:solidFill>
                  <a:schemeClr val="tx2">
                    <a:lumMod val="25000"/>
                  </a:schemeClr>
                </a:solidFill>
                <a:latin typeface="+mn-ea"/>
                <a:ea typeface=""/>
                <a:cs typeface=""/>
              </a:rPr>
              <a:t>allaxy</a:t>
            </a:r>
            <a:r>
              <a:rPr lang="ko-KR" altLang="en-US" sz="900" i="1" dirty="0" smtClean="0"/>
              <a:t> </a:t>
            </a:r>
            <a:r>
              <a:rPr lang="ko-KR" altLang="en-US" sz="900" i="1" dirty="0"/>
              <a:t>S8 </a:t>
            </a:r>
            <a:r>
              <a:rPr lang="ko-KR" altLang="en-US" sz="900" i="1" dirty="0" smtClean="0"/>
              <a:t>: 1 </a:t>
            </a:r>
            <a:r>
              <a:rPr lang="en-US" altLang="ko-KR" sz="900" i="1" dirty="0" smtClean="0"/>
              <a:t>thousand USD/EA</a:t>
            </a:r>
            <a:endParaRPr lang="ko-KR" altLang="en-US" sz="900" i="1" dirty="0"/>
          </a:p>
        </p:txBody>
      </p:sp>
    </p:spTree>
    <p:extLst>
      <p:ext uri="{BB962C8B-B14F-4D97-AF65-F5344CB8AC3E}">
        <p14:creationId xmlns:p14="http://schemas.microsoft.com/office/powerpoint/2010/main" val="107585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40" t="29959" r="21254" b="13663"/>
          <a:stretch/>
        </p:blipFill>
        <p:spPr>
          <a:xfrm>
            <a:off x="-15690" y="188550"/>
            <a:ext cx="9921690" cy="6669450"/>
          </a:xfrm>
          <a:prstGeom prst="rect">
            <a:avLst/>
          </a:prstGeom>
          <a:ln>
            <a:noFill/>
          </a:ln>
        </p:spPr>
      </p:pic>
      <p:grpSp>
        <p:nvGrpSpPr>
          <p:cNvPr id="429" name="그룹 428"/>
          <p:cNvGrpSpPr/>
          <p:nvPr/>
        </p:nvGrpSpPr>
        <p:grpSpPr>
          <a:xfrm>
            <a:off x="3047402" y="2957878"/>
            <a:ext cx="4208668" cy="3902124"/>
            <a:chOff x="3047402" y="2957878"/>
            <a:chExt cx="4208668" cy="3902124"/>
          </a:xfrm>
        </p:grpSpPr>
        <p:sp>
          <p:nvSpPr>
            <p:cNvPr id="296" name="Freeform 31"/>
            <p:cNvSpPr/>
            <p:nvPr/>
          </p:nvSpPr>
          <p:spPr bwMode="auto">
            <a:xfrm>
              <a:off x="3047402" y="4798033"/>
              <a:ext cx="1366884" cy="2061969"/>
            </a:xfrm>
            <a:custGeom>
              <a:avLst/>
              <a:gdLst>
                <a:gd name="connsiteX0" fmla="*/ 11907 w 1621632"/>
                <a:gd name="connsiteY0" fmla="*/ 2128838 h 2128838"/>
                <a:gd name="connsiteX1" fmla="*/ 26194 w 1621632"/>
                <a:gd name="connsiteY1" fmla="*/ 2081213 h 2128838"/>
                <a:gd name="connsiteX2" fmla="*/ 16669 w 1621632"/>
                <a:gd name="connsiteY2" fmla="*/ 2016919 h 2128838"/>
                <a:gd name="connsiteX3" fmla="*/ 0 w 1621632"/>
                <a:gd name="connsiteY3" fmla="*/ 1931194 h 2128838"/>
                <a:gd name="connsiteX4" fmla="*/ 7144 w 1621632"/>
                <a:gd name="connsiteY4" fmla="*/ 1905000 h 2128838"/>
                <a:gd name="connsiteX5" fmla="*/ 64294 w 1621632"/>
                <a:gd name="connsiteY5" fmla="*/ 1831182 h 2128838"/>
                <a:gd name="connsiteX6" fmla="*/ 80963 w 1621632"/>
                <a:gd name="connsiteY6" fmla="*/ 1707357 h 2128838"/>
                <a:gd name="connsiteX7" fmla="*/ 100013 w 1621632"/>
                <a:gd name="connsiteY7" fmla="*/ 1681163 h 2128838"/>
                <a:gd name="connsiteX8" fmla="*/ 104775 w 1621632"/>
                <a:gd name="connsiteY8" fmla="*/ 1628775 h 2128838"/>
                <a:gd name="connsiteX9" fmla="*/ 159544 w 1621632"/>
                <a:gd name="connsiteY9" fmla="*/ 1540669 h 2128838"/>
                <a:gd name="connsiteX10" fmla="*/ 200025 w 1621632"/>
                <a:gd name="connsiteY10" fmla="*/ 1514475 h 2128838"/>
                <a:gd name="connsiteX11" fmla="*/ 245269 w 1621632"/>
                <a:gd name="connsiteY11" fmla="*/ 1512094 h 2128838"/>
                <a:gd name="connsiteX12" fmla="*/ 266700 w 1621632"/>
                <a:gd name="connsiteY12" fmla="*/ 1445419 h 2128838"/>
                <a:gd name="connsiteX13" fmla="*/ 309563 w 1621632"/>
                <a:gd name="connsiteY13" fmla="*/ 1419225 h 2128838"/>
                <a:gd name="connsiteX14" fmla="*/ 364332 w 1621632"/>
                <a:gd name="connsiteY14" fmla="*/ 1412082 h 2128838"/>
                <a:gd name="connsiteX15" fmla="*/ 397669 w 1621632"/>
                <a:gd name="connsiteY15" fmla="*/ 1378744 h 2128838"/>
                <a:gd name="connsiteX16" fmla="*/ 502444 w 1621632"/>
                <a:gd name="connsiteY16" fmla="*/ 1376363 h 2128838"/>
                <a:gd name="connsiteX17" fmla="*/ 528638 w 1621632"/>
                <a:gd name="connsiteY17" fmla="*/ 1362075 h 2128838"/>
                <a:gd name="connsiteX18" fmla="*/ 595313 w 1621632"/>
                <a:gd name="connsiteY18" fmla="*/ 1343025 h 2128838"/>
                <a:gd name="connsiteX19" fmla="*/ 621507 w 1621632"/>
                <a:gd name="connsiteY19" fmla="*/ 1316832 h 2128838"/>
                <a:gd name="connsiteX20" fmla="*/ 664369 w 1621632"/>
                <a:gd name="connsiteY20" fmla="*/ 1304925 h 2128838"/>
                <a:gd name="connsiteX21" fmla="*/ 733425 w 1621632"/>
                <a:gd name="connsiteY21" fmla="*/ 1238250 h 2128838"/>
                <a:gd name="connsiteX22" fmla="*/ 790575 w 1621632"/>
                <a:gd name="connsiteY22" fmla="*/ 1238250 h 2128838"/>
                <a:gd name="connsiteX23" fmla="*/ 838200 w 1621632"/>
                <a:gd name="connsiteY23" fmla="*/ 1195388 h 2128838"/>
                <a:gd name="connsiteX24" fmla="*/ 892969 w 1621632"/>
                <a:gd name="connsiteY24" fmla="*/ 1190625 h 2128838"/>
                <a:gd name="connsiteX25" fmla="*/ 988219 w 1621632"/>
                <a:gd name="connsiteY25" fmla="*/ 1176338 h 2128838"/>
                <a:gd name="connsiteX26" fmla="*/ 1064419 w 1621632"/>
                <a:gd name="connsiteY26" fmla="*/ 1176338 h 2128838"/>
                <a:gd name="connsiteX27" fmla="*/ 1088232 w 1621632"/>
                <a:gd name="connsiteY27" fmla="*/ 1143000 h 2128838"/>
                <a:gd name="connsiteX28" fmla="*/ 1097757 w 1621632"/>
                <a:gd name="connsiteY28" fmla="*/ 1121569 h 2128838"/>
                <a:gd name="connsiteX29" fmla="*/ 1140619 w 1621632"/>
                <a:gd name="connsiteY29" fmla="*/ 1133475 h 2128838"/>
                <a:gd name="connsiteX30" fmla="*/ 1200150 w 1621632"/>
                <a:gd name="connsiteY30" fmla="*/ 1126332 h 2128838"/>
                <a:gd name="connsiteX31" fmla="*/ 1219200 w 1621632"/>
                <a:gd name="connsiteY31" fmla="*/ 1114425 h 2128838"/>
                <a:gd name="connsiteX32" fmla="*/ 1252538 w 1621632"/>
                <a:gd name="connsiteY32" fmla="*/ 1107282 h 2128838"/>
                <a:gd name="connsiteX33" fmla="*/ 1295400 w 1621632"/>
                <a:gd name="connsiteY33" fmla="*/ 1057275 h 2128838"/>
                <a:gd name="connsiteX34" fmla="*/ 1364457 w 1621632"/>
                <a:gd name="connsiteY34" fmla="*/ 1045369 h 2128838"/>
                <a:gd name="connsiteX35" fmla="*/ 1378744 w 1621632"/>
                <a:gd name="connsiteY35" fmla="*/ 1019175 h 2128838"/>
                <a:gd name="connsiteX36" fmla="*/ 1393032 w 1621632"/>
                <a:gd name="connsiteY36" fmla="*/ 981075 h 2128838"/>
                <a:gd name="connsiteX37" fmla="*/ 1428750 w 1621632"/>
                <a:gd name="connsiteY37" fmla="*/ 954882 h 2128838"/>
                <a:gd name="connsiteX38" fmla="*/ 1431132 w 1621632"/>
                <a:gd name="connsiteY38" fmla="*/ 904875 h 2128838"/>
                <a:gd name="connsiteX39" fmla="*/ 1454944 w 1621632"/>
                <a:gd name="connsiteY39" fmla="*/ 852488 h 2128838"/>
                <a:gd name="connsiteX40" fmla="*/ 1509713 w 1621632"/>
                <a:gd name="connsiteY40" fmla="*/ 828675 h 2128838"/>
                <a:gd name="connsiteX41" fmla="*/ 1524000 w 1621632"/>
                <a:gd name="connsiteY41" fmla="*/ 785813 h 2128838"/>
                <a:gd name="connsiteX42" fmla="*/ 1571625 w 1621632"/>
                <a:gd name="connsiteY42" fmla="*/ 757238 h 2128838"/>
                <a:gd name="connsiteX43" fmla="*/ 1578769 w 1621632"/>
                <a:gd name="connsiteY43" fmla="*/ 733425 h 2128838"/>
                <a:gd name="connsiteX44" fmla="*/ 1616869 w 1621632"/>
                <a:gd name="connsiteY44" fmla="*/ 692944 h 2128838"/>
                <a:gd name="connsiteX45" fmla="*/ 1621632 w 1621632"/>
                <a:gd name="connsiteY45" fmla="*/ 628650 h 2128838"/>
                <a:gd name="connsiteX46" fmla="*/ 1581150 w 1621632"/>
                <a:gd name="connsiteY46" fmla="*/ 550069 h 2128838"/>
                <a:gd name="connsiteX47" fmla="*/ 1557338 w 1621632"/>
                <a:gd name="connsiteY47" fmla="*/ 545307 h 2128838"/>
                <a:gd name="connsiteX48" fmla="*/ 1504950 w 1621632"/>
                <a:gd name="connsiteY48" fmla="*/ 523875 h 2128838"/>
                <a:gd name="connsiteX49" fmla="*/ 1469232 w 1621632"/>
                <a:gd name="connsiteY49" fmla="*/ 502444 h 2128838"/>
                <a:gd name="connsiteX50" fmla="*/ 1509713 w 1621632"/>
                <a:gd name="connsiteY50" fmla="*/ 471488 h 2128838"/>
                <a:gd name="connsiteX51" fmla="*/ 1507332 w 1621632"/>
                <a:gd name="connsiteY51" fmla="*/ 397669 h 2128838"/>
                <a:gd name="connsiteX52" fmla="*/ 1464469 w 1621632"/>
                <a:gd name="connsiteY52" fmla="*/ 328613 h 2128838"/>
                <a:gd name="connsiteX53" fmla="*/ 1447800 w 1621632"/>
                <a:gd name="connsiteY53" fmla="*/ 242888 h 2128838"/>
                <a:gd name="connsiteX54" fmla="*/ 1457325 w 1621632"/>
                <a:gd name="connsiteY54" fmla="*/ 228600 h 2128838"/>
                <a:gd name="connsiteX55" fmla="*/ 1414463 w 1621632"/>
                <a:gd name="connsiteY55" fmla="*/ 192882 h 2128838"/>
                <a:gd name="connsiteX56" fmla="*/ 1426369 w 1621632"/>
                <a:gd name="connsiteY56" fmla="*/ 164307 h 2128838"/>
                <a:gd name="connsiteX57" fmla="*/ 1450182 w 1621632"/>
                <a:gd name="connsiteY57" fmla="*/ 138113 h 2128838"/>
                <a:gd name="connsiteX58" fmla="*/ 1450182 w 1621632"/>
                <a:gd name="connsiteY58" fmla="*/ 92869 h 2128838"/>
                <a:gd name="connsiteX59" fmla="*/ 1471613 w 1621632"/>
                <a:gd name="connsiteY59" fmla="*/ 73819 h 2128838"/>
                <a:gd name="connsiteX60" fmla="*/ 1452563 w 1621632"/>
                <a:gd name="connsiteY60" fmla="*/ 33338 h 2128838"/>
                <a:gd name="connsiteX61" fmla="*/ 1466850 w 1621632"/>
                <a:gd name="connsiteY61" fmla="*/ 16669 h 2128838"/>
                <a:gd name="connsiteX62" fmla="*/ 1483519 w 1621632"/>
                <a:gd name="connsiteY62" fmla="*/ 0 h 2128838"/>
                <a:gd name="connsiteX0" fmla="*/ 26194 w 1621632"/>
                <a:gd name="connsiteY0" fmla="*/ 2081213 h 2081213"/>
                <a:gd name="connsiteX1" fmla="*/ 16669 w 1621632"/>
                <a:gd name="connsiteY1" fmla="*/ 2016919 h 2081213"/>
                <a:gd name="connsiteX2" fmla="*/ 0 w 1621632"/>
                <a:gd name="connsiteY2" fmla="*/ 1931194 h 2081213"/>
                <a:gd name="connsiteX3" fmla="*/ 7144 w 1621632"/>
                <a:gd name="connsiteY3" fmla="*/ 1905000 h 2081213"/>
                <a:gd name="connsiteX4" fmla="*/ 64294 w 1621632"/>
                <a:gd name="connsiteY4" fmla="*/ 1831182 h 2081213"/>
                <a:gd name="connsiteX5" fmla="*/ 80963 w 1621632"/>
                <a:gd name="connsiteY5" fmla="*/ 1707357 h 2081213"/>
                <a:gd name="connsiteX6" fmla="*/ 100013 w 1621632"/>
                <a:gd name="connsiteY6" fmla="*/ 1681163 h 2081213"/>
                <a:gd name="connsiteX7" fmla="*/ 104775 w 1621632"/>
                <a:gd name="connsiteY7" fmla="*/ 1628775 h 2081213"/>
                <a:gd name="connsiteX8" fmla="*/ 159544 w 1621632"/>
                <a:gd name="connsiteY8" fmla="*/ 1540669 h 2081213"/>
                <a:gd name="connsiteX9" fmla="*/ 200025 w 1621632"/>
                <a:gd name="connsiteY9" fmla="*/ 1514475 h 2081213"/>
                <a:gd name="connsiteX10" fmla="*/ 245269 w 1621632"/>
                <a:gd name="connsiteY10" fmla="*/ 1512094 h 2081213"/>
                <a:gd name="connsiteX11" fmla="*/ 266700 w 1621632"/>
                <a:gd name="connsiteY11" fmla="*/ 1445419 h 2081213"/>
                <a:gd name="connsiteX12" fmla="*/ 309563 w 1621632"/>
                <a:gd name="connsiteY12" fmla="*/ 1419225 h 2081213"/>
                <a:gd name="connsiteX13" fmla="*/ 364332 w 1621632"/>
                <a:gd name="connsiteY13" fmla="*/ 1412082 h 2081213"/>
                <a:gd name="connsiteX14" fmla="*/ 397669 w 1621632"/>
                <a:gd name="connsiteY14" fmla="*/ 1378744 h 2081213"/>
                <a:gd name="connsiteX15" fmla="*/ 502444 w 1621632"/>
                <a:gd name="connsiteY15" fmla="*/ 1376363 h 2081213"/>
                <a:gd name="connsiteX16" fmla="*/ 528638 w 1621632"/>
                <a:gd name="connsiteY16" fmla="*/ 1362075 h 2081213"/>
                <a:gd name="connsiteX17" fmla="*/ 595313 w 1621632"/>
                <a:gd name="connsiteY17" fmla="*/ 1343025 h 2081213"/>
                <a:gd name="connsiteX18" fmla="*/ 621507 w 1621632"/>
                <a:gd name="connsiteY18" fmla="*/ 1316832 h 2081213"/>
                <a:gd name="connsiteX19" fmla="*/ 664369 w 1621632"/>
                <a:gd name="connsiteY19" fmla="*/ 1304925 h 2081213"/>
                <a:gd name="connsiteX20" fmla="*/ 733425 w 1621632"/>
                <a:gd name="connsiteY20" fmla="*/ 1238250 h 2081213"/>
                <a:gd name="connsiteX21" fmla="*/ 790575 w 1621632"/>
                <a:gd name="connsiteY21" fmla="*/ 1238250 h 2081213"/>
                <a:gd name="connsiteX22" fmla="*/ 838200 w 1621632"/>
                <a:gd name="connsiteY22" fmla="*/ 1195388 h 2081213"/>
                <a:gd name="connsiteX23" fmla="*/ 892969 w 1621632"/>
                <a:gd name="connsiteY23" fmla="*/ 1190625 h 2081213"/>
                <a:gd name="connsiteX24" fmla="*/ 988219 w 1621632"/>
                <a:gd name="connsiteY24" fmla="*/ 1176338 h 2081213"/>
                <a:gd name="connsiteX25" fmla="*/ 1064419 w 1621632"/>
                <a:gd name="connsiteY25" fmla="*/ 1176338 h 2081213"/>
                <a:gd name="connsiteX26" fmla="*/ 1088232 w 1621632"/>
                <a:gd name="connsiteY26" fmla="*/ 1143000 h 2081213"/>
                <a:gd name="connsiteX27" fmla="*/ 1097757 w 1621632"/>
                <a:gd name="connsiteY27" fmla="*/ 1121569 h 2081213"/>
                <a:gd name="connsiteX28" fmla="*/ 1140619 w 1621632"/>
                <a:gd name="connsiteY28" fmla="*/ 1133475 h 2081213"/>
                <a:gd name="connsiteX29" fmla="*/ 1200150 w 1621632"/>
                <a:gd name="connsiteY29" fmla="*/ 1126332 h 2081213"/>
                <a:gd name="connsiteX30" fmla="*/ 1219200 w 1621632"/>
                <a:gd name="connsiteY30" fmla="*/ 1114425 h 2081213"/>
                <a:gd name="connsiteX31" fmla="*/ 1252538 w 1621632"/>
                <a:gd name="connsiteY31" fmla="*/ 1107282 h 2081213"/>
                <a:gd name="connsiteX32" fmla="*/ 1295400 w 1621632"/>
                <a:gd name="connsiteY32" fmla="*/ 1057275 h 2081213"/>
                <a:gd name="connsiteX33" fmla="*/ 1364457 w 1621632"/>
                <a:gd name="connsiteY33" fmla="*/ 1045369 h 2081213"/>
                <a:gd name="connsiteX34" fmla="*/ 1378744 w 1621632"/>
                <a:gd name="connsiteY34" fmla="*/ 1019175 h 2081213"/>
                <a:gd name="connsiteX35" fmla="*/ 1393032 w 1621632"/>
                <a:gd name="connsiteY35" fmla="*/ 981075 h 2081213"/>
                <a:gd name="connsiteX36" fmla="*/ 1428750 w 1621632"/>
                <a:gd name="connsiteY36" fmla="*/ 954882 h 2081213"/>
                <a:gd name="connsiteX37" fmla="*/ 1431132 w 1621632"/>
                <a:gd name="connsiteY37" fmla="*/ 904875 h 2081213"/>
                <a:gd name="connsiteX38" fmla="*/ 1454944 w 1621632"/>
                <a:gd name="connsiteY38" fmla="*/ 852488 h 2081213"/>
                <a:gd name="connsiteX39" fmla="*/ 1509713 w 1621632"/>
                <a:gd name="connsiteY39" fmla="*/ 828675 h 2081213"/>
                <a:gd name="connsiteX40" fmla="*/ 1524000 w 1621632"/>
                <a:gd name="connsiteY40" fmla="*/ 785813 h 2081213"/>
                <a:gd name="connsiteX41" fmla="*/ 1571625 w 1621632"/>
                <a:gd name="connsiteY41" fmla="*/ 757238 h 2081213"/>
                <a:gd name="connsiteX42" fmla="*/ 1578769 w 1621632"/>
                <a:gd name="connsiteY42" fmla="*/ 733425 h 2081213"/>
                <a:gd name="connsiteX43" fmla="*/ 1616869 w 1621632"/>
                <a:gd name="connsiteY43" fmla="*/ 692944 h 2081213"/>
                <a:gd name="connsiteX44" fmla="*/ 1621632 w 1621632"/>
                <a:gd name="connsiteY44" fmla="*/ 628650 h 2081213"/>
                <a:gd name="connsiteX45" fmla="*/ 1581150 w 1621632"/>
                <a:gd name="connsiteY45" fmla="*/ 550069 h 2081213"/>
                <a:gd name="connsiteX46" fmla="*/ 1557338 w 1621632"/>
                <a:gd name="connsiteY46" fmla="*/ 545307 h 2081213"/>
                <a:gd name="connsiteX47" fmla="*/ 1504950 w 1621632"/>
                <a:gd name="connsiteY47" fmla="*/ 523875 h 2081213"/>
                <a:gd name="connsiteX48" fmla="*/ 1469232 w 1621632"/>
                <a:gd name="connsiteY48" fmla="*/ 502444 h 2081213"/>
                <a:gd name="connsiteX49" fmla="*/ 1509713 w 1621632"/>
                <a:gd name="connsiteY49" fmla="*/ 471488 h 2081213"/>
                <a:gd name="connsiteX50" fmla="*/ 1507332 w 1621632"/>
                <a:gd name="connsiteY50" fmla="*/ 397669 h 2081213"/>
                <a:gd name="connsiteX51" fmla="*/ 1464469 w 1621632"/>
                <a:gd name="connsiteY51" fmla="*/ 328613 h 2081213"/>
                <a:gd name="connsiteX52" fmla="*/ 1447800 w 1621632"/>
                <a:gd name="connsiteY52" fmla="*/ 242888 h 2081213"/>
                <a:gd name="connsiteX53" fmla="*/ 1457325 w 1621632"/>
                <a:gd name="connsiteY53" fmla="*/ 228600 h 2081213"/>
                <a:gd name="connsiteX54" fmla="*/ 1414463 w 1621632"/>
                <a:gd name="connsiteY54" fmla="*/ 192882 h 2081213"/>
                <a:gd name="connsiteX55" fmla="*/ 1426369 w 1621632"/>
                <a:gd name="connsiteY55" fmla="*/ 164307 h 2081213"/>
                <a:gd name="connsiteX56" fmla="*/ 1450182 w 1621632"/>
                <a:gd name="connsiteY56" fmla="*/ 138113 h 2081213"/>
                <a:gd name="connsiteX57" fmla="*/ 1450182 w 1621632"/>
                <a:gd name="connsiteY57" fmla="*/ 92869 h 2081213"/>
                <a:gd name="connsiteX58" fmla="*/ 1471613 w 1621632"/>
                <a:gd name="connsiteY58" fmla="*/ 73819 h 2081213"/>
                <a:gd name="connsiteX59" fmla="*/ 1452563 w 1621632"/>
                <a:gd name="connsiteY59" fmla="*/ 33338 h 2081213"/>
                <a:gd name="connsiteX60" fmla="*/ 1466850 w 1621632"/>
                <a:gd name="connsiteY60" fmla="*/ 16669 h 2081213"/>
                <a:gd name="connsiteX61" fmla="*/ 1483519 w 1621632"/>
                <a:gd name="connsiteY61" fmla="*/ 0 h 2081213"/>
                <a:gd name="connsiteX0" fmla="*/ 16669 w 1621632"/>
                <a:gd name="connsiteY0" fmla="*/ 2016919 h 2016919"/>
                <a:gd name="connsiteX1" fmla="*/ 0 w 1621632"/>
                <a:gd name="connsiteY1" fmla="*/ 1931194 h 2016919"/>
                <a:gd name="connsiteX2" fmla="*/ 7144 w 1621632"/>
                <a:gd name="connsiteY2" fmla="*/ 1905000 h 2016919"/>
                <a:gd name="connsiteX3" fmla="*/ 64294 w 1621632"/>
                <a:gd name="connsiteY3" fmla="*/ 1831182 h 2016919"/>
                <a:gd name="connsiteX4" fmla="*/ 80963 w 1621632"/>
                <a:gd name="connsiteY4" fmla="*/ 1707357 h 2016919"/>
                <a:gd name="connsiteX5" fmla="*/ 100013 w 1621632"/>
                <a:gd name="connsiteY5" fmla="*/ 1681163 h 2016919"/>
                <a:gd name="connsiteX6" fmla="*/ 104775 w 1621632"/>
                <a:gd name="connsiteY6" fmla="*/ 1628775 h 2016919"/>
                <a:gd name="connsiteX7" fmla="*/ 159544 w 1621632"/>
                <a:gd name="connsiteY7" fmla="*/ 1540669 h 2016919"/>
                <a:gd name="connsiteX8" fmla="*/ 200025 w 1621632"/>
                <a:gd name="connsiteY8" fmla="*/ 1514475 h 2016919"/>
                <a:gd name="connsiteX9" fmla="*/ 245269 w 1621632"/>
                <a:gd name="connsiteY9" fmla="*/ 1512094 h 2016919"/>
                <a:gd name="connsiteX10" fmla="*/ 266700 w 1621632"/>
                <a:gd name="connsiteY10" fmla="*/ 1445419 h 2016919"/>
                <a:gd name="connsiteX11" fmla="*/ 309563 w 1621632"/>
                <a:gd name="connsiteY11" fmla="*/ 1419225 h 2016919"/>
                <a:gd name="connsiteX12" fmla="*/ 364332 w 1621632"/>
                <a:gd name="connsiteY12" fmla="*/ 1412082 h 2016919"/>
                <a:gd name="connsiteX13" fmla="*/ 397669 w 1621632"/>
                <a:gd name="connsiteY13" fmla="*/ 1378744 h 2016919"/>
                <a:gd name="connsiteX14" fmla="*/ 502444 w 1621632"/>
                <a:gd name="connsiteY14" fmla="*/ 1376363 h 2016919"/>
                <a:gd name="connsiteX15" fmla="*/ 528638 w 1621632"/>
                <a:gd name="connsiteY15" fmla="*/ 1362075 h 2016919"/>
                <a:gd name="connsiteX16" fmla="*/ 595313 w 1621632"/>
                <a:gd name="connsiteY16" fmla="*/ 1343025 h 2016919"/>
                <a:gd name="connsiteX17" fmla="*/ 621507 w 1621632"/>
                <a:gd name="connsiteY17" fmla="*/ 1316832 h 2016919"/>
                <a:gd name="connsiteX18" fmla="*/ 664369 w 1621632"/>
                <a:gd name="connsiteY18" fmla="*/ 1304925 h 2016919"/>
                <a:gd name="connsiteX19" fmla="*/ 733425 w 1621632"/>
                <a:gd name="connsiteY19" fmla="*/ 1238250 h 2016919"/>
                <a:gd name="connsiteX20" fmla="*/ 790575 w 1621632"/>
                <a:gd name="connsiteY20" fmla="*/ 1238250 h 2016919"/>
                <a:gd name="connsiteX21" fmla="*/ 838200 w 1621632"/>
                <a:gd name="connsiteY21" fmla="*/ 1195388 h 2016919"/>
                <a:gd name="connsiteX22" fmla="*/ 892969 w 1621632"/>
                <a:gd name="connsiteY22" fmla="*/ 1190625 h 2016919"/>
                <a:gd name="connsiteX23" fmla="*/ 988219 w 1621632"/>
                <a:gd name="connsiteY23" fmla="*/ 1176338 h 2016919"/>
                <a:gd name="connsiteX24" fmla="*/ 1064419 w 1621632"/>
                <a:gd name="connsiteY24" fmla="*/ 1176338 h 2016919"/>
                <a:gd name="connsiteX25" fmla="*/ 1088232 w 1621632"/>
                <a:gd name="connsiteY25" fmla="*/ 1143000 h 2016919"/>
                <a:gd name="connsiteX26" fmla="*/ 1097757 w 1621632"/>
                <a:gd name="connsiteY26" fmla="*/ 1121569 h 2016919"/>
                <a:gd name="connsiteX27" fmla="*/ 1140619 w 1621632"/>
                <a:gd name="connsiteY27" fmla="*/ 1133475 h 2016919"/>
                <a:gd name="connsiteX28" fmla="*/ 1200150 w 1621632"/>
                <a:gd name="connsiteY28" fmla="*/ 1126332 h 2016919"/>
                <a:gd name="connsiteX29" fmla="*/ 1219200 w 1621632"/>
                <a:gd name="connsiteY29" fmla="*/ 1114425 h 2016919"/>
                <a:gd name="connsiteX30" fmla="*/ 1252538 w 1621632"/>
                <a:gd name="connsiteY30" fmla="*/ 1107282 h 2016919"/>
                <a:gd name="connsiteX31" fmla="*/ 1295400 w 1621632"/>
                <a:gd name="connsiteY31" fmla="*/ 1057275 h 2016919"/>
                <a:gd name="connsiteX32" fmla="*/ 1364457 w 1621632"/>
                <a:gd name="connsiteY32" fmla="*/ 1045369 h 2016919"/>
                <a:gd name="connsiteX33" fmla="*/ 1378744 w 1621632"/>
                <a:gd name="connsiteY33" fmla="*/ 1019175 h 2016919"/>
                <a:gd name="connsiteX34" fmla="*/ 1393032 w 1621632"/>
                <a:gd name="connsiteY34" fmla="*/ 981075 h 2016919"/>
                <a:gd name="connsiteX35" fmla="*/ 1428750 w 1621632"/>
                <a:gd name="connsiteY35" fmla="*/ 954882 h 2016919"/>
                <a:gd name="connsiteX36" fmla="*/ 1431132 w 1621632"/>
                <a:gd name="connsiteY36" fmla="*/ 904875 h 2016919"/>
                <a:gd name="connsiteX37" fmla="*/ 1454944 w 1621632"/>
                <a:gd name="connsiteY37" fmla="*/ 852488 h 2016919"/>
                <a:gd name="connsiteX38" fmla="*/ 1509713 w 1621632"/>
                <a:gd name="connsiteY38" fmla="*/ 828675 h 2016919"/>
                <a:gd name="connsiteX39" fmla="*/ 1524000 w 1621632"/>
                <a:gd name="connsiteY39" fmla="*/ 785813 h 2016919"/>
                <a:gd name="connsiteX40" fmla="*/ 1571625 w 1621632"/>
                <a:gd name="connsiteY40" fmla="*/ 757238 h 2016919"/>
                <a:gd name="connsiteX41" fmla="*/ 1578769 w 1621632"/>
                <a:gd name="connsiteY41" fmla="*/ 733425 h 2016919"/>
                <a:gd name="connsiteX42" fmla="*/ 1616869 w 1621632"/>
                <a:gd name="connsiteY42" fmla="*/ 692944 h 2016919"/>
                <a:gd name="connsiteX43" fmla="*/ 1621632 w 1621632"/>
                <a:gd name="connsiteY43" fmla="*/ 628650 h 2016919"/>
                <a:gd name="connsiteX44" fmla="*/ 1581150 w 1621632"/>
                <a:gd name="connsiteY44" fmla="*/ 550069 h 2016919"/>
                <a:gd name="connsiteX45" fmla="*/ 1557338 w 1621632"/>
                <a:gd name="connsiteY45" fmla="*/ 545307 h 2016919"/>
                <a:gd name="connsiteX46" fmla="*/ 1504950 w 1621632"/>
                <a:gd name="connsiteY46" fmla="*/ 523875 h 2016919"/>
                <a:gd name="connsiteX47" fmla="*/ 1469232 w 1621632"/>
                <a:gd name="connsiteY47" fmla="*/ 502444 h 2016919"/>
                <a:gd name="connsiteX48" fmla="*/ 1509713 w 1621632"/>
                <a:gd name="connsiteY48" fmla="*/ 471488 h 2016919"/>
                <a:gd name="connsiteX49" fmla="*/ 1507332 w 1621632"/>
                <a:gd name="connsiteY49" fmla="*/ 397669 h 2016919"/>
                <a:gd name="connsiteX50" fmla="*/ 1464469 w 1621632"/>
                <a:gd name="connsiteY50" fmla="*/ 328613 h 2016919"/>
                <a:gd name="connsiteX51" fmla="*/ 1447800 w 1621632"/>
                <a:gd name="connsiteY51" fmla="*/ 242888 h 2016919"/>
                <a:gd name="connsiteX52" fmla="*/ 1457325 w 1621632"/>
                <a:gd name="connsiteY52" fmla="*/ 228600 h 2016919"/>
                <a:gd name="connsiteX53" fmla="*/ 1414463 w 1621632"/>
                <a:gd name="connsiteY53" fmla="*/ 192882 h 2016919"/>
                <a:gd name="connsiteX54" fmla="*/ 1426369 w 1621632"/>
                <a:gd name="connsiteY54" fmla="*/ 164307 h 2016919"/>
                <a:gd name="connsiteX55" fmla="*/ 1450182 w 1621632"/>
                <a:gd name="connsiteY55" fmla="*/ 138113 h 2016919"/>
                <a:gd name="connsiteX56" fmla="*/ 1450182 w 1621632"/>
                <a:gd name="connsiteY56" fmla="*/ 92869 h 2016919"/>
                <a:gd name="connsiteX57" fmla="*/ 1471613 w 1621632"/>
                <a:gd name="connsiteY57" fmla="*/ 73819 h 2016919"/>
                <a:gd name="connsiteX58" fmla="*/ 1452563 w 1621632"/>
                <a:gd name="connsiteY58" fmla="*/ 33338 h 2016919"/>
                <a:gd name="connsiteX59" fmla="*/ 1466850 w 1621632"/>
                <a:gd name="connsiteY59" fmla="*/ 16669 h 2016919"/>
                <a:gd name="connsiteX60" fmla="*/ 1483519 w 1621632"/>
                <a:gd name="connsiteY60" fmla="*/ 0 h 2016919"/>
                <a:gd name="connsiteX0" fmla="*/ 0 w 1621632"/>
                <a:gd name="connsiteY0" fmla="*/ 1931194 h 1931194"/>
                <a:gd name="connsiteX1" fmla="*/ 7144 w 1621632"/>
                <a:gd name="connsiteY1" fmla="*/ 1905000 h 1931194"/>
                <a:gd name="connsiteX2" fmla="*/ 64294 w 1621632"/>
                <a:gd name="connsiteY2" fmla="*/ 1831182 h 1931194"/>
                <a:gd name="connsiteX3" fmla="*/ 80963 w 1621632"/>
                <a:gd name="connsiteY3" fmla="*/ 1707357 h 1931194"/>
                <a:gd name="connsiteX4" fmla="*/ 100013 w 1621632"/>
                <a:gd name="connsiteY4" fmla="*/ 1681163 h 1931194"/>
                <a:gd name="connsiteX5" fmla="*/ 104775 w 1621632"/>
                <a:gd name="connsiteY5" fmla="*/ 1628775 h 1931194"/>
                <a:gd name="connsiteX6" fmla="*/ 159544 w 1621632"/>
                <a:gd name="connsiteY6" fmla="*/ 1540669 h 1931194"/>
                <a:gd name="connsiteX7" fmla="*/ 200025 w 1621632"/>
                <a:gd name="connsiteY7" fmla="*/ 1514475 h 1931194"/>
                <a:gd name="connsiteX8" fmla="*/ 245269 w 1621632"/>
                <a:gd name="connsiteY8" fmla="*/ 1512094 h 1931194"/>
                <a:gd name="connsiteX9" fmla="*/ 266700 w 1621632"/>
                <a:gd name="connsiteY9" fmla="*/ 1445419 h 1931194"/>
                <a:gd name="connsiteX10" fmla="*/ 309563 w 1621632"/>
                <a:gd name="connsiteY10" fmla="*/ 1419225 h 1931194"/>
                <a:gd name="connsiteX11" fmla="*/ 364332 w 1621632"/>
                <a:gd name="connsiteY11" fmla="*/ 1412082 h 1931194"/>
                <a:gd name="connsiteX12" fmla="*/ 397669 w 1621632"/>
                <a:gd name="connsiteY12" fmla="*/ 1378744 h 1931194"/>
                <a:gd name="connsiteX13" fmla="*/ 502444 w 1621632"/>
                <a:gd name="connsiteY13" fmla="*/ 1376363 h 1931194"/>
                <a:gd name="connsiteX14" fmla="*/ 528638 w 1621632"/>
                <a:gd name="connsiteY14" fmla="*/ 1362075 h 1931194"/>
                <a:gd name="connsiteX15" fmla="*/ 595313 w 1621632"/>
                <a:gd name="connsiteY15" fmla="*/ 1343025 h 1931194"/>
                <a:gd name="connsiteX16" fmla="*/ 621507 w 1621632"/>
                <a:gd name="connsiteY16" fmla="*/ 1316832 h 1931194"/>
                <a:gd name="connsiteX17" fmla="*/ 664369 w 1621632"/>
                <a:gd name="connsiteY17" fmla="*/ 1304925 h 1931194"/>
                <a:gd name="connsiteX18" fmla="*/ 733425 w 1621632"/>
                <a:gd name="connsiteY18" fmla="*/ 1238250 h 1931194"/>
                <a:gd name="connsiteX19" fmla="*/ 790575 w 1621632"/>
                <a:gd name="connsiteY19" fmla="*/ 1238250 h 1931194"/>
                <a:gd name="connsiteX20" fmla="*/ 838200 w 1621632"/>
                <a:gd name="connsiteY20" fmla="*/ 1195388 h 1931194"/>
                <a:gd name="connsiteX21" fmla="*/ 892969 w 1621632"/>
                <a:gd name="connsiteY21" fmla="*/ 1190625 h 1931194"/>
                <a:gd name="connsiteX22" fmla="*/ 988219 w 1621632"/>
                <a:gd name="connsiteY22" fmla="*/ 1176338 h 1931194"/>
                <a:gd name="connsiteX23" fmla="*/ 1064419 w 1621632"/>
                <a:gd name="connsiteY23" fmla="*/ 1176338 h 1931194"/>
                <a:gd name="connsiteX24" fmla="*/ 1088232 w 1621632"/>
                <a:gd name="connsiteY24" fmla="*/ 1143000 h 1931194"/>
                <a:gd name="connsiteX25" fmla="*/ 1097757 w 1621632"/>
                <a:gd name="connsiteY25" fmla="*/ 1121569 h 1931194"/>
                <a:gd name="connsiteX26" fmla="*/ 1140619 w 1621632"/>
                <a:gd name="connsiteY26" fmla="*/ 1133475 h 1931194"/>
                <a:gd name="connsiteX27" fmla="*/ 1200150 w 1621632"/>
                <a:gd name="connsiteY27" fmla="*/ 1126332 h 1931194"/>
                <a:gd name="connsiteX28" fmla="*/ 1219200 w 1621632"/>
                <a:gd name="connsiteY28" fmla="*/ 1114425 h 1931194"/>
                <a:gd name="connsiteX29" fmla="*/ 1252538 w 1621632"/>
                <a:gd name="connsiteY29" fmla="*/ 1107282 h 1931194"/>
                <a:gd name="connsiteX30" fmla="*/ 1295400 w 1621632"/>
                <a:gd name="connsiteY30" fmla="*/ 1057275 h 1931194"/>
                <a:gd name="connsiteX31" fmla="*/ 1364457 w 1621632"/>
                <a:gd name="connsiteY31" fmla="*/ 1045369 h 1931194"/>
                <a:gd name="connsiteX32" fmla="*/ 1378744 w 1621632"/>
                <a:gd name="connsiteY32" fmla="*/ 1019175 h 1931194"/>
                <a:gd name="connsiteX33" fmla="*/ 1393032 w 1621632"/>
                <a:gd name="connsiteY33" fmla="*/ 981075 h 1931194"/>
                <a:gd name="connsiteX34" fmla="*/ 1428750 w 1621632"/>
                <a:gd name="connsiteY34" fmla="*/ 954882 h 1931194"/>
                <a:gd name="connsiteX35" fmla="*/ 1431132 w 1621632"/>
                <a:gd name="connsiteY35" fmla="*/ 904875 h 1931194"/>
                <a:gd name="connsiteX36" fmla="*/ 1454944 w 1621632"/>
                <a:gd name="connsiteY36" fmla="*/ 852488 h 1931194"/>
                <a:gd name="connsiteX37" fmla="*/ 1509713 w 1621632"/>
                <a:gd name="connsiteY37" fmla="*/ 828675 h 1931194"/>
                <a:gd name="connsiteX38" fmla="*/ 1524000 w 1621632"/>
                <a:gd name="connsiteY38" fmla="*/ 785813 h 1931194"/>
                <a:gd name="connsiteX39" fmla="*/ 1571625 w 1621632"/>
                <a:gd name="connsiteY39" fmla="*/ 757238 h 1931194"/>
                <a:gd name="connsiteX40" fmla="*/ 1578769 w 1621632"/>
                <a:gd name="connsiteY40" fmla="*/ 733425 h 1931194"/>
                <a:gd name="connsiteX41" fmla="*/ 1616869 w 1621632"/>
                <a:gd name="connsiteY41" fmla="*/ 692944 h 1931194"/>
                <a:gd name="connsiteX42" fmla="*/ 1621632 w 1621632"/>
                <a:gd name="connsiteY42" fmla="*/ 628650 h 1931194"/>
                <a:gd name="connsiteX43" fmla="*/ 1581150 w 1621632"/>
                <a:gd name="connsiteY43" fmla="*/ 550069 h 1931194"/>
                <a:gd name="connsiteX44" fmla="*/ 1557338 w 1621632"/>
                <a:gd name="connsiteY44" fmla="*/ 545307 h 1931194"/>
                <a:gd name="connsiteX45" fmla="*/ 1504950 w 1621632"/>
                <a:gd name="connsiteY45" fmla="*/ 523875 h 1931194"/>
                <a:gd name="connsiteX46" fmla="*/ 1469232 w 1621632"/>
                <a:gd name="connsiteY46" fmla="*/ 502444 h 1931194"/>
                <a:gd name="connsiteX47" fmla="*/ 1509713 w 1621632"/>
                <a:gd name="connsiteY47" fmla="*/ 471488 h 1931194"/>
                <a:gd name="connsiteX48" fmla="*/ 1507332 w 1621632"/>
                <a:gd name="connsiteY48" fmla="*/ 397669 h 1931194"/>
                <a:gd name="connsiteX49" fmla="*/ 1464469 w 1621632"/>
                <a:gd name="connsiteY49" fmla="*/ 328613 h 1931194"/>
                <a:gd name="connsiteX50" fmla="*/ 1447800 w 1621632"/>
                <a:gd name="connsiteY50" fmla="*/ 242888 h 1931194"/>
                <a:gd name="connsiteX51" fmla="*/ 1457325 w 1621632"/>
                <a:gd name="connsiteY51" fmla="*/ 228600 h 1931194"/>
                <a:gd name="connsiteX52" fmla="*/ 1414463 w 1621632"/>
                <a:gd name="connsiteY52" fmla="*/ 192882 h 1931194"/>
                <a:gd name="connsiteX53" fmla="*/ 1426369 w 1621632"/>
                <a:gd name="connsiteY53" fmla="*/ 164307 h 1931194"/>
                <a:gd name="connsiteX54" fmla="*/ 1450182 w 1621632"/>
                <a:gd name="connsiteY54" fmla="*/ 138113 h 1931194"/>
                <a:gd name="connsiteX55" fmla="*/ 1450182 w 1621632"/>
                <a:gd name="connsiteY55" fmla="*/ 92869 h 1931194"/>
                <a:gd name="connsiteX56" fmla="*/ 1471613 w 1621632"/>
                <a:gd name="connsiteY56" fmla="*/ 73819 h 1931194"/>
                <a:gd name="connsiteX57" fmla="*/ 1452563 w 1621632"/>
                <a:gd name="connsiteY57" fmla="*/ 33338 h 1931194"/>
                <a:gd name="connsiteX58" fmla="*/ 1466850 w 1621632"/>
                <a:gd name="connsiteY58" fmla="*/ 16669 h 1931194"/>
                <a:gd name="connsiteX59" fmla="*/ 1483519 w 1621632"/>
                <a:gd name="connsiteY59" fmla="*/ 0 h 1931194"/>
                <a:gd name="connsiteX0" fmla="*/ 0 w 1614488"/>
                <a:gd name="connsiteY0" fmla="*/ 1905000 h 1905000"/>
                <a:gd name="connsiteX1" fmla="*/ 57150 w 1614488"/>
                <a:gd name="connsiteY1" fmla="*/ 1831182 h 1905000"/>
                <a:gd name="connsiteX2" fmla="*/ 73819 w 1614488"/>
                <a:gd name="connsiteY2" fmla="*/ 1707357 h 1905000"/>
                <a:gd name="connsiteX3" fmla="*/ 92869 w 1614488"/>
                <a:gd name="connsiteY3" fmla="*/ 1681163 h 1905000"/>
                <a:gd name="connsiteX4" fmla="*/ 97631 w 1614488"/>
                <a:gd name="connsiteY4" fmla="*/ 1628775 h 1905000"/>
                <a:gd name="connsiteX5" fmla="*/ 152400 w 1614488"/>
                <a:gd name="connsiteY5" fmla="*/ 1540669 h 1905000"/>
                <a:gd name="connsiteX6" fmla="*/ 192881 w 1614488"/>
                <a:gd name="connsiteY6" fmla="*/ 1514475 h 1905000"/>
                <a:gd name="connsiteX7" fmla="*/ 238125 w 1614488"/>
                <a:gd name="connsiteY7" fmla="*/ 1512094 h 1905000"/>
                <a:gd name="connsiteX8" fmla="*/ 259556 w 1614488"/>
                <a:gd name="connsiteY8" fmla="*/ 1445419 h 1905000"/>
                <a:gd name="connsiteX9" fmla="*/ 302419 w 1614488"/>
                <a:gd name="connsiteY9" fmla="*/ 1419225 h 1905000"/>
                <a:gd name="connsiteX10" fmla="*/ 357188 w 1614488"/>
                <a:gd name="connsiteY10" fmla="*/ 1412082 h 1905000"/>
                <a:gd name="connsiteX11" fmla="*/ 390525 w 1614488"/>
                <a:gd name="connsiteY11" fmla="*/ 1378744 h 1905000"/>
                <a:gd name="connsiteX12" fmla="*/ 495300 w 1614488"/>
                <a:gd name="connsiteY12" fmla="*/ 1376363 h 1905000"/>
                <a:gd name="connsiteX13" fmla="*/ 521494 w 1614488"/>
                <a:gd name="connsiteY13" fmla="*/ 1362075 h 1905000"/>
                <a:gd name="connsiteX14" fmla="*/ 588169 w 1614488"/>
                <a:gd name="connsiteY14" fmla="*/ 1343025 h 1905000"/>
                <a:gd name="connsiteX15" fmla="*/ 614363 w 1614488"/>
                <a:gd name="connsiteY15" fmla="*/ 1316832 h 1905000"/>
                <a:gd name="connsiteX16" fmla="*/ 657225 w 1614488"/>
                <a:gd name="connsiteY16" fmla="*/ 1304925 h 1905000"/>
                <a:gd name="connsiteX17" fmla="*/ 726281 w 1614488"/>
                <a:gd name="connsiteY17" fmla="*/ 1238250 h 1905000"/>
                <a:gd name="connsiteX18" fmla="*/ 783431 w 1614488"/>
                <a:gd name="connsiteY18" fmla="*/ 1238250 h 1905000"/>
                <a:gd name="connsiteX19" fmla="*/ 831056 w 1614488"/>
                <a:gd name="connsiteY19" fmla="*/ 1195388 h 1905000"/>
                <a:gd name="connsiteX20" fmla="*/ 885825 w 1614488"/>
                <a:gd name="connsiteY20" fmla="*/ 1190625 h 1905000"/>
                <a:gd name="connsiteX21" fmla="*/ 981075 w 1614488"/>
                <a:gd name="connsiteY21" fmla="*/ 1176338 h 1905000"/>
                <a:gd name="connsiteX22" fmla="*/ 1057275 w 1614488"/>
                <a:gd name="connsiteY22" fmla="*/ 1176338 h 1905000"/>
                <a:gd name="connsiteX23" fmla="*/ 1081088 w 1614488"/>
                <a:gd name="connsiteY23" fmla="*/ 1143000 h 1905000"/>
                <a:gd name="connsiteX24" fmla="*/ 1090613 w 1614488"/>
                <a:gd name="connsiteY24" fmla="*/ 1121569 h 1905000"/>
                <a:gd name="connsiteX25" fmla="*/ 1133475 w 1614488"/>
                <a:gd name="connsiteY25" fmla="*/ 1133475 h 1905000"/>
                <a:gd name="connsiteX26" fmla="*/ 1193006 w 1614488"/>
                <a:gd name="connsiteY26" fmla="*/ 1126332 h 1905000"/>
                <a:gd name="connsiteX27" fmla="*/ 1212056 w 1614488"/>
                <a:gd name="connsiteY27" fmla="*/ 1114425 h 1905000"/>
                <a:gd name="connsiteX28" fmla="*/ 1245394 w 1614488"/>
                <a:gd name="connsiteY28" fmla="*/ 1107282 h 1905000"/>
                <a:gd name="connsiteX29" fmla="*/ 1288256 w 1614488"/>
                <a:gd name="connsiteY29" fmla="*/ 1057275 h 1905000"/>
                <a:gd name="connsiteX30" fmla="*/ 1357313 w 1614488"/>
                <a:gd name="connsiteY30" fmla="*/ 1045369 h 1905000"/>
                <a:gd name="connsiteX31" fmla="*/ 1371600 w 1614488"/>
                <a:gd name="connsiteY31" fmla="*/ 1019175 h 1905000"/>
                <a:gd name="connsiteX32" fmla="*/ 1385888 w 1614488"/>
                <a:gd name="connsiteY32" fmla="*/ 981075 h 1905000"/>
                <a:gd name="connsiteX33" fmla="*/ 1421606 w 1614488"/>
                <a:gd name="connsiteY33" fmla="*/ 954882 h 1905000"/>
                <a:gd name="connsiteX34" fmla="*/ 1423988 w 1614488"/>
                <a:gd name="connsiteY34" fmla="*/ 904875 h 1905000"/>
                <a:gd name="connsiteX35" fmla="*/ 1447800 w 1614488"/>
                <a:gd name="connsiteY35" fmla="*/ 852488 h 1905000"/>
                <a:gd name="connsiteX36" fmla="*/ 1502569 w 1614488"/>
                <a:gd name="connsiteY36" fmla="*/ 828675 h 1905000"/>
                <a:gd name="connsiteX37" fmla="*/ 1516856 w 1614488"/>
                <a:gd name="connsiteY37" fmla="*/ 785813 h 1905000"/>
                <a:gd name="connsiteX38" fmla="*/ 1564481 w 1614488"/>
                <a:gd name="connsiteY38" fmla="*/ 757238 h 1905000"/>
                <a:gd name="connsiteX39" fmla="*/ 1571625 w 1614488"/>
                <a:gd name="connsiteY39" fmla="*/ 733425 h 1905000"/>
                <a:gd name="connsiteX40" fmla="*/ 1609725 w 1614488"/>
                <a:gd name="connsiteY40" fmla="*/ 692944 h 1905000"/>
                <a:gd name="connsiteX41" fmla="*/ 1614488 w 1614488"/>
                <a:gd name="connsiteY41" fmla="*/ 628650 h 1905000"/>
                <a:gd name="connsiteX42" fmla="*/ 1574006 w 1614488"/>
                <a:gd name="connsiteY42" fmla="*/ 550069 h 1905000"/>
                <a:gd name="connsiteX43" fmla="*/ 1550194 w 1614488"/>
                <a:gd name="connsiteY43" fmla="*/ 545307 h 1905000"/>
                <a:gd name="connsiteX44" fmla="*/ 1497806 w 1614488"/>
                <a:gd name="connsiteY44" fmla="*/ 523875 h 1905000"/>
                <a:gd name="connsiteX45" fmla="*/ 1462088 w 1614488"/>
                <a:gd name="connsiteY45" fmla="*/ 502444 h 1905000"/>
                <a:gd name="connsiteX46" fmla="*/ 1502569 w 1614488"/>
                <a:gd name="connsiteY46" fmla="*/ 471488 h 1905000"/>
                <a:gd name="connsiteX47" fmla="*/ 1500188 w 1614488"/>
                <a:gd name="connsiteY47" fmla="*/ 397669 h 1905000"/>
                <a:gd name="connsiteX48" fmla="*/ 1457325 w 1614488"/>
                <a:gd name="connsiteY48" fmla="*/ 328613 h 1905000"/>
                <a:gd name="connsiteX49" fmla="*/ 1440656 w 1614488"/>
                <a:gd name="connsiteY49" fmla="*/ 242888 h 1905000"/>
                <a:gd name="connsiteX50" fmla="*/ 1450181 w 1614488"/>
                <a:gd name="connsiteY50" fmla="*/ 228600 h 1905000"/>
                <a:gd name="connsiteX51" fmla="*/ 1407319 w 1614488"/>
                <a:gd name="connsiteY51" fmla="*/ 192882 h 1905000"/>
                <a:gd name="connsiteX52" fmla="*/ 1419225 w 1614488"/>
                <a:gd name="connsiteY52" fmla="*/ 164307 h 1905000"/>
                <a:gd name="connsiteX53" fmla="*/ 1443038 w 1614488"/>
                <a:gd name="connsiteY53" fmla="*/ 138113 h 1905000"/>
                <a:gd name="connsiteX54" fmla="*/ 1443038 w 1614488"/>
                <a:gd name="connsiteY54" fmla="*/ 92869 h 1905000"/>
                <a:gd name="connsiteX55" fmla="*/ 1464469 w 1614488"/>
                <a:gd name="connsiteY55" fmla="*/ 73819 h 1905000"/>
                <a:gd name="connsiteX56" fmla="*/ 1445419 w 1614488"/>
                <a:gd name="connsiteY56" fmla="*/ 33338 h 1905000"/>
                <a:gd name="connsiteX57" fmla="*/ 1459706 w 1614488"/>
                <a:gd name="connsiteY57" fmla="*/ 16669 h 1905000"/>
                <a:gd name="connsiteX58" fmla="*/ 1476375 w 1614488"/>
                <a:gd name="connsiteY58" fmla="*/ 0 h 1905000"/>
                <a:gd name="connsiteX0" fmla="*/ 0 w 1557338"/>
                <a:gd name="connsiteY0" fmla="*/ 1831182 h 1831182"/>
                <a:gd name="connsiteX1" fmla="*/ 16669 w 1557338"/>
                <a:gd name="connsiteY1" fmla="*/ 1707357 h 1831182"/>
                <a:gd name="connsiteX2" fmla="*/ 35719 w 1557338"/>
                <a:gd name="connsiteY2" fmla="*/ 1681163 h 1831182"/>
                <a:gd name="connsiteX3" fmla="*/ 40481 w 1557338"/>
                <a:gd name="connsiteY3" fmla="*/ 1628775 h 1831182"/>
                <a:gd name="connsiteX4" fmla="*/ 95250 w 1557338"/>
                <a:gd name="connsiteY4" fmla="*/ 1540669 h 1831182"/>
                <a:gd name="connsiteX5" fmla="*/ 135731 w 1557338"/>
                <a:gd name="connsiteY5" fmla="*/ 1514475 h 1831182"/>
                <a:gd name="connsiteX6" fmla="*/ 180975 w 1557338"/>
                <a:gd name="connsiteY6" fmla="*/ 1512094 h 1831182"/>
                <a:gd name="connsiteX7" fmla="*/ 202406 w 1557338"/>
                <a:gd name="connsiteY7" fmla="*/ 1445419 h 1831182"/>
                <a:gd name="connsiteX8" fmla="*/ 245269 w 1557338"/>
                <a:gd name="connsiteY8" fmla="*/ 1419225 h 1831182"/>
                <a:gd name="connsiteX9" fmla="*/ 300038 w 1557338"/>
                <a:gd name="connsiteY9" fmla="*/ 1412082 h 1831182"/>
                <a:gd name="connsiteX10" fmla="*/ 333375 w 1557338"/>
                <a:gd name="connsiteY10" fmla="*/ 1378744 h 1831182"/>
                <a:gd name="connsiteX11" fmla="*/ 438150 w 1557338"/>
                <a:gd name="connsiteY11" fmla="*/ 1376363 h 1831182"/>
                <a:gd name="connsiteX12" fmla="*/ 464344 w 1557338"/>
                <a:gd name="connsiteY12" fmla="*/ 1362075 h 1831182"/>
                <a:gd name="connsiteX13" fmla="*/ 531019 w 1557338"/>
                <a:gd name="connsiteY13" fmla="*/ 1343025 h 1831182"/>
                <a:gd name="connsiteX14" fmla="*/ 557213 w 1557338"/>
                <a:gd name="connsiteY14" fmla="*/ 1316832 h 1831182"/>
                <a:gd name="connsiteX15" fmla="*/ 600075 w 1557338"/>
                <a:gd name="connsiteY15" fmla="*/ 1304925 h 1831182"/>
                <a:gd name="connsiteX16" fmla="*/ 669131 w 1557338"/>
                <a:gd name="connsiteY16" fmla="*/ 1238250 h 1831182"/>
                <a:gd name="connsiteX17" fmla="*/ 726281 w 1557338"/>
                <a:gd name="connsiteY17" fmla="*/ 1238250 h 1831182"/>
                <a:gd name="connsiteX18" fmla="*/ 773906 w 1557338"/>
                <a:gd name="connsiteY18" fmla="*/ 1195388 h 1831182"/>
                <a:gd name="connsiteX19" fmla="*/ 828675 w 1557338"/>
                <a:gd name="connsiteY19" fmla="*/ 1190625 h 1831182"/>
                <a:gd name="connsiteX20" fmla="*/ 923925 w 1557338"/>
                <a:gd name="connsiteY20" fmla="*/ 1176338 h 1831182"/>
                <a:gd name="connsiteX21" fmla="*/ 1000125 w 1557338"/>
                <a:gd name="connsiteY21" fmla="*/ 1176338 h 1831182"/>
                <a:gd name="connsiteX22" fmla="*/ 1023938 w 1557338"/>
                <a:gd name="connsiteY22" fmla="*/ 1143000 h 1831182"/>
                <a:gd name="connsiteX23" fmla="*/ 1033463 w 1557338"/>
                <a:gd name="connsiteY23" fmla="*/ 1121569 h 1831182"/>
                <a:gd name="connsiteX24" fmla="*/ 1076325 w 1557338"/>
                <a:gd name="connsiteY24" fmla="*/ 1133475 h 1831182"/>
                <a:gd name="connsiteX25" fmla="*/ 1135856 w 1557338"/>
                <a:gd name="connsiteY25" fmla="*/ 1126332 h 1831182"/>
                <a:gd name="connsiteX26" fmla="*/ 1154906 w 1557338"/>
                <a:gd name="connsiteY26" fmla="*/ 1114425 h 1831182"/>
                <a:gd name="connsiteX27" fmla="*/ 1188244 w 1557338"/>
                <a:gd name="connsiteY27" fmla="*/ 1107282 h 1831182"/>
                <a:gd name="connsiteX28" fmla="*/ 1231106 w 1557338"/>
                <a:gd name="connsiteY28" fmla="*/ 1057275 h 1831182"/>
                <a:gd name="connsiteX29" fmla="*/ 1300163 w 1557338"/>
                <a:gd name="connsiteY29" fmla="*/ 1045369 h 1831182"/>
                <a:gd name="connsiteX30" fmla="*/ 1314450 w 1557338"/>
                <a:gd name="connsiteY30" fmla="*/ 1019175 h 1831182"/>
                <a:gd name="connsiteX31" fmla="*/ 1328738 w 1557338"/>
                <a:gd name="connsiteY31" fmla="*/ 981075 h 1831182"/>
                <a:gd name="connsiteX32" fmla="*/ 1364456 w 1557338"/>
                <a:gd name="connsiteY32" fmla="*/ 954882 h 1831182"/>
                <a:gd name="connsiteX33" fmla="*/ 1366838 w 1557338"/>
                <a:gd name="connsiteY33" fmla="*/ 904875 h 1831182"/>
                <a:gd name="connsiteX34" fmla="*/ 1390650 w 1557338"/>
                <a:gd name="connsiteY34" fmla="*/ 852488 h 1831182"/>
                <a:gd name="connsiteX35" fmla="*/ 1445419 w 1557338"/>
                <a:gd name="connsiteY35" fmla="*/ 828675 h 1831182"/>
                <a:gd name="connsiteX36" fmla="*/ 1459706 w 1557338"/>
                <a:gd name="connsiteY36" fmla="*/ 785813 h 1831182"/>
                <a:gd name="connsiteX37" fmla="*/ 1507331 w 1557338"/>
                <a:gd name="connsiteY37" fmla="*/ 757238 h 1831182"/>
                <a:gd name="connsiteX38" fmla="*/ 1514475 w 1557338"/>
                <a:gd name="connsiteY38" fmla="*/ 733425 h 1831182"/>
                <a:gd name="connsiteX39" fmla="*/ 1552575 w 1557338"/>
                <a:gd name="connsiteY39" fmla="*/ 692944 h 1831182"/>
                <a:gd name="connsiteX40" fmla="*/ 1557338 w 1557338"/>
                <a:gd name="connsiteY40" fmla="*/ 628650 h 1831182"/>
                <a:gd name="connsiteX41" fmla="*/ 1516856 w 1557338"/>
                <a:gd name="connsiteY41" fmla="*/ 550069 h 1831182"/>
                <a:gd name="connsiteX42" fmla="*/ 1493044 w 1557338"/>
                <a:gd name="connsiteY42" fmla="*/ 545307 h 1831182"/>
                <a:gd name="connsiteX43" fmla="*/ 1440656 w 1557338"/>
                <a:gd name="connsiteY43" fmla="*/ 523875 h 1831182"/>
                <a:gd name="connsiteX44" fmla="*/ 1404938 w 1557338"/>
                <a:gd name="connsiteY44" fmla="*/ 502444 h 1831182"/>
                <a:gd name="connsiteX45" fmla="*/ 1445419 w 1557338"/>
                <a:gd name="connsiteY45" fmla="*/ 471488 h 1831182"/>
                <a:gd name="connsiteX46" fmla="*/ 1443038 w 1557338"/>
                <a:gd name="connsiteY46" fmla="*/ 397669 h 1831182"/>
                <a:gd name="connsiteX47" fmla="*/ 1400175 w 1557338"/>
                <a:gd name="connsiteY47" fmla="*/ 328613 h 1831182"/>
                <a:gd name="connsiteX48" fmla="*/ 1383506 w 1557338"/>
                <a:gd name="connsiteY48" fmla="*/ 242888 h 1831182"/>
                <a:gd name="connsiteX49" fmla="*/ 1393031 w 1557338"/>
                <a:gd name="connsiteY49" fmla="*/ 228600 h 1831182"/>
                <a:gd name="connsiteX50" fmla="*/ 1350169 w 1557338"/>
                <a:gd name="connsiteY50" fmla="*/ 192882 h 1831182"/>
                <a:gd name="connsiteX51" fmla="*/ 1362075 w 1557338"/>
                <a:gd name="connsiteY51" fmla="*/ 164307 h 1831182"/>
                <a:gd name="connsiteX52" fmla="*/ 1385888 w 1557338"/>
                <a:gd name="connsiteY52" fmla="*/ 138113 h 1831182"/>
                <a:gd name="connsiteX53" fmla="*/ 1385888 w 1557338"/>
                <a:gd name="connsiteY53" fmla="*/ 92869 h 1831182"/>
                <a:gd name="connsiteX54" fmla="*/ 1407319 w 1557338"/>
                <a:gd name="connsiteY54" fmla="*/ 73819 h 1831182"/>
                <a:gd name="connsiteX55" fmla="*/ 1388269 w 1557338"/>
                <a:gd name="connsiteY55" fmla="*/ 33338 h 1831182"/>
                <a:gd name="connsiteX56" fmla="*/ 1402556 w 1557338"/>
                <a:gd name="connsiteY56" fmla="*/ 16669 h 1831182"/>
                <a:gd name="connsiteX57" fmla="*/ 1419225 w 1557338"/>
                <a:gd name="connsiteY57" fmla="*/ 0 h 1831182"/>
                <a:gd name="connsiteX0" fmla="*/ 0 w 1540669"/>
                <a:gd name="connsiteY0" fmla="*/ 1707357 h 1707357"/>
                <a:gd name="connsiteX1" fmla="*/ 19050 w 1540669"/>
                <a:gd name="connsiteY1" fmla="*/ 1681163 h 1707357"/>
                <a:gd name="connsiteX2" fmla="*/ 23812 w 1540669"/>
                <a:gd name="connsiteY2" fmla="*/ 1628775 h 1707357"/>
                <a:gd name="connsiteX3" fmla="*/ 78581 w 1540669"/>
                <a:gd name="connsiteY3" fmla="*/ 1540669 h 1707357"/>
                <a:gd name="connsiteX4" fmla="*/ 119062 w 1540669"/>
                <a:gd name="connsiteY4" fmla="*/ 1514475 h 1707357"/>
                <a:gd name="connsiteX5" fmla="*/ 164306 w 1540669"/>
                <a:gd name="connsiteY5" fmla="*/ 1512094 h 1707357"/>
                <a:gd name="connsiteX6" fmla="*/ 185737 w 1540669"/>
                <a:gd name="connsiteY6" fmla="*/ 1445419 h 1707357"/>
                <a:gd name="connsiteX7" fmla="*/ 228600 w 1540669"/>
                <a:gd name="connsiteY7" fmla="*/ 1419225 h 1707357"/>
                <a:gd name="connsiteX8" fmla="*/ 283369 w 1540669"/>
                <a:gd name="connsiteY8" fmla="*/ 1412082 h 1707357"/>
                <a:gd name="connsiteX9" fmla="*/ 316706 w 1540669"/>
                <a:gd name="connsiteY9" fmla="*/ 1378744 h 1707357"/>
                <a:gd name="connsiteX10" fmla="*/ 421481 w 1540669"/>
                <a:gd name="connsiteY10" fmla="*/ 1376363 h 1707357"/>
                <a:gd name="connsiteX11" fmla="*/ 447675 w 1540669"/>
                <a:gd name="connsiteY11" fmla="*/ 1362075 h 1707357"/>
                <a:gd name="connsiteX12" fmla="*/ 514350 w 1540669"/>
                <a:gd name="connsiteY12" fmla="*/ 1343025 h 1707357"/>
                <a:gd name="connsiteX13" fmla="*/ 540544 w 1540669"/>
                <a:gd name="connsiteY13" fmla="*/ 1316832 h 1707357"/>
                <a:gd name="connsiteX14" fmla="*/ 583406 w 1540669"/>
                <a:gd name="connsiteY14" fmla="*/ 1304925 h 1707357"/>
                <a:gd name="connsiteX15" fmla="*/ 652462 w 1540669"/>
                <a:gd name="connsiteY15" fmla="*/ 1238250 h 1707357"/>
                <a:gd name="connsiteX16" fmla="*/ 709612 w 1540669"/>
                <a:gd name="connsiteY16" fmla="*/ 1238250 h 1707357"/>
                <a:gd name="connsiteX17" fmla="*/ 757237 w 1540669"/>
                <a:gd name="connsiteY17" fmla="*/ 1195388 h 1707357"/>
                <a:gd name="connsiteX18" fmla="*/ 812006 w 1540669"/>
                <a:gd name="connsiteY18" fmla="*/ 1190625 h 1707357"/>
                <a:gd name="connsiteX19" fmla="*/ 907256 w 1540669"/>
                <a:gd name="connsiteY19" fmla="*/ 1176338 h 1707357"/>
                <a:gd name="connsiteX20" fmla="*/ 983456 w 1540669"/>
                <a:gd name="connsiteY20" fmla="*/ 1176338 h 1707357"/>
                <a:gd name="connsiteX21" fmla="*/ 1007269 w 1540669"/>
                <a:gd name="connsiteY21" fmla="*/ 1143000 h 1707357"/>
                <a:gd name="connsiteX22" fmla="*/ 1016794 w 1540669"/>
                <a:gd name="connsiteY22" fmla="*/ 1121569 h 1707357"/>
                <a:gd name="connsiteX23" fmla="*/ 1059656 w 1540669"/>
                <a:gd name="connsiteY23" fmla="*/ 1133475 h 1707357"/>
                <a:gd name="connsiteX24" fmla="*/ 1119187 w 1540669"/>
                <a:gd name="connsiteY24" fmla="*/ 1126332 h 1707357"/>
                <a:gd name="connsiteX25" fmla="*/ 1138237 w 1540669"/>
                <a:gd name="connsiteY25" fmla="*/ 1114425 h 1707357"/>
                <a:gd name="connsiteX26" fmla="*/ 1171575 w 1540669"/>
                <a:gd name="connsiteY26" fmla="*/ 1107282 h 1707357"/>
                <a:gd name="connsiteX27" fmla="*/ 1214437 w 1540669"/>
                <a:gd name="connsiteY27" fmla="*/ 1057275 h 1707357"/>
                <a:gd name="connsiteX28" fmla="*/ 1283494 w 1540669"/>
                <a:gd name="connsiteY28" fmla="*/ 1045369 h 1707357"/>
                <a:gd name="connsiteX29" fmla="*/ 1297781 w 1540669"/>
                <a:gd name="connsiteY29" fmla="*/ 1019175 h 1707357"/>
                <a:gd name="connsiteX30" fmla="*/ 1312069 w 1540669"/>
                <a:gd name="connsiteY30" fmla="*/ 981075 h 1707357"/>
                <a:gd name="connsiteX31" fmla="*/ 1347787 w 1540669"/>
                <a:gd name="connsiteY31" fmla="*/ 954882 h 1707357"/>
                <a:gd name="connsiteX32" fmla="*/ 1350169 w 1540669"/>
                <a:gd name="connsiteY32" fmla="*/ 904875 h 1707357"/>
                <a:gd name="connsiteX33" fmla="*/ 1373981 w 1540669"/>
                <a:gd name="connsiteY33" fmla="*/ 852488 h 1707357"/>
                <a:gd name="connsiteX34" fmla="*/ 1428750 w 1540669"/>
                <a:gd name="connsiteY34" fmla="*/ 828675 h 1707357"/>
                <a:gd name="connsiteX35" fmla="*/ 1443037 w 1540669"/>
                <a:gd name="connsiteY35" fmla="*/ 785813 h 1707357"/>
                <a:gd name="connsiteX36" fmla="*/ 1490662 w 1540669"/>
                <a:gd name="connsiteY36" fmla="*/ 757238 h 1707357"/>
                <a:gd name="connsiteX37" fmla="*/ 1497806 w 1540669"/>
                <a:gd name="connsiteY37" fmla="*/ 733425 h 1707357"/>
                <a:gd name="connsiteX38" fmla="*/ 1535906 w 1540669"/>
                <a:gd name="connsiteY38" fmla="*/ 692944 h 1707357"/>
                <a:gd name="connsiteX39" fmla="*/ 1540669 w 1540669"/>
                <a:gd name="connsiteY39" fmla="*/ 628650 h 1707357"/>
                <a:gd name="connsiteX40" fmla="*/ 1500187 w 1540669"/>
                <a:gd name="connsiteY40" fmla="*/ 550069 h 1707357"/>
                <a:gd name="connsiteX41" fmla="*/ 1476375 w 1540669"/>
                <a:gd name="connsiteY41" fmla="*/ 545307 h 1707357"/>
                <a:gd name="connsiteX42" fmla="*/ 1423987 w 1540669"/>
                <a:gd name="connsiteY42" fmla="*/ 523875 h 1707357"/>
                <a:gd name="connsiteX43" fmla="*/ 1388269 w 1540669"/>
                <a:gd name="connsiteY43" fmla="*/ 502444 h 1707357"/>
                <a:gd name="connsiteX44" fmla="*/ 1428750 w 1540669"/>
                <a:gd name="connsiteY44" fmla="*/ 471488 h 1707357"/>
                <a:gd name="connsiteX45" fmla="*/ 1426369 w 1540669"/>
                <a:gd name="connsiteY45" fmla="*/ 397669 h 1707357"/>
                <a:gd name="connsiteX46" fmla="*/ 1383506 w 1540669"/>
                <a:gd name="connsiteY46" fmla="*/ 328613 h 1707357"/>
                <a:gd name="connsiteX47" fmla="*/ 1366837 w 1540669"/>
                <a:gd name="connsiteY47" fmla="*/ 242888 h 1707357"/>
                <a:gd name="connsiteX48" fmla="*/ 1376362 w 1540669"/>
                <a:gd name="connsiteY48" fmla="*/ 228600 h 1707357"/>
                <a:gd name="connsiteX49" fmla="*/ 1333500 w 1540669"/>
                <a:gd name="connsiteY49" fmla="*/ 192882 h 1707357"/>
                <a:gd name="connsiteX50" fmla="*/ 1345406 w 1540669"/>
                <a:gd name="connsiteY50" fmla="*/ 164307 h 1707357"/>
                <a:gd name="connsiteX51" fmla="*/ 1369219 w 1540669"/>
                <a:gd name="connsiteY51" fmla="*/ 138113 h 1707357"/>
                <a:gd name="connsiteX52" fmla="*/ 1369219 w 1540669"/>
                <a:gd name="connsiteY52" fmla="*/ 92869 h 1707357"/>
                <a:gd name="connsiteX53" fmla="*/ 1390650 w 1540669"/>
                <a:gd name="connsiteY53" fmla="*/ 73819 h 1707357"/>
                <a:gd name="connsiteX54" fmla="*/ 1371600 w 1540669"/>
                <a:gd name="connsiteY54" fmla="*/ 33338 h 1707357"/>
                <a:gd name="connsiteX55" fmla="*/ 1385887 w 1540669"/>
                <a:gd name="connsiteY55" fmla="*/ 16669 h 1707357"/>
                <a:gd name="connsiteX56" fmla="*/ 1402556 w 1540669"/>
                <a:gd name="connsiteY56" fmla="*/ 0 h 1707357"/>
                <a:gd name="connsiteX0" fmla="*/ 0 w 1551920"/>
                <a:gd name="connsiteY0" fmla="*/ 1741497 h 1741497"/>
                <a:gd name="connsiteX1" fmla="*/ 30301 w 1551920"/>
                <a:gd name="connsiteY1" fmla="*/ 1681163 h 1741497"/>
                <a:gd name="connsiteX2" fmla="*/ 35063 w 1551920"/>
                <a:gd name="connsiteY2" fmla="*/ 1628775 h 1741497"/>
                <a:gd name="connsiteX3" fmla="*/ 89832 w 1551920"/>
                <a:gd name="connsiteY3" fmla="*/ 1540669 h 1741497"/>
                <a:gd name="connsiteX4" fmla="*/ 130313 w 1551920"/>
                <a:gd name="connsiteY4" fmla="*/ 1514475 h 1741497"/>
                <a:gd name="connsiteX5" fmla="*/ 175557 w 1551920"/>
                <a:gd name="connsiteY5" fmla="*/ 1512094 h 1741497"/>
                <a:gd name="connsiteX6" fmla="*/ 196988 w 1551920"/>
                <a:gd name="connsiteY6" fmla="*/ 1445419 h 1741497"/>
                <a:gd name="connsiteX7" fmla="*/ 239851 w 1551920"/>
                <a:gd name="connsiteY7" fmla="*/ 1419225 h 1741497"/>
                <a:gd name="connsiteX8" fmla="*/ 294620 w 1551920"/>
                <a:gd name="connsiteY8" fmla="*/ 1412082 h 1741497"/>
                <a:gd name="connsiteX9" fmla="*/ 327957 w 1551920"/>
                <a:gd name="connsiteY9" fmla="*/ 1378744 h 1741497"/>
                <a:gd name="connsiteX10" fmla="*/ 432732 w 1551920"/>
                <a:gd name="connsiteY10" fmla="*/ 1376363 h 1741497"/>
                <a:gd name="connsiteX11" fmla="*/ 458926 w 1551920"/>
                <a:gd name="connsiteY11" fmla="*/ 1362075 h 1741497"/>
                <a:gd name="connsiteX12" fmla="*/ 525601 w 1551920"/>
                <a:gd name="connsiteY12" fmla="*/ 1343025 h 1741497"/>
                <a:gd name="connsiteX13" fmla="*/ 551795 w 1551920"/>
                <a:gd name="connsiteY13" fmla="*/ 1316832 h 1741497"/>
                <a:gd name="connsiteX14" fmla="*/ 594657 w 1551920"/>
                <a:gd name="connsiteY14" fmla="*/ 1304925 h 1741497"/>
                <a:gd name="connsiteX15" fmla="*/ 663713 w 1551920"/>
                <a:gd name="connsiteY15" fmla="*/ 1238250 h 1741497"/>
                <a:gd name="connsiteX16" fmla="*/ 720863 w 1551920"/>
                <a:gd name="connsiteY16" fmla="*/ 1238250 h 1741497"/>
                <a:gd name="connsiteX17" fmla="*/ 768488 w 1551920"/>
                <a:gd name="connsiteY17" fmla="*/ 1195388 h 1741497"/>
                <a:gd name="connsiteX18" fmla="*/ 823257 w 1551920"/>
                <a:gd name="connsiteY18" fmla="*/ 1190625 h 1741497"/>
                <a:gd name="connsiteX19" fmla="*/ 918507 w 1551920"/>
                <a:gd name="connsiteY19" fmla="*/ 1176338 h 1741497"/>
                <a:gd name="connsiteX20" fmla="*/ 994707 w 1551920"/>
                <a:gd name="connsiteY20" fmla="*/ 1176338 h 1741497"/>
                <a:gd name="connsiteX21" fmla="*/ 1018520 w 1551920"/>
                <a:gd name="connsiteY21" fmla="*/ 1143000 h 1741497"/>
                <a:gd name="connsiteX22" fmla="*/ 1028045 w 1551920"/>
                <a:gd name="connsiteY22" fmla="*/ 1121569 h 1741497"/>
                <a:gd name="connsiteX23" fmla="*/ 1070907 w 1551920"/>
                <a:gd name="connsiteY23" fmla="*/ 1133475 h 1741497"/>
                <a:gd name="connsiteX24" fmla="*/ 1130438 w 1551920"/>
                <a:gd name="connsiteY24" fmla="*/ 1126332 h 1741497"/>
                <a:gd name="connsiteX25" fmla="*/ 1149488 w 1551920"/>
                <a:gd name="connsiteY25" fmla="*/ 1114425 h 1741497"/>
                <a:gd name="connsiteX26" fmla="*/ 1182826 w 1551920"/>
                <a:gd name="connsiteY26" fmla="*/ 1107282 h 1741497"/>
                <a:gd name="connsiteX27" fmla="*/ 1225688 w 1551920"/>
                <a:gd name="connsiteY27" fmla="*/ 1057275 h 1741497"/>
                <a:gd name="connsiteX28" fmla="*/ 1294745 w 1551920"/>
                <a:gd name="connsiteY28" fmla="*/ 1045369 h 1741497"/>
                <a:gd name="connsiteX29" fmla="*/ 1309032 w 1551920"/>
                <a:gd name="connsiteY29" fmla="*/ 1019175 h 1741497"/>
                <a:gd name="connsiteX30" fmla="*/ 1323320 w 1551920"/>
                <a:gd name="connsiteY30" fmla="*/ 981075 h 1741497"/>
                <a:gd name="connsiteX31" fmla="*/ 1359038 w 1551920"/>
                <a:gd name="connsiteY31" fmla="*/ 954882 h 1741497"/>
                <a:gd name="connsiteX32" fmla="*/ 1361420 w 1551920"/>
                <a:gd name="connsiteY32" fmla="*/ 904875 h 1741497"/>
                <a:gd name="connsiteX33" fmla="*/ 1385232 w 1551920"/>
                <a:gd name="connsiteY33" fmla="*/ 852488 h 1741497"/>
                <a:gd name="connsiteX34" fmla="*/ 1440001 w 1551920"/>
                <a:gd name="connsiteY34" fmla="*/ 828675 h 1741497"/>
                <a:gd name="connsiteX35" fmla="*/ 1454288 w 1551920"/>
                <a:gd name="connsiteY35" fmla="*/ 785813 h 1741497"/>
                <a:gd name="connsiteX36" fmla="*/ 1501913 w 1551920"/>
                <a:gd name="connsiteY36" fmla="*/ 757238 h 1741497"/>
                <a:gd name="connsiteX37" fmla="*/ 1509057 w 1551920"/>
                <a:gd name="connsiteY37" fmla="*/ 733425 h 1741497"/>
                <a:gd name="connsiteX38" fmla="*/ 1547157 w 1551920"/>
                <a:gd name="connsiteY38" fmla="*/ 692944 h 1741497"/>
                <a:gd name="connsiteX39" fmla="*/ 1551920 w 1551920"/>
                <a:gd name="connsiteY39" fmla="*/ 628650 h 1741497"/>
                <a:gd name="connsiteX40" fmla="*/ 1511438 w 1551920"/>
                <a:gd name="connsiteY40" fmla="*/ 550069 h 1741497"/>
                <a:gd name="connsiteX41" fmla="*/ 1487626 w 1551920"/>
                <a:gd name="connsiteY41" fmla="*/ 545307 h 1741497"/>
                <a:gd name="connsiteX42" fmla="*/ 1435238 w 1551920"/>
                <a:gd name="connsiteY42" fmla="*/ 523875 h 1741497"/>
                <a:gd name="connsiteX43" fmla="*/ 1399520 w 1551920"/>
                <a:gd name="connsiteY43" fmla="*/ 502444 h 1741497"/>
                <a:gd name="connsiteX44" fmla="*/ 1440001 w 1551920"/>
                <a:gd name="connsiteY44" fmla="*/ 471488 h 1741497"/>
                <a:gd name="connsiteX45" fmla="*/ 1437620 w 1551920"/>
                <a:gd name="connsiteY45" fmla="*/ 397669 h 1741497"/>
                <a:gd name="connsiteX46" fmla="*/ 1394757 w 1551920"/>
                <a:gd name="connsiteY46" fmla="*/ 328613 h 1741497"/>
                <a:gd name="connsiteX47" fmla="*/ 1378088 w 1551920"/>
                <a:gd name="connsiteY47" fmla="*/ 242888 h 1741497"/>
                <a:gd name="connsiteX48" fmla="*/ 1387613 w 1551920"/>
                <a:gd name="connsiteY48" fmla="*/ 228600 h 1741497"/>
                <a:gd name="connsiteX49" fmla="*/ 1344751 w 1551920"/>
                <a:gd name="connsiteY49" fmla="*/ 192882 h 1741497"/>
                <a:gd name="connsiteX50" fmla="*/ 1356657 w 1551920"/>
                <a:gd name="connsiteY50" fmla="*/ 164307 h 1741497"/>
                <a:gd name="connsiteX51" fmla="*/ 1380470 w 1551920"/>
                <a:gd name="connsiteY51" fmla="*/ 138113 h 1741497"/>
                <a:gd name="connsiteX52" fmla="*/ 1380470 w 1551920"/>
                <a:gd name="connsiteY52" fmla="*/ 92869 h 1741497"/>
                <a:gd name="connsiteX53" fmla="*/ 1401901 w 1551920"/>
                <a:gd name="connsiteY53" fmla="*/ 73819 h 1741497"/>
                <a:gd name="connsiteX54" fmla="*/ 1382851 w 1551920"/>
                <a:gd name="connsiteY54" fmla="*/ 33338 h 1741497"/>
                <a:gd name="connsiteX55" fmla="*/ 1397138 w 1551920"/>
                <a:gd name="connsiteY55" fmla="*/ 16669 h 1741497"/>
                <a:gd name="connsiteX56" fmla="*/ 1413807 w 1551920"/>
                <a:gd name="connsiteY56" fmla="*/ 0 h 1741497"/>
                <a:gd name="connsiteX0" fmla="*/ 0 w 1521619"/>
                <a:gd name="connsiteY0" fmla="*/ 1681163 h 1681163"/>
                <a:gd name="connsiteX1" fmla="*/ 4762 w 1521619"/>
                <a:gd name="connsiteY1" fmla="*/ 1628775 h 1681163"/>
                <a:gd name="connsiteX2" fmla="*/ 59531 w 1521619"/>
                <a:gd name="connsiteY2" fmla="*/ 1540669 h 1681163"/>
                <a:gd name="connsiteX3" fmla="*/ 100012 w 1521619"/>
                <a:gd name="connsiteY3" fmla="*/ 1514475 h 1681163"/>
                <a:gd name="connsiteX4" fmla="*/ 145256 w 1521619"/>
                <a:gd name="connsiteY4" fmla="*/ 1512094 h 1681163"/>
                <a:gd name="connsiteX5" fmla="*/ 166687 w 1521619"/>
                <a:gd name="connsiteY5" fmla="*/ 1445419 h 1681163"/>
                <a:gd name="connsiteX6" fmla="*/ 209550 w 1521619"/>
                <a:gd name="connsiteY6" fmla="*/ 1419225 h 1681163"/>
                <a:gd name="connsiteX7" fmla="*/ 264319 w 1521619"/>
                <a:gd name="connsiteY7" fmla="*/ 1412082 h 1681163"/>
                <a:gd name="connsiteX8" fmla="*/ 297656 w 1521619"/>
                <a:gd name="connsiteY8" fmla="*/ 1378744 h 1681163"/>
                <a:gd name="connsiteX9" fmla="*/ 402431 w 1521619"/>
                <a:gd name="connsiteY9" fmla="*/ 1376363 h 1681163"/>
                <a:gd name="connsiteX10" fmla="*/ 428625 w 1521619"/>
                <a:gd name="connsiteY10" fmla="*/ 1362075 h 1681163"/>
                <a:gd name="connsiteX11" fmla="*/ 495300 w 1521619"/>
                <a:gd name="connsiteY11" fmla="*/ 1343025 h 1681163"/>
                <a:gd name="connsiteX12" fmla="*/ 521494 w 1521619"/>
                <a:gd name="connsiteY12" fmla="*/ 1316832 h 1681163"/>
                <a:gd name="connsiteX13" fmla="*/ 564356 w 1521619"/>
                <a:gd name="connsiteY13" fmla="*/ 1304925 h 1681163"/>
                <a:gd name="connsiteX14" fmla="*/ 633412 w 1521619"/>
                <a:gd name="connsiteY14" fmla="*/ 1238250 h 1681163"/>
                <a:gd name="connsiteX15" fmla="*/ 690562 w 1521619"/>
                <a:gd name="connsiteY15" fmla="*/ 1238250 h 1681163"/>
                <a:gd name="connsiteX16" fmla="*/ 738187 w 1521619"/>
                <a:gd name="connsiteY16" fmla="*/ 1195388 h 1681163"/>
                <a:gd name="connsiteX17" fmla="*/ 792956 w 1521619"/>
                <a:gd name="connsiteY17" fmla="*/ 1190625 h 1681163"/>
                <a:gd name="connsiteX18" fmla="*/ 888206 w 1521619"/>
                <a:gd name="connsiteY18" fmla="*/ 1176338 h 1681163"/>
                <a:gd name="connsiteX19" fmla="*/ 964406 w 1521619"/>
                <a:gd name="connsiteY19" fmla="*/ 1176338 h 1681163"/>
                <a:gd name="connsiteX20" fmla="*/ 988219 w 1521619"/>
                <a:gd name="connsiteY20" fmla="*/ 1143000 h 1681163"/>
                <a:gd name="connsiteX21" fmla="*/ 997744 w 1521619"/>
                <a:gd name="connsiteY21" fmla="*/ 1121569 h 1681163"/>
                <a:gd name="connsiteX22" fmla="*/ 1040606 w 1521619"/>
                <a:gd name="connsiteY22" fmla="*/ 1133475 h 1681163"/>
                <a:gd name="connsiteX23" fmla="*/ 1100137 w 1521619"/>
                <a:gd name="connsiteY23" fmla="*/ 1126332 h 1681163"/>
                <a:gd name="connsiteX24" fmla="*/ 1119187 w 1521619"/>
                <a:gd name="connsiteY24" fmla="*/ 1114425 h 1681163"/>
                <a:gd name="connsiteX25" fmla="*/ 1152525 w 1521619"/>
                <a:gd name="connsiteY25" fmla="*/ 1107282 h 1681163"/>
                <a:gd name="connsiteX26" fmla="*/ 1195387 w 1521619"/>
                <a:gd name="connsiteY26" fmla="*/ 1057275 h 1681163"/>
                <a:gd name="connsiteX27" fmla="*/ 1264444 w 1521619"/>
                <a:gd name="connsiteY27" fmla="*/ 1045369 h 1681163"/>
                <a:gd name="connsiteX28" fmla="*/ 1278731 w 1521619"/>
                <a:gd name="connsiteY28" fmla="*/ 1019175 h 1681163"/>
                <a:gd name="connsiteX29" fmla="*/ 1293019 w 1521619"/>
                <a:gd name="connsiteY29" fmla="*/ 981075 h 1681163"/>
                <a:gd name="connsiteX30" fmla="*/ 1328737 w 1521619"/>
                <a:gd name="connsiteY30" fmla="*/ 954882 h 1681163"/>
                <a:gd name="connsiteX31" fmla="*/ 1331119 w 1521619"/>
                <a:gd name="connsiteY31" fmla="*/ 904875 h 1681163"/>
                <a:gd name="connsiteX32" fmla="*/ 1354931 w 1521619"/>
                <a:gd name="connsiteY32" fmla="*/ 852488 h 1681163"/>
                <a:gd name="connsiteX33" fmla="*/ 1409700 w 1521619"/>
                <a:gd name="connsiteY33" fmla="*/ 828675 h 1681163"/>
                <a:gd name="connsiteX34" fmla="*/ 1423987 w 1521619"/>
                <a:gd name="connsiteY34" fmla="*/ 785813 h 1681163"/>
                <a:gd name="connsiteX35" fmla="*/ 1471612 w 1521619"/>
                <a:gd name="connsiteY35" fmla="*/ 757238 h 1681163"/>
                <a:gd name="connsiteX36" fmla="*/ 1478756 w 1521619"/>
                <a:gd name="connsiteY36" fmla="*/ 733425 h 1681163"/>
                <a:gd name="connsiteX37" fmla="*/ 1516856 w 1521619"/>
                <a:gd name="connsiteY37" fmla="*/ 692944 h 1681163"/>
                <a:gd name="connsiteX38" fmla="*/ 1521619 w 1521619"/>
                <a:gd name="connsiteY38" fmla="*/ 628650 h 1681163"/>
                <a:gd name="connsiteX39" fmla="*/ 1481137 w 1521619"/>
                <a:gd name="connsiteY39" fmla="*/ 550069 h 1681163"/>
                <a:gd name="connsiteX40" fmla="*/ 1457325 w 1521619"/>
                <a:gd name="connsiteY40" fmla="*/ 545307 h 1681163"/>
                <a:gd name="connsiteX41" fmla="*/ 1404937 w 1521619"/>
                <a:gd name="connsiteY41" fmla="*/ 523875 h 1681163"/>
                <a:gd name="connsiteX42" fmla="*/ 1369219 w 1521619"/>
                <a:gd name="connsiteY42" fmla="*/ 502444 h 1681163"/>
                <a:gd name="connsiteX43" fmla="*/ 1409700 w 1521619"/>
                <a:gd name="connsiteY43" fmla="*/ 471488 h 1681163"/>
                <a:gd name="connsiteX44" fmla="*/ 1407319 w 1521619"/>
                <a:gd name="connsiteY44" fmla="*/ 397669 h 1681163"/>
                <a:gd name="connsiteX45" fmla="*/ 1364456 w 1521619"/>
                <a:gd name="connsiteY45" fmla="*/ 328613 h 1681163"/>
                <a:gd name="connsiteX46" fmla="*/ 1347787 w 1521619"/>
                <a:gd name="connsiteY46" fmla="*/ 242888 h 1681163"/>
                <a:gd name="connsiteX47" fmla="*/ 1357312 w 1521619"/>
                <a:gd name="connsiteY47" fmla="*/ 228600 h 1681163"/>
                <a:gd name="connsiteX48" fmla="*/ 1314450 w 1521619"/>
                <a:gd name="connsiteY48" fmla="*/ 192882 h 1681163"/>
                <a:gd name="connsiteX49" fmla="*/ 1326356 w 1521619"/>
                <a:gd name="connsiteY49" fmla="*/ 164307 h 1681163"/>
                <a:gd name="connsiteX50" fmla="*/ 1350169 w 1521619"/>
                <a:gd name="connsiteY50" fmla="*/ 138113 h 1681163"/>
                <a:gd name="connsiteX51" fmla="*/ 1350169 w 1521619"/>
                <a:gd name="connsiteY51" fmla="*/ 92869 h 1681163"/>
                <a:gd name="connsiteX52" fmla="*/ 1371600 w 1521619"/>
                <a:gd name="connsiteY52" fmla="*/ 73819 h 1681163"/>
                <a:gd name="connsiteX53" fmla="*/ 1352550 w 1521619"/>
                <a:gd name="connsiteY53" fmla="*/ 33338 h 1681163"/>
                <a:gd name="connsiteX54" fmla="*/ 1366837 w 1521619"/>
                <a:gd name="connsiteY54" fmla="*/ 16669 h 1681163"/>
                <a:gd name="connsiteX55" fmla="*/ 1383506 w 1521619"/>
                <a:gd name="connsiteY55" fmla="*/ 0 h 1681163"/>
                <a:gd name="connsiteX0" fmla="*/ 0 w 1516857"/>
                <a:gd name="connsiteY0" fmla="*/ 1628775 h 1628775"/>
                <a:gd name="connsiteX1" fmla="*/ 54769 w 1516857"/>
                <a:gd name="connsiteY1" fmla="*/ 1540669 h 1628775"/>
                <a:gd name="connsiteX2" fmla="*/ 95250 w 1516857"/>
                <a:gd name="connsiteY2" fmla="*/ 1514475 h 1628775"/>
                <a:gd name="connsiteX3" fmla="*/ 140494 w 1516857"/>
                <a:gd name="connsiteY3" fmla="*/ 1512094 h 1628775"/>
                <a:gd name="connsiteX4" fmla="*/ 161925 w 1516857"/>
                <a:gd name="connsiteY4" fmla="*/ 1445419 h 1628775"/>
                <a:gd name="connsiteX5" fmla="*/ 204788 w 1516857"/>
                <a:gd name="connsiteY5" fmla="*/ 1419225 h 1628775"/>
                <a:gd name="connsiteX6" fmla="*/ 259557 w 1516857"/>
                <a:gd name="connsiteY6" fmla="*/ 1412082 h 1628775"/>
                <a:gd name="connsiteX7" fmla="*/ 292894 w 1516857"/>
                <a:gd name="connsiteY7" fmla="*/ 1378744 h 1628775"/>
                <a:gd name="connsiteX8" fmla="*/ 397669 w 1516857"/>
                <a:gd name="connsiteY8" fmla="*/ 1376363 h 1628775"/>
                <a:gd name="connsiteX9" fmla="*/ 423863 w 1516857"/>
                <a:gd name="connsiteY9" fmla="*/ 1362075 h 1628775"/>
                <a:gd name="connsiteX10" fmla="*/ 490538 w 1516857"/>
                <a:gd name="connsiteY10" fmla="*/ 1343025 h 1628775"/>
                <a:gd name="connsiteX11" fmla="*/ 516732 w 1516857"/>
                <a:gd name="connsiteY11" fmla="*/ 1316832 h 1628775"/>
                <a:gd name="connsiteX12" fmla="*/ 559594 w 1516857"/>
                <a:gd name="connsiteY12" fmla="*/ 1304925 h 1628775"/>
                <a:gd name="connsiteX13" fmla="*/ 628650 w 1516857"/>
                <a:gd name="connsiteY13" fmla="*/ 1238250 h 1628775"/>
                <a:gd name="connsiteX14" fmla="*/ 685800 w 1516857"/>
                <a:gd name="connsiteY14" fmla="*/ 1238250 h 1628775"/>
                <a:gd name="connsiteX15" fmla="*/ 733425 w 1516857"/>
                <a:gd name="connsiteY15" fmla="*/ 1195388 h 1628775"/>
                <a:gd name="connsiteX16" fmla="*/ 788194 w 1516857"/>
                <a:gd name="connsiteY16" fmla="*/ 1190625 h 1628775"/>
                <a:gd name="connsiteX17" fmla="*/ 883444 w 1516857"/>
                <a:gd name="connsiteY17" fmla="*/ 1176338 h 1628775"/>
                <a:gd name="connsiteX18" fmla="*/ 959644 w 1516857"/>
                <a:gd name="connsiteY18" fmla="*/ 1176338 h 1628775"/>
                <a:gd name="connsiteX19" fmla="*/ 983457 w 1516857"/>
                <a:gd name="connsiteY19" fmla="*/ 1143000 h 1628775"/>
                <a:gd name="connsiteX20" fmla="*/ 992982 w 1516857"/>
                <a:gd name="connsiteY20" fmla="*/ 1121569 h 1628775"/>
                <a:gd name="connsiteX21" fmla="*/ 1035844 w 1516857"/>
                <a:gd name="connsiteY21" fmla="*/ 1133475 h 1628775"/>
                <a:gd name="connsiteX22" fmla="*/ 1095375 w 1516857"/>
                <a:gd name="connsiteY22" fmla="*/ 1126332 h 1628775"/>
                <a:gd name="connsiteX23" fmla="*/ 1114425 w 1516857"/>
                <a:gd name="connsiteY23" fmla="*/ 1114425 h 1628775"/>
                <a:gd name="connsiteX24" fmla="*/ 1147763 w 1516857"/>
                <a:gd name="connsiteY24" fmla="*/ 1107282 h 1628775"/>
                <a:gd name="connsiteX25" fmla="*/ 1190625 w 1516857"/>
                <a:gd name="connsiteY25" fmla="*/ 1057275 h 1628775"/>
                <a:gd name="connsiteX26" fmla="*/ 1259682 w 1516857"/>
                <a:gd name="connsiteY26" fmla="*/ 1045369 h 1628775"/>
                <a:gd name="connsiteX27" fmla="*/ 1273969 w 1516857"/>
                <a:gd name="connsiteY27" fmla="*/ 1019175 h 1628775"/>
                <a:gd name="connsiteX28" fmla="*/ 1288257 w 1516857"/>
                <a:gd name="connsiteY28" fmla="*/ 981075 h 1628775"/>
                <a:gd name="connsiteX29" fmla="*/ 1323975 w 1516857"/>
                <a:gd name="connsiteY29" fmla="*/ 954882 h 1628775"/>
                <a:gd name="connsiteX30" fmla="*/ 1326357 w 1516857"/>
                <a:gd name="connsiteY30" fmla="*/ 904875 h 1628775"/>
                <a:gd name="connsiteX31" fmla="*/ 1350169 w 1516857"/>
                <a:gd name="connsiteY31" fmla="*/ 852488 h 1628775"/>
                <a:gd name="connsiteX32" fmla="*/ 1404938 w 1516857"/>
                <a:gd name="connsiteY32" fmla="*/ 828675 h 1628775"/>
                <a:gd name="connsiteX33" fmla="*/ 1419225 w 1516857"/>
                <a:gd name="connsiteY33" fmla="*/ 785813 h 1628775"/>
                <a:gd name="connsiteX34" fmla="*/ 1466850 w 1516857"/>
                <a:gd name="connsiteY34" fmla="*/ 757238 h 1628775"/>
                <a:gd name="connsiteX35" fmla="*/ 1473994 w 1516857"/>
                <a:gd name="connsiteY35" fmla="*/ 733425 h 1628775"/>
                <a:gd name="connsiteX36" fmla="*/ 1512094 w 1516857"/>
                <a:gd name="connsiteY36" fmla="*/ 692944 h 1628775"/>
                <a:gd name="connsiteX37" fmla="*/ 1516857 w 1516857"/>
                <a:gd name="connsiteY37" fmla="*/ 628650 h 1628775"/>
                <a:gd name="connsiteX38" fmla="*/ 1476375 w 1516857"/>
                <a:gd name="connsiteY38" fmla="*/ 550069 h 1628775"/>
                <a:gd name="connsiteX39" fmla="*/ 1452563 w 1516857"/>
                <a:gd name="connsiteY39" fmla="*/ 545307 h 1628775"/>
                <a:gd name="connsiteX40" fmla="*/ 1400175 w 1516857"/>
                <a:gd name="connsiteY40" fmla="*/ 523875 h 1628775"/>
                <a:gd name="connsiteX41" fmla="*/ 1364457 w 1516857"/>
                <a:gd name="connsiteY41" fmla="*/ 502444 h 1628775"/>
                <a:gd name="connsiteX42" fmla="*/ 1404938 w 1516857"/>
                <a:gd name="connsiteY42" fmla="*/ 471488 h 1628775"/>
                <a:gd name="connsiteX43" fmla="*/ 1402557 w 1516857"/>
                <a:gd name="connsiteY43" fmla="*/ 397669 h 1628775"/>
                <a:gd name="connsiteX44" fmla="*/ 1359694 w 1516857"/>
                <a:gd name="connsiteY44" fmla="*/ 328613 h 1628775"/>
                <a:gd name="connsiteX45" fmla="*/ 1343025 w 1516857"/>
                <a:gd name="connsiteY45" fmla="*/ 242888 h 1628775"/>
                <a:gd name="connsiteX46" fmla="*/ 1352550 w 1516857"/>
                <a:gd name="connsiteY46" fmla="*/ 228600 h 1628775"/>
                <a:gd name="connsiteX47" fmla="*/ 1309688 w 1516857"/>
                <a:gd name="connsiteY47" fmla="*/ 192882 h 1628775"/>
                <a:gd name="connsiteX48" fmla="*/ 1321594 w 1516857"/>
                <a:gd name="connsiteY48" fmla="*/ 164307 h 1628775"/>
                <a:gd name="connsiteX49" fmla="*/ 1345407 w 1516857"/>
                <a:gd name="connsiteY49" fmla="*/ 138113 h 1628775"/>
                <a:gd name="connsiteX50" fmla="*/ 1345407 w 1516857"/>
                <a:gd name="connsiteY50" fmla="*/ 92869 h 1628775"/>
                <a:gd name="connsiteX51" fmla="*/ 1366838 w 1516857"/>
                <a:gd name="connsiteY51" fmla="*/ 73819 h 1628775"/>
                <a:gd name="connsiteX52" fmla="*/ 1347788 w 1516857"/>
                <a:gd name="connsiteY52" fmla="*/ 33338 h 1628775"/>
                <a:gd name="connsiteX53" fmla="*/ 1362075 w 1516857"/>
                <a:gd name="connsiteY53" fmla="*/ 16669 h 1628775"/>
                <a:gd name="connsiteX54" fmla="*/ 1378744 w 1516857"/>
                <a:gd name="connsiteY54" fmla="*/ 0 h 1628775"/>
                <a:gd name="connsiteX0" fmla="*/ 0 w 1462088"/>
                <a:gd name="connsiteY0" fmla="*/ 1540669 h 1540669"/>
                <a:gd name="connsiteX1" fmla="*/ 40481 w 1462088"/>
                <a:gd name="connsiteY1" fmla="*/ 1514475 h 1540669"/>
                <a:gd name="connsiteX2" fmla="*/ 85725 w 1462088"/>
                <a:gd name="connsiteY2" fmla="*/ 1512094 h 1540669"/>
                <a:gd name="connsiteX3" fmla="*/ 107156 w 1462088"/>
                <a:gd name="connsiteY3" fmla="*/ 1445419 h 1540669"/>
                <a:gd name="connsiteX4" fmla="*/ 150019 w 1462088"/>
                <a:gd name="connsiteY4" fmla="*/ 1419225 h 1540669"/>
                <a:gd name="connsiteX5" fmla="*/ 204788 w 1462088"/>
                <a:gd name="connsiteY5" fmla="*/ 1412082 h 1540669"/>
                <a:gd name="connsiteX6" fmla="*/ 238125 w 1462088"/>
                <a:gd name="connsiteY6" fmla="*/ 1378744 h 1540669"/>
                <a:gd name="connsiteX7" fmla="*/ 342900 w 1462088"/>
                <a:gd name="connsiteY7" fmla="*/ 1376363 h 1540669"/>
                <a:gd name="connsiteX8" fmla="*/ 369094 w 1462088"/>
                <a:gd name="connsiteY8" fmla="*/ 1362075 h 1540669"/>
                <a:gd name="connsiteX9" fmla="*/ 435769 w 1462088"/>
                <a:gd name="connsiteY9" fmla="*/ 1343025 h 1540669"/>
                <a:gd name="connsiteX10" fmla="*/ 461963 w 1462088"/>
                <a:gd name="connsiteY10" fmla="*/ 1316832 h 1540669"/>
                <a:gd name="connsiteX11" fmla="*/ 504825 w 1462088"/>
                <a:gd name="connsiteY11" fmla="*/ 1304925 h 1540669"/>
                <a:gd name="connsiteX12" fmla="*/ 573881 w 1462088"/>
                <a:gd name="connsiteY12" fmla="*/ 1238250 h 1540669"/>
                <a:gd name="connsiteX13" fmla="*/ 631031 w 1462088"/>
                <a:gd name="connsiteY13" fmla="*/ 1238250 h 1540669"/>
                <a:gd name="connsiteX14" fmla="*/ 678656 w 1462088"/>
                <a:gd name="connsiteY14" fmla="*/ 1195388 h 1540669"/>
                <a:gd name="connsiteX15" fmla="*/ 733425 w 1462088"/>
                <a:gd name="connsiteY15" fmla="*/ 1190625 h 1540669"/>
                <a:gd name="connsiteX16" fmla="*/ 828675 w 1462088"/>
                <a:gd name="connsiteY16" fmla="*/ 1176338 h 1540669"/>
                <a:gd name="connsiteX17" fmla="*/ 904875 w 1462088"/>
                <a:gd name="connsiteY17" fmla="*/ 1176338 h 1540669"/>
                <a:gd name="connsiteX18" fmla="*/ 928688 w 1462088"/>
                <a:gd name="connsiteY18" fmla="*/ 1143000 h 1540669"/>
                <a:gd name="connsiteX19" fmla="*/ 938213 w 1462088"/>
                <a:gd name="connsiteY19" fmla="*/ 1121569 h 1540669"/>
                <a:gd name="connsiteX20" fmla="*/ 981075 w 1462088"/>
                <a:gd name="connsiteY20" fmla="*/ 1133475 h 1540669"/>
                <a:gd name="connsiteX21" fmla="*/ 1040606 w 1462088"/>
                <a:gd name="connsiteY21" fmla="*/ 1126332 h 1540669"/>
                <a:gd name="connsiteX22" fmla="*/ 1059656 w 1462088"/>
                <a:gd name="connsiteY22" fmla="*/ 1114425 h 1540669"/>
                <a:gd name="connsiteX23" fmla="*/ 1092994 w 1462088"/>
                <a:gd name="connsiteY23" fmla="*/ 1107282 h 1540669"/>
                <a:gd name="connsiteX24" fmla="*/ 1135856 w 1462088"/>
                <a:gd name="connsiteY24" fmla="*/ 1057275 h 1540669"/>
                <a:gd name="connsiteX25" fmla="*/ 1204913 w 1462088"/>
                <a:gd name="connsiteY25" fmla="*/ 1045369 h 1540669"/>
                <a:gd name="connsiteX26" fmla="*/ 1219200 w 1462088"/>
                <a:gd name="connsiteY26" fmla="*/ 1019175 h 1540669"/>
                <a:gd name="connsiteX27" fmla="*/ 1233488 w 1462088"/>
                <a:gd name="connsiteY27" fmla="*/ 981075 h 1540669"/>
                <a:gd name="connsiteX28" fmla="*/ 1269206 w 1462088"/>
                <a:gd name="connsiteY28" fmla="*/ 954882 h 1540669"/>
                <a:gd name="connsiteX29" fmla="*/ 1271588 w 1462088"/>
                <a:gd name="connsiteY29" fmla="*/ 904875 h 1540669"/>
                <a:gd name="connsiteX30" fmla="*/ 1295400 w 1462088"/>
                <a:gd name="connsiteY30" fmla="*/ 852488 h 1540669"/>
                <a:gd name="connsiteX31" fmla="*/ 1350169 w 1462088"/>
                <a:gd name="connsiteY31" fmla="*/ 828675 h 1540669"/>
                <a:gd name="connsiteX32" fmla="*/ 1364456 w 1462088"/>
                <a:gd name="connsiteY32" fmla="*/ 785813 h 1540669"/>
                <a:gd name="connsiteX33" fmla="*/ 1412081 w 1462088"/>
                <a:gd name="connsiteY33" fmla="*/ 757238 h 1540669"/>
                <a:gd name="connsiteX34" fmla="*/ 1419225 w 1462088"/>
                <a:gd name="connsiteY34" fmla="*/ 733425 h 1540669"/>
                <a:gd name="connsiteX35" fmla="*/ 1457325 w 1462088"/>
                <a:gd name="connsiteY35" fmla="*/ 692944 h 1540669"/>
                <a:gd name="connsiteX36" fmla="*/ 1462088 w 1462088"/>
                <a:gd name="connsiteY36" fmla="*/ 628650 h 1540669"/>
                <a:gd name="connsiteX37" fmla="*/ 1421606 w 1462088"/>
                <a:gd name="connsiteY37" fmla="*/ 550069 h 1540669"/>
                <a:gd name="connsiteX38" fmla="*/ 1397794 w 1462088"/>
                <a:gd name="connsiteY38" fmla="*/ 545307 h 1540669"/>
                <a:gd name="connsiteX39" fmla="*/ 1345406 w 1462088"/>
                <a:gd name="connsiteY39" fmla="*/ 523875 h 1540669"/>
                <a:gd name="connsiteX40" fmla="*/ 1309688 w 1462088"/>
                <a:gd name="connsiteY40" fmla="*/ 502444 h 1540669"/>
                <a:gd name="connsiteX41" fmla="*/ 1350169 w 1462088"/>
                <a:gd name="connsiteY41" fmla="*/ 471488 h 1540669"/>
                <a:gd name="connsiteX42" fmla="*/ 1347788 w 1462088"/>
                <a:gd name="connsiteY42" fmla="*/ 397669 h 1540669"/>
                <a:gd name="connsiteX43" fmla="*/ 1304925 w 1462088"/>
                <a:gd name="connsiteY43" fmla="*/ 328613 h 1540669"/>
                <a:gd name="connsiteX44" fmla="*/ 1288256 w 1462088"/>
                <a:gd name="connsiteY44" fmla="*/ 242888 h 1540669"/>
                <a:gd name="connsiteX45" fmla="*/ 1297781 w 1462088"/>
                <a:gd name="connsiteY45" fmla="*/ 228600 h 1540669"/>
                <a:gd name="connsiteX46" fmla="*/ 1254919 w 1462088"/>
                <a:gd name="connsiteY46" fmla="*/ 192882 h 1540669"/>
                <a:gd name="connsiteX47" fmla="*/ 1266825 w 1462088"/>
                <a:gd name="connsiteY47" fmla="*/ 164307 h 1540669"/>
                <a:gd name="connsiteX48" fmla="*/ 1290638 w 1462088"/>
                <a:gd name="connsiteY48" fmla="*/ 138113 h 1540669"/>
                <a:gd name="connsiteX49" fmla="*/ 1290638 w 1462088"/>
                <a:gd name="connsiteY49" fmla="*/ 92869 h 1540669"/>
                <a:gd name="connsiteX50" fmla="*/ 1312069 w 1462088"/>
                <a:gd name="connsiteY50" fmla="*/ 73819 h 1540669"/>
                <a:gd name="connsiteX51" fmla="*/ 1293019 w 1462088"/>
                <a:gd name="connsiteY51" fmla="*/ 33338 h 1540669"/>
                <a:gd name="connsiteX52" fmla="*/ 1307306 w 1462088"/>
                <a:gd name="connsiteY52" fmla="*/ 16669 h 1540669"/>
                <a:gd name="connsiteX53" fmla="*/ 1323975 w 1462088"/>
                <a:gd name="connsiteY53" fmla="*/ 0 h 1540669"/>
                <a:gd name="connsiteX0" fmla="*/ 0 w 1421607"/>
                <a:gd name="connsiteY0" fmla="*/ 1514475 h 1514475"/>
                <a:gd name="connsiteX1" fmla="*/ 45244 w 1421607"/>
                <a:gd name="connsiteY1" fmla="*/ 1512094 h 1514475"/>
                <a:gd name="connsiteX2" fmla="*/ 66675 w 1421607"/>
                <a:gd name="connsiteY2" fmla="*/ 1445419 h 1514475"/>
                <a:gd name="connsiteX3" fmla="*/ 109538 w 1421607"/>
                <a:gd name="connsiteY3" fmla="*/ 1419225 h 1514475"/>
                <a:gd name="connsiteX4" fmla="*/ 164307 w 1421607"/>
                <a:gd name="connsiteY4" fmla="*/ 1412082 h 1514475"/>
                <a:gd name="connsiteX5" fmla="*/ 197644 w 1421607"/>
                <a:gd name="connsiteY5" fmla="*/ 1378744 h 1514475"/>
                <a:gd name="connsiteX6" fmla="*/ 302419 w 1421607"/>
                <a:gd name="connsiteY6" fmla="*/ 1376363 h 1514475"/>
                <a:gd name="connsiteX7" fmla="*/ 328613 w 1421607"/>
                <a:gd name="connsiteY7" fmla="*/ 1362075 h 1514475"/>
                <a:gd name="connsiteX8" fmla="*/ 395288 w 1421607"/>
                <a:gd name="connsiteY8" fmla="*/ 1343025 h 1514475"/>
                <a:gd name="connsiteX9" fmla="*/ 421482 w 1421607"/>
                <a:gd name="connsiteY9" fmla="*/ 1316832 h 1514475"/>
                <a:gd name="connsiteX10" fmla="*/ 464344 w 1421607"/>
                <a:gd name="connsiteY10" fmla="*/ 1304925 h 1514475"/>
                <a:gd name="connsiteX11" fmla="*/ 533400 w 1421607"/>
                <a:gd name="connsiteY11" fmla="*/ 1238250 h 1514475"/>
                <a:gd name="connsiteX12" fmla="*/ 590550 w 1421607"/>
                <a:gd name="connsiteY12" fmla="*/ 1238250 h 1514475"/>
                <a:gd name="connsiteX13" fmla="*/ 638175 w 1421607"/>
                <a:gd name="connsiteY13" fmla="*/ 1195388 h 1514475"/>
                <a:gd name="connsiteX14" fmla="*/ 692944 w 1421607"/>
                <a:gd name="connsiteY14" fmla="*/ 1190625 h 1514475"/>
                <a:gd name="connsiteX15" fmla="*/ 788194 w 1421607"/>
                <a:gd name="connsiteY15" fmla="*/ 1176338 h 1514475"/>
                <a:gd name="connsiteX16" fmla="*/ 864394 w 1421607"/>
                <a:gd name="connsiteY16" fmla="*/ 1176338 h 1514475"/>
                <a:gd name="connsiteX17" fmla="*/ 888207 w 1421607"/>
                <a:gd name="connsiteY17" fmla="*/ 1143000 h 1514475"/>
                <a:gd name="connsiteX18" fmla="*/ 897732 w 1421607"/>
                <a:gd name="connsiteY18" fmla="*/ 1121569 h 1514475"/>
                <a:gd name="connsiteX19" fmla="*/ 940594 w 1421607"/>
                <a:gd name="connsiteY19" fmla="*/ 1133475 h 1514475"/>
                <a:gd name="connsiteX20" fmla="*/ 1000125 w 1421607"/>
                <a:gd name="connsiteY20" fmla="*/ 1126332 h 1514475"/>
                <a:gd name="connsiteX21" fmla="*/ 1019175 w 1421607"/>
                <a:gd name="connsiteY21" fmla="*/ 1114425 h 1514475"/>
                <a:gd name="connsiteX22" fmla="*/ 1052513 w 1421607"/>
                <a:gd name="connsiteY22" fmla="*/ 1107282 h 1514475"/>
                <a:gd name="connsiteX23" fmla="*/ 1095375 w 1421607"/>
                <a:gd name="connsiteY23" fmla="*/ 1057275 h 1514475"/>
                <a:gd name="connsiteX24" fmla="*/ 1164432 w 1421607"/>
                <a:gd name="connsiteY24" fmla="*/ 1045369 h 1514475"/>
                <a:gd name="connsiteX25" fmla="*/ 1178719 w 1421607"/>
                <a:gd name="connsiteY25" fmla="*/ 1019175 h 1514475"/>
                <a:gd name="connsiteX26" fmla="*/ 1193007 w 1421607"/>
                <a:gd name="connsiteY26" fmla="*/ 981075 h 1514475"/>
                <a:gd name="connsiteX27" fmla="*/ 1228725 w 1421607"/>
                <a:gd name="connsiteY27" fmla="*/ 954882 h 1514475"/>
                <a:gd name="connsiteX28" fmla="*/ 1231107 w 1421607"/>
                <a:gd name="connsiteY28" fmla="*/ 904875 h 1514475"/>
                <a:gd name="connsiteX29" fmla="*/ 1254919 w 1421607"/>
                <a:gd name="connsiteY29" fmla="*/ 852488 h 1514475"/>
                <a:gd name="connsiteX30" fmla="*/ 1309688 w 1421607"/>
                <a:gd name="connsiteY30" fmla="*/ 828675 h 1514475"/>
                <a:gd name="connsiteX31" fmla="*/ 1323975 w 1421607"/>
                <a:gd name="connsiteY31" fmla="*/ 785813 h 1514475"/>
                <a:gd name="connsiteX32" fmla="*/ 1371600 w 1421607"/>
                <a:gd name="connsiteY32" fmla="*/ 757238 h 1514475"/>
                <a:gd name="connsiteX33" fmla="*/ 1378744 w 1421607"/>
                <a:gd name="connsiteY33" fmla="*/ 733425 h 1514475"/>
                <a:gd name="connsiteX34" fmla="*/ 1416844 w 1421607"/>
                <a:gd name="connsiteY34" fmla="*/ 692944 h 1514475"/>
                <a:gd name="connsiteX35" fmla="*/ 1421607 w 1421607"/>
                <a:gd name="connsiteY35" fmla="*/ 628650 h 1514475"/>
                <a:gd name="connsiteX36" fmla="*/ 1381125 w 1421607"/>
                <a:gd name="connsiteY36" fmla="*/ 550069 h 1514475"/>
                <a:gd name="connsiteX37" fmla="*/ 1357313 w 1421607"/>
                <a:gd name="connsiteY37" fmla="*/ 545307 h 1514475"/>
                <a:gd name="connsiteX38" fmla="*/ 1304925 w 1421607"/>
                <a:gd name="connsiteY38" fmla="*/ 523875 h 1514475"/>
                <a:gd name="connsiteX39" fmla="*/ 1269207 w 1421607"/>
                <a:gd name="connsiteY39" fmla="*/ 502444 h 1514475"/>
                <a:gd name="connsiteX40" fmla="*/ 1309688 w 1421607"/>
                <a:gd name="connsiteY40" fmla="*/ 471488 h 1514475"/>
                <a:gd name="connsiteX41" fmla="*/ 1307307 w 1421607"/>
                <a:gd name="connsiteY41" fmla="*/ 397669 h 1514475"/>
                <a:gd name="connsiteX42" fmla="*/ 1264444 w 1421607"/>
                <a:gd name="connsiteY42" fmla="*/ 328613 h 1514475"/>
                <a:gd name="connsiteX43" fmla="*/ 1247775 w 1421607"/>
                <a:gd name="connsiteY43" fmla="*/ 242888 h 1514475"/>
                <a:gd name="connsiteX44" fmla="*/ 1257300 w 1421607"/>
                <a:gd name="connsiteY44" fmla="*/ 228600 h 1514475"/>
                <a:gd name="connsiteX45" fmla="*/ 1214438 w 1421607"/>
                <a:gd name="connsiteY45" fmla="*/ 192882 h 1514475"/>
                <a:gd name="connsiteX46" fmla="*/ 1226344 w 1421607"/>
                <a:gd name="connsiteY46" fmla="*/ 164307 h 1514475"/>
                <a:gd name="connsiteX47" fmla="*/ 1250157 w 1421607"/>
                <a:gd name="connsiteY47" fmla="*/ 138113 h 1514475"/>
                <a:gd name="connsiteX48" fmla="*/ 1250157 w 1421607"/>
                <a:gd name="connsiteY48" fmla="*/ 92869 h 1514475"/>
                <a:gd name="connsiteX49" fmla="*/ 1271588 w 1421607"/>
                <a:gd name="connsiteY49" fmla="*/ 73819 h 1514475"/>
                <a:gd name="connsiteX50" fmla="*/ 1252538 w 1421607"/>
                <a:gd name="connsiteY50" fmla="*/ 33338 h 1514475"/>
                <a:gd name="connsiteX51" fmla="*/ 1266825 w 1421607"/>
                <a:gd name="connsiteY51" fmla="*/ 16669 h 1514475"/>
                <a:gd name="connsiteX52" fmla="*/ 1283494 w 1421607"/>
                <a:gd name="connsiteY52" fmla="*/ 0 h 1514475"/>
                <a:gd name="connsiteX0" fmla="*/ 0 w 1376363"/>
                <a:gd name="connsiteY0" fmla="*/ 1512094 h 1512094"/>
                <a:gd name="connsiteX1" fmla="*/ 21431 w 1376363"/>
                <a:gd name="connsiteY1" fmla="*/ 1445419 h 1512094"/>
                <a:gd name="connsiteX2" fmla="*/ 64294 w 1376363"/>
                <a:gd name="connsiteY2" fmla="*/ 1419225 h 1512094"/>
                <a:gd name="connsiteX3" fmla="*/ 119063 w 1376363"/>
                <a:gd name="connsiteY3" fmla="*/ 1412082 h 1512094"/>
                <a:gd name="connsiteX4" fmla="*/ 152400 w 1376363"/>
                <a:gd name="connsiteY4" fmla="*/ 1378744 h 1512094"/>
                <a:gd name="connsiteX5" fmla="*/ 257175 w 1376363"/>
                <a:gd name="connsiteY5" fmla="*/ 1376363 h 1512094"/>
                <a:gd name="connsiteX6" fmla="*/ 283369 w 1376363"/>
                <a:gd name="connsiteY6" fmla="*/ 1362075 h 1512094"/>
                <a:gd name="connsiteX7" fmla="*/ 350044 w 1376363"/>
                <a:gd name="connsiteY7" fmla="*/ 1343025 h 1512094"/>
                <a:gd name="connsiteX8" fmla="*/ 376238 w 1376363"/>
                <a:gd name="connsiteY8" fmla="*/ 1316832 h 1512094"/>
                <a:gd name="connsiteX9" fmla="*/ 419100 w 1376363"/>
                <a:gd name="connsiteY9" fmla="*/ 1304925 h 1512094"/>
                <a:gd name="connsiteX10" fmla="*/ 488156 w 1376363"/>
                <a:gd name="connsiteY10" fmla="*/ 1238250 h 1512094"/>
                <a:gd name="connsiteX11" fmla="*/ 545306 w 1376363"/>
                <a:gd name="connsiteY11" fmla="*/ 1238250 h 1512094"/>
                <a:gd name="connsiteX12" fmla="*/ 592931 w 1376363"/>
                <a:gd name="connsiteY12" fmla="*/ 1195388 h 1512094"/>
                <a:gd name="connsiteX13" fmla="*/ 647700 w 1376363"/>
                <a:gd name="connsiteY13" fmla="*/ 1190625 h 1512094"/>
                <a:gd name="connsiteX14" fmla="*/ 742950 w 1376363"/>
                <a:gd name="connsiteY14" fmla="*/ 1176338 h 1512094"/>
                <a:gd name="connsiteX15" fmla="*/ 819150 w 1376363"/>
                <a:gd name="connsiteY15" fmla="*/ 1176338 h 1512094"/>
                <a:gd name="connsiteX16" fmla="*/ 842963 w 1376363"/>
                <a:gd name="connsiteY16" fmla="*/ 1143000 h 1512094"/>
                <a:gd name="connsiteX17" fmla="*/ 852488 w 1376363"/>
                <a:gd name="connsiteY17" fmla="*/ 1121569 h 1512094"/>
                <a:gd name="connsiteX18" fmla="*/ 895350 w 1376363"/>
                <a:gd name="connsiteY18" fmla="*/ 1133475 h 1512094"/>
                <a:gd name="connsiteX19" fmla="*/ 954881 w 1376363"/>
                <a:gd name="connsiteY19" fmla="*/ 1126332 h 1512094"/>
                <a:gd name="connsiteX20" fmla="*/ 973931 w 1376363"/>
                <a:gd name="connsiteY20" fmla="*/ 1114425 h 1512094"/>
                <a:gd name="connsiteX21" fmla="*/ 1007269 w 1376363"/>
                <a:gd name="connsiteY21" fmla="*/ 1107282 h 1512094"/>
                <a:gd name="connsiteX22" fmla="*/ 1050131 w 1376363"/>
                <a:gd name="connsiteY22" fmla="*/ 1057275 h 1512094"/>
                <a:gd name="connsiteX23" fmla="*/ 1119188 w 1376363"/>
                <a:gd name="connsiteY23" fmla="*/ 1045369 h 1512094"/>
                <a:gd name="connsiteX24" fmla="*/ 1133475 w 1376363"/>
                <a:gd name="connsiteY24" fmla="*/ 1019175 h 1512094"/>
                <a:gd name="connsiteX25" fmla="*/ 1147763 w 1376363"/>
                <a:gd name="connsiteY25" fmla="*/ 981075 h 1512094"/>
                <a:gd name="connsiteX26" fmla="*/ 1183481 w 1376363"/>
                <a:gd name="connsiteY26" fmla="*/ 954882 h 1512094"/>
                <a:gd name="connsiteX27" fmla="*/ 1185863 w 1376363"/>
                <a:gd name="connsiteY27" fmla="*/ 904875 h 1512094"/>
                <a:gd name="connsiteX28" fmla="*/ 1209675 w 1376363"/>
                <a:gd name="connsiteY28" fmla="*/ 852488 h 1512094"/>
                <a:gd name="connsiteX29" fmla="*/ 1264444 w 1376363"/>
                <a:gd name="connsiteY29" fmla="*/ 828675 h 1512094"/>
                <a:gd name="connsiteX30" fmla="*/ 1278731 w 1376363"/>
                <a:gd name="connsiteY30" fmla="*/ 785813 h 1512094"/>
                <a:gd name="connsiteX31" fmla="*/ 1326356 w 1376363"/>
                <a:gd name="connsiteY31" fmla="*/ 757238 h 1512094"/>
                <a:gd name="connsiteX32" fmla="*/ 1333500 w 1376363"/>
                <a:gd name="connsiteY32" fmla="*/ 733425 h 1512094"/>
                <a:gd name="connsiteX33" fmla="*/ 1371600 w 1376363"/>
                <a:gd name="connsiteY33" fmla="*/ 692944 h 1512094"/>
                <a:gd name="connsiteX34" fmla="*/ 1376363 w 1376363"/>
                <a:gd name="connsiteY34" fmla="*/ 628650 h 1512094"/>
                <a:gd name="connsiteX35" fmla="*/ 1335881 w 1376363"/>
                <a:gd name="connsiteY35" fmla="*/ 550069 h 1512094"/>
                <a:gd name="connsiteX36" fmla="*/ 1312069 w 1376363"/>
                <a:gd name="connsiteY36" fmla="*/ 545307 h 1512094"/>
                <a:gd name="connsiteX37" fmla="*/ 1259681 w 1376363"/>
                <a:gd name="connsiteY37" fmla="*/ 523875 h 1512094"/>
                <a:gd name="connsiteX38" fmla="*/ 1223963 w 1376363"/>
                <a:gd name="connsiteY38" fmla="*/ 502444 h 1512094"/>
                <a:gd name="connsiteX39" fmla="*/ 1264444 w 1376363"/>
                <a:gd name="connsiteY39" fmla="*/ 471488 h 1512094"/>
                <a:gd name="connsiteX40" fmla="*/ 1262063 w 1376363"/>
                <a:gd name="connsiteY40" fmla="*/ 397669 h 1512094"/>
                <a:gd name="connsiteX41" fmla="*/ 1219200 w 1376363"/>
                <a:gd name="connsiteY41" fmla="*/ 328613 h 1512094"/>
                <a:gd name="connsiteX42" fmla="*/ 1202531 w 1376363"/>
                <a:gd name="connsiteY42" fmla="*/ 242888 h 1512094"/>
                <a:gd name="connsiteX43" fmla="*/ 1212056 w 1376363"/>
                <a:gd name="connsiteY43" fmla="*/ 228600 h 1512094"/>
                <a:gd name="connsiteX44" fmla="*/ 1169194 w 1376363"/>
                <a:gd name="connsiteY44" fmla="*/ 192882 h 1512094"/>
                <a:gd name="connsiteX45" fmla="*/ 1181100 w 1376363"/>
                <a:gd name="connsiteY45" fmla="*/ 164307 h 1512094"/>
                <a:gd name="connsiteX46" fmla="*/ 1204913 w 1376363"/>
                <a:gd name="connsiteY46" fmla="*/ 138113 h 1512094"/>
                <a:gd name="connsiteX47" fmla="*/ 1204913 w 1376363"/>
                <a:gd name="connsiteY47" fmla="*/ 92869 h 1512094"/>
                <a:gd name="connsiteX48" fmla="*/ 1226344 w 1376363"/>
                <a:gd name="connsiteY48" fmla="*/ 73819 h 1512094"/>
                <a:gd name="connsiteX49" fmla="*/ 1207294 w 1376363"/>
                <a:gd name="connsiteY49" fmla="*/ 33338 h 1512094"/>
                <a:gd name="connsiteX50" fmla="*/ 1221581 w 1376363"/>
                <a:gd name="connsiteY50" fmla="*/ 16669 h 1512094"/>
                <a:gd name="connsiteX51" fmla="*/ 1238250 w 1376363"/>
                <a:gd name="connsiteY51" fmla="*/ 0 h 1512094"/>
                <a:gd name="connsiteX0" fmla="*/ 0 w 1354932"/>
                <a:gd name="connsiteY0" fmla="*/ 1445419 h 1445419"/>
                <a:gd name="connsiteX1" fmla="*/ 42863 w 1354932"/>
                <a:gd name="connsiteY1" fmla="*/ 1419225 h 1445419"/>
                <a:gd name="connsiteX2" fmla="*/ 97632 w 1354932"/>
                <a:gd name="connsiteY2" fmla="*/ 1412082 h 1445419"/>
                <a:gd name="connsiteX3" fmla="*/ 130969 w 1354932"/>
                <a:gd name="connsiteY3" fmla="*/ 1378744 h 1445419"/>
                <a:gd name="connsiteX4" fmla="*/ 235744 w 1354932"/>
                <a:gd name="connsiteY4" fmla="*/ 1376363 h 1445419"/>
                <a:gd name="connsiteX5" fmla="*/ 261938 w 1354932"/>
                <a:gd name="connsiteY5" fmla="*/ 1362075 h 1445419"/>
                <a:gd name="connsiteX6" fmla="*/ 328613 w 1354932"/>
                <a:gd name="connsiteY6" fmla="*/ 1343025 h 1445419"/>
                <a:gd name="connsiteX7" fmla="*/ 354807 w 1354932"/>
                <a:gd name="connsiteY7" fmla="*/ 1316832 h 1445419"/>
                <a:gd name="connsiteX8" fmla="*/ 397669 w 1354932"/>
                <a:gd name="connsiteY8" fmla="*/ 1304925 h 1445419"/>
                <a:gd name="connsiteX9" fmla="*/ 466725 w 1354932"/>
                <a:gd name="connsiteY9" fmla="*/ 1238250 h 1445419"/>
                <a:gd name="connsiteX10" fmla="*/ 523875 w 1354932"/>
                <a:gd name="connsiteY10" fmla="*/ 1238250 h 1445419"/>
                <a:gd name="connsiteX11" fmla="*/ 571500 w 1354932"/>
                <a:gd name="connsiteY11" fmla="*/ 1195388 h 1445419"/>
                <a:gd name="connsiteX12" fmla="*/ 626269 w 1354932"/>
                <a:gd name="connsiteY12" fmla="*/ 1190625 h 1445419"/>
                <a:gd name="connsiteX13" fmla="*/ 721519 w 1354932"/>
                <a:gd name="connsiteY13" fmla="*/ 1176338 h 1445419"/>
                <a:gd name="connsiteX14" fmla="*/ 797719 w 1354932"/>
                <a:gd name="connsiteY14" fmla="*/ 1176338 h 1445419"/>
                <a:gd name="connsiteX15" fmla="*/ 821532 w 1354932"/>
                <a:gd name="connsiteY15" fmla="*/ 1143000 h 1445419"/>
                <a:gd name="connsiteX16" fmla="*/ 831057 w 1354932"/>
                <a:gd name="connsiteY16" fmla="*/ 1121569 h 1445419"/>
                <a:gd name="connsiteX17" fmla="*/ 873919 w 1354932"/>
                <a:gd name="connsiteY17" fmla="*/ 1133475 h 1445419"/>
                <a:gd name="connsiteX18" fmla="*/ 933450 w 1354932"/>
                <a:gd name="connsiteY18" fmla="*/ 1126332 h 1445419"/>
                <a:gd name="connsiteX19" fmla="*/ 952500 w 1354932"/>
                <a:gd name="connsiteY19" fmla="*/ 1114425 h 1445419"/>
                <a:gd name="connsiteX20" fmla="*/ 985838 w 1354932"/>
                <a:gd name="connsiteY20" fmla="*/ 1107282 h 1445419"/>
                <a:gd name="connsiteX21" fmla="*/ 1028700 w 1354932"/>
                <a:gd name="connsiteY21" fmla="*/ 1057275 h 1445419"/>
                <a:gd name="connsiteX22" fmla="*/ 1097757 w 1354932"/>
                <a:gd name="connsiteY22" fmla="*/ 1045369 h 1445419"/>
                <a:gd name="connsiteX23" fmla="*/ 1112044 w 1354932"/>
                <a:gd name="connsiteY23" fmla="*/ 1019175 h 1445419"/>
                <a:gd name="connsiteX24" fmla="*/ 1126332 w 1354932"/>
                <a:gd name="connsiteY24" fmla="*/ 981075 h 1445419"/>
                <a:gd name="connsiteX25" fmla="*/ 1162050 w 1354932"/>
                <a:gd name="connsiteY25" fmla="*/ 954882 h 1445419"/>
                <a:gd name="connsiteX26" fmla="*/ 1164432 w 1354932"/>
                <a:gd name="connsiteY26" fmla="*/ 904875 h 1445419"/>
                <a:gd name="connsiteX27" fmla="*/ 1188244 w 1354932"/>
                <a:gd name="connsiteY27" fmla="*/ 852488 h 1445419"/>
                <a:gd name="connsiteX28" fmla="*/ 1243013 w 1354932"/>
                <a:gd name="connsiteY28" fmla="*/ 828675 h 1445419"/>
                <a:gd name="connsiteX29" fmla="*/ 1257300 w 1354932"/>
                <a:gd name="connsiteY29" fmla="*/ 785813 h 1445419"/>
                <a:gd name="connsiteX30" fmla="*/ 1304925 w 1354932"/>
                <a:gd name="connsiteY30" fmla="*/ 757238 h 1445419"/>
                <a:gd name="connsiteX31" fmla="*/ 1312069 w 1354932"/>
                <a:gd name="connsiteY31" fmla="*/ 733425 h 1445419"/>
                <a:gd name="connsiteX32" fmla="*/ 1350169 w 1354932"/>
                <a:gd name="connsiteY32" fmla="*/ 692944 h 1445419"/>
                <a:gd name="connsiteX33" fmla="*/ 1354932 w 1354932"/>
                <a:gd name="connsiteY33" fmla="*/ 628650 h 1445419"/>
                <a:gd name="connsiteX34" fmla="*/ 1314450 w 1354932"/>
                <a:gd name="connsiteY34" fmla="*/ 550069 h 1445419"/>
                <a:gd name="connsiteX35" fmla="*/ 1290638 w 1354932"/>
                <a:gd name="connsiteY35" fmla="*/ 545307 h 1445419"/>
                <a:gd name="connsiteX36" fmla="*/ 1238250 w 1354932"/>
                <a:gd name="connsiteY36" fmla="*/ 523875 h 1445419"/>
                <a:gd name="connsiteX37" fmla="*/ 1202532 w 1354932"/>
                <a:gd name="connsiteY37" fmla="*/ 502444 h 1445419"/>
                <a:gd name="connsiteX38" fmla="*/ 1243013 w 1354932"/>
                <a:gd name="connsiteY38" fmla="*/ 471488 h 1445419"/>
                <a:gd name="connsiteX39" fmla="*/ 1240632 w 1354932"/>
                <a:gd name="connsiteY39" fmla="*/ 397669 h 1445419"/>
                <a:gd name="connsiteX40" fmla="*/ 1197769 w 1354932"/>
                <a:gd name="connsiteY40" fmla="*/ 328613 h 1445419"/>
                <a:gd name="connsiteX41" fmla="*/ 1181100 w 1354932"/>
                <a:gd name="connsiteY41" fmla="*/ 242888 h 1445419"/>
                <a:gd name="connsiteX42" fmla="*/ 1190625 w 1354932"/>
                <a:gd name="connsiteY42" fmla="*/ 228600 h 1445419"/>
                <a:gd name="connsiteX43" fmla="*/ 1147763 w 1354932"/>
                <a:gd name="connsiteY43" fmla="*/ 192882 h 1445419"/>
                <a:gd name="connsiteX44" fmla="*/ 1159669 w 1354932"/>
                <a:gd name="connsiteY44" fmla="*/ 164307 h 1445419"/>
                <a:gd name="connsiteX45" fmla="*/ 1183482 w 1354932"/>
                <a:gd name="connsiteY45" fmla="*/ 138113 h 1445419"/>
                <a:gd name="connsiteX46" fmla="*/ 1183482 w 1354932"/>
                <a:gd name="connsiteY46" fmla="*/ 92869 h 1445419"/>
                <a:gd name="connsiteX47" fmla="*/ 1204913 w 1354932"/>
                <a:gd name="connsiteY47" fmla="*/ 73819 h 1445419"/>
                <a:gd name="connsiteX48" fmla="*/ 1185863 w 1354932"/>
                <a:gd name="connsiteY48" fmla="*/ 33338 h 1445419"/>
                <a:gd name="connsiteX49" fmla="*/ 1200150 w 1354932"/>
                <a:gd name="connsiteY49" fmla="*/ 16669 h 1445419"/>
                <a:gd name="connsiteX50" fmla="*/ 1216819 w 1354932"/>
                <a:gd name="connsiteY50" fmla="*/ 0 h 1445419"/>
                <a:gd name="connsiteX0" fmla="*/ 0 w 1312069"/>
                <a:gd name="connsiteY0" fmla="*/ 1419225 h 1419225"/>
                <a:gd name="connsiteX1" fmla="*/ 54769 w 1312069"/>
                <a:gd name="connsiteY1" fmla="*/ 1412082 h 1419225"/>
                <a:gd name="connsiteX2" fmla="*/ 88106 w 1312069"/>
                <a:gd name="connsiteY2" fmla="*/ 1378744 h 1419225"/>
                <a:gd name="connsiteX3" fmla="*/ 192881 w 1312069"/>
                <a:gd name="connsiteY3" fmla="*/ 1376363 h 1419225"/>
                <a:gd name="connsiteX4" fmla="*/ 219075 w 1312069"/>
                <a:gd name="connsiteY4" fmla="*/ 1362075 h 1419225"/>
                <a:gd name="connsiteX5" fmla="*/ 285750 w 1312069"/>
                <a:gd name="connsiteY5" fmla="*/ 1343025 h 1419225"/>
                <a:gd name="connsiteX6" fmla="*/ 311944 w 1312069"/>
                <a:gd name="connsiteY6" fmla="*/ 1316832 h 1419225"/>
                <a:gd name="connsiteX7" fmla="*/ 354806 w 1312069"/>
                <a:gd name="connsiteY7" fmla="*/ 1304925 h 1419225"/>
                <a:gd name="connsiteX8" fmla="*/ 423862 w 1312069"/>
                <a:gd name="connsiteY8" fmla="*/ 1238250 h 1419225"/>
                <a:gd name="connsiteX9" fmla="*/ 481012 w 1312069"/>
                <a:gd name="connsiteY9" fmla="*/ 1238250 h 1419225"/>
                <a:gd name="connsiteX10" fmla="*/ 528637 w 1312069"/>
                <a:gd name="connsiteY10" fmla="*/ 1195388 h 1419225"/>
                <a:gd name="connsiteX11" fmla="*/ 583406 w 1312069"/>
                <a:gd name="connsiteY11" fmla="*/ 1190625 h 1419225"/>
                <a:gd name="connsiteX12" fmla="*/ 678656 w 1312069"/>
                <a:gd name="connsiteY12" fmla="*/ 1176338 h 1419225"/>
                <a:gd name="connsiteX13" fmla="*/ 754856 w 1312069"/>
                <a:gd name="connsiteY13" fmla="*/ 1176338 h 1419225"/>
                <a:gd name="connsiteX14" fmla="*/ 778669 w 1312069"/>
                <a:gd name="connsiteY14" fmla="*/ 1143000 h 1419225"/>
                <a:gd name="connsiteX15" fmla="*/ 788194 w 1312069"/>
                <a:gd name="connsiteY15" fmla="*/ 1121569 h 1419225"/>
                <a:gd name="connsiteX16" fmla="*/ 831056 w 1312069"/>
                <a:gd name="connsiteY16" fmla="*/ 1133475 h 1419225"/>
                <a:gd name="connsiteX17" fmla="*/ 890587 w 1312069"/>
                <a:gd name="connsiteY17" fmla="*/ 1126332 h 1419225"/>
                <a:gd name="connsiteX18" fmla="*/ 909637 w 1312069"/>
                <a:gd name="connsiteY18" fmla="*/ 1114425 h 1419225"/>
                <a:gd name="connsiteX19" fmla="*/ 942975 w 1312069"/>
                <a:gd name="connsiteY19" fmla="*/ 1107282 h 1419225"/>
                <a:gd name="connsiteX20" fmla="*/ 985837 w 1312069"/>
                <a:gd name="connsiteY20" fmla="*/ 1057275 h 1419225"/>
                <a:gd name="connsiteX21" fmla="*/ 1054894 w 1312069"/>
                <a:gd name="connsiteY21" fmla="*/ 1045369 h 1419225"/>
                <a:gd name="connsiteX22" fmla="*/ 1069181 w 1312069"/>
                <a:gd name="connsiteY22" fmla="*/ 1019175 h 1419225"/>
                <a:gd name="connsiteX23" fmla="*/ 1083469 w 1312069"/>
                <a:gd name="connsiteY23" fmla="*/ 981075 h 1419225"/>
                <a:gd name="connsiteX24" fmla="*/ 1119187 w 1312069"/>
                <a:gd name="connsiteY24" fmla="*/ 954882 h 1419225"/>
                <a:gd name="connsiteX25" fmla="*/ 1121569 w 1312069"/>
                <a:gd name="connsiteY25" fmla="*/ 904875 h 1419225"/>
                <a:gd name="connsiteX26" fmla="*/ 1145381 w 1312069"/>
                <a:gd name="connsiteY26" fmla="*/ 852488 h 1419225"/>
                <a:gd name="connsiteX27" fmla="*/ 1200150 w 1312069"/>
                <a:gd name="connsiteY27" fmla="*/ 828675 h 1419225"/>
                <a:gd name="connsiteX28" fmla="*/ 1214437 w 1312069"/>
                <a:gd name="connsiteY28" fmla="*/ 785813 h 1419225"/>
                <a:gd name="connsiteX29" fmla="*/ 1262062 w 1312069"/>
                <a:gd name="connsiteY29" fmla="*/ 757238 h 1419225"/>
                <a:gd name="connsiteX30" fmla="*/ 1269206 w 1312069"/>
                <a:gd name="connsiteY30" fmla="*/ 733425 h 1419225"/>
                <a:gd name="connsiteX31" fmla="*/ 1307306 w 1312069"/>
                <a:gd name="connsiteY31" fmla="*/ 692944 h 1419225"/>
                <a:gd name="connsiteX32" fmla="*/ 1312069 w 1312069"/>
                <a:gd name="connsiteY32" fmla="*/ 628650 h 1419225"/>
                <a:gd name="connsiteX33" fmla="*/ 1271587 w 1312069"/>
                <a:gd name="connsiteY33" fmla="*/ 550069 h 1419225"/>
                <a:gd name="connsiteX34" fmla="*/ 1247775 w 1312069"/>
                <a:gd name="connsiteY34" fmla="*/ 545307 h 1419225"/>
                <a:gd name="connsiteX35" fmla="*/ 1195387 w 1312069"/>
                <a:gd name="connsiteY35" fmla="*/ 523875 h 1419225"/>
                <a:gd name="connsiteX36" fmla="*/ 1159669 w 1312069"/>
                <a:gd name="connsiteY36" fmla="*/ 502444 h 1419225"/>
                <a:gd name="connsiteX37" fmla="*/ 1200150 w 1312069"/>
                <a:gd name="connsiteY37" fmla="*/ 471488 h 1419225"/>
                <a:gd name="connsiteX38" fmla="*/ 1197769 w 1312069"/>
                <a:gd name="connsiteY38" fmla="*/ 397669 h 1419225"/>
                <a:gd name="connsiteX39" fmla="*/ 1154906 w 1312069"/>
                <a:gd name="connsiteY39" fmla="*/ 328613 h 1419225"/>
                <a:gd name="connsiteX40" fmla="*/ 1138237 w 1312069"/>
                <a:gd name="connsiteY40" fmla="*/ 242888 h 1419225"/>
                <a:gd name="connsiteX41" fmla="*/ 1147762 w 1312069"/>
                <a:gd name="connsiteY41" fmla="*/ 228600 h 1419225"/>
                <a:gd name="connsiteX42" fmla="*/ 1104900 w 1312069"/>
                <a:gd name="connsiteY42" fmla="*/ 192882 h 1419225"/>
                <a:gd name="connsiteX43" fmla="*/ 1116806 w 1312069"/>
                <a:gd name="connsiteY43" fmla="*/ 164307 h 1419225"/>
                <a:gd name="connsiteX44" fmla="*/ 1140619 w 1312069"/>
                <a:gd name="connsiteY44" fmla="*/ 138113 h 1419225"/>
                <a:gd name="connsiteX45" fmla="*/ 1140619 w 1312069"/>
                <a:gd name="connsiteY45" fmla="*/ 92869 h 1419225"/>
                <a:gd name="connsiteX46" fmla="*/ 1162050 w 1312069"/>
                <a:gd name="connsiteY46" fmla="*/ 73819 h 1419225"/>
                <a:gd name="connsiteX47" fmla="*/ 1143000 w 1312069"/>
                <a:gd name="connsiteY47" fmla="*/ 33338 h 1419225"/>
                <a:gd name="connsiteX48" fmla="*/ 1157287 w 1312069"/>
                <a:gd name="connsiteY48" fmla="*/ 16669 h 1419225"/>
                <a:gd name="connsiteX49" fmla="*/ 1173956 w 1312069"/>
                <a:gd name="connsiteY49" fmla="*/ 0 h 1419225"/>
                <a:gd name="connsiteX0" fmla="*/ 0 w 1312069"/>
                <a:gd name="connsiteY0" fmla="*/ 1419225 h 1419225"/>
                <a:gd name="connsiteX1" fmla="*/ 54769 w 1312069"/>
                <a:gd name="connsiteY1" fmla="*/ 1412082 h 1419225"/>
                <a:gd name="connsiteX2" fmla="*/ 88106 w 1312069"/>
                <a:gd name="connsiteY2" fmla="*/ 1378744 h 1419225"/>
                <a:gd name="connsiteX3" fmla="*/ 192881 w 1312069"/>
                <a:gd name="connsiteY3" fmla="*/ 1376363 h 1419225"/>
                <a:gd name="connsiteX4" fmla="*/ 219075 w 1312069"/>
                <a:gd name="connsiteY4" fmla="*/ 1362075 h 1419225"/>
                <a:gd name="connsiteX5" fmla="*/ 285750 w 1312069"/>
                <a:gd name="connsiteY5" fmla="*/ 1343025 h 1419225"/>
                <a:gd name="connsiteX6" fmla="*/ 311944 w 1312069"/>
                <a:gd name="connsiteY6" fmla="*/ 1316832 h 1419225"/>
                <a:gd name="connsiteX7" fmla="*/ 354806 w 1312069"/>
                <a:gd name="connsiteY7" fmla="*/ 1304925 h 1419225"/>
                <a:gd name="connsiteX8" fmla="*/ 423862 w 1312069"/>
                <a:gd name="connsiteY8" fmla="*/ 1238250 h 1419225"/>
                <a:gd name="connsiteX9" fmla="*/ 528637 w 1312069"/>
                <a:gd name="connsiteY9" fmla="*/ 1195388 h 1419225"/>
                <a:gd name="connsiteX10" fmla="*/ 583406 w 1312069"/>
                <a:gd name="connsiteY10" fmla="*/ 1190625 h 1419225"/>
                <a:gd name="connsiteX11" fmla="*/ 678656 w 1312069"/>
                <a:gd name="connsiteY11" fmla="*/ 1176338 h 1419225"/>
                <a:gd name="connsiteX12" fmla="*/ 754856 w 1312069"/>
                <a:gd name="connsiteY12" fmla="*/ 1176338 h 1419225"/>
                <a:gd name="connsiteX13" fmla="*/ 778669 w 1312069"/>
                <a:gd name="connsiteY13" fmla="*/ 1143000 h 1419225"/>
                <a:gd name="connsiteX14" fmla="*/ 788194 w 1312069"/>
                <a:gd name="connsiteY14" fmla="*/ 1121569 h 1419225"/>
                <a:gd name="connsiteX15" fmla="*/ 831056 w 1312069"/>
                <a:gd name="connsiteY15" fmla="*/ 1133475 h 1419225"/>
                <a:gd name="connsiteX16" fmla="*/ 890587 w 1312069"/>
                <a:gd name="connsiteY16" fmla="*/ 1126332 h 1419225"/>
                <a:gd name="connsiteX17" fmla="*/ 909637 w 1312069"/>
                <a:gd name="connsiteY17" fmla="*/ 1114425 h 1419225"/>
                <a:gd name="connsiteX18" fmla="*/ 942975 w 1312069"/>
                <a:gd name="connsiteY18" fmla="*/ 1107282 h 1419225"/>
                <a:gd name="connsiteX19" fmla="*/ 985837 w 1312069"/>
                <a:gd name="connsiteY19" fmla="*/ 1057275 h 1419225"/>
                <a:gd name="connsiteX20" fmla="*/ 1054894 w 1312069"/>
                <a:gd name="connsiteY20" fmla="*/ 1045369 h 1419225"/>
                <a:gd name="connsiteX21" fmla="*/ 1069181 w 1312069"/>
                <a:gd name="connsiteY21" fmla="*/ 1019175 h 1419225"/>
                <a:gd name="connsiteX22" fmla="*/ 1083469 w 1312069"/>
                <a:gd name="connsiteY22" fmla="*/ 981075 h 1419225"/>
                <a:gd name="connsiteX23" fmla="*/ 1119187 w 1312069"/>
                <a:gd name="connsiteY23" fmla="*/ 954882 h 1419225"/>
                <a:gd name="connsiteX24" fmla="*/ 1121569 w 1312069"/>
                <a:gd name="connsiteY24" fmla="*/ 904875 h 1419225"/>
                <a:gd name="connsiteX25" fmla="*/ 1145381 w 1312069"/>
                <a:gd name="connsiteY25" fmla="*/ 852488 h 1419225"/>
                <a:gd name="connsiteX26" fmla="*/ 1200150 w 1312069"/>
                <a:gd name="connsiteY26" fmla="*/ 828675 h 1419225"/>
                <a:gd name="connsiteX27" fmla="*/ 1214437 w 1312069"/>
                <a:gd name="connsiteY27" fmla="*/ 785813 h 1419225"/>
                <a:gd name="connsiteX28" fmla="*/ 1262062 w 1312069"/>
                <a:gd name="connsiteY28" fmla="*/ 757238 h 1419225"/>
                <a:gd name="connsiteX29" fmla="*/ 1269206 w 1312069"/>
                <a:gd name="connsiteY29" fmla="*/ 733425 h 1419225"/>
                <a:gd name="connsiteX30" fmla="*/ 1307306 w 1312069"/>
                <a:gd name="connsiteY30" fmla="*/ 692944 h 1419225"/>
                <a:gd name="connsiteX31" fmla="*/ 1312069 w 1312069"/>
                <a:gd name="connsiteY31" fmla="*/ 628650 h 1419225"/>
                <a:gd name="connsiteX32" fmla="*/ 1271587 w 1312069"/>
                <a:gd name="connsiteY32" fmla="*/ 550069 h 1419225"/>
                <a:gd name="connsiteX33" fmla="*/ 1247775 w 1312069"/>
                <a:gd name="connsiteY33" fmla="*/ 545307 h 1419225"/>
                <a:gd name="connsiteX34" fmla="*/ 1195387 w 1312069"/>
                <a:gd name="connsiteY34" fmla="*/ 523875 h 1419225"/>
                <a:gd name="connsiteX35" fmla="*/ 1159669 w 1312069"/>
                <a:gd name="connsiteY35" fmla="*/ 502444 h 1419225"/>
                <a:gd name="connsiteX36" fmla="*/ 1200150 w 1312069"/>
                <a:gd name="connsiteY36" fmla="*/ 471488 h 1419225"/>
                <a:gd name="connsiteX37" fmla="*/ 1197769 w 1312069"/>
                <a:gd name="connsiteY37" fmla="*/ 397669 h 1419225"/>
                <a:gd name="connsiteX38" fmla="*/ 1154906 w 1312069"/>
                <a:gd name="connsiteY38" fmla="*/ 328613 h 1419225"/>
                <a:gd name="connsiteX39" fmla="*/ 1138237 w 1312069"/>
                <a:gd name="connsiteY39" fmla="*/ 242888 h 1419225"/>
                <a:gd name="connsiteX40" fmla="*/ 1147762 w 1312069"/>
                <a:gd name="connsiteY40" fmla="*/ 228600 h 1419225"/>
                <a:gd name="connsiteX41" fmla="*/ 1104900 w 1312069"/>
                <a:gd name="connsiteY41" fmla="*/ 192882 h 1419225"/>
                <a:gd name="connsiteX42" fmla="*/ 1116806 w 1312069"/>
                <a:gd name="connsiteY42" fmla="*/ 164307 h 1419225"/>
                <a:gd name="connsiteX43" fmla="*/ 1140619 w 1312069"/>
                <a:gd name="connsiteY43" fmla="*/ 138113 h 1419225"/>
                <a:gd name="connsiteX44" fmla="*/ 1140619 w 1312069"/>
                <a:gd name="connsiteY44" fmla="*/ 92869 h 1419225"/>
                <a:gd name="connsiteX45" fmla="*/ 1162050 w 1312069"/>
                <a:gd name="connsiteY45" fmla="*/ 73819 h 1419225"/>
                <a:gd name="connsiteX46" fmla="*/ 1143000 w 1312069"/>
                <a:gd name="connsiteY46" fmla="*/ 33338 h 1419225"/>
                <a:gd name="connsiteX47" fmla="*/ 1157287 w 1312069"/>
                <a:gd name="connsiteY47" fmla="*/ 16669 h 1419225"/>
                <a:gd name="connsiteX48" fmla="*/ 1173956 w 1312069"/>
                <a:gd name="connsiteY48" fmla="*/ 0 h 1419225"/>
                <a:gd name="connsiteX0" fmla="*/ 0 w 1312069"/>
                <a:gd name="connsiteY0" fmla="*/ 1419225 h 1419225"/>
                <a:gd name="connsiteX1" fmla="*/ 54769 w 1312069"/>
                <a:gd name="connsiteY1" fmla="*/ 1412082 h 1419225"/>
                <a:gd name="connsiteX2" fmla="*/ 88106 w 1312069"/>
                <a:gd name="connsiteY2" fmla="*/ 1378744 h 1419225"/>
                <a:gd name="connsiteX3" fmla="*/ 192881 w 1312069"/>
                <a:gd name="connsiteY3" fmla="*/ 1376363 h 1419225"/>
                <a:gd name="connsiteX4" fmla="*/ 219075 w 1312069"/>
                <a:gd name="connsiteY4" fmla="*/ 1362075 h 1419225"/>
                <a:gd name="connsiteX5" fmla="*/ 285750 w 1312069"/>
                <a:gd name="connsiteY5" fmla="*/ 1343025 h 1419225"/>
                <a:gd name="connsiteX6" fmla="*/ 311944 w 1312069"/>
                <a:gd name="connsiteY6" fmla="*/ 1316832 h 1419225"/>
                <a:gd name="connsiteX7" fmla="*/ 354806 w 1312069"/>
                <a:gd name="connsiteY7" fmla="*/ 1304925 h 1419225"/>
                <a:gd name="connsiteX8" fmla="*/ 528637 w 1312069"/>
                <a:gd name="connsiteY8" fmla="*/ 1195388 h 1419225"/>
                <a:gd name="connsiteX9" fmla="*/ 583406 w 1312069"/>
                <a:gd name="connsiteY9" fmla="*/ 1190625 h 1419225"/>
                <a:gd name="connsiteX10" fmla="*/ 678656 w 1312069"/>
                <a:gd name="connsiteY10" fmla="*/ 1176338 h 1419225"/>
                <a:gd name="connsiteX11" fmla="*/ 754856 w 1312069"/>
                <a:gd name="connsiteY11" fmla="*/ 1176338 h 1419225"/>
                <a:gd name="connsiteX12" fmla="*/ 778669 w 1312069"/>
                <a:gd name="connsiteY12" fmla="*/ 1143000 h 1419225"/>
                <a:gd name="connsiteX13" fmla="*/ 788194 w 1312069"/>
                <a:gd name="connsiteY13" fmla="*/ 1121569 h 1419225"/>
                <a:gd name="connsiteX14" fmla="*/ 831056 w 1312069"/>
                <a:gd name="connsiteY14" fmla="*/ 1133475 h 1419225"/>
                <a:gd name="connsiteX15" fmla="*/ 890587 w 1312069"/>
                <a:gd name="connsiteY15" fmla="*/ 1126332 h 1419225"/>
                <a:gd name="connsiteX16" fmla="*/ 909637 w 1312069"/>
                <a:gd name="connsiteY16" fmla="*/ 1114425 h 1419225"/>
                <a:gd name="connsiteX17" fmla="*/ 942975 w 1312069"/>
                <a:gd name="connsiteY17" fmla="*/ 1107282 h 1419225"/>
                <a:gd name="connsiteX18" fmla="*/ 985837 w 1312069"/>
                <a:gd name="connsiteY18" fmla="*/ 1057275 h 1419225"/>
                <a:gd name="connsiteX19" fmla="*/ 1054894 w 1312069"/>
                <a:gd name="connsiteY19" fmla="*/ 1045369 h 1419225"/>
                <a:gd name="connsiteX20" fmla="*/ 1069181 w 1312069"/>
                <a:gd name="connsiteY20" fmla="*/ 1019175 h 1419225"/>
                <a:gd name="connsiteX21" fmla="*/ 1083469 w 1312069"/>
                <a:gd name="connsiteY21" fmla="*/ 981075 h 1419225"/>
                <a:gd name="connsiteX22" fmla="*/ 1119187 w 1312069"/>
                <a:gd name="connsiteY22" fmla="*/ 954882 h 1419225"/>
                <a:gd name="connsiteX23" fmla="*/ 1121569 w 1312069"/>
                <a:gd name="connsiteY23" fmla="*/ 904875 h 1419225"/>
                <a:gd name="connsiteX24" fmla="*/ 1145381 w 1312069"/>
                <a:gd name="connsiteY24" fmla="*/ 852488 h 1419225"/>
                <a:gd name="connsiteX25" fmla="*/ 1200150 w 1312069"/>
                <a:gd name="connsiteY25" fmla="*/ 828675 h 1419225"/>
                <a:gd name="connsiteX26" fmla="*/ 1214437 w 1312069"/>
                <a:gd name="connsiteY26" fmla="*/ 785813 h 1419225"/>
                <a:gd name="connsiteX27" fmla="*/ 1262062 w 1312069"/>
                <a:gd name="connsiteY27" fmla="*/ 757238 h 1419225"/>
                <a:gd name="connsiteX28" fmla="*/ 1269206 w 1312069"/>
                <a:gd name="connsiteY28" fmla="*/ 733425 h 1419225"/>
                <a:gd name="connsiteX29" fmla="*/ 1307306 w 1312069"/>
                <a:gd name="connsiteY29" fmla="*/ 692944 h 1419225"/>
                <a:gd name="connsiteX30" fmla="*/ 1312069 w 1312069"/>
                <a:gd name="connsiteY30" fmla="*/ 628650 h 1419225"/>
                <a:gd name="connsiteX31" fmla="*/ 1271587 w 1312069"/>
                <a:gd name="connsiteY31" fmla="*/ 550069 h 1419225"/>
                <a:gd name="connsiteX32" fmla="*/ 1247775 w 1312069"/>
                <a:gd name="connsiteY32" fmla="*/ 545307 h 1419225"/>
                <a:gd name="connsiteX33" fmla="*/ 1195387 w 1312069"/>
                <a:gd name="connsiteY33" fmla="*/ 523875 h 1419225"/>
                <a:gd name="connsiteX34" fmla="*/ 1159669 w 1312069"/>
                <a:gd name="connsiteY34" fmla="*/ 502444 h 1419225"/>
                <a:gd name="connsiteX35" fmla="*/ 1200150 w 1312069"/>
                <a:gd name="connsiteY35" fmla="*/ 471488 h 1419225"/>
                <a:gd name="connsiteX36" fmla="*/ 1197769 w 1312069"/>
                <a:gd name="connsiteY36" fmla="*/ 397669 h 1419225"/>
                <a:gd name="connsiteX37" fmla="*/ 1154906 w 1312069"/>
                <a:gd name="connsiteY37" fmla="*/ 328613 h 1419225"/>
                <a:gd name="connsiteX38" fmla="*/ 1138237 w 1312069"/>
                <a:gd name="connsiteY38" fmla="*/ 242888 h 1419225"/>
                <a:gd name="connsiteX39" fmla="*/ 1147762 w 1312069"/>
                <a:gd name="connsiteY39" fmla="*/ 228600 h 1419225"/>
                <a:gd name="connsiteX40" fmla="*/ 1104900 w 1312069"/>
                <a:gd name="connsiteY40" fmla="*/ 192882 h 1419225"/>
                <a:gd name="connsiteX41" fmla="*/ 1116806 w 1312069"/>
                <a:gd name="connsiteY41" fmla="*/ 164307 h 1419225"/>
                <a:gd name="connsiteX42" fmla="*/ 1140619 w 1312069"/>
                <a:gd name="connsiteY42" fmla="*/ 138113 h 1419225"/>
                <a:gd name="connsiteX43" fmla="*/ 1140619 w 1312069"/>
                <a:gd name="connsiteY43" fmla="*/ 92869 h 1419225"/>
                <a:gd name="connsiteX44" fmla="*/ 1162050 w 1312069"/>
                <a:gd name="connsiteY44" fmla="*/ 73819 h 1419225"/>
                <a:gd name="connsiteX45" fmla="*/ 1143000 w 1312069"/>
                <a:gd name="connsiteY45" fmla="*/ 33338 h 1419225"/>
                <a:gd name="connsiteX46" fmla="*/ 1157287 w 1312069"/>
                <a:gd name="connsiteY46" fmla="*/ 16669 h 1419225"/>
                <a:gd name="connsiteX47" fmla="*/ 1173956 w 1312069"/>
                <a:gd name="connsiteY47" fmla="*/ 0 h 1419225"/>
                <a:gd name="connsiteX0" fmla="*/ 0 w 1312069"/>
                <a:gd name="connsiteY0" fmla="*/ 1419225 h 1419225"/>
                <a:gd name="connsiteX1" fmla="*/ 54769 w 1312069"/>
                <a:gd name="connsiteY1" fmla="*/ 1412082 h 1419225"/>
                <a:gd name="connsiteX2" fmla="*/ 88106 w 1312069"/>
                <a:gd name="connsiteY2" fmla="*/ 1378744 h 1419225"/>
                <a:gd name="connsiteX3" fmla="*/ 192881 w 1312069"/>
                <a:gd name="connsiteY3" fmla="*/ 1376363 h 1419225"/>
                <a:gd name="connsiteX4" fmla="*/ 219075 w 1312069"/>
                <a:gd name="connsiteY4" fmla="*/ 1362075 h 1419225"/>
                <a:gd name="connsiteX5" fmla="*/ 285750 w 1312069"/>
                <a:gd name="connsiteY5" fmla="*/ 1343025 h 1419225"/>
                <a:gd name="connsiteX6" fmla="*/ 311944 w 1312069"/>
                <a:gd name="connsiteY6" fmla="*/ 1316832 h 1419225"/>
                <a:gd name="connsiteX7" fmla="*/ 528637 w 1312069"/>
                <a:gd name="connsiteY7" fmla="*/ 1195388 h 1419225"/>
                <a:gd name="connsiteX8" fmla="*/ 583406 w 1312069"/>
                <a:gd name="connsiteY8" fmla="*/ 1190625 h 1419225"/>
                <a:gd name="connsiteX9" fmla="*/ 678656 w 1312069"/>
                <a:gd name="connsiteY9" fmla="*/ 1176338 h 1419225"/>
                <a:gd name="connsiteX10" fmla="*/ 754856 w 1312069"/>
                <a:gd name="connsiteY10" fmla="*/ 1176338 h 1419225"/>
                <a:gd name="connsiteX11" fmla="*/ 778669 w 1312069"/>
                <a:gd name="connsiteY11" fmla="*/ 1143000 h 1419225"/>
                <a:gd name="connsiteX12" fmla="*/ 788194 w 1312069"/>
                <a:gd name="connsiteY12" fmla="*/ 1121569 h 1419225"/>
                <a:gd name="connsiteX13" fmla="*/ 831056 w 1312069"/>
                <a:gd name="connsiteY13" fmla="*/ 1133475 h 1419225"/>
                <a:gd name="connsiteX14" fmla="*/ 890587 w 1312069"/>
                <a:gd name="connsiteY14" fmla="*/ 1126332 h 1419225"/>
                <a:gd name="connsiteX15" fmla="*/ 909637 w 1312069"/>
                <a:gd name="connsiteY15" fmla="*/ 1114425 h 1419225"/>
                <a:gd name="connsiteX16" fmla="*/ 942975 w 1312069"/>
                <a:gd name="connsiteY16" fmla="*/ 1107282 h 1419225"/>
                <a:gd name="connsiteX17" fmla="*/ 985837 w 1312069"/>
                <a:gd name="connsiteY17" fmla="*/ 1057275 h 1419225"/>
                <a:gd name="connsiteX18" fmla="*/ 1054894 w 1312069"/>
                <a:gd name="connsiteY18" fmla="*/ 1045369 h 1419225"/>
                <a:gd name="connsiteX19" fmla="*/ 1069181 w 1312069"/>
                <a:gd name="connsiteY19" fmla="*/ 1019175 h 1419225"/>
                <a:gd name="connsiteX20" fmla="*/ 1083469 w 1312069"/>
                <a:gd name="connsiteY20" fmla="*/ 981075 h 1419225"/>
                <a:gd name="connsiteX21" fmla="*/ 1119187 w 1312069"/>
                <a:gd name="connsiteY21" fmla="*/ 954882 h 1419225"/>
                <a:gd name="connsiteX22" fmla="*/ 1121569 w 1312069"/>
                <a:gd name="connsiteY22" fmla="*/ 904875 h 1419225"/>
                <a:gd name="connsiteX23" fmla="*/ 1145381 w 1312069"/>
                <a:gd name="connsiteY23" fmla="*/ 852488 h 1419225"/>
                <a:gd name="connsiteX24" fmla="*/ 1200150 w 1312069"/>
                <a:gd name="connsiteY24" fmla="*/ 828675 h 1419225"/>
                <a:gd name="connsiteX25" fmla="*/ 1214437 w 1312069"/>
                <a:gd name="connsiteY25" fmla="*/ 785813 h 1419225"/>
                <a:gd name="connsiteX26" fmla="*/ 1262062 w 1312069"/>
                <a:gd name="connsiteY26" fmla="*/ 757238 h 1419225"/>
                <a:gd name="connsiteX27" fmla="*/ 1269206 w 1312069"/>
                <a:gd name="connsiteY27" fmla="*/ 733425 h 1419225"/>
                <a:gd name="connsiteX28" fmla="*/ 1307306 w 1312069"/>
                <a:gd name="connsiteY28" fmla="*/ 692944 h 1419225"/>
                <a:gd name="connsiteX29" fmla="*/ 1312069 w 1312069"/>
                <a:gd name="connsiteY29" fmla="*/ 628650 h 1419225"/>
                <a:gd name="connsiteX30" fmla="*/ 1271587 w 1312069"/>
                <a:gd name="connsiteY30" fmla="*/ 550069 h 1419225"/>
                <a:gd name="connsiteX31" fmla="*/ 1247775 w 1312069"/>
                <a:gd name="connsiteY31" fmla="*/ 545307 h 1419225"/>
                <a:gd name="connsiteX32" fmla="*/ 1195387 w 1312069"/>
                <a:gd name="connsiteY32" fmla="*/ 523875 h 1419225"/>
                <a:gd name="connsiteX33" fmla="*/ 1159669 w 1312069"/>
                <a:gd name="connsiteY33" fmla="*/ 502444 h 1419225"/>
                <a:gd name="connsiteX34" fmla="*/ 1200150 w 1312069"/>
                <a:gd name="connsiteY34" fmla="*/ 471488 h 1419225"/>
                <a:gd name="connsiteX35" fmla="*/ 1197769 w 1312069"/>
                <a:gd name="connsiteY35" fmla="*/ 397669 h 1419225"/>
                <a:gd name="connsiteX36" fmla="*/ 1154906 w 1312069"/>
                <a:gd name="connsiteY36" fmla="*/ 328613 h 1419225"/>
                <a:gd name="connsiteX37" fmla="*/ 1138237 w 1312069"/>
                <a:gd name="connsiteY37" fmla="*/ 242888 h 1419225"/>
                <a:gd name="connsiteX38" fmla="*/ 1147762 w 1312069"/>
                <a:gd name="connsiteY38" fmla="*/ 228600 h 1419225"/>
                <a:gd name="connsiteX39" fmla="*/ 1104900 w 1312069"/>
                <a:gd name="connsiteY39" fmla="*/ 192882 h 1419225"/>
                <a:gd name="connsiteX40" fmla="*/ 1116806 w 1312069"/>
                <a:gd name="connsiteY40" fmla="*/ 164307 h 1419225"/>
                <a:gd name="connsiteX41" fmla="*/ 1140619 w 1312069"/>
                <a:gd name="connsiteY41" fmla="*/ 138113 h 1419225"/>
                <a:gd name="connsiteX42" fmla="*/ 1140619 w 1312069"/>
                <a:gd name="connsiteY42" fmla="*/ 92869 h 1419225"/>
                <a:gd name="connsiteX43" fmla="*/ 1162050 w 1312069"/>
                <a:gd name="connsiteY43" fmla="*/ 73819 h 1419225"/>
                <a:gd name="connsiteX44" fmla="*/ 1143000 w 1312069"/>
                <a:gd name="connsiteY44" fmla="*/ 33338 h 1419225"/>
                <a:gd name="connsiteX45" fmla="*/ 1157287 w 1312069"/>
                <a:gd name="connsiteY45" fmla="*/ 16669 h 1419225"/>
                <a:gd name="connsiteX46" fmla="*/ 1173956 w 1312069"/>
                <a:gd name="connsiteY46" fmla="*/ 0 h 1419225"/>
                <a:gd name="connsiteX0" fmla="*/ 0 w 1312069"/>
                <a:gd name="connsiteY0" fmla="*/ 1419225 h 1419225"/>
                <a:gd name="connsiteX1" fmla="*/ 54769 w 1312069"/>
                <a:gd name="connsiteY1" fmla="*/ 1412082 h 1419225"/>
                <a:gd name="connsiteX2" fmla="*/ 88106 w 1312069"/>
                <a:gd name="connsiteY2" fmla="*/ 1378744 h 1419225"/>
                <a:gd name="connsiteX3" fmla="*/ 192881 w 1312069"/>
                <a:gd name="connsiteY3" fmla="*/ 1376363 h 1419225"/>
                <a:gd name="connsiteX4" fmla="*/ 219075 w 1312069"/>
                <a:gd name="connsiteY4" fmla="*/ 1362075 h 1419225"/>
                <a:gd name="connsiteX5" fmla="*/ 285750 w 1312069"/>
                <a:gd name="connsiteY5" fmla="*/ 1343025 h 1419225"/>
                <a:gd name="connsiteX6" fmla="*/ 528637 w 1312069"/>
                <a:gd name="connsiteY6" fmla="*/ 1195388 h 1419225"/>
                <a:gd name="connsiteX7" fmla="*/ 583406 w 1312069"/>
                <a:gd name="connsiteY7" fmla="*/ 1190625 h 1419225"/>
                <a:gd name="connsiteX8" fmla="*/ 678656 w 1312069"/>
                <a:gd name="connsiteY8" fmla="*/ 1176338 h 1419225"/>
                <a:gd name="connsiteX9" fmla="*/ 754856 w 1312069"/>
                <a:gd name="connsiteY9" fmla="*/ 1176338 h 1419225"/>
                <a:gd name="connsiteX10" fmla="*/ 778669 w 1312069"/>
                <a:gd name="connsiteY10" fmla="*/ 1143000 h 1419225"/>
                <a:gd name="connsiteX11" fmla="*/ 788194 w 1312069"/>
                <a:gd name="connsiteY11" fmla="*/ 1121569 h 1419225"/>
                <a:gd name="connsiteX12" fmla="*/ 831056 w 1312069"/>
                <a:gd name="connsiteY12" fmla="*/ 1133475 h 1419225"/>
                <a:gd name="connsiteX13" fmla="*/ 890587 w 1312069"/>
                <a:gd name="connsiteY13" fmla="*/ 1126332 h 1419225"/>
                <a:gd name="connsiteX14" fmla="*/ 909637 w 1312069"/>
                <a:gd name="connsiteY14" fmla="*/ 1114425 h 1419225"/>
                <a:gd name="connsiteX15" fmla="*/ 942975 w 1312069"/>
                <a:gd name="connsiteY15" fmla="*/ 1107282 h 1419225"/>
                <a:gd name="connsiteX16" fmla="*/ 985837 w 1312069"/>
                <a:gd name="connsiteY16" fmla="*/ 1057275 h 1419225"/>
                <a:gd name="connsiteX17" fmla="*/ 1054894 w 1312069"/>
                <a:gd name="connsiteY17" fmla="*/ 1045369 h 1419225"/>
                <a:gd name="connsiteX18" fmla="*/ 1069181 w 1312069"/>
                <a:gd name="connsiteY18" fmla="*/ 1019175 h 1419225"/>
                <a:gd name="connsiteX19" fmla="*/ 1083469 w 1312069"/>
                <a:gd name="connsiteY19" fmla="*/ 981075 h 1419225"/>
                <a:gd name="connsiteX20" fmla="*/ 1119187 w 1312069"/>
                <a:gd name="connsiteY20" fmla="*/ 954882 h 1419225"/>
                <a:gd name="connsiteX21" fmla="*/ 1121569 w 1312069"/>
                <a:gd name="connsiteY21" fmla="*/ 904875 h 1419225"/>
                <a:gd name="connsiteX22" fmla="*/ 1145381 w 1312069"/>
                <a:gd name="connsiteY22" fmla="*/ 852488 h 1419225"/>
                <a:gd name="connsiteX23" fmla="*/ 1200150 w 1312069"/>
                <a:gd name="connsiteY23" fmla="*/ 828675 h 1419225"/>
                <a:gd name="connsiteX24" fmla="*/ 1214437 w 1312069"/>
                <a:gd name="connsiteY24" fmla="*/ 785813 h 1419225"/>
                <a:gd name="connsiteX25" fmla="*/ 1262062 w 1312069"/>
                <a:gd name="connsiteY25" fmla="*/ 757238 h 1419225"/>
                <a:gd name="connsiteX26" fmla="*/ 1269206 w 1312069"/>
                <a:gd name="connsiteY26" fmla="*/ 733425 h 1419225"/>
                <a:gd name="connsiteX27" fmla="*/ 1307306 w 1312069"/>
                <a:gd name="connsiteY27" fmla="*/ 692944 h 1419225"/>
                <a:gd name="connsiteX28" fmla="*/ 1312069 w 1312069"/>
                <a:gd name="connsiteY28" fmla="*/ 628650 h 1419225"/>
                <a:gd name="connsiteX29" fmla="*/ 1271587 w 1312069"/>
                <a:gd name="connsiteY29" fmla="*/ 550069 h 1419225"/>
                <a:gd name="connsiteX30" fmla="*/ 1247775 w 1312069"/>
                <a:gd name="connsiteY30" fmla="*/ 545307 h 1419225"/>
                <a:gd name="connsiteX31" fmla="*/ 1195387 w 1312069"/>
                <a:gd name="connsiteY31" fmla="*/ 523875 h 1419225"/>
                <a:gd name="connsiteX32" fmla="*/ 1159669 w 1312069"/>
                <a:gd name="connsiteY32" fmla="*/ 502444 h 1419225"/>
                <a:gd name="connsiteX33" fmla="*/ 1200150 w 1312069"/>
                <a:gd name="connsiteY33" fmla="*/ 471488 h 1419225"/>
                <a:gd name="connsiteX34" fmla="*/ 1197769 w 1312069"/>
                <a:gd name="connsiteY34" fmla="*/ 397669 h 1419225"/>
                <a:gd name="connsiteX35" fmla="*/ 1154906 w 1312069"/>
                <a:gd name="connsiteY35" fmla="*/ 328613 h 1419225"/>
                <a:gd name="connsiteX36" fmla="*/ 1138237 w 1312069"/>
                <a:gd name="connsiteY36" fmla="*/ 242888 h 1419225"/>
                <a:gd name="connsiteX37" fmla="*/ 1147762 w 1312069"/>
                <a:gd name="connsiteY37" fmla="*/ 228600 h 1419225"/>
                <a:gd name="connsiteX38" fmla="*/ 1104900 w 1312069"/>
                <a:gd name="connsiteY38" fmla="*/ 192882 h 1419225"/>
                <a:gd name="connsiteX39" fmla="*/ 1116806 w 1312069"/>
                <a:gd name="connsiteY39" fmla="*/ 164307 h 1419225"/>
                <a:gd name="connsiteX40" fmla="*/ 1140619 w 1312069"/>
                <a:gd name="connsiteY40" fmla="*/ 138113 h 1419225"/>
                <a:gd name="connsiteX41" fmla="*/ 1140619 w 1312069"/>
                <a:gd name="connsiteY41" fmla="*/ 92869 h 1419225"/>
                <a:gd name="connsiteX42" fmla="*/ 1162050 w 1312069"/>
                <a:gd name="connsiteY42" fmla="*/ 73819 h 1419225"/>
                <a:gd name="connsiteX43" fmla="*/ 1143000 w 1312069"/>
                <a:gd name="connsiteY43" fmla="*/ 33338 h 1419225"/>
                <a:gd name="connsiteX44" fmla="*/ 1157287 w 1312069"/>
                <a:gd name="connsiteY44" fmla="*/ 16669 h 1419225"/>
                <a:gd name="connsiteX45" fmla="*/ 1173956 w 1312069"/>
                <a:gd name="connsiteY45" fmla="*/ 0 h 1419225"/>
                <a:gd name="connsiteX0" fmla="*/ 0 w 1312069"/>
                <a:gd name="connsiteY0" fmla="*/ 1419225 h 1419225"/>
                <a:gd name="connsiteX1" fmla="*/ 54769 w 1312069"/>
                <a:gd name="connsiteY1" fmla="*/ 1412082 h 1419225"/>
                <a:gd name="connsiteX2" fmla="*/ 88106 w 1312069"/>
                <a:gd name="connsiteY2" fmla="*/ 1378744 h 1419225"/>
                <a:gd name="connsiteX3" fmla="*/ 192881 w 1312069"/>
                <a:gd name="connsiteY3" fmla="*/ 1376363 h 1419225"/>
                <a:gd name="connsiteX4" fmla="*/ 219075 w 1312069"/>
                <a:gd name="connsiteY4" fmla="*/ 1362075 h 1419225"/>
                <a:gd name="connsiteX5" fmla="*/ 528637 w 1312069"/>
                <a:gd name="connsiteY5" fmla="*/ 1195388 h 1419225"/>
                <a:gd name="connsiteX6" fmla="*/ 583406 w 1312069"/>
                <a:gd name="connsiteY6" fmla="*/ 1190625 h 1419225"/>
                <a:gd name="connsiteX7" fmla="*/ 678656 w 1312069"/>
                <a:gd name="connsiteY7" fmla="*/ 1176338 h 1419225"/>
                <a:gd name="connsiteX8" fmla="*/ 754856 w 1312069"/>
                <a:gd name="connsiteY8" fmla="*/ 1176338 h 1419225"/>
                <a:gd name="connsiteX9" fmla="*/ 778669 w 1312069"/>
                <a:gd name="connsiteY9" fmla="*/ 1143000 h 1419225"/>
                <a:gd name="connsiteX10" fmla="*/ 788194 w 1312069"/>
                <a:gd name="connsiteY10" fmla="*/ 1121569 h 1419225"/>
                <a:gd name="connsiteX11" fmla="*/ 831056 w 1312069"/>
                <a:gd name="connsiteY11" fmla="*/ 1133475 h 1419225"/>
                <a:gd name="connsiteX12" fmla="*/ 890587 w 1312069"/>
                <a:gd name="connsiteY12" fmla="*/ 1126332 h 1419225"/>
                <a:gd name="connsiteX13" fmla="*/ 909637 w 1312069"/>
                <a:gd name="connsiteY13" fmla="*/ 1114425 h 1419225"/>
                <a:gd name="connsiteX14" fmla="*/ 942975 w 1312069"/>
                <a:gd name="connsiteY14" fmla="*/ 1107282 h 1419225"/>
                <a:gd name="connsiteX15" fmla="*/ 985837 w 1312069"/>
                <a:gd name="connsiteY15" fmla="*/ 1057275 h 1419225"/>
                <a:gd name="connsiteX16" fmla="*/ 1054894 w 1312069"/>
                <a:gd name="connsiteY16" fmla="*/ 1045369 h 1419225"/>
                <a:gd name="connsiteX17" fmla="*/ 1069181 w 1312069"/>
                <a:gd name="connsiteY17" fmla="*/ 1019175 h 1419225"/>
                <a:gd name="connsiteX18" fmla="*/ 1083469 w 1312069"/>
                <a:gd name="connsiteY18" fmla="*/ 981075 h 1419225"/>
                <a:gd name="connsiteX19" fmla="*/ 1119187 w 1312069"/>
                <a:gd name="connsiteY19" fmla="*/ 954882 h 1419225"/>
                <a:gd name="connsiteX20" fmla="*/ 1121569 w 1312069"/>
                <a:gd name="connsiteY20" fmla="*/ 904875 h 1419225"/>
                <a:gd name="connsiteX21" fmla="*/ 1145381 w 1312069"/>
                <a:gd name="connsiteY21" fmla="*/ 852488 h 1419225"/>
                <a:gd name="connsiteX22" fmla="*/ 1200150 w 1312069"/>
                <a:gd name="connsiteY22" fmla="*/ 828675 h 1419225"/>
                <a:gd name="connsiteX23" fmla="*/ 1214437 w 1312069"/>
                <a:gd name="connsiteY23" fmla="*/ 785813 h 1419225"/>
                <a:gd name="connsiteX24" fmla="*/ 1262062 w 1312069"/>
                <a:gd name="connsiteY24" fmla="*/ 757238 h 1419225"/>
                <a:gd name="connsiteX25" fmla="*/ 1269206 w 1312069"/>
                <a:gd name="connsiteY25" fmla="*/ 733425 h 1419225"/>
                <a:gd name="connsiteX26" fmla="*/ 1307306 w 1312069"/>
                <a:gd name="connsiteY26" fmla="*/ 692944 h 1419225"/>
                <a:gd name="connsiteX27" fmla="*/ 1312069 w 1312069"/>
                <a:gd name="connsiteY27" fmla="*/ 628650 h 1419225"/>
                <a:gd name="connsiteX28" fmla="*/ 1271587 w 1312069"/>
                <a:gd name="connsiteY28" fmla="*/ 550069 h 1419225"/>
                <a:gd name="connsiteX29" fmla="*/ 1247775 w 1312069"/>
                <a:gd name="connsiteY29" fmla="*/ 545307 h 1419225"/>
                <a:gd name="connsiteX30" fmla="*/ 1195387 w 1312069"/>
                <a:gd name="connsiteY30" fmla="*/ 523875 h 1419225"/>
                <a:gd name="connsiteX31" fmla="*/ 1159669 w 1312069"/>
                <a:gd name="connsiteY31" fmla="*/ 502444 h 1419225"/>
                <a:gd name="connsiteX32" fmla="*/ 1200150 w 1312069"/>
                <a:gd name="connsiteY32" fmla="*/ 471488 h 1419225"/>
                <a:gd name="connsiteX33" fmla="*/ 1197769 w 1312069"/>
                <a:gd name="connsiteY33" fmla="*/ 397669 h 1419225"/>
                <a:gd name="connsiteX34" fmla="*/ 1154906 w 1312069"/>
                <a:gd name="connsiteY34" fmla="*/ 328613 h 1419225"/>
                <a:gd name="connsiteX35" fmla="*/ 1138237 w 1312069"/>
                <a:gd name="connsiteY35" fmla="*/ 242888 h 1419225"/>
                <a:gd name="connsiteX36" fmla="*/ 1147762 w 1312069"/>
                <a:gd name="connsiteY36" fmla="*/ 228600 h 1419225"/>
                <a:gd name="connsiteX37" fmla="*/ 1104900 w 1312069"/>
                <a:gd name="connsiteY37" fmla="*/ 192882 h 1419225"/>
                <a:gd name="connsiteX38" fmla="*/ 1116806 w 1312069"/>
                <a:gd name="connsiteY38" fmla="*/ 164307 h 1419225"/>
                <a:gd name="connsiteX39" fmla="*/ 1140619 w 1312069"/>
                <a:gd name="connsiteY39" fmla="*/ 138113 h 1419225"/>
                <a:gd name="connsiteX40" fmla="*/ 1140619 w 1312069"/>
                <a:gd name="connsiteY40" fmla="*/ 92869 h 1419225"/>
                <a:gd name="connsiteX41" fmla="*/ 1162050 w 1312069"/>
                <a:gd name="connsiteY41" fmla="*/ 73819 h 1419225"/>
                <a:gd name="connsiteX42" fmla="*/ 1143000 w 1312069"/>
                <a:gd name="connsiteY42" fmla="*/ 33338 h 1419225"/>
                <a:gd name="connsiteX43" fmla="*/ 1157287 w 1312069"/>
                <a:gd name="connsiteY43" fmla="*/ 16669 h 1419225"/>
                <a:gd name="connsiteX44" fmla="*/ 1173956 w 1312069"/>
                <a:gd name="connsiteY44" fmla="*/ 0 h 1419225"/>
                <a:gd name="connsiteX0" fmla="*/ 0 w 1312069"/>
                <a:gd name="connsiteY0" fmla="*/ 1419225 h 1419225"/>
                <a:gd name="connsiteX1" fmla="*/ 54769 w 1312069"/>
                <a:gd name="connsiteY1" fmla="*/ 1412082 h 1419225"/>
                <a:gd name="connsiteX2" fmla="*/ 88106 w 1312069"/>
                <a:gd name="connsiteY2" fmla="*/ 1378744 h 1419225"/>
                <a:gd name="connsiteX3" fmla="*/ 192881 w 1312069"/>
                <a:gd name="connsiteY3" fmla="*/ 1376363 h 1419225"/>
                <a:gd name="connsiteX4" fmla="*/ 528637 w 1312069"/>
                <a:gd name="connsiteY4" fmla="*/ 1195388 h 1419225"/>
                <a:gd name="connsiteX5" fmla="*/ 583406 w 1312069"/>
                <a:gd name="connsiteY5" fmla="*/ 1190625 h 1419225"/>
                <a:gd name="connsiteX6" fmla="*/ 678656 w 1312069"/>
                <a:gd name="connsiteY6" fmla="*/ 1176338 h 1419225"/>
                <a:gd name="connsiteX7" fmla="*/ 754856 w 1312069"/>
                <a:gd name="connsiteY7" fmla="*/ 1176338 h 1419225"/>
                <a:gd name="connsiteX8" fmla="*/ 778669 w 1312069"/>
                <a:gd name="connsiteY8" fmla="*/ 1143000 h 1419225"/>
                <a:gd name="connsiteX9" fmla="*/ 788194 w 1312069"/>
                <a:gd name="connsiteY9" fmla="*/ 1121569 h 1419225"/>
                <a:gd name="connsiteX10" fmla="*/ 831056 w 1312069"/>
                <a:gd name="connsiteY10" fmla="*/ 1133475 h 1419225"/>
                <a:gd name="connsiteX11" fmla="*/ 890587 w 1312069"/>
                <a:gd name="connsiteY11" fmla="*/ 1126332 h 1419225"/>
                <a:gd name="connsiteX12" fmla="*/ 909637 w 1312069"/>
                <a:gd name="connsiteY12" fmla="*/ 1114425 h 1419225"/>
                <a:gd name="connsiteX13" fmla="*/ 942975 w 1312069"/>
                <a:gd name="connsiteY13" fmla="*/ 1107282 h 1419225"/>
                <a:gd name="connsiteX14" fmla="*/ 985837 w 1312069"/>
                <a:gd name="connsiteY14" fmla="*/ 1057275 h 1419225"/>
                <a:gd name="connsiteX15" fmla="*/ 1054894 w 1312069"/>
                <a:gd name="connsiteY15" fmla="*/ 1045369 h 1419225"/>
                <a:gd name="connsiteX16" fmla="*/ 1069181 w 1312069"/>
                <a:gd name="connsiteY16" fmla="*/ 1019175 h 1419225"/>
                <a:gd name="connsiteX17" fmla="*/ 1083469 w 1312069"/>
                <a:gd name="connsiteY17" fmla="*/ 981075 h 1419225"/>
                <a:gd name="connsiteX18" fmla="*/ 1119187 w 1312069"/>
                <a:gd name="connsiteY18" fmla="*/ 954882 h 1419225"/>
                <a:gd name="connsiteX19" fmla="*/ 1121569 w 1312069"/>
                <a:gd name="connsiteY19" fmla="*/ 904875 h 1419225"/>
                <a:gd name="connsiteX20" fmla="*/ 1145381 w 1312069"/>
                <a:gd name="connsiteY20" fmla="*/ 852488 h 1419225"/>
                <a:gd name="connsiteX21" fmla="*/ 1200150 w 1312069"/>
                <a:gd name="connsiteY21" fmla="*/ 828675 h 1419225"/>
                <a:gd name="connsiteX22" fmla="*/ 1214437 w 1312069"/>
                <a:gd name="connsiteY22" fmla="*/ 785813 h 1419225"/>
                <a:gd name="connsiteX23" fmla="*/ 1262062 w 1312069"/>
                <a:gd name="connsiteY23" fmla="*/ 757238 h 1419225"/>
                <a:gd name="connsiteX24" fmla="*/ 1269206 w 1312069"/>
                <a:gd name="connsiteY24" fmla="*/ 733425 h 1419225"/>
                <a:gd name="connsiteX25" fmla="*/ 1307306 w 1312069"/>
                <a:gd name="connsiteY25" fmla="*/ 692944 h 1419225"/>
                <a:gd name="connsiteX26" fmla="*/ 1312069 w 1312069"/>
                <a:gd name="connsiteY26" fmla="*/ 628650 h 1419225"/>
                <a:gd name="connsiteX27" fmla="*/ 1271587 w 1312069"/>
                <a:gd name="connsiteY27" fmla="*/ 550069 h 1419225"/>
                <a:gd name="connsiteX28" fmla="*/ 1247775 w 1312069"/>
                <a:gd name="connsiteY28" fmla="*/ 545307 h 1419225"/>
                <a:gd name="connsiteX29" fmla="*/ 1195387 w 1312069"/>
                <a:gd name="connsiteY29" fmla="*/ 523875 h 1419225"/>
                <a:gd name="connsiteX30" fmla="*/ 1159669 w 1312069"/>
                <a:gd name="connsiteY30" fmla="*/ 502444 h 1419225"/>
                <a:gd name="connsiteX31" fmla="*/ 1200150 w 1312069"/>
                <a:gd name="connsiteY31" fmla="*/ 471488 h 1419225"/>
                <a:gd name="connsiteX32" fmla="*/ 1197769 w 1312069"/>
                <a:gd name="connsiteY32" fmla="*/ 397669 h 1419225"/>
                <a:gd name="connsiteX33" fmla="*/ 1154906 w 1312069"/>
                <a:gd name="connsiteY33" fmla="*/ 328613 h 1419225"/>
                <a:gd name="connsiteX34" fmla="*/ 1138237 w 1312069"/>
                <a:gd name="connsiteY34" fmla="*/ 242888 h 1419225"/>
                <a:gd name="connsiteX35" fmla="*/ 1147762 w 1312069"/>
                <a:gd name="connsiteY35" fmla="*/ 228600 h 1419225"/>
                <a:gd name="connsiteX36" fmla="*/ 1104900 w 1312069"/>
                <a:gd name="connsiteY36" fmla="*/ 192882 h 1419225"/>
                <a:gd name="connsiteX37" fmla="*/ 1116806 w 1312069"/>
                <a:gd name="connsiteY37" fmla="*/ 164307 h 1419225"/>
                <a:gd name="connsiteX38" fmla="*/ 1140619 w 1312069"/>
                <a:gd name="connsiteY38" fmla="*/ 138113 h 1419225"/>
                <a:gd name="connsiteX39" fmla="*/ 1140619 w 1312069"/>
                <a:gd name="connsiteY39" fmla="*/ 92869 h 1419225"/>
                <a:gd name="connsiteX40" fmla="*/ 1162050 w 1312069"/>
                <a:gd name="connsiteY40" fmla="*/ 73819 h 1419225"/>
                <a:gd name="connsiteX41" fmla="*/ 1143000 w 1312069"/>
                <a:gd name="connsiteY41" fmla="*/ 33338 h 1419225"/>
                <a:gd name="connsiteX42" fmla="*/ 1157287 w 1312069"/>
                <a:gd name="connsiteY42" fmla="*/ 16669 h 1419225"/>
                <a:gd name="connsiteX43" fmla="*/ 1173956 w 1312069"/>
                <a:gd name="connsiteY43" fmla="*/ 0 h 1419225"/>
                <a:gd name="connsiteX0" fmla="*/ 0 w 1312069"/>
                <a:gd name="connsiteY0" fmla="*/ 1419225 h 1419225"/>
                <a:gd name="connsiteX1" fmla="*/ 54769 w 1312069"/>
                <a:gd name="connsiteY1" fmla="*/ 1412082 h 1419225"/>
                <a:gd name="connsiteX2" fmla="*/ 88106 w 1312069"/>
                <a:gd name="connsiteY2" fmla="*/ 1378744 h 1419225"/>
                <a:gd name="connsiteX3" fmla="*/ 528637 w 1312069"/>
                <a:gd name="connsiteY3" fmla="*/ 1195388 h 1419225"/>
                <a:gd name="connsiteX4" fmla="*/ 583406 w 1312069"/>
                <a:gd name="connsiteY4" fmla="*/ 1190625 h 1419225"/>
                <a:gd name="connsiteX5" fmla="*/ 678656 w 1312069"/>
                <a:gd name="connsiteY5" fmla="*/ 1176338 h 1419225"/>
                <a:gd name="connsiteX6" fmla="*/ 754856 w 1312069"/>
                <a:gd name="connsiteY6" fmla="*/ 1176338 h 1419225"/>
                <a:gd name="connsiteX7" fmla="*/ 778669 w 1312069"/>
                <a:gd name="connsiteY7" fmla="*/ 1143000 h 1419225"/>
                <a:gd name="connsiteX8" fmla="*/ 788194 w 1312069"/>
                <a:gd name="connsiteY8" fmla="*/ 1121569 h 1419225"/>
                <a:gd name="connsiteX9" fmla="*/ 831056 w 1312069"/>
                <a:gd name="connsiteY9" fmla="*/ 1133475 h 1419225"/>
                <a:gd name="connsiteX10" fmla="*/ 890587 w 1312069"/>
                <a:gd name="connsiteY10" fmla="*/ 1126332 h 1419225"/>
                <a:gd name="connsiteX11" fmla="*/ 909637 w 1312069"/>
                <a:gd name="connsiteY11" fmla="*/ 1114425 h 1419225"/>
                <a:gd name="connsiteX12" fmla="*/ 942975 w 1312069"/>
                <a:gd name="connsiteY12" fmla="*/ 1107282 h 1419225"/>
                <a:gd name="connsiteX13" fmla="*/ 985837 w 1312069"/>
                <a:gd name="connsiteY13" fmla="*/ 1057275 h 1419225"/>
                <a:gd name="connsiteX14" fmla="*/ 1054894 w 1312069"/>
                <a:gd name="connsiteY14" fmla="*/ 1045369 h 1419225"/>
                <a:gd name="connsiteX15" fmla="*/ 1069181 w 1312069"/>
                <a:gd name="connsiteY15" fmla="*/ 1019175 h 1419225"/>
                <a:gd name="connsiteX16" fmla="*/ 1083469 w 1312069"/>
                <a:gd name="connsiteY16" fmla="*/ 981075 h 1419225"/>
                <a:gd name="connsiteX17" fmla="*/ 1119187 w 1312069"/>
                <a:gd name="connsiteY17" fmla="*/ 954882 h 1419225"/>
                <a:gd name="connsiteX18" fmla="*/ 1121569 w 1312069"/>
                <a:gd name="connsiteY18" fmla="*/ 904875 h 1419225"/>
                <a:gd name="connsiteX19" fmla="*/ 1145381 w 1312069"/>
                <a:gd name="connsiteY19" fmla="*/ 852488 h 1419225"/>
                <a:gd name="connsiteX20" fmla="*/ 1200150 w 1312069"/>
                <a:gd name="connsiteY20" fmla="*/ 828675 h 1419225"/>
                <a:gd name="connsiteX21" fmla="*/ 1214437 w 1312069"/>
                <a:gd name="connsiteY21" fmla="*/ 785813 h 1419225"/>
                <a:gd name="connsiteX22" fmla="*/ 1262062 w 1312069"/>
                <a:gd name="connsiteY22" fmla="*/ 757238 h 1419225"/>
                <a:gd name="connsiteX23" fmla="*/ 1269206 w 1312069"/>
                <a:gd name="connsiteY23" fmla="*/ 733425 h 1419225"/>
                <a:gd name="connsiteX24" fmla="*/ 1307306 w 1312069"/>
                <a:gd name="connsiteY24" fmla="*/ 692944 h 1419225"/>
                <a:gd name="connsiteX25" fmla="*/ 1312069 w 1312069"/>
                <a:gd name="connsiteY25" fmla="*/ 628650 h 1419225"/>
                <a:gd name="connsiteX26" fmla="*/ 1271587 w 1312069"/>
                <a:gd name="connsiteY26" fmla="*/ 550069 h 1419225"/>
                <a:gd name="connsiteX27" fmla="*/ 1247775 w 1312069"/>
                <a:gd name="connsiteY27" fmla="*/ 545307 h 1419225"/>
                <a:gd name="connsiteX28" fmla="*/ 1195387 w 1312069"/>
                <a:gd name="connsiteY28" fmla="*/ 523875 h 1419225"/>
                <a:gd name="connsiteX29" fmla="*/ 1159669 w 1312069"/>
                <a:gd name="connsiteY29" fmla="*/ 502444 h 1419225"/>
                <a:gd name="connsiteX30" fmla="*/ 1200150 w 1312069"/>
                <a:gd name="connsiteY30" fmla="*/ 471488 h 1419225"/>
                <a:gd name="connsiteX31" fmla="*/ 1197769 w 1312069"/>
                <a:gd name="connsiteY31" fmla="*/ 397669 h 1419225"/>
                <a:gd name="connsiteX32" fmla="*/ 1154906 w 1312069"/>
                <a:gd name="connsiteY32" fmla="*/ 328613 h 1419225"/>
                <a:gd name="connsiteX33" fmla="*/ 1138237 w 1312069"/>
                <a:gd name="connsiteY33" fmla="*/ 242888 h 1419225"/>
                <a:gd name="connsiteX34" fmla="*/ 1147762 w 1312069"/>
                <a:gd name="connsiteY34" fmla="*/ 228600 h 1419225"/>
                <a:gd name="connsiteX35" fmla="*/ 1104900 w 1312069"/>
                <a:gd name="connsiteY35" fmla="*/ 192882 h 1419225"/>
                <a:gd name="connsiteX36" fmla="*/ 1116806 w 1312069"/>
                <a:gd name="connsiteY36" fmla="*/ 164307 h 1419225"/>
                <a:gd name="connsiteX37" fmla="*/ 1140619 w 1312069"/>
                <a:gd name="connsiteY37" fmla="*/ 138113 h 1419225"/>
                <a:gd name="connsiteX38" fmla="*/ 1140619 w 1312069"/>
                <a:gd name="connsiteY38" fmla="*/ 92869 h 1419225"/>
                <a:gd name="connsiteX39" fmla="*/ 1162050 w 1312069"/>
                <a:gd name="connsiteY39" fmla="*/ 73819 h 1419225"/>
                <a:gd name="connsiteX40" fmla="*/ 1143000 w 1312069"/>
                <a:gd name="connsiteY40" fmla="*/ 33338 h 1419225"/>
                <a:gd name="connsiteX41" fmla="*/ 1157287 w 1312069"/>
                <a:gd name="connsiteY41" fmla="*/ 16669 h 1419225"/>
                <a:gd name="connsiteX42" fmla="*/ 1173956 w 1312069"/>
                <a:gd name="connsiteY42" fmla="*/ 0 h 1419225"/>
                <a:gd name="connsiteX0" fmla="*/ 0 w 1312069"/>
                <a:gd name="connsiteY0" fmla="*/ 1419225 h 1419225"/>
                <a:gd name="connsiteX1" fmla="*/ 54769 w 1312069"/>
                <a:gd name="connsiteY1" fmla="*/ 1412082 h 1419225"/>
                <a:gd name="connsiteX2" fmla="*/ 528637 w 1312069"/>
                <a:gd name="connsiteY2" fmla="*/ 1195388 h 1419225"/>
                <a:gd name="connsiteX3" fmla="*/ 583406 w 1312069"/>
                <a:gd name="connsiteY3" fmla="*/ 1190625 h 1419225"/>
                <a:gd name="connsiteX4" fmla="*/ 678656 w 1312069"/>
                <a:gd name="connsiteY4" fmla="*/ 1176338 h 1419225"/>
                <a:gd name="connsiteX5" fmla="*/ 754856 w 1312069"/>
                <a:gd name="connsiteY5" fmla="*/ 1176338 h 1419225"/>
                <a:gd name="connsiteX6" fmla="*/ 778669 w 1312069"/>
                <a:gd name="connsiteY6" fmla="*/ 1143000 h 1419225"/>
                <a:gd name="connsiteX7" fmla="*/ 788194 w 1312069"/>
                <a:gd name="connsiteY7" fmla="*/ 1121569 h 1419225"/>
                <a:gd name="connsiteX8" fmla="*/ 831056 w 1312069"/>
                <a:gd name="connsiteY8" fmla="*/ 1133475 h 1419225"/>
                <a:gd name="connsiteX9" fmla="*/ 890587 w 1312069"/>
                <a:gd name="connsiteY9" fmla="*/ 1126332 h 1419225"/>
                <a:gd name="connsiteX10" fmla="*/ 909637 w 1312069"/>
                <a:gd name="connsiteY10" fmla="*/ 1114425 h 1419225"/>
                <a:gd name="connsiteX11" fmla="*/ 942975 w 1312069"/>
                <a:gd name="connsiteY11" fmla="*/ 1107282 h 1419225"/>
                <a:gd name="connsiteX12" fmla="*/ 985837 w 1312069"/>
                <a:gd name="connsiteY12" fmla="*/ 1057275 h 1419225"/>
                <a:gd name="connsiteX13" fmla="*/ 1054894 w 1312069"/>
                <a:gd name="connsiteY13" fmla="*/ 1045369 h 1419225"/>
                <a:gd name="connsiteX14" fmla="*/ 1069181 w 1312069"/>
                <a:gd name="connsiteY14" fmla="*/ 1019175 h 1419225"/>
                <a:gd name="connsiteX15" fmla="*/ 1083469 w 1312069"/>
                <a:gd name="connsiteY15" fmla="*/ 981075 h 1419225"/>
                <a:gd name="connsiteX16" fmla="*/ 1119187 w 1312069"/>
                <a:gd name="connsiteY16" fmla="*/ 954882 h 1419225"/>
                <a:gd name="connsiteX17" fmla="*/ 1121569 w 1312069"/>
                <a:gd name="connsiteY17" fmla="*/ 904875 h 1419225"/>
                <a:gd name="connsiteX18" fmla="*/ 1145381 w 1312069"/>
                <a:gd name="connsiteY18" fmla="*/ 852488 h 1419225"/>
                <a:gd name="connsiteX19" fmla="*/ 1200150 w 1312069"/>
                <a:gd name="connsiteY19" fmla="*/ 828675 h 1419225"/>
                <a:gd name="connsiteX20" fmla="*/ 1214437 w 1312069"/>
                <a:gd name="connsiteY20" fmla="*/ 785813 h 1419225"/>
                <a:gd name="connsiteX21" fmla="*/ 1262062 w 1312069"/>
                <a:gd name="connsiteY21" fmla="*/ 757238 h 1419225"/>
                <a:gd name="connsiteX22" fmla="*/ 1269206 w 1312069"/>
                <a:gd name="connsiteY22" fmla="*/ 733425 h 1419225"/>
                <a:gd name="connsiteX23" fmla="*/ 1307306 w 1312069"/>
                <a:gd name="connsiteY23" fmla="*/ 692944 h 1419225"/>
                <a:gd name="connsiteX24" fmla="*/ 1312069 w 1312069"/>
                <a:gd name="connsiteY24" fmla="*/ 628650 h 1419225"/>
                <a:gd name="connsiteX25" fmla="*/ 1271587 w 1312069"/>
                <a:gd name="connsiteY25" fmla="*/ 550069 h 1419225"/>
                <a:gd name="connsiteX26" fmla="*/ 1247775 w 1312069"/>
                <a:gd name="connsiteY26" fmla="*/ 545307 h 1419225"/>
                <a:gd name="connsiteX27" fmla="*/ 1195387 w 1312069"/>
                <a:gd name="connsiteY27" fmla="*/ 523875 h 1419225"/>
                <a:gd name="connsiteX28" fmla="*/ 1159669 w 1312069"/>
                <a:gd name="connsiteY28" fmla="*/ 502444 h 1419225"/>
                <a:gd name="connsiteX29" fmla="*/ 1200150 w 1312069"/>
                <a:gd name="connsiteY29" fmla="*/ 471488 h 1419225"/>
                <a:gd name="connsiteX30" fmla="*/ 1197769 w 1312069"/>
                <a:gd name="connsiteY30" fmla="*/ 397669 h 1419225"/>
                <a:gd name="connsiteX31" fmla="*/ 1154906 w 1312069"/>
                <a:gd name="connsiteY31" fmla="*/ 328613 h 1419225"/>
                <a:gd name="connsiteX32" fmla="*/ 1138237 w 1312069"/>
                <a:gd name="connsiteY32" fmla="*/ 242888 h 1419225"/>
                <a:gd name="connsiteX33" fmla="*/ 1147762 w 1312069"/>
                <a:gd name="connsiteY33" fmla="*/ 228600 h 1419225"/>
                <a:gd name="connsiteX34" fmla="*/ 1104900 w 1312069"/>
                <a:gd name="connsiteY34" fmla="*/ 192882 h 1419225"/>
                <a:gd name="connsiteX35" fmla="*/ 1116806 w 1312069"/>
                <a:gd name="connsiteY35" fmla="*/ 164307 h 1419225"/>
                <a:gd name="connsiteX36" fmla="*/ 1140619 w 1312069"/>
                <a:gd name="connsiteY36" fmla="*/ 138113 h 1419225"/>
                <a:gd name="connsiteX37" fmla="*/ 1140619 w 1312069"/>
                <a:gd name="connsiteY37" fmla="*/ 92869 h 1419225"/>
                <a:gd name="connsiteX38" fmla="*/ 1162050 w 1312069"/>
                <a:gd name="connsiteY38" fmla="*/ 73819 h 1419225"/>
                <a:gd name="connsiteX39" fmla="*/ 1143000 w 1312069"/>
                <a:gd name="connsiteY39" fmla="*/ 33338 h 1419225"/>
                <a:gd name="connsiteX40" fmla="*/ 1157287 w 1312069"/>
                <a:gd name="connsiteY40" fmla="*/ 16669 h 1419225"/>
                <a:gd name="connsiteX41" fmla="*/ 1173956 w 1312069"/>
                <a:gd name="connsiteY41" fmla="*/ 0 h 1419225"/>
                <a:gd name="connsiteX0" fmla="*/ 0 w 1312069"/>
                <a:gd name="connsiteY0" fmla="*/ 1419225 h 1419225"/>
                <a:gd name="connsiteX1" fmla="*/ 528637 w 1312069"/>
                <a:gd name="connsiteY1" fmla="*/ 1195388 h 1419225"/>
                <a:gd name="connsiteX2" fmla="*/ 583406 w 1312069"/>
                <a:gd name="connsiteY2" fmla="*/ 1190625 h 1419225"/>
                <a:gd name="connsiteX3" fmla="*/ 678656 w 1312069"/>
                <a:gd name="connsiteY3" fmla="*/ 1176338 h 1419225"/>
                <a:gd name="connsiteX4" fmla="*/ 754856 w 1312069"/>
                <a:gd name="connsiteY4" fmla="*/ 1176338 h 1419225"/>
                <a:gd name="connsiteX5" fmla="*/ 778669 w 1312069"/>
                <a:gd name="connsiteY5" fmla="*/ 1143000 h 1419225"/>
                <a:gd name="connsiteX6" fmla="*/ 788194 w 1312069"/>
                <a:gd name="connsiteY6" fmla="*/ 1121569 h 1419225"/>
                <a:gd name="connsiteX7" fmla="*/ 831056 w 1312069"/>
                <a:gd name="connsiteY7" fmla="*/ 1133475 h 1419225"/>
                <a:gd name="connsiteX8" fmla="*/ 890587 w 1312069"/>
                <a:gd name="connsiteY8" fmla="*/ 1126332 h 1419225"/>
                <a:gd name="connsiteX9" fmla="*/ 909637 w 1312069"/>
                <a:gd name="connsiteY9" fmla="*/ 1114425 h 1419225"/>
                <a:gd name="connsiteX10" fmla="*/ 942975 w 1312069"/>
                <a:gd name="connsiteY10" fmla="*/ 1107282 h 1419225"/>
                <a:gd name="connsiteX11" fmla="*/ 985837 w 1312069"/>
                <a:gd name="connsiteY11" fmla="*/ 1057275 h 1419225"/>
                <a:gd name="connsiteX12" fmla="*/ 1054894 w 1312069"/>
                <a:gd name="connsiteY12" fmla="*/ 1045369 h 1419225"/>
                <a:gd name="connsiteX13" fmla="*/ 1069181 w 1312069"/>
                <a:gd name="connsiteY13" fmla="*/ 1019175 h 1419225"/>
                <a:gd name="connsiteX14" fmla="*/ 1083469 w 1312069"/>
                <a:gd name="connsiteY14" fmla="*/ 981075 h 1419225"/>
                <a:gd name="connsiteX15" fmla="*/ 1119187 w 1312069"/>
                <a:gd name="connsiteY15" fmla="*/ 954882 h 1419225"/>
                <a:gd name="connsiteX16" fmla="*/ 1121569 w 1312069"/>
                <a:gd name="connsiteY16" fmla="*/ 904875 h 1419225"/>
                <a:gd name="connsiteX17" fmla="*/ 1145381 w 1312069"/>
                <a:gd name="connsiteY17" fmla="*/ 852488 h 1419225"/>
                <a:gd name="connsiteX18" fmla="*/ 1200150 w 1312069"/>
                <a:gd name="connsiteY18" fmla="*/ 828675 h 1419225"/>
                <a:gd name="connsiteX19" fmla="*/ 1214437 w 1312069"/>
                <a:gd name="connsiteY19" fmla="*/ 785813 h 1419225"/>
                <a:gd name="connsiteX20" fmla="*/ 1262062 w 1312069"/>
                <a:gd name="connsiteY20" fmla="*/ 757238 h 1419225"/>
                <a:gd name="connsiteX21" fmla="*/ 1269206 w 1312069"/>
                <a:gd name="connsiteY21" fmla="*/ 733425 h 1419225"/>
                <a:gd name="connsiteX22" fmla="*/ 1307306 w 1312069"/>
                <a:gd name="connsiteY22" fmla="*/ 692944 h 1419225"/>
                <a:gd name="connsiteX23" fmla="*/ 1312069 w 1312069"/>
                <a:gd name="connsiteY23" fmla="*/ 628650 h 1419225"/>
                <a:gd name="connsiteX24" fmla="*/ 1271587 w 1312069"/>
                <a:gd name="connsiteY24" fmla="*/ 550069 h 1419225"/>
                <a:gd name="connsiteX25" fmla="*/ 1247775 w 1312069"/>
                <a:gd name="connsiteY25" fmla="*/ 545307 h 1419225"/>
                <a:gd name="connsiteX26" fmla="*/ 1195387 w 1312069"/>
                <a:gd name="connsiteY26" fmla="*/ 523875 h 1419225"/>
                <a:gd name="connsiteX27" fmla="*/ 1159669 w 1312069"/>
                <a:gd name="connsiteY27" fmla="*/ 502444 h 1419225"/>
                <a:gd name="connsiteX28" fmla="*/ 1200150 w 1312069"/>
                <a:gd name="connsiteY28" fmla="*/ 471488 h 1419225"/>
                <a:gd name="connsiteX29" fmla="*/ 1197769 w 1312069"/>
                <a:gd name="connsiteY29" fmla="*/ 397669 h 1419225"/>
                <a:gd name="connsiteX30" fmla="*/ 1154906 w 1312069"/>
                <a:gd name="connsiteY30" fmla="*/ 328613 h 1419225"/>
                <a:gd name="connsiteX31" fmla="*/ 1138237 w 1312069"/>
                <a:gd name="connsiteY31" fmla="*/ 242888 h 1419225"/>
                <a:gd name="connsiteX32" fmla="*/ 1147762 w 1312069"/>
                <a:gd name="connsiteY32" fmla="*/ 228600 h 1419225"/>
                <a:gd name="connsiteX33" fmla="*/ 1104900 w 1312069"/>
                <a:gd name="connsiteY33" fmla="*/ 192882 h 1419225"/>
                <a:gd name="connsiteX34" fmla="*/ 1116806 w 1312069"/>
                <a:gd name="connsiteY34" fmla="*/ 164307 h 1419225"/>
                <a:gd name="connsiteX35" fmla="*/ 1140619 w 1312069"/>
                <a:gd name="connsiteY35" fmla="*/ 138113 h 1419225"/>
                <a:gd name="connsiteX36" fmla="*/ 1140619 w 1312069"/>
                <a:gd name="connsiteY36" fmla="*/ 92869 h 1419225"/>
                <a:gd name="connsiteX37" fmla="*/ 1162050 w 1312069"/>
                <a:gd name="connsiteY37" fmla="*/ 73819 h 1419225"/>
                <a:gd name="connsiteX38" fmla="*/ 1143000 w 1312069"/>
                <a:gd name="connsiteY38" fmla="*/ 33338 h 1419225"/>
                <a:gd name="connsiteX39" fmla="*/ 1157287 w 1312069"/>
                <a:gd name="connsiteY39" fmla="*/ 16669 h 1419225"/>
                <a:gd name="connsiteX40" fmla="*/ 1173956 w 1312069"/>
                <a:gd name="connsiteY40" fmla="*/ 0 h 1419225"/>
                <a:gd name="connsiteX0" fmla="*/ 0 w 783432"/>
                <a:gd name="connsiteY0" fmla="*/ 1195388 h 1195388"/>
                <a:gd name="connsiteX1" fmla="*/ 54769 w 783432"/>
                <a:gd name="connsiteY1" fmla="*/ 1190625 h 1195388"/>
                <a:gd name="connsiteX2" fmla="*/ 150019 w 783432"/>
                <a:gd name="connsiteY2" fmla="*/ 1176338 h 1195388"/>
                <a:gd name="connsiteX3" fmla="*/ 226219 w 783432"/>
                <a:gd name="connsiteY3" fmla="*/ 1176338 h 1195388"/>
                <a:gd name="connsiteX4" fmla="*/ 250032 w 783432"/>
                <a:gd name="connsiteY4" fmla="*/ 1143000 h 1195388"/>
                <a:gd name="connsiteX5" fmla="*/ 259557 w 783432"/>
                <a:gd name="connsiteY5" fmla="*/ 1121569 h 1195388"/>
                <a:gd name="connsiteX6" fmla="*/ 302419 w 783432"/>
                <a:gd name="connsiteY6" fmla="*/ 1133475 h 1195388"/>
                <a:gd name="connsiteX7" fmla="*/ 361950 w 783432"/>
                <a:gd name="connsiteY7" fmla="*/ 1126332 h 1195388"/>
                <a:gd name="connsiteX8" fmla="*/ 381000 w 783432"/>
                <a:gd name="connsiteY8" fmla="*/ 1114425 h 1195388"/>
                <a:gd name="connsiteX9" fmla="*/ 414338 w 783432"/>
                <a:gd name="connsiteY9" fmla="*/ 1107282 h 1195388"/>
                <a:gd name="connsiteX10" fmla="*/ 457200 w 783432"/>
                <a:gd name="connsiteY10" fmla="*/ 1057275 h 1195388"/>
                <a:gd name="connsiteX11" fmla="*/ 526257 w 783432"/>
                <a:gd name="connsiteY11" fmla="*/ 1045369 h 1195388"/>
                <a:gd name="connsiteX12" fmla="*/ 540544 w 783432"/>
                <a:gd name="connsiteY12" fmla="*/ 1019175 h 1195388"/>
                <a:gd name="connsiteX13" fmla="*/ 554832 w 783432"/>
                <a:gd name="connsiteY13" fmla="*/ 981075 h 1195388"/>
                <a:gd name="connsiteX14" fmla="*/ 590550 w 783432"/>
                <a:gd name="connsiteY14" fmla="*/ 954882 h 1195388"/>
                <a:gd name="connsiteX15" fmla="*/ 592932 w 783432"/>
                <a:gd name="connsiteY15" fmla="*/ 904875 h 1195388"/>
                <a:gd name="connsiteX16" fmla="*/ 616744 w 783432"/>
                <a:gd name="connsiteY16" fmla="*/ 852488 h 1195388"/>
                <a:gd name="connsiteX17" fmla="*/ 671513 w 783432"/>
                <a:gd name="connsiteY17" fmla="*/ 828675 h 1195388"/>
                <a:gd name="connsiteX18" fmla="*/ 685800 w 783432"/>
                <a:gd name="connsiteY18" fmla="*/ 785813 h 1195388"/>
                <a:gd name="connsiteX19" fmla="*/ 733425 w 783432"/>
                <a:gd name="connsiteY19" fmla="*/ 757238 h 1195388"/>
                <a:gd name="connsiteX20" fmla="*/ 740569 w 783432"/>
                <a:gd name="connsiteY20" fmla="*/ 733425 h 1195388"/>
                <a:gd name="connsiteX21" fmla="*/ 778669 w 783432"/>
                <a:gd name="connsiteY21" fmla="*/ 692944 h 1195388"/>
                <a:gd name="connsiteX22" fmla="*/ 783432 w 783432"/>
                <a:gd name="connsiteY22" fmla="*/ 628650 h 1195388"/>
                <a:gd name="connsiteX23" fmla="*/ 742950 w 783432"/>
                <a:gd name="connsiteY23" fmla="*/ 550069 h 1195388"/>
                <a:gd name="connsiteX24" fmla="*/ 719138 w 783432"/>
                <a:gd name="connsiteY24" fmla="*/ 545307 h 1195388"/>
                <a:gd name="connsiteX25" fmla="*/ 666750 w 783432"/>
                <a:gd name="connsiteY25" fmla="*/ 523875 h 1195388"/>
                <a:gd name="connsiteX26" fmla="*/ 631032 w 783432"/>
                <a:gd name="connsiteY26" fmla="*/ 502444 h 1195388"/>
                <a:gd name="connsiteX27" fmla="*/ 671513 w 783432"/>
                <a:gd name="connsiteY27" fmla="*/ 471488 h 1195388"/>
                <a:gd name="connsiteX28" fmla="*/ 669132 w 783432"/>
                <a:gd name="connsiteY28" fmla="*/ 397669 h 1195388"/>
                <a:gd name="connsiteX29" fmla="*/ 626269 w 783432"/>
                <a:gd name="connsiteY29" fmla="*/ 328613 h 1195388"/>
                <a:gd name="connsiteX30" fmla="*/ 609600 w 783432"/>
                <a:gd name="connsiteY30" fmla="*/ 242888 h 1195388"/>
                <a:gd name="connsiteX31" fmla="*/ 619125 w 783432"/>
                <a:gd name="connsiteY31" fmla="*/ 228600 h 1195388"/>
                <a:gd name="connsiteX32" fmla="*/ 576263 w 783432"/>
                <a:gd name="connsiteY32" fmla="*/ 192882 h 1195388"/>
                <a:gd name="connsiteX33" fmla="*/ 588169 w 783432"/>
                <a:gd name="connsiteY33" fmla="*/ 164307 h 1195388"/>
                <a:gd name="connsiteX34" fmla="*/ 611982 w 783432"/>
                <a:gd name="connsiteY34" fmla="*/ 138113 h 1195388"/>
                <a:gd name="connsiteX35" fmla="*/ 611982 w 783432"/>
                <a:gd name="connsiteY35" fmla="*/ 92869 h 1195388"/>
                <a:gd name="connsiteX36" fmla="*/ 633413 w 783432"/>
                <a:gd name="connsiteY36" fmla="*/ 73819 h 1195388"/>
                <a:gd name="connsiteX37" fmla="*/ 614363 w 783432"/>
                <a:gd name="connsiteY37" fmla="*/ 33338 h 1195388"/>
                <a:gd name="connsiteX38" fmla="*/ 628650 w 783432"/>
                <a:gd name="connsiteY38" fmla="*/ 16669 h 1195388"/>
                <a:gd name="connsiteX39" fmla="*/ 645319 w 783432"/>
                <a:gd name="connsiteY39" fmla="*/ 0 h 11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83432" h="1195388">
                  <a:moveTo>
                    <a:pt x="0" y="1195388"/>
                  </a:moveTo>
                  <a:lnTo>
                    <a:pt x="54769" y="1190625"/>
                  </a:lnTo>
                  <a:lnTo>
                    <a:pt x="150019" y="1176338"/>
                  </a:lnTo>
                  <a:lnTo>
                    <a:pt x="226219" y="1176338"/>
                  </a:lnTo>
                  <a:lnTo>
                    <a:pt x="250032" y="1143000"/>
                  </a:lnTo>
                  <a:lnTo>
                    <a:pt x="259557" y="1121569"/>
                  </a:lnTo>
                  <a:lnTo>
                    <a:pt x="302419" y="1133475"/>
                  </a:lnTo>
                  <a:lnTo>
                    <a:pt x="361950" y="1126332"/>
                  </a:lnTo>
                  <a:lnTo>
                    <a:pt x="381000" y="1114425"/>
                  </a:lnTo>
                  <a:lnTo>
                    <a:pt x="414338" y="1107282"/>
                  </a:lnTo>
                  <a:lnTo>
                    <a:pt x="457200" y="1057275"/>
                  </a:lnTo>
                  <a:lnTo>
                    <a:pt x="526257" y="1045369"/>
                  </a:lnTo>
                  <a:lnTo>
                    <a:pt x="540544" y="1019175"/>
                  </a:lnTo>
                  <a:lnTo>
                    <a:pt x="554832" y="981075"/>
                  </a:lnTo>
                  <a:lnTo>
                    <a:pt x="590550" y="954882"/>
                  </a:lnTo>
                  <a:lnTo>
                    <a:pt x="592932" y="904875"/>
                  </a:lnTo>
                  <a:lnTo>
                    <a:pt x="616744" y="852488"/>
                  </a:lnTo>
                  <a:lnTo>
                    <a:pt x="671513" y="828675"/>
                  </a:lnTo>
                  <a:lnTo>
                    <a:pt x="685800" y="785813"/>
                  </a:lnTo>
                  <a:lnTo>
                    <a:pt x="733425" y="757238"/>
                  </a:lnTo>
                  <a:lnTo>
                    <a:pt x="740569" y="733425"/>
                  </a:lnTo>
                  <a:lnTo>
                    <a:pt x="778669" y="692944"/>
                  </a:lnTo>
                  <a:lnTo>
                    <a:pt x="783432" y="628650"/>
                  </a:lnTo>
                  <a:lnTo>
                    <a:pt x="742950" y="550069"/>
                  </a:lnTo>
                  <a:lnTo>
                    <a:pt x="719138" y="545307"/>
                  </a:lnTo>
                  <a:lnTo>
                    <a:pt x="666750" y="523875"/>
                  </a:lnTo>
                  <a:lnTo>
                    <a:pt x="631032" y="502444"/>
                  </a:lnTo>
                  <a:lnTo>
                    <a:pt x="671513" y="471488"/>
                  </a:lnTo>
                  <a:cubicBezTo>
                    <a:pt x="670719" y="446882"/>
                    <a:pt x="669926" y="422275"/>
                    <a:pt x="669132" y="397669"/>
                  </a:cubicBezTo>
                  <a:lnTo>
                    <a:pt x="626269" y="328613"/>
                  </a:lnTo>
                  <a:lnTo>
                    <a:pt x="609600" y="242888"/>
                  </a:lnTo>
                  <a:lnTo>
                    <a:pt x="619125" y="228600"/>
                  </a:lnTo>
                  <a:lnTo>
                    <a:pt x="576263" y="192882"/>
                  </a:lnTo>
                  <a:lnTo>
                    <a:pt x="588169" y="164307"/>
                  </a:lnTo>
                  <a:lnTo>
                    <a:pt x="611982" y="138113"/>
                  </a:lnTo>
                  <a:lnTo>
                    <a:pt x="611982" y="92869"/>
                  </a:lnTo>
                  <a:lnTo>
                    <a:pt x="633413" y="73819"/>
                  </a:lnTo>
                  <a:lnTo>
                    <a:pt x="614363" y="33338"/>
                  </a:lnTo>
                  <a:lnTo>
                    <a:pt x="628650" y="16669"/>
                  </a:lnTo>
                  <a:lnTo>
                    <a:pt x="645319" y="0"/>
                  </a:lnTo>
                </a:path>
              </a:pathLst>
            </a:custGeom>
            <a:noFill/>
            <a:ln w="38100">
              <a:solidFill>
                <a:srgbClr val="252787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 sz="7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7" name="Freeform 32"/>
            <p:cNvSpPr/>
            <p:nvPr/>
          </p:nvSpPr>
          <p:spPr bwMode="auto">
            <a:xfrm>
              <a:off x="3803547" y="2957878"/>
              <a:ext cx="3452523" cy="1992141"/>
            </a:xfrm>
            <a:custGeom>
              <a:avLst/>
              <a:gdLst>
                <a:gd name="connsiteX0" fmla="*/ 209550 w 1978819"/>
                <a:gd name="connsiteY0" fmla="*/ 1071563 h 1154907"/>
                <a:gd name="connsiteX1" fmla="*/ 202406 w 1978819"/>
                <a:gd name="connsiteY1" fmla="*/ 1012032 h 1154907"/>
                <a:gd name="connsiteX2" fmla="*/ 157162 w 1978819"/>
                <a:gd name="connsiteY2" fmla="*/ 938213 h 1154907"/>
                <a:gd name="connsiteX3" fmla="*/ 152400 w 1978819"/>
                <a:gd name="connsiteY3" fmla="*/ 888207 h 1154907"/>
                <a:gd name="connsiteX4" fmla="*/ 176212 w 1978819"/>
                <a:gd name="connsiteY4" fmla="*/ 826294 h 1154907"/>
                <a:gd name="connsiteX5" fmla="*/ 169069 w 1978819"/>
                <a:gd name="connsiteY5" fmla="*/ 800100 h 1154907"/>
                <a:gd name="connsiteX6" fmla="*/ 140494 w 1978819"/>
                <a:gd name="connsiteY6" fmla="*/ 733425 h 1154907"/>
                <a:gd name="connsiteX7" fmla="*/ 159544 w 1978819"/>
                <a:gd name="connsiteY7" fmla="*/ 626269 h 1154907"/>
                <a:gd name="connsiteX8" fmla="*/ 145256 w 1978819"/>
                <a:gd name="connsiteY8" fmla="*/ 573882 h 1154907"/>
                <a:gd name="connsiteX9" fmla="*/ 83344 w 1978819"/>
                <a:gd name="connsiteY9" fmla="*/ 469107 h 1154907"/>
                <a:gd name="connsiteX10" fmla="*/ 80962 w 1978819"/>
                <a:gd name="connsiteY10" fmla="*/ 392907 h 1154907"/>
                <a:gd name="connsiteX11" fmla="*/ 54769 w 1978819"/>
                <a:gd name="connsiteY11" fmla="*/ 323850 h 1154907"/>
                <a:gd name="connsiteX12" fmla="*/ 61912 w 1978819"/>
                <a:gd name="connsiteY12" fmla="*/ 238125 h 1154907"/>
                <a:gd name="connsiteX13" fmla="*/ 28575 w 1978819"/>
                <a:gd name="connsiteY13" fmla="*/ 102394 h 1154907"/>
                <a:gd name="connsiteX14" fmla="*/ 0 w 1978819"/>
                <a:gd name="connsiteY14" fmla="*/ 50007 h 1154907"/>
                <a:gd name="connsiteX15" fmla="*/ 9525 w 1978819"/>
                <a:gd name="connsiteY15" fmla="*/ 33338 h 1154907"/>
                <a:gd name="connsiteX16" fmla="*/ 71437 w 1978819"/>
                <a:gd name="connsiteY16" fmla="*/ 42863 h 1154907"/>
                <a:gd name="connsiteX17" fmla="*/ 97631 w 1978819"/>
                <a:gd name="connsiteY17" fmla="*/ 92869 h 1154907"/>
                <a:gd name="connsiteX18" fmla="*/ 130969 w 1978819"/>
                <a:gd name="connsiteY18" fmla="*/ 161925 h 1154907"/>
                <a:gd name="connsiteX19" fmla="*/ 192881 w 1978819"/>
                <a:gd name="connsiteY19" fmla="*/ 207169 h 1154907"/>
                <a:gd name="connsiteX20" fmla="*/ 261937 w 1978819"/>
                <a:gd name="connsiteY20" fmla="*/ 250032 h 1154907"/>
                <a:gd name="connsiteX21" fmla="*/ 342900 w 1978819"/>
                <a:gd name="connsiteY21" fmla="*/ 252413 h 1154907"/>
                <a:gd name="connsiteX22" fmla="*/ 404812 w 1978819"/>
                <a:gd name="connsiteY22" fmla="*/ 266700 h 1154907"/>
                <a:gd name="connsiteX23" fmla="*/ 457200 w 1978819"/>
                <a:gd name="connsiteY23" fmla="*/ 323850 h 1154907"/>
                <a:gd name="connsiteX24" fmla="*/ 492919 w 1978819"/>
                <a:gd name="connsiteY24" fmla="*/ 330994 h 1154907"/>
                <a:gd name="connsiteX25" fmla="*/ 559594 w 1978819"/>
                <a:gd name="connsiteY25" fmla="*/ 323850 h 1154907"/>
                <a:gd name="connsiteX26" fmla="*/ 590550 w 1978819"/>
                <a:gd name="connsiteY26" fmla="*/ 342900 h 1154907"/>
                <a:gd name="connsiteX27" fmla="*/ 590550 w 1978819"/>
                <a:gd name="connsiteY27" fmla="*/ 342900 h 1154907"/>
                <a:gd name="connsiteX28" fmla="*/ 659606 w 1978819"/>
                <a:gd name="connsiteY28" fmla="*/ 307182 h 1154907"/>
                <a:gd name="connsiteX29" fmla="*/ 683419 w 1978819"/>
                <a:gd name="connsiteY29" fmla="*/ 280988 h 1154907"/>
                <a:gd name="connsiteX30" fmla="*/ 747712 w 1978819"/>
                <a:gd name="connsiteY30" fmla="*/ 280988 h 1154907"/>
                <a:gd name="connsiteX31" fmla="*/ 821531 w 1978819"/>
                <a:gd name="connsiteY31" fmla="*/ 242888 h 1154907"/>
                <a:gd name="connsiteX32" fmla="*/ 869156 w 1978819"/>
                <a:gd name="connsiteY32" fmla="*/ 245269 h 1154907"/>
                <a:gd name="connsiteX33" fmla="*/ 876300 w 1978819"/>
                <a:gd name="connsiteY33" fmla="*/ 214313 h 1154907"/>
                <a:gd name="connsiteX34" fmla="*/ 902494 w 1978819"/>
                <a:gd name="connsiteY34" fmla="*/ 195263 h 1154907"/>
                <a:gd name="connsiteX35" fmla="*/ 938212 w 1978819"/>
                <a:gd name="connsiteY35" fmla="*/ 202407 h 1154907"/>
                <a:gd name="connsiteX36" fmla="*/ 969169 w 1978819"/>
                <a:gd name="connsiteY36" fmla="*/ 159544 h 1154907"/>
                <a:gd name="connsiteX37" fmla="*/ 997744 w 1978819"/>
                <a:gd name="connsiteY37" fmla="*/ 130969 h 1154907"/>
                <a:gd name="connsiteX38" fmla="*/ 1083469 w 1978819"/>
                <a:gd name="connsiteY38" fmla="*/ 100013 h 1154907"/>
                <a:gd name="connsiteX39" fmla="*/ 1126331 w 1978819"/>
                <a:gd name="connsiteY39" fmla="*/ 92869 h 1154907"/>
                <a:gd name="connsiteX40" fmla="*/ 1143000 w 1978819"/>
                <a:gd name="connsiteY40" fmla="*/ 38100 h 1154907"/>
                <a:gd name="connsiteX41" fmla="*/ 1169194 w 1978819"/>
                <a:gd name="connsiteY41" fmla="*/ 0 h 1154907"/>
                <a:gd name="connsiteX42" fmla="*/ 1212056 w 1978819"/>
                <a:gd name="connsiteY42" fmla="*/ 42863 h 1154907"/>
                <a:gd name="connsiteX43" fmla="*/ 1216819 w 1978819"/>
                <a:gd name="connsiteY43" fmla="*/ 92869 h 1154907"/>
                <a:gd name="connsiteX44" fmla="*/ 1202531 w 1978819"/>
                <a:gd name="connsiteY44" fmla="*/ 147638 h 1154907"/>
                <a:gd name="connsiteX45" fmla="*/ 1250156 w 1978819"/>
                <a:gd name="connsiteY45" fmla="*/ 202407 h 1154907"/>
                <a:gd name="connsiteX46" fmla="*/ 1302544 w 1978819"/>
                <a:gd name="connsiteY46" fmla="*/ 304800 h 1154907"/>
                <a:gd name="connsiteX47" fmla="*/ 1328737 w 1978819"/>
                <a:gd name="connsiteY47" fmla="*/ 302419 h 1154907"/>
                <a:gd name="connsiteX48" fmla="*/ 1369219 w 1978819"/>
                <a:gd name="connsiteY48" fmla="*/ 350044 h 1154907"/>
                <a:gd name="connsiteX49" fmla="*/ 1407319 w 1978819"/>
                <a:gd name="connsiteY49" fmla="*/ 371475 h 1154907"/>
                <a:gd name="connsiteX50" fmla="*/ 1447800 w 1978819"/>
                <a:gd name="connsiteY50" fmla="*/ 409575 h 1154907"/>
                <a:gd name="connsiteX51" fmla="*/ 1504950 w 1978819"/>
                <a:gd name="connsiteY51" fmla="*/ 447675 h 1154907"/>
                <a:gd name="connsiteX52" fmla="*/ 1497806 w 1978819"/>
                <a:gd name="connsiteY52" fmla="*/ 509588 h 1154907"/>
                <a:gd name="connsiteX53" fmla="*/ 1516856 w 1978819"/>
                <a:gd name="connsiteY53" fmla="*/ 523875 h 1154907"/>
                <a:gd name="connsiteX54" fmla="*/ 1554956 w 1978819"/>
                <a:gd name="connsiteY54" fmla="*/ 511969 h 1154907"/>
                <a:gd name="connsiteX55" fmla="*/ 1585912 w 1978819"/>
                <a:gd name="connsiteY55" fmla="*/ 552450 h 1154907"/>
                <a:gd name="connsiteX56" fmla="*/ 1607344 w 1978819"/>
                <a:gd name="connsiteY56" fmla="*/ 583407 h 1154907"/>
                <a:gd name="connsiteX57" fmla="*/ 1607344 w 1978819"/>
                <a:gd name="connsiteY57" fmla="*/ 623888 h 1154907"/>
                <a:gd name="connsiteX58" fmla="*/ 1657350 w 1978819"/>
                <a:gd name="connsiteY58" fmla="*/ 669132 h 1154907"/>
                <a:gd name="connsiteX59" fmla="*/ 1690687 w 1978819"/>
                <a:gd name="connsiteY59" fmla="*/ 709613 h 1154907"/>
                <a:gd name="connsiteX60" fmla="*/ 1709737 w 1978819"/>
                <a:gd name="connsiteY60" fmla="*/ 745332 h 1154907"/>
                <a:gd name="connsiteX61" fmla="*/ 1724025 w 1978819"/>
                <a:gd name="connsiteY61" fmla="*/ 764382 h 1154907"/>
                <a:gd name="connsiteX62" fmla="*/ 1724025 w 1978819"/>
                <a:gd name="connsiteY62" fmla="*/ 795338 h 1154907"/>
                <a:gd name="connsiteX63" fmla="*/ 1707356 w 1978819"/>
                <a:gd name="connsiteY63" fmla="*/ 840582 h 1154907"/>
                <a:gd name="connsiteX64" fmla="*/ 1759744 w 1978819"/>
                <a:gd name="connsiteY64" fmla="*/ 933450 h 1154907"/>
                <a:gd name="connsiteX65" fmla="*/ 1826419 w 1978819"/>
                <a:gd name="connsiteY65" fmla="*/ 1026319 h 1154907"/>
                <a:gd name="connsiteX66" fmla="*/ 1857375 w 1978819"/>
                <a:gd name="connsiteY66" fmla="*/ 1038225 h 1154907"/>
                <a:gd name="connsiteX67" fmla="*/ 1909762 w 1978819"/>
                <a:gd name="connsiteY67" fmla="*/ 1083469 h 1154907"/>
                <a:gd name="connsiteX68" fmla="*/ 1957387 w 1978819"/>
                <a:gd name="connsiteY68" fmla="*/ 1104900 h 1154907"/>
                <a:gd name="connsiteX69" fmla="*/ 1978819 w 1978819"/>
                <a:gd name="connsiteY69" fmla="*/ 1154907 h 115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978819" h="1154907">
                  <a:moveTo>
                    <a:pt x="209550" y="1071563"/>
                  </a:moveTo>
                  <a:lnTo>
                    <a:pt x="202406" y="1012032"/>
                  </a:lnTo>
                  <a:lnTo>
                    <a:pt x="157162" y="938213"/>
                  </a:lnTo>
                  <a:lnTo>
                    <a:pt x="152400" y="888207"/>
                  </a:lnTo>
                  <a:lnTo>
                    <a:pt x="176212" y="826294"/>
                  </a:lnTo>
                  <a:lnTo>
                    <a:pt x="169069" y="800100"/>
                  </a:lnTo>
                  <a:lnTo>
                    <a:pt x="140494" y="733425"/>
                  </a:lnTo>
                  <a:lnTo>
                    <a:pt x="159544" y="626269"/>
                  </a:lnTo>
                  <a:lnTo>
                    <a:pt x="145256" y="573882"/>
                  </a:lnTo>
                  <a:lnTo>
                    <a:pt x="83344" y="469107"/>
                  </a:lnTo>
                  <a:lnTo>
                    <a:pt x="80962" y="392907"/>
                  </a:lnTo>
                  <a:lnTo>
                    <a:pt x="54769" y="323850"/>
                  </a:lnTo>
                  <a:lnTo>
                    <a:pt x="61912" y="238125"/>
                  </a:lnTo>
                  <a:lnTo>
                    <a:pt x="28575" y="102394"/>
                  </a:lnTo>
                  <a:lnTo>
                    <a:pt x="0" y="50007"/>
                  </a:lnTo>
                  <a:lnTo>
                    <a:pt x="9525" y="33338"/>
                  </a:lnTo>
                  <a:lnTo>
                    <a:pt x="71437" y="42863"/>
                  </a:lnTo>
                  <a:lnTo>
                    <a:pt x="97631" y="92869"/>
                  </a:lnTo>
                  <a:lnTo>
                    <a:pt x="130969" y="161925"/>
                  </a:lnTo>
                  <a:lnTo>
                    <a:pt x="192881" y="207169"/>
                  </a:lnTo>
                  <a:lnTo>
                    <a:pt x="261937" y="250032"/>
                  </a:lnTo>
                  <a:lnTo>
                    <a:pt x="342900" y="252413"/>
                  </a:lnTo>
                  <a:lnTo>
                    <a:pt x="404812" y="266700"/>
                  </a:lnTo>
                  <a:lnTo>
                    <a:pt x="457200" y="323850"/>
                  </a:lnTo>
                  <a:lnTo>
                    <a:pt x="492919" y="330994"/>
                  </a:lnTo>
                  <a:lnTo>
                    <a:pt x="559594" y="323850"/>
                  </a:lnTo>
                  <a:lnTo>
                    <a:pt x="590550" y="342900"/>
                  </a:lnTo>
                  <a:lnTo>
                    <a:pt x="590550" y="342900"/>
                  </a:lnTo>
                  <a:lnTo>
                    <a:pt x="659606" y="307182"/>
                  </a:lnTo>
                  <a:lnTo>
                    <a:pt x="683419" y="280988"/>
                  </a:lnTo>
                  <a:lnTo>
                    <a:pt x="747712" y="280988"/>
                  </a:lnTo>
                  <a:lnTo>
                    <a:pt x="821531" y="242888"/>
                  </a:lnTo>
                  <a:lnTo>
                    <a:pt x="869156" y="245269"/>
                  </a:lnTo>
                  <a:lnTo>
                    <a:pt x="876300" y="214313"/>
                  </a:lnTo>
                  <a:lnTo>
                    <a:pt x="902494" y="195263"/>
                  </a:lnTo>
                  <a:lnTo>
                    <a:pt x="938212" y="202407"/>
                  </a:lnTo>
                  <a:lnTo>
                    <a:pt x="969169" y="159544"/>
                  </a:lnTo>
                  <a:lnTo>
                    <a:pt x="997744" y="130969"/>
                  </a:lnTo>
                  <a:lnTo>
                    <a:pt x="1083469" y="100013"/>
                  </a:lnTo>
                  <a:lnTo>
                    <a:pt x="1126331" y="92869"/>
                  </a:lnTo>
                  <a:lnTo>
                    <a:pt x="1143000" y="38100"/>
                  </a:lnTo>
                  <a:lnTo>
                    <a:pt x="1169194" y="0"/>
                  </a:lnTo>
                  <a:lnTo>
                    <a:pt x="1212056" y="42863"/>
                  </a:lnTo>
                  <a:lnTo>
                    <a:pt x="1216819" y="92869"/>
                  </a:lnTo>
                  <a:lnTo>
                    <a:pt x="1202531" y="147638"/>
                  </a:lnTo>
                  <a:lnTo>
                    <a:pt x="1250156" y="202407"/>
                  </a:lnTo>
                  <a:lnTo>
                    <a:pt x="1302544" y="304800"/>
                  </a:lnTo>
                  <a:lnTo>
                    <a:pt x="1328737" y="302419"/>
                  </a:lnTo>
                  <a:lnTo>
                    <a:pt x="1369219" y="350044"/>
                  </a:lnTo>
                  <a:lnTo>
                    <a:pt x="1407319" y="371475"/>
                  </a:lnTo>
                  <a:lnTo>
                    <a:pt x="1447800" y="409575"/>
                  </a:lnTo>
                  <a:lnTo>
                    <a:pt x="1504950" y="447675"/>
                  </a:lnTo>
                  <a:lnTo>
                    <a:pt x="1497806" y="509588"/>
                  </a:lnTo>
                  <a:lnTo>
                    <a:pt x="1516856" y="523875"/>
                  </a:lnTo>
                  <a:lnTo>
                    <a:pt x="1554956" y="511969"/>
                  </a:lnTo>
                  <a:lnTo>
                    <a:pt x="1585912" y="552450"/>
                  </a:lnTo>
                  <a:lnTo>
                    <a:pt x="1607344" y="583407"/>
                  </a:lnTo>
                  <a:lnTo>
                    <a:pt x="1607344" y="623888"/>
                  </a:lnTo>
                  <a:lnTo>
                    <a:pt x="1657350" y="669132"/>
                  </a:lnTo>
                  <a:lnTo>
                    <a:pt x="1690687" y="709613"/>
                  </a:lnTo>
                  <a:lnTo>
                    <a:pt x="1709737" y="745332"/>
                  </a:lnTo>
                  <a:lnTo>
                    <a:pt x="1724025" y="764382"/>
                  </a:lnTo>
                  <a:lnTo>
                    <a:pt x="1724025" y="795338"/>
                  </a:lnTo>
                  <a:lnTo>
                    <a:pt x="1707356" y="840582"/>
                  </a:lnTo>
                  <a:lnTo>
                    <a:pt x="1759744" y="933450"/>
                  </a:lnTo>
                  <a:lnTo>
                    <a:pt x="1826419" y="1026319"/>
                  </a:lnTo>
                  <a:lnTo>
                    <a:pt x="1857375" y="1038225"/>
                  </a:lnTo>
                  <a:lnTo>
                    <a:pt x="1909762" y="1083469"/>
                  </a:lnTo>
                  <a:lnTo>
                    <a:pt x="1957387" y="1104900"/>
                  </a:lnTo>
                  <a:lnTo>
                    <a:pt x="1978819" y="1154907"/>
                  </a:lnTo>
                </a:path>
              </a:pathLst>
            </a:custGeom>
            <a:noFill/>
            <a:ln w="38100">
              <a:solidFill>
                <a:srgbClr val="252787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 sz="7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Freeform 5"/>
          <p:cNvSpPr/>
          <p:nvPr/>
        </p:nvSpPr>
        <p:spPr bwMode="auto">
          <a:xfrm>
            <a:off x="3842833" y="1716181"/>
            <a:ext cx="1423393" cy="1288445"/>
          </a:xfrm>
          <a:custGeom>
            <a:avLst/>
            <a:gdLst>
              <a:gd name="connsiteX0" fmla="*/ 0 w 2346960"/>
              <a:gd name="connsiteY0" fmla="*/ 2148840 h 2148840"/>
              <a:gd name="connsiteX1" fmla="*/ 0 w 2346960"/>
              <a:gd name="connsiteY1" fmla="*/ 2148840 h 2148840"/>
              <a:gd name="connsiteX2" fmla="*/ 0 w 2346960"/>
              <a:gd name="connsiteY2" fmla="*/ 1988820 h 2148840"/>
              <a:gd name="connsiteX3" fmla="*/ 38100 w 2346960"/>
              <a:gd name="connsiteY3" fmla="*/ 1844040 h 2148840"/>
              <a:gd name="connsiteX4" fmla="*/ 228600 w 2346960"/>
              <a:gd name="connsiteY4" fmla="*/ 1790700 h 2148840"/>
              <a:gd name="connsiteX5" fmla="*/ 365760 w 2346960"/>
              <a:gd name="connsiteY5" fmla="*/ 1790700 h 2148840"/>
              <a:gd name="connsiteX6" fmla="*/ 571500 w 2346960"/>
              <a:gd name="connsiteY6" fmla="*/ 1851660 h 2148840"/>
              <a:gd name="connsiteX7" fmla="*/ 693420 w 2346960"/>
              <a:gd name="connsiteY7" fmla="*/ 1851660 h 2148840"/>
              <a:gd name="connsiteX8" fmla="*/ 922020 w 2346960"/>
              <a:gd name="connsiteY8" fmla="*/ 1912620 h 2148840"/>
              <a:gd name="connsiteX9" fmla="*/ 1127760 w 2346960"/>
              <a:gd name="connsiteY9" fmla="*/ 1722120 h 2148840"/>
              <a:gd name="connsiteX10" fmla="*/ 1249680 w 2346960"/>
              <a:gd name="connsiteY10" fmla="*/ 1638300 h 2148840"/>
              <a:gd name="connsiteX11" fmla="*/ 1234440 w 2346960"/>
              <a:gd name="connsiteY11" fmla="*/ 1524000 h 2148840"/>
              <a:gd name="connsiteX12" fmla="*/ 1356360 w 2346960"/>
              <a:gd name="connsiteY12" fmla="*/ 1371600 h 2148840"/>
              <a:gd name="connsiteX13" fmla="*/ 1356360 w 2346960"/>
              <a:gd name="connsiteY13" fmla="*/ 1181100 h 2148840"/>
              <a:gd name="connsiteX14" fmla="*/ 1402080 w 2346960"/>
              <a:gd name="connsiteY14" fmla="*/ 1013460 h 2148840"/>
              <a:gd name="connsiteX15" fmla="*/ 1524000 w 2346960"/>
              <a:gd name="connsiteY15" fmla="*/ 906780 h 2148840"/>
              <a:gd name="connsiteX16" fmla="*/ 1485900 w 2346960"/>
              <a:gd name="connsiteY16" fmla="*/ 800100 h 2148840"/>
              <a:gd name="connsiteX17" fmla="*/ 1577340 w 2346960"/>
              <a:gd name="connsiteY17" fmla="*/ 571500 h 2148840"/>
              <a:gd name="connsiteX18" fmla="*/ 1562100 w 2346960"/>
              <a:gd name="connsiteY18" fmla="*/ 342900 h 2148840"/>
              <a:gd name="connsiteX19" fmla="*/ 1524000 w 2346960"/>
              <a:gd name="connsiteY19" fmla="*/ 167640 h 2148840"/>
              <a:gd name="connsiteX20" fmla="*/ 1653540 w 2346960"/>
              <a:gd name="connsiteY20" fmla="*/ 228600 h 2148840"/>
              <a:gd name="connsiteX21" fmla="*/ 1744980 w 2346960"/>
              <a:gd name="connsiteY21" fmla="*/ 388620 h 2148840"/>
              <a:gd name="connsiteX22" fmla="*/ 1882140 w 2346960"/>
              <a:gd name="connsiteY22" fmla="*/ 472440 h 2148840"/>
              <a:gd name="connsiteX23" fmla="*/ 2072640 w 2346960"/>
              <a:gd name="connsiteY23" fmla="*/ 434340 h 2148840"/>
              <a:gd name="connsiteX24" fmla="*/ 2133600 w 2346960"/>
              <a:gd name="connsiteY24" fmla="*/ 320040 h 2148840"/>
              <a:gd name="connsiteX25" fmla="*/ 2179320 w 2346960"/>
              <a:gd name="connsiteY25" fmla="*/ 198120 h 2148840"/>
              <a:gd name="connsiteX26" fmla="*/ 2346960 w 2346960"/>
              <a:gd name="connsiteY26" fmla="*/ 0 h 214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346960" h="2148840">
                <a:moveTo>
                  <a:pt x="0" y="2148840"/>
                </a:moveTo>
                <a:lnTo>
                  <a:pt x="0" y="2148840"/>
                </a:lnTo>
                <a:lnTo>
                  <a:pt x="0" y="1988820"/>
                </a:lnTo>
                <a:lnTo>
                  <a:pt x="38100" y="1844040"/>
                </a:lnTo>
                <a:lnTo>
                  <a:pt x="228600" y="1790700"/>
                </a:lnTo>
                <a:lnTo>
                  <a:pt x="365760" y="1790700"/>
                </a:lnTo>
                <a:lnTo>
                  <a:pt x="571500" y="1851660"/>
                </a:lnTo>
                <a:lnTo>
                  <a:pt x="693420" y="1851660"/>
                </a:lnTo>
                <a:lnTo>
                  <a:pt x="922020" y="1912620"/>
                </a:lnTo>
                <a:lnTo>
                  <a:pt x="1127760" y="1722120"/>
                </a:lnTo>
                <a:lnTo>
                  <a:pt x="1249680" y="1638300"/>
                </a:lnTo>
                <a:lnTo>
                  <a:pt x="1234440" y="1524000"/>
                </a:lnTo>
                <a:lnTo>
                  <a:pt x="1356360" y="1371600"/>
                </a:lnTo>
                <a:lnTo>
                  <a:pt x="1356360" y="1181100"/>
                </a:lnTo>
                <a:lnTo>
                  <a:pt x="1402080" y="1013460"/>
                </a:lnTo>
                <a:lnTo>
                  <a:pt x="1524000" y="906780"/>
                </a:lnTo>
                <a:lnTo>
                  <a:pt x="1485900" y="800100"/>
                </a:lnTo>
                <a:lnTo>
                  <a:pt x="1577340" y="571500"/>
                </a:lnTo>
                <a:lnTo>
                  <a:pt x="1562100" y="342900"/>
                </a:lnTo>
                <a:lnTo>
                  <a:pt x="1524000" y="167640"/>
                </a:lnTo>
                <a:lnTo>
                  <a:pt x="1653540" y="228600"/>
                </a:lnTo>
                <a:lnTo>
                  <a:pt x="1744980" y="388620"/>
                </a:lnTo>
                <a:lnTo>
                  <a:pt x="1882140" y="472440"/>
                </a:lnTo>
                <a:lnTo>
                  <a:pt x="2072640" y="434340"/>
                </a:lnTo>
                <a:lnTo>
                  <a:pt x="2133600" y="320040"/>
                </a:lnTo>
                <a:lnTo>
                  <a:pt x="2179320" y="198120"/>
                </a:lnTo>
                <a:lnTo>
                  <a:pt x="2346960" y="0"/>
                </a:lnTo>
              </a:path>
            </a:pathLst>
          </a:custGeom>
          <a:noFill/>
          <a:ln w="19050">
            <a:solidFill>
              <a:srgbClr val="3861BE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reeform 6"/>
          <p:cNvSpPr/>
          <p:nvPr/>
        </p:nvSpPr>
        <p:spPr bwMode="auto">
          <a:xfrm>
            <a:off x="2863096" y="2081698"/>
            <a:ext cx="402064" cy="443188"/>
          </a:xfrm>
          <a:custGeom>
            <a:avLst/>
            <a:gdLst>
              <a:gd name="connsiteX0" fmla="*/ 0 w 662940"/>
              <a:gd name="connsiteY0" fmla="*/ 0 h 739140"/>
              <a:gd name="connsiteX1" fmla="*/ 121920 w 662940"/>
              <a:gd name="connsiteY1" fmla="*/ 83820 h 739140"/>
              <a:gd name="connsiteX2" fmla="*/ 167640 w 662940"/>
              <a:gd name="connsiteY2" fmla="*/ 236220 h 739140"/>
              <a:gd name="connsiteX3" fmla="*/ 266700 w 662940"/>
              <a:gd name="connsiteY3" fmla="*/ 381000 h 739140"/>
              <a:gd name="connsiteX4" fmla="*/ 464820 w 662940"/>
              <a:gd name="connsiteY4" fmla="*/ 464820 h 739140"/>
              <a:gd name="connsiteX5" fmla="*/ 662940 w 662940"/>
              <a:gd name="connsiteY5" fmla="*/ 632460 h 739140"/>
              <a:gd name="connsiteX6" fmla="*/ 655320 w 662940"/>
              <a:gd name="connsiteY6" fmla="*/ 73914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2940" h="739140">
                <a:moveTo>
                  <a:pt x="0" y="0"/>
                </a:moveTo>
                <a:lnTo>
                  <a:pt x="121920" y="83820"/>
                </a:lnTo>
                <a:lnTo>
                  <a:pt x="167640" y="236220"/>
                </a:lnTo>
                <a:lnTo>
                  <a:pt x="266700" y="381000"/>
                </a:lnTo>
                <a:lnTo>
                  <a:pt x="464820" y="464820"/>
                </a:lnTo>
                <a:lnTo>
                  <a:pt x="662940" y="632460"/>
                </a:lnTo>
                <a:lnTo>
                  <a:pt x="655320" y="739140"/>
                </a:ln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38"/>
          <p:cNvSpPr/>
          <p:nvPr/>
        </p:nvSpPr>
        <p:spPr bwMode="auto">
          <a:xfrm>
            <a:off x="127224" y="916616"/>
            <a:ext cx="1109137" cy="2480939"/>
          </a:xfrm>
          <a:custGeom>
            <a:avLst/>
            <a:gdLst>
              <a:gd name="connsiteX0" fmla="*/ 1242060 w 1828800"/>
              <a:gd name="connsiteY0" fmla="*/ 0 h 4137660"/>
              <a:gd name="connsiteX1" fmla="*/ 1310640 w 1828800"/>
              <a:gd name="connsiteY1" fmla="*/ 137160 h 4137660"/>
              <a:gd name="connsiteX2" fmla="*/ 1386840 w 1828800"/>
              <a:gd name="connsiteY2" fmla="*/ 434340 h 4137660"/>
              <a:gd name="connsiteX3" fmla="*/ 1470660 w 1828800"/>
              <a:gd name="connsiteY3" fmla="*/ 647700 h 4137660"/>
              <a:gd name="connsiteX4" fmla="*/ 1661160 w 1828800"/>
              <a:gd name="connsiteY4" fmla="*/ 731520 h 4137660"/>
              <a:gd name="connsiteX5" fmla="*/ 1729740 w 1828800"/>
              <a:gd name="connsiteY5" fmla="*/ 868680 h 4137660"/>
              <a:gd name="connsiteX6" fmla="*/ 1783080 w 1828800"/>
              <a:gd name="connsiteY6" fmla="*/ 1043940 h 4137660"/>
              <a:gd name="connsiteX7" fmla="*/ 1828800 w 1828800"/>
              <a:gd name="connsiteY7" fmla="*/ 1219200 h 4137660"/>
              <a:gd name="connsiteX8" fmla="*/ 1790700 w 1828800"/>
              <a:gd name="connsiteY8" fmla="*/ 1463040 h 4137660"/>
              <a:gd name="connsiteX9" fmla="*/ 1722120 w 1828800"/>
              <a:gd name="connsiteY9" fmla="*/ 1584960 h 4137660"/>
              <a:gd name="connsiteX10" fmla="*/ 1501140 w 1828800"/>
              <a:gd name="connsiteY10" fmla="*/ 1615440 h 4137660"/>
              <a:gd name="connsiteX11" fmla="*/ 1333500 w 1828800"/>
              <a:gd name="connsiteY11" fmla="*/ 1668780 h 4137660"/>
              <a:gd name="connsiteX12" fmla="*/ 1196340 w 1828800"/>
              <a:gd name="connsiteY12" fmla="*/ 1790700 h 4137660"/>
              <a:gd name="connsiteX13" fmla="*/ 1120140 w 1828800"/>
              <a:gd name="connsiteY13" fmla="*/ 1905000 h 4137660"/>
              <a:gd name="connsiteX14" fmla="*/ 1028700 w 1828800"/>
              <a:gd name="connsiteY14" fmla="*/ 2034540 h 4137660"/>
              <a:gd name="connsiteX15" fmla="*/ 975360 w 1828800"/>
              <a:gd name="connsiteY15" fmla="*/ 2164080 h 4137660"/>
              <a:gd name="connsiteX16" fmla="*/ 944880 w 1828800"/>
              <a:gd name="connsiteY16" fmla="*/ 2385060 h 4137660"/>
              <a:gd name="connsiteX17" fmla="*/ 868680 w 1828800"/>
              <a:gd name="connsiteY17" fmla="*/ 2446020 h 4137660"/>
              <a:gd name="connsiteX18" fmla="*/ 739140 w 1828800"/>
              <a:gd name="connsiteY18" fmla="*/ 2522220 h 4137660"/>
              <a:gd name="connsiteX19" fmla="*/ 731520 w 1828800"/>
              <a:gd name="connsiteY19" fmla="*/ 2644140 h 4137660"/>
              <a:gd name="connsiteX20" fmla="*/ 701040 w 1828800"/>
              <a:gd name="connsiteY20" fmla="*/ 2766060 h 4137660"/>
              <a:gd name="connsiteX21" fmla="*/ 624840 w 1828800"/>
              <a:gd name="connsiteY21" fmla="*/ 2842260 h 4137660"/>
              <a:gd name="connsiteX22" fmla="*/ 670560 w 1828800"/>
              <a:gd name="connsiteY22" fmla="*/ 2956560 h 4137660"/>
              <a:gd name="connsiteX23" fmla="*/ 701040 w 1828800"/>
              <a:gd name="connsiteY23" fmla="*/ 3063240 h 4137660"/>
              <a:gd name="connsiteX24" fmla="*/ 784860 w 1828800"/>
              <a:gd name="connsiteY24" fmla="*/ 3131820 h 4137660"/>
              <a:gd name="connsiteX25" fmla="*/ 716280 w 1828800"/>
              <a:gd name="connsiteY25" fmla="*/ 3261360 h 4137660"/>
              <a:gd name="connsiteX26" fmla="*/ 548640 w 1828800"/>
              <a:gd name="connsiteY26" fmla="*/ 3489960 h 4137660"/>
              <a:gd name="connsiteX27" fmla="*/ 381000 w 1828800"/>
              <a:gd name="connsiteY27" fmla="*/ 3543300 h 4137660"/>
              <a:gd name="connsiteX28" fmla="*/ 304800 w 1828800"/>
              <a:gd name="connsiteY28" fmla="*/ 3741420 h 4137660"/>
              <a:gd name="connsiteX29" fmla="*/ 220980 w 1828800"/>
              <a:gd name="connsiteY29" fmla="*/ 3870960 h 4137660"/>
              <a:gd name="connsiteX30" fmla="*/ 38100 w 1828800"/>
              <a:gd name="connsiteY30" fmla="*/ 4015740 h 4137660"/>
              <a:gd name="connsiteX31" fmla="*/ 0 w 1828800"/>
              <a:gd name="connsiteY31" fmla="*/ 4137660 h 4137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828800" h="4137660">
                <a:moveTo>
                  <a:pt x="1242060" y="0"/>
                </a:moveTo>
                <a:lnTo>
                  <a:pt x="1310640" y="137160"/>
                </a:lnTo>
                <a:lnTo>
                  <a:pt x="1386840" y="434340"/>
                </a:lnTo>
                <a:lnTo>
                  <a:pt x="1470660" y="647700"/>
                </a:lnTo>
                <a:lnTo>
                  <a:pt x="1661160" y="731520"/>
                </a:lnTo>
                <a:lnTo>
                  <a:pt x="1729740" y="868680"/>
                </a:lnTo>
                <a:lnTo>
                  <a:pt x="1783080" y="1043940"/>
                </a:lnTo>
                <a:lnTo>
                  <a:pt x="1828800" y="1219200"/>
                </a:lnTo>
                <a:lnTo>
                  <a:pt x="1790700" y="1463040"/>
                </a:lnTo>
                <a:lnTo>
                  <a:pt x="1722120" y="1584960"/>
                </a:lnTo>
                <a:lnTo>
                  <a:pt x="1501140" y="1615440"/>
                </a:lnTo>
                <a:lnTo>
                  <a:pt x="1333500" y="1668780"/>
                </a:lnTo>
                <a:lnTo>
                  <a:pt x="1196340" y="1790700"/>
                </a:lnTo>
                <a:lnTo>
                  <a:pt x="1120140" y="1905000"/>
                </a:lnTo>
                <a:lnTo>
                  <a:pt x="1028700" y="2034540"/>
                </a:lnTo>
                <a:lnTo>
                  <a:pt x="975360" y="2164080"/>
                </a:lnTo>
                <a:lnTo>
                  <a:pt x="944880" y="2385060"/>
                </a:lnTo>
                <a:lnTo>
                  <a:pt x="868680" y="2446020"/>
                </a:lnTo>
                <a:lnTo>
                  <a:pt x="739140" y="2522220"/>
                </a:lnTo>
                <a:lnTo>
                  <a:pt x="731520" y="2644140"/>
                </a:lnTo>
                <a:lnTo>
                  <a:pt x="701040" y="2766060"/>
                </a:lnTo>
                <a:lnTo>
                  <a:pt x="624840" y="2842260"/>
                </a:lnTo>
                <a:lnTo>
                  <a:pt x="670560" y="2956560"/>
                </a:lnTo>
                <a:lnTo>
                  <a:pt x="701040" y="3063240"/>
                </a:lnTo>
                <a:lnTo>
                  <a:pt x="784860" y="3131820"/>
                </a:lnTo>
                <a:lnTo>
                  <a:pt x="716280" y="3261360"/>
                </a:lnTo>
                <a:lnTo>
                  <a:pt x="548640" y="3489960"/>
                </a:lnTo>
                <a:lnTo>
                  <a:pt x="381000" y="3543300"/>
                </a:lnTo>
                <a:lnTo>
                  <a:pt x="304800" y="3741420"/>
                </a:lnTo>
                <a:lnTo>
                  <a:pt x="220980" y="3870960"/>
                </a:lnTo>
                <a:lnTo>
                  <a:pt x="38100" y="4015740"/>
                </a:lnTo>
                <a:lnTo>
                  <a:pt x="0" y="4137660"/>
                </a:lnTo>
              </a:path>
            </a:pathLst>
          </a:custGeom>
          <a:noFill/>
          <a:ln w="19050">
            <a:solidFill>
              <a:srgbClr val="0084A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reeform 39"/>
          <p:cNvSpPr/>
          <p:nvPr/>
        </p:nvSpPr>
        <p:spPr bwMode="auto">
          <a:xfrm>
            <a:off x="34796" y="2310147"/>
            <a:ext cx="471383" cy="333534"/>
          </a:xfrm>
          <a:custGeom>
            <a:avLst/>
            <a:gdLst>
              <a:gd name="connsiteX0" fmla="*/ 777240 w 777240"/>
              <a:gd name="connsiteY0" fmla="*/ 533400 h 556260"/>
              <a:gd name="connsiteX1" fmla="*/ 647700 w 777240"/>
              <a:gd name="connsiteY1" fmla="*/ 487680 h 556260"/>
              <a:gd name="connsiteX2" fmla="*/ 586740 w 777240"/>
              <a:gd name="connsiteY2" fmla="*/ 510540 h 556260"/>
              <a:gd name="connsiteX3" fmla="*/ 419100 w 777240"/>
              <a:gd name="connsiteY3" fmla="*/ 556260 h 556260"/>
              <a:gd name="connsiteX4" fmla="*/ 243840 w 777240"/>
              <a:gd name="connsiteY4" fmla="*/ 464820 h 556260"/>
              <a:gd name="connsiteX5" fmla="*/ 220980 w 777240"/>
              <a:gd name="connsiteY5" fmla="*/ 289560 h 556260"/>
              <a:gd name="connsiteX6" fmla="*/ 99060 w 777240"/>
              <a:gd name="connsiteY6" fmla="*/ 182880 h 556260"/>
              <a:gd name="connsiteX7" fmla="*/ 0 w 777240"/>
              <a:gd name="connsiteY7" fmla="*/ 0 h 556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7240" h="556260">
                <a:moveTo>
                  <a:pt x="777240" y="533400"/>
                </a:moveTo>
                <a:lnTo>
                  <a:pt x="647700" y="487680"/>
                </a:lnTo>
                <a:lnTo>
                  <a:pt x="586740" y="510540"/>
                </a:lnTo>
                <a:lnTo>
                  <a:pt x="419100" y="556260"/>
                </a:lnTo>
                <a:lnTo>
                  <a:pt x="243840" y="464820"/>
                </a:lnTo>
                <a:lnTo>
                  <a:pt x="220980" y="289560"/>
                </a:lnTo>
                <a:lnTo>
                  <a:pt x="99060" y="18288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0084A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40"/>
          <p:cNvSpPr/>
          <p:nvPr/>
        </p:nvSpPr>
        <p:spPr bwMode="auto">
          <a:xfrm>
            <a:off x="-16040" y="2556867"/>
            <a:ext cx="198721" cy="31982"/>
          </a:xfrm>
          <a:custGeom>
            <a:avLst/>
            <a:gdLst>
              <a:gd name="connsiteX0" fmla="*/ 762000 w 762000"/>
              <a:gd name="connsiteY0" fmla="*/ 53340 h 220980"/>
              <a:gd name="connsiteX1" fmla="*/ 548640 w 762000"/>
              <a:gd name="connsiteY1" fmla="*/ 0 h 220980"/>
              <a:gd name="connsiteX2" fmla="*/ 434340 w 762000"/>
              <a:gd name="connsiteY2" fmla="*/ 7620 h 220980"/>
              <a:gd name="connsiteX3" fmla="*/ 403860 w 762000"/>
              <a:gd name="connsiteY3" fmla="*/ 22860 h 220980"/>
              <a:gd name="connsiteX4" fmla="*/ 228600 w 762000"/>
              <a:gd name="connsiteY4" fmla="*/ 68580 h 220980"/>
              <a:gd name="connsiteX5" fmla="*/ 45720 w 762000"/>
              <a:gd name="connsiteY5" fmla="*/ 220980 h 220980"/>
              <a:gd name="connsiteX6" fmla="*/ 0 w 762000"/>
              <a:gd name="connsiteY6" fmla="*/ 213360 h 220980"/>
              <a:gd name="connsiteX0" fmla="*/ 716279 w 716279"/>
              <a:gd name="connsiteY0" fmla="*/ 53340 h 220980"/>
              <a:gd name="connsiteX1" fmla="*/ 502919 w 716279"/>
              <a:gd name="connsiteY1" fmla="*/ 0 h 220980"/>
              <a:gd name="connsiteX2" fmla="*/ 388619 w 716279"/>
              <a:gd name="connsiteY2" fmla="*/ 7620 h 220980"/>
              <a:gd name="connsiteX3" fmla="*/ 358139 w 716279"/>
              <a:gd name="connsiteY3" fmla="*/ 22860 h 220980"/>
              <a:gd name="connsiteX4" fmla="*/ 182879 w 716279"/>
              <a:gd name="connsiteY4" fmla="*/ 68580 h 220980"/>
              <a:gd name="connsiteX5" fmla="*/ -1 w 716279"/>
              <a:gd name="connsiteY5" fmla="*/ 220980 h 220980"/>
              <a:gd name="connsiteX0" fmla="*/ 533399 w 533399"/>
              <a:gd name="connsiteY0" fmla="*/ 53340 h 68579"/>
              <a:gd name="connsiteX1" fmla="*/ 320039 w 533399"/>
              <a:gd name="connsiteY1" fmla="*/ 0 h 68579"/>
              <a:gd name="connsiteX2" fmla="*/ 205739 w 533399"/>
              <a:gd name="connsiteY2" fmla="*/ 7620 h 68579"/>
              <a:gd name="connsiteX3" fmla="*/ 175259 w 533399"/>
              <a:gd name="connsiteY3" fmla="*/ 22860 h 68579"/>
              <a:gd name="connsiteX4" fmla="*/ -1 w 533399"/>
              <a:gd name="connsiteY4" fmla="*/ 68580 h 68579"/>
              <a:gd name="connsiteX0" fmla="*/ 358140 w 358140"/>
              <a:gd name="connsiteY0" fmla="*/ 53340 h 53341"/>
              <a:gd name="connsiteX1" fmla="*/ 144780 w 358140"/>
              <a:gd name="connsiteY1" fmla="*/ 0 h 53341"/>
              <a:gd name="connsiteX2" fmla="*/ 30480 w 358140"/>
              <a:gd name="connsiteY2" fmla="*/ 7620 h 53341"/>
              <a:gd name="connsiteX3" fmla="*/ 0 w 358140"/>
              <a:gd name="connsiteY3" fmla="*/ 22860 h 53341"/>
              <a:gd name="connsiteX0" fmla="*/ 327660 w 327660"/>
              <a:gd name="connsiteY0" fmla="*/ 53340 h 53339"/>
              <a:gd name="connsiteX1" fmla="*/ 114300 w 327660"/>
              <a:gd name="connsiteY1" fmla="*/ 0 h 53339"/>
              <a:gd name="connsiteX2" fmla="*/ 0 w 327660"/>
              <a:gd name="connsiteY2" fmla="*/ 7620 h 5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7660" h="53339">
                <a:moveTo>
                  <a:pt x="327660" y="53340"/>
                </a:moveTo>
                <a:lnTo>
                  <a:pt x="114300" y="0"/>
                </a:lnTo>
                <a:cubicBezTo>
                  <a:pt x="76200" y="2540"/>
                  <a:pt x="37717" y="1665"/>
                  <a:pt x="0" y="7620"/>
                </a:cubicBezTo>
              </a:path>
            </a:pathLst>
          </a:custGeom>
          <a:noFill/>
          <a:ln w="19050">
            <a:solidFill>
              <a:srgbClr val="0084A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41"/>
          <p:cNvSpPr/>
          <p:nvPr/>
        </p:nvSpPr>
        <p:spPr bwMode="auto">
          <a:xfrm>
            <a:off x="690168" y="-24590"/>
            <a:ext cx="1752377" cy="2444389"/>
          </a:xfrm>
          <a:custGeom>
            <a:avLst/>
            <a:gdLst>
              <a:gd name="connsiteX0" fmla="*/ 2567940 w 2872740"/>
              <a:gd name="connsiteY0" fmla="*/ 0 h 4396740"/>
              <a:gd name="connsiteX1" fmla="*/ 2644140 w 2872740"/>
              <a:gd name="connsiteY1" fmla="*/ 114300 h 4396740"/>
              <a:gd name="connsiteX2" fmla="*/ 2621280 w 2872740"/>
              <a:gd name="connsiteY2" fmla="*/ 205740 h 4396740"/>
              <a:gd name="connsiteX3" fmla="*/ 2651760 w 2872740"/>
              <a:gd name="connsiteY3" fmla="*/ 320040 h 4396740"/>
              <a:gd name="connsiteX4" fmla="*/ 2750820 w 2872740"/>
              <a:gd name="connsiteY4" fmla="*/ 464820 h 4396740"/>
              <a:gd name="connsiteX5" fmla="*/ 2842260 w 2872740"/>
              <a:gd name="connsiteY5" fmla="*/ 632460 h 4396740"/>
              <a:gd name="connsiteX6" fmla="*/ 2834640 w 2872740"/>
              <a:gd name="connsiteY6" fmla="*/ 723900 h 4396740"/>
              <a:gd name="connsiteX7" fmla="*/ 2872740 w 2872740"/>
              <a:gd name="connsiteY7" fmla="*/ 830580 h 4396740"/>
              <a:gd name="connsiteX8" fmla="*/ 2834640 w 2872740"/>
              <a:gd name="connsiteY8" fmla="*/ 929640 h 4396740"/>
              <a:gd name="connsiteX9" fmla="*/ 2804160 w 2872740"/>
              <a:gd name="connsiteY9" fmla="*/ 1066800 h 4396740"/>
              <a:gd name="connsiteX10" fmla="*/ 2674620 w 2872740"/>
              <a:gd name="connsiteY10" fmla="*/ 1150620 h 4396740"/>
              <a:gd name="connsiteX11" fmla="*/ 2613660 w 2872740"/>
              <a:gd name="connsiteY11" fmla="*/ 1226820 h 4396740"/>
              <a:gd name="connsiteX12" fmla="*/ 2590800 w 2872740"/>
              <a:gd name="connsiteY12" fmla="*/ 1325880 h 4396740"/>
              <a:gd name="connsiteX13" fmla="*/ 2606040 w 2872740"/>
              <a:gd name="connsiteY13" fmla="*/ 1516380 h 4396740"/>
              <a:gd name="connsiteX14" fmla="*/ 2606040 w 2872740"/>
              <a:gd name="connsiteY14" fmla="*/ 1706880 h 4396740"/>
              <a:gd name="connsiteX15" fmla="*/ 2659380 w 2872740"/>
              <a:gd name="connsiteY15" fmla="*/ 1828800 h 4396740"/>
              <a:gd name="connsiteX16" fmla="*/ 2621280 w 2872740"/>
              <a:gd name="connsiteY16" fmla="*/ 1965960 h 4396740"/>
              <a:gd name="connsiteX17" fmla="*/ 2575560 w 2872740"/>
              <a:gd name="connsiteY17" fmla="*/ 2103120 h 4396740"/>
              <a:gd name="connsiteX18" fmla="*/ 2468880 w 2872740"/>
              <a:gd name="connsiteY18" fmla="*/ 2179320 h 4396740"/>
              <a:gd name="connsiteX19" fmla="*/ 2423160 w 2872740"/>
              <a:gd name="connsiteY19" fmla="*/ 2324100 h 4396740"/>
              <a:gd name="connsiteX20" fmla="*/ 2415540 w 2872740"/>
              <a:gd name="connsiteY20" fmla="*/ 2499360 h 4396740"/>
              <a:gd name="connsiteX21" fmla="*/ 2346960 w 2872740"/>
              <a:gd name="connsiteY21" fmla="*/ 2674620 h 4396740"/>
              <a:gd name="connsiteX22" fmla="*/ 2263140 w 2872740"/>
              <a:gd name="connsiteY22" fmla="*/ 2758440 h 4396740"/>
              <a:gd name="connsiteX23" fmla="*/ 2240280 w 2872740"/>
              <a:gd name="connsiteY23" fmla="*/ 2926080 h 4396740"/>
              <a:gd name="connsiteX24" fmla="*/ 2156460 w 2872740"/>
              <a:gd name="connsiteY24" fmla="*/ 3078480 h 4396740"/>
              <a:gd name="connsiteX25" fmla="*/ 2103120 w 2872740"/>
              <a:gd name="connsiteY25" fmla="*/ 3299460 h 4396740"/>
              <a:gd name="connsiteX26" fmla="*/ 2057400 w 2872740"/>
              <a:gd name="connsiteY26" fmla="*/ 3482340 h 4396740"/>
              <a:gd name="connsiteX27" fmla="*/ 2057400 w 2872740"/>
              <a:gd name="connsiteY27" fmla="*/ 3733800 h 4396740"/>
              <a:gd name="connsiteX28" fmla="*/ 1889760 w 2872740"/>
              <a:gd name="connsiteY28" fmla="*/ 3802380 h 4396740"/>
              <a:gd name="connsiteX29" fmla="*/ 1691640 w 2872740"/>
              <a:gd name="connsiteY29" fmla="*/ 3848100 h 4396740"/>
              <a:gd name="connsiteX30" fmla="*/ 1577340 w 2872740"/>
              <a:gd name="connsiteY30" fmla="*/ 3947160 h 4396740"/>
              <a:gd name="connsiteX31" fmla="*/ 1402080 w 2872740"/>
              <a:gd name="connsiteY31" fmla="*/ 4168140 h 4396740"/>
              <a:gd name="connsiteX32" fmla="*/ 1196340 w 2872740"/>
              <a:gd name="connsiteY32" fmla="*/ 4229100 h 4396740"/>
              <a:gd name="connsiteX33" fmla="*/ 937260 w 2872740"/>
              <a:gd name="connsiteY33" fmla="*/ 4221480 h 4396740"/>
              <a:gd name="connsiteX34" fmla="*/ 647700 w 2872740"/>
              <a:gd name="connsiteY34" fmla="*/ 4396740 h 4396740"/>
              <a:gd name="connsiteX35" fmla="*/ 426720 w 2872740"/>
              <a:gd name="connsiteY35" fmla="*/ 4396740 h 4396740"/>
              <a:gd name="connsiteX36" fmla="*/ 251460 w 2872740"/>
              <a:gd name="connsiteY36" fmla="*/ 4358640 h 4396740"/>
              <a:gd name="connsiteX37" fmla="*/ 91440 w 2872740"/>
              <a:gd name="connsiteY37" fmla="*/ 4351020 h 4396740"/>
              <a:gd name="connsiteX38" fmla="*/ 0 w 2872740"/>
              <a:gd name="connsiteY38" fmla="*/ 4305300 h 4396740"/>
              <a:gd name="connsiteX0" fmla="*/ 2584609 w 2889409"/>
              <a:gd name="connsiteY0" fmla="*/ 0 h 4396740"/>
              <a:gd name="connsiteX1" fmla="*/ 2660809 w 2889409"/>
              <a:gd name="connsiteY1" fmla="*/ 114300 h 4396740"/>
              <a:gd name="connsiteX2" fmla="*/ 2637949 w 2889409"/>
              <a:gd name="connsiteY2" fmla="*/ 205740 h 4396740"/>
              <a:gd name="connsiteX3" fmla="*/ 2668429 w 2889409"/>
              <a:gd name="connsiteY3" fmla="*/ 320040 h 4396740"/>
              <a:gd name="connsiteX4" fmla="*/ 2767489 w 2889409"/>
              <a:gd name="connsiteY4" fmla="*/ 464820 h 4396740"/>
              <a:gd name="connsiteX5" fmla="*/ 2858929 w 2889409"/>
              <a:gd name="connsiteY5" fmla="*/ 632460 h 4396740"/>
              <a:gd name="connsiteX6" fmla="*/ 2851309 w 2889409"/>
              <a:gd name="connsiteY6" fmla="*/ 723900 h 4396740"/>
              <a:gd name="connsiteX7" fmla="*/ 2889409 w 2889409"/>
              <a:gd name="connsiteY7" fmla="*/ 830580 h 4396740"/>
              <a:gd name="connsiteX8" fmla="*/ 2851309 w 2889409"/>
              <a:gd name="connsiteY8" fmla="*/ 929640 h 4396740"/>
              <a:gd name="connsiteX9" fmla="*/ 2820829 w 2889409"/>
              <a:gd name="connsiteY9" fmla="*/ 1066800 h 4396740"/>
              <a:gd name="connsiteX10" fmla="*/ 2691289 w 2889409"/>
              <a:gd name="connsiteY10" fmla="*/ 1150620 h 4396740"/>
              <a:gd name="connsiteX11" fmla="*/ 2630329 w 2889409"/>
              <a:gd name="connsiteY11" fmla="*/ 1226820 h 4396740"/>
              <a:gd name="connsiteX12" fmla="*/ 2607469 w 2889409"/>
              <a:gd name="connsiteY12" fmla="*/ 1325880 h 4396740"/>
              <a:gd name="connsiteX13" fmla="*/ 2622709 w 2889409"/>
              <a:gd name="connsiteY13" fmla="*/ 1516380 h 4396740"/>
              <a:gd name="connsiteX14" fmla="*/ 2622709 w 2889409"/>
              <a:gd name="connsiteY14" fmla="*/ 1706880 h 4396740"/>
              <a:gd name="connsiteX15" fmla="*/ 2676049 w 2889409"/>
              <a:gd name="connsiteY15" fmla="*/ 1828800 h 4396740"/>
              <a:gd name="connsiteX16" fmla="*/ 2637949 w 2889409"/>
              <a:gd name="connsiteY16" fmla="*/ 1965960 h 4396740"/>
              <a:gd name="connsiteX17" fmla="*/ 2592229 w 2889409"/>
              <a:gd name="connsiteY17" fmla="*/ 2103120 h 4396740"/>
              <a:gd name="connsiteX18" fmla="*/ 2485549 w 2889409"/>
              <a:gd name="connsiteY18" fmla="*/ 2179320 h 4396740"/>
              <a:gd name="connsiteX19" fmla="*/ 2439829 w 2889409"/>
              <a:gd name="connsiteY19" fmla="*/ 2324100 h 4396740"/>
              <a:gd name="connsiteX20" fmla="*/ 2432209 w 2889409"/>
              <a:gd name="connsiteY20" fmla="*/ 2499360 h 4396740"/>
              <a:gd name="connsiteX21" fmla="*/ 2363629 w 2889409"/>
              <a:gd name="connsiteY21" fmla="*/ 2674620 h 4396740"/>
              <a:gd name="connsiteX22" fmla="*/ 2279809 w 2889409"/>
              <a:gd name="connsiteY22" fmla="*/ 2758440 h 4396740"/>
              <a:gd name="connsiteX23" fmla="*/ 2256949 w 2889409"/>
              <a:gd name="connsiteY23" fmla="*/ 2926080 h 4396740"/>
              <a:gd name="connsiteX24" fmla="*/ 2173129 w 2889409"/>
              <a:gd name="connsiteY24" fmla="*/ 3078480 h 4396740"/>
              <a:gd name="connsiteX25" fmla="*/ 2119789 w 2889409"/>
              <a:gd name="connsiteY25" fmla="*/ 3299460 h 4396740"/>
              <a:gd name="connsiteX26" fmla="*/ 2074069 w 2889409"/>
              <a:gd name="connsiteY26" fmla="*/ 3482340 h 4396740"/>
              <a:gd name="connsiteX27" fmla="*/ 2074069 w 2889409"/>
              <a:gd name="connsiteY27" fmla="*/ 3733800 h 4396740"/>
              <a:gd name="connsiteX28" fmla="*/ 1906429 w 2889409"/>
              <a:gd name="connsiteY28" fmla="*/ 3802380 h 4396740"/>
              <a:gd name="connsiteX29" fmla="*/ 1708309 w 2889409"/>
              <a:gd name="connsiteY29" fmla="*/ 3848100 h 4396740"/>
              <a:gd name="connsiteX30" fmla="*/ 1594009 w 2889409"/>
              <a:gd name="connsiteY30" fmla="*/ 3947160 h 4396740"/>
              <a:gd name="connsiteX31" fmla="*/ 1418749 w 2889409"/>
              <a:gd name="connsiteY31" fmla="*/ 4168140 h 4396740"/>
              <a:gd name="connsiteX32" fmla="*/ 1213009 w 2889409"/>
              <a:gd name="connsiteY32" fmla="*/ 4229100 h 4396740"/>
              <a:gd name="connsiteX33" fmla="*/ 953929 w 2889409"/>
              <a:gd name="connsiteY33" fmla="*/ 4221480 h 4396740"/>
              <a:gd name="connsiteX34" fmla="*/ 664369 w 2889409"/>
              <a:gd name="connsiteY34" fmla="*/ 4396740 h 4396740"/>
              <a:gd name="connsiteX35" fmla="*/ 443389 w 2889409"/>
              <a:gd name="connsiteY35" fmla="*/ 4396740 h 4396740"/>
              <a:gd name="connsiteX36" fmla="*/ 268129 w 2889409"/>
              <a:gd name="connsiteY36" fmla="*/ 4358640 h 4396740"/>
              <a:gd name="connsiteX37" fmla="*/ 108109 w 2889409"/>
              <a:gd name="connsiteY37" fmla="*/ 4351020 h 4396740"/>
              <a:gd name="connsiteX38" fmla="*/ 0 w 2889409"/>
              <a:gd name="connsiteY38" fmla="*/ 4298157 h 4396740"/>
              <a:gd name="connsiteX0" fmla="*/ 2660809 w 2889409"/>
              <a:gd name="connsiteY0" fmla="*/ 0 h 4282440"/>
              <a:gd name="connsiteX1" fmla="*/ 2637949 w 2889409"/>
              <a:gd name="connsiteY1" fmla="*/ 91440 h 4282440"/>
              <a:gd name="connsiteX2" fmla="*/ 2668429 w 2889409"/>
              <a:gd name="connsiteY2" fmla="*/ 205740 h 4282440"/>
              <a:gd name="connsiteX3" fmla="*/ 2767489 w 2889409"/>
              <a:gd name="connsiteY3" fmla="*/ 350520 h 4282440"/>
              <a:gd name="connsiteX4" fmla="*/ 2858929 w 2889409"/>
              <a:gd name="connsiteY4" fmla="*/ 518160 h 4282440"/>
              <a:gd name="connsiteX5" fmla="*/ 2851309 w 2889409"/>
              <a:gd name="connsiteY5" fmla="*/ 609600 h 4282440"/>
              <a:gd name="connsiteX6" fmla="*/ 2889409 w 2889409"/>
              <a:gd name="connsiteY6" fmla="*/ 716280 h 4282440"/>
              <a:gd name="connsiteX7" fmla="*/ 2851309 w 2889409"/>
              <a:gd name="connsiteY7" fmla="*/ 815340 h 4282440"/>
              <a:gd name="connsiteX8" fmla="*/ 2820829 w 2889409"/>
              <a:gd name="connsiteY8" fmla="*/ 952500 h 4282440"/>
              <a:gd name="connsiteX9" fmla="*/ 2691289 w 2889409"/>
              <a:gd name="connsiteY9" fmla="*/ 1036320 h 4282440"/>
              <a:gd name="connsiteX10" fmla="*/ 2630329 w 2889409"/>
              <a:gd name="connsiteY10" fmla="*/ 1112520 h 4282440"/>
              <a:gd name="connsiteX11" fmla="*/ 2607469 w 2889409"/>
              <a:gd name="connsiteY11" fmla="*/ 1211580 h 4282440"/>
              <a:gd name="connsiteX12" fmla="*/ 2622709 w 2889409"/>
              <a:gd name="connsiteY12" fmla="*/ 1402080 h 4282440"/>
              <a:gd name="connsiteX13" fmla="*/ 2622709 w 2889409"/>
              <a:gd name="connsiteY13" fmla="*/ 1592580 h 4282440"/>
              <a:gd name="connsiteX14" fmla="*/ 2676049 w 2889409"/>
              <a:gd name="connsiteY14" fmla="*/ 1714500 h 4282440"/>
              <a:gd name="connsiteX15" fmla="*/ 2637949 w 2889409"/>
              <a:gd name="connsiteY15" fmla="*/ 1851660 h 4282440"/>
              <a:gd name="connsiteX16" fmla="*/ 2592229 w 2889409"/>
              <a:gd name="connsiteY16" fmla="*/ 1988820 h 4282440"/>
              <a:gd name="connsiteX17" fmla="*/ 2485549 w 2889409"/>
              <a:gd name="connsiteY17" fmla="*/ 2065020 h 4282440"/>
              <a:gd name="connsiteX18" fmla="*/ 2439829 w 2889409"/>
              <a:gd name="connsiteY18" fmla="*/ 2209800 h 4282440"/>
              <a:gd name="connsiteX19" fmla="*/ 2432209 w 2889409"/>
              <a:gd name="connsiteY19" fmla="*/ 2385060 h 4282440"/>
              <a:gd name="connsiteX20" fmla="*/ 2363629 w 2889409"/>
              <a:gd name="connsiteY20" fmla="*/ 2560320 h 4282440"/>
              <a:gd name="connsiteX21" fmla="*/ 2279809 w 2889409"/>
              <a:gd name="connsiteY21" fmla="*/ 2644140 h 4282440"/>
              <a:gd name="connsiteX22" fmla="*/ 2256949 w 2889409"/>
              <a:gd name="connsiteY22" fmla="*/ 2811780 h 4282440"/>
              <a:gd name="connsiteX23" fmla="*/ 2173129 w 2889409"/>
              <a:gd name="connsiteY23" fmla="*/ 2964180 h 4282440"/>
              <a:gd name="connsiteX24" fmla="*/ 2119789 w 2889409"/>
              <a:gd name="connsiteY24" fmla="*/ 3185160 h 4282440"/>
              <a:gd name="connsiteX25" fmla="*/ 2074069 w 2889409"/>
              <a:gd name="connsiteY25" fmla="*/ 3368040 h 4282440"/>
              <a:gd name="connsiteX26" fmla="*/ 2074069 w 2889409"/>
              <a:gd name="connsiteY26" fmla="*/ 3619500 h 4282440"/>
              <a:gd name="connsiteX27" fmla="*/ 1906429 w 2889409"/>
              <a:gd name="connsiteY27" fmla="*/ 3688080 h 4282440"/>
              <a:gd name="connsiteX28" fmla="*/ 1708309 w 2889409"/>
              <a:gd name="connsiteY28" fmla="*/ 3733800 h 4282440"/>
              <a:gd name="connsiteX29" fmla="*/ 1594009 w 2889409"/>
              <a:gd name="connsiteY29" fmla="*/ 3832860 h 4282440"/>
              <a:gd name="connsiteX30" fmla="*/ 1418749 w 2889409"/>
              <a:gd name="connsiteY30" fmla="*/ 4053840 h 4282440"/>
              <a:gd name="connsiteX31" fmla="*/ 1213009 w 2889409"/>
              <a:gd name="connsiteY31" fmla="*/ 4114800 h 4282440"/>
              <a:gd name="connsiteX32" fmla="*/ 953929 w 2889409"/>
              <a:gd name="connsiteY32" fmla="*/ 4107180 h 4282440"/>
              <a:gd name="connsiteX33" fmla="*/ 664369 w 2889409"/>
              <a:gd name="connsiteY33" fmla="*/ 4282440 h 4282440"/>
              <a:gd name="connsiteX34" fmla="*/ 443389 w 2889409"/>
              <a:gd name="connsiteY34" fmla="*/ 4282440 h 4282440"/>
              <a:gd name="connsiteX35" fmla="*/ 268129 w 2889409"/>
              <a:gd name="connsiteY35" fmla="*/ 4244340 h 4282440"/>
              <a:gd name="connsiteX36" fmla="*/ 108109 w 2889409"/>
              <a:gd name="connsiteY36" fmla="*/ 4236720 h 4282440"/>
              <a:gd name="connsiteX37" fmla="*/ 0 w 2889409"/>
              <a:gd name="connsiteY37" fmla="*/ 4183857 h 4282440"/>
              <a:gd name="connsiteX0" fmla="*/ 2660809 w 2889409"/>
              <a:gd name="connsiteY0" fmla="*/ 0 h 4282440"/>
              <a:gd name="connsiteX1" fmla="*/ 2668429 w 2889409"/>
              <a:gd name="connsiteY1" fmla="*/ 205740 h 4282440"/>
              <a:gd name="connsiteX2" fmla="*/ 2767489 w 2889409"/>
              <a:gd name="connsiteY2" fmla="*/ 350520 h 4282440"/>
              <a:gd name="connsiteX3" fmla="*/ 2858929 w 2889409"/>
              <a:gd name="connsiteY3" fmla="*/ 518160 h 4282440"/>
              <a:gd name="connsiteX4" fmla="*/ 2851309 w 2889409"/>
              <a:gd name="connsiteY4" fmla="*/ 609600 h 4282440"/>
              <a:gd name="connsiteX5" fmla="*/ 2889409 w 2889409"/>
              <a:gd name="connsiteY5" fmla="*/ 716280 h 4282440"/>
              <a:gd name="connsiteX6" fmla="*/ 2851309 w 2889409"/>
              <a:gd name="connsiteY6" fmla="*/ 815340 h 4282440"/>
              <a:gd name="connsiteX7" fmla="*/ 2820829 w 2889409"/>
              <a:gd name="connsiteY7" fmla="*/ 952500 h 4282440"/>
              <a:gd name="connsiteX8" fmla="*/ 2691289 w 2889409"/>
              <a:gd name="connsiteY8" fmla="*/ 1036320 h 4282440"/>
              <a:gd name="connsiteX9" fmla="*/ 2630329 w 2889409"/>
              <a:gd name="connsiteY9" fmla="*/ 1112520 h 4282440"/>
              <a:gd name="connsiteX10" fmla="*/ 2607469 w 2889409"/>
              <a:gd name="connsiteY10" fmla="*/ 1211580 h 4282440"/>
              <a:gd name="connsiteX11" fmla="*/ 2622709 w 2889409"/>
              <a:gd name="connsiteY11" fmla="*/ 1402080 h 4282440"/>
              <a:gd name="connsiteX12" fmla="*/ 2622709 w 2889409"/>
              <a:gd name="connsiteY12" fmla="*/ 1592580 h 4282440"/>
              <a:gd name="connsiteX13" fmla="*/ 2676049 w 2889409"/>
              <a:gd name="connsiteY13" fmla="*/ 1714500 h 4282440"/>
              <a:gd name="connsiteX14" fmla="*/ 2637949 w 2889409"/>
              <a:gd name="connsiteY14" fmla="*/ 1851660 h 4282440"/>
              <a:gd name="connsiteX15" fmla="*/ 2592229 w 2889409"/>
              <a:gd name="connsiteY15" fmla="*/ 1988820 h 4282440"/>
              <a:gd name="connsiteX16" fmla="*/ 2485549 w 2889409"/>
              <a:gd name="connsiteY16" fmla="*/ 2065020 h 4282440"/>
              <a:gd name="connsiteX17" fmla="*/ 2439829 w 2889409"/>
              <a:gd name="connsiteY17" fmla="*/ 2209800 h 4282440"/>
              <a:gd name="connsiteX18" fmla="*/ 2432209 w 2889409"/>
              <a:gd name="connsiteY18" fmla="*/ 2385060 h 4282440"/>
              <a:gd name="connsiteX19" fmla="*/ 2363629 w 2889409"/>
              <a:gd name="connsiteY19" fmla="*/ 2560320 h 4282440"/>
              <a:gd name="connsiteX20" fmla="*/ 2279809 w 2889409"/>
              <a:gd name="connsiteY20" fmla="*/ 2644140 h 4282440"/>
              <a:gd name="connsiteX21" fmla="*/ 2256949 w 2889409"/>
              <a:gd name="connsiteY21" fmla="*/ 2811780 h 4282440"/>
              <a:gd name="connsiteX22" fmla="*/ 2173129 w 2889409"/>
              <a:gd name="connsiteY22" fmla="*/ 2964180 h 4282440"/>
              <a:gd name="connsiteX23" fmla="*/ 2119789 w 2889409"/>
              <a:gd name="connsiteY23" fmla="*/ 3185160 h 4282440"/>
              <a:gd name="connsiteX24" fmla="*/ 2074069 w 2889409"/>
              <a:gd name="connsiteY24" fmla="*/ 3368040 h 4282440"/>
              <a:gd name="connsiteX25" fmla="*/ 2074069 w 2889409"/>
              <a:gd name="connsiteY25" fmla="*/ 3619500 h 4282440"/>
              <a:gd name="connsiteX26" fmla="*/ 1906429 w 2889409"/>
              <a:gd name="connsiteY26" fmla="*/ 3688080 h 4282440"/>
              <a:gd name="connsiteX27" fmla="*/ 1708309 w 2889409"/>
              <a:gd name="connsiteY27" fmla="*/ 3733800 h 4282440"/>
              <a:gd name="connsiteX28" fmla="*/ 1594009 w 2889409"/>
              <a:gd name="connsiteY28" fmla="*/ 3832860 h 4282440"/>
              <a:gd name="connsiteX29" fmla="*/ 1418749 w 2889409"/>
              <a:gd name="connsiteY29" fmla="*/ 4053840 h 4282440"/>
              <a:gd name="connsiteX30" fmla="*/ 1213009 w 2889409"/>
              <a:gd name="connsiteY30" fmla="*/ 4114800 h 4282440"/>
              <a:gd name="connsiteX31" fmla="*/ 953929 w 2889409"/>
              <a:gd name="connsiteY31" fmla="*/ 4107180 h 4282440"/>
              <a:gd name="connsiteX32" fmla="*/ 664369 w 2889409"/>
              <a:gd name="connsiteY32" fmla="*/ 4282440 h 4282440"/>
              <a:gd name="connsiteX33" fmla="*/ 443389 w 2889409"/>
              <a:gd name="connsiteY33" fmla="*/ 4282440 h 4282440"/>
              <a:gd name="connsiteX34" fmla="*/ 268129 w 2889409"/>
              <a:gd name="connsiteY34" fmla="*/ 4244340 h 4282440"/>
              <a:gd name="connsiteX35" fmla="*/ 108109 w 2889409"/>
              <a:gd name="connsiteY35" fmla="*/ 4236720 h 4282440"/>
              <a:gd name="connsiteX36" fmla="*/ 0 w 2889409"/>
              <a:gd name="connsiteY36" fmla="*/ 4183857 h 4282440"/>
              <a:gd name="connsiteX0" fmla="*/ 2668429 w 2889409"/>
              <a:gd name="connsiteY0" fmla="*/ 0 h 4076700"/>
              <a:gd name="connsiteX1" fmla="*/ 2767489 w 2889409"/>
              <a:gd name="connsiteY1" fmla="*/ 144780 h 4076700"/>
              <a:gd name="connsiteX2" fmla="*/ 2858929 w 2889409"/>
              <a:gd name="connsiteY2" fmla="*/ 312420 h 4076700"/>
              <a:gd name="connsiteX3" fmla="*/ 2851309 w 2889409"/>
              <a:gd name="connsiteY3" fmla="*/ 403860 h 4076700"/>
              <a:gd name="connsiteX4" fmla="*/ 2889409 w 2889409"/>
              <a:gd name="connsiteY4" fmla="*/ 510540 h 4076700"/>
              <a:gd name="connsiteX5" fmla="*/ 2851309 w 2889409"/>
              <a:gd name="connsiteY5" fmla="*/ 609600 h 4076700"/>
              <a:gd name="connsiteX6" fmla="*/ 2820829 w 2889409"/>
              <a:gd name="connsiteY6" fmla="*/ 746760 h 4076700"/>
              <a:gd name="connsiteX7" fmla="*/ 2691289 w 2889409"/>
              <a:gd name="connsiteY7" fmla="*/ 830580 h 4076700"/>
              <a:gd name="connsiteX8" fmla="*/ 2630329 w 2889409"/>
              <a:gd name="connsiteY8" fmla="*/ 906780 h 4076700"/>
              <a:gd name="connsiteX9" fmla="*/ 2607469 w 2889409"/>
              <a:gd name="connsiteY9" fmla="*/ 1005840 h 4076700"/>
              <a:gd name="connsiteX10" fmla="*/ 2622709 w 2889409"/>
              <a:gd name="connsiteY10" fmla="*/ 1196340 h 4076700"/>
              <a:gd name="connsiteX11" fmla="*/ 2622709 w 2889409"/>
              <a:gd name="connsiteY11" fmla="*/ 1386840 h 4076700"/>
              <a:gd name="connsiteX12" fmla="*/ 2676049 w 2889409"/>
              <a:gd name="connsiteY12" fmla="*/ 1508760 h 4076700"/>
              <a:gd name="connsiteX13" fmla="*/ 2637949 w 2889409"/>
              <a:gd name="connsiteY13" fmla="*/ 1645920 h 4076700"/>
              <a:gd name="connsiteX14" fmla="*/ 2592229 w 2889409"/>
              <a:gd name="connsiteY14" fmla="*/ 1783080 h 4076700"/>
              <a:gd name="connsiteX15" fmla="*/ 2485549 w 2889409"/>
              <a:gd name="connsiteY15" fmla="*/ 1859280 h 4076700"/>
              <a:gd name="connsiteX16" fmla="*/ 2439829 w 2889409"/>
              <a:gd name="connsiteY16" fmla="*/ 2004060 h 4076700"/>
              <a:gd name="connsiteX17" fmla="*/ 2432209 w 2889409"/>
              <a:gd name="connsiteY17" fmla="*/ 2179320 h 4076700"/>
              <a:gd name="connsiteX18" fmla="*/ 2363629 w 2889409"/>
              <a:gd name="connsiteY18" fmla="*/ 2354580 h 4076700"/>
              <a:gd name="connsiteX19" fmla="*/ 2279809 w 2889409"/>
              <a:gd name="connsiteY19" fmla="*/ 2438400 h 4076700"/>
              <a:gd name="connsiteX20" fmla="*/ 2256949 w 2889409"/>
              <a:gd name="connsiteY20" fmla="*/ 2606040 h 4076700"/>
              <a:gd name="connsiteX21" fmla="*/ 2173129 w 2889409"/>
              <a:gd name="connsiteY21" fmla="*/ 2758440 h 4076700"/>
              <a:gd name="connsiteX22" fmla="*/ 2119789 w 2889409"/>
              <a:gd name="connsiteY22" fmla="*/ 2979420 h 4076700"/>
              <a:gd name="connsiteX23" fmla="*/ 2074069 w 2889409"/>
              <a:gd name="connsiteY23" fmla="*/ 3162300 h 4076700"/>
              <a:gd name="connsiteX24" fmla="*/ 2074069 w 2889409"/>
              <a:gd name="connsiteY24" fmla="*/ 3413760 h 4076700"/>
              <a:gd name="connsiteX25" fmla="*/ 1906429 w 2889409"/>
              <a:gd name="connsiteY25" fmla="*/ 3482340 h 4076700"/>
              <a:gd name="connsiteX26" fmla="*/ 1708309 w 2889409"/>
              <a:gd name="connsiteY26" fmla="*/ 3528060 h 4076700"/>
              <a:gd name="connsiteX27" fmla="*/ 1594009 w 2889409"/>
              <a:gd name="connsiteY27" fmla="*/ 3627120 h 4076700"/>
              <a:gd name="connsiteX28" fmla="*/ 1418749 w 2889409"/>
              <a:gd name="connsiteY28" fmla="*/ 3848100 h 4076700"/>
              <a:gd name="connsiteX29" fmla="*/ 1213009 w 2889409"/>
              <a:gd name="connsiteY29" fmla="*/ 3909060 h 4076700"/>
              <a:gd name="connsiteX30" fmla="*/ 953929 w 2889409"/>
              <a:gd name="connsiteY30" fmla="*/ 3901440 h 4076700"/>
              <a:gd name="connsiteX31" fmla="*/ 664369 w 2889409"/>
              <a:gd name="connsiteY31" fmla="*/ 4076700 h 4076700"/>
              <a:gd name="connsiteX32" fmla="*/ 443389 w 2889409"/>
              <a:gd name="connsiteY32" fmla="*/ 4076700 h 4076700"/>
              <a:gd name="connsiteX33" fmla="*/ 268129 w 2889409"/>
              <a:gd name="connsiteY33" fmla="*/ 4038600 h 4076700"/>
              <a:gd name="connsiteX34" fmla="*/ 108109 w 2889409"/>
              <a:gd name="connsiteY34" fmla="*/ 4030980 h 4076700"/>
              <a:gd name="connsiteX35" fmla="*/ 0 w 2889409"/>
              <a:gd name="connsiteY35" fmla="*/ 3978117 h 407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2889409" h="4076700">
                <a:moveTo>
                  <a:pt x="2668429" y="0"/>
                </a:moveTo>
                <a:lnTo>
                  <a:pt x="2767489" y="144780"/>
                </a:lnTo>
                <a:lnTo>
                  <a:pt x="2858929" y="312420"/>
                </a:lnTo>
                <a:lnTo>
                  <a:pt x="2851309" y="403860"/>
                </a:lnTo>
                <a:lnTo>
                  <a:pt x="2889409" y="510540"/>
                </a:lnTo>
                <a:lnTo>
                  <a:pt x="2851309" y="609600"/>
                </a:lnTo>
                <a:lnTo>
                  <a:pt x="2820829" y="746760"/>
                </a:lnTo>
                <a:lnTo>
                  <a:pt x="2691289" y="830580"/>
                </a:lnTo>
                <a:lnTo>
                  <a:pt x="2630329" y="906780"/>
                </a:lnTo>
                <a:lnTo>
                  <a:pt x="2607469" y="1005840"/>
                </a:lnTo>
                <a:lnTo>
                  <a:pt x="2622709" y="1196340"/>
                </a:lnTo>
                <a:lnTo>
                  <a:pt x="2622709" y="1386840"/>
                </a:lnTo>
                <a:lnTo>
                  <a:pt x="2676049" y="1508760"/>
                </a:lnTo>
                <a:lnTo>
                  <a:pt x="2637949" y="1645920"/>
                </a:lnTo>
                <a:lnTo>
                  <a:pt x="2592229" y="1783080"/>
                </a:lnTo>
                <a:lnTo>
                  <a:pt x="2485549" y="1859280"/>
                </a:lnTo>
                <a:lnTo>
                  <a:pt x="2439829" y="2004060"/>
                </a:lnTo>
                <a:lnTo>
                  <a:pt x="2432209" y="2179320"/>
                </a:lnTo>
                <a:lnTo>
                  <a:pt x="2363629" y="2354580"/>
                </a:lnTo>
                <a:lnTo>
                  <a:pt x="2279809" y="2438400"/>
                </a:lnTo>
                <a:lnTo>
                  <a:pt x="2256949" y="2606040"/>
                </a:lnTo>
                <a:lnTo>
                  <a:pt x="2173129" y="2758440"/>
                </a:lnTo>
                <a:lnTo>
                  <a:pt x="2119789" y="2979420"/>
                </a:lnTo>
                <a:lnTo>
                  <a:pt x="2074069" y="3162300"/>
                </a:lnTo>
                <a:lnTo>
                  <a:pt x="2074069" y="3413760"/>
                </a:lnTo>
                <a:lnTo>
                  <a:pt x="1906429" y="3482340"/>
                </a:lnTo>
                <a:lnTo>
                  <a:pt x="1708309" y="3528060"/>
                </a:lnTo>
                <a:lnTo>
                  <a:pt x="1594009" y="3627120"/>
                </a:lnTo>
                <a:lnTo>
                  <a:pt x="1418749" y="3848100"/>
                </a:lnTo>
                <a:lnTo>
                  <a:pt x="1213009" y="3909060"/>
                </a:lnTo>
                <a:lnTo>
                  <a:pt x="953929" y="3901440"/>
                </a:lnTo>
                <a:lnTo>
                  <a:pt x="664369" y="4076700"/>
                </a:lnTo>
                <a:lnTo>
                  <a:pt x="443389" y="4076700"/>
                </a:lnTo>
                <a:lnTo>
                  <a:pt x="268129" y="4038600"/>
                </a:lnTo>
                <a:lnTo>
                  <a:pt x="108109" y="4030980"/>
                </a:lnTo>
                <a:cubicBezTo>
                  <a:pt x="77629" y="4015740"/>
                  <a:pt x="30480" y="3993357"/>
                  <a:pt x="0" y="3978117"/>
                </a:cubicBezTo>
              </a:path>
            </a:pathLst>
          </a:custGeom>
          <a:noFill/>
          <a:ln w="19050">
            <a:solidFill>
              <a:srgbClr val="0084A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reeform 8"/>
          <p:cNvSpPr/>
          <p:nvPr/>
        </p:nvSpPr>
        <p:spPr bwMode="auto">
          <a:xfrm>
            <a:off x="2797226" y="423113"/>
            <a:ext cx="340759" cy="852137"/>
          </a:xfrm>
          <a:custGeom>
            <a:avLst/>
            <a:gdLst>
              <a:gd name="connsiteX0" fmla="*/ 0 w 561860"/>
              <a:gd name="connsiteY0" fmla="*/ 0 h 1421176"/>
              <a:gd name="connsiteX1" fmla="*/ 55084 w 561860"/>
              <a:gd name="connsiteY1" fmla="*/ 88135 h 1421176"/>
              <a:gd name="connsiteX2" fmla="*/ 99152 w 561860"/>
              <a:gd name="connsiteY2" fmla="*/ 330506 h 1421176"/>
              <a:gd name="connsiteX3" fmla="*/ 187287 w 561860"/>
              <a:gd name="connsiteY3" fmla="*/ 418641 h 1421176"/>
              <a:gd name="connsiteX4" fmla="*/ 330506 w 561860"/>
              <a:gd name="connsiteY4" fmla="*/ 605928 h 1421176"/>
              <a:gd name="connsiteX5" fmla="*/ 363557 w 561860"/>
              <a:gd name="connsiteY5" fmla="*/ 826265 h 1421176"/>
              <a:gd name="connsiteX6" fmla="*/ 462708 w 561860"/>
              <a:gd name="connsiteY6" fmla="*/ 947451 h 1421176"/>
              <a:gd name="connsiteX7" fmla="*/ 506776 w 561860"/>
              <a:gd name="connsiteY7" fmla="*/ 1156771 h 1421176"/>
              <a:gd name="connsiteX8" fmla="*/ 484742 w 561860"/>
              <a:gd name="connsiteY8" fmla="*/ 1322024 h 1421176"/>
              <a:gd name="connsiteX9" fmla="*/ 484742 w 561860"/>
              <a:gd name="connsiteY9" fmla="*/ 1322024 h 1421176"/>
              <a:gd name="connsiteX10" fmla="*/ 561860 w 561860"/>
              <a:gd name="connsiteY10" fmla="*/ 1421176 h 1421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1860" h="1421176">
                <a:moveTo>
                  <a:pt x="0" y="0"/>
                </a:moveTo>
                <a:lnTo>
                  <a:pt x="55084" y="88135"/>
                </a:lnTo>
                <a:lnTo>
                  <a:pt x="99152" y="330506"/>
                </a:lnTo>
                <a:lnTo>
                  <a:pt x="187287" y="418641"/>
                </a:lnTo>
                <a:lnTo>
                  <a:pt x="330506" y="605928"/>
                </a:lnTo>
                <a:lnTo>
                  <a:pt x="363557" y="826265"/>
                </a:lnTo>
                <a:lnTo>
                  <a:pt x="462708" y="947451"/>
                </a:lnTo>
                <a:lnTo>
                  <a:pt x="506776" y="1156771"/>
                </a:lnTo>
                <a:lnTo>
                  <a:pt x="484742" y="1322024"/>
                </a:lnTo>
                <a:lnTo>
                  <a:pt x="484742" y="1322024"/>
                </a:lnTo>
                <a:lnTo>
                  <a:pt x="561860" y="1421176"/>
                </a:ln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9"/>
          <p:cNvSpPr/>
          <p:nvPr/>
        </p:nvSpPr>
        <p:spPr bwMode="auto">
          <a:xfrm>
            <a:off x="3077851" y="1361123"/>
            <a:ext cx="868601" cy="284045"/>
          </a:xfrm>
          <a:custGeom>
            <a:avLst/>
            <a:gdLst>
              <a:gd name="connsiteX0" fmla="*/ 0 w 1432193"/>
              <a:gd name="connsiteY0" fmla="*/ 0 h 473726"/>
              <a:gd name="connsiteX1" fmla="*/ 165253 w 1432193"/>
              <a:gd name="connsiteY1" fmla="*/ 0 h 473726"/>
              <a:gd name="connsiteX2" fmla="*/ 198304 w 1432193"/>
              <a:gd name="connsiteY2" fmla="*/ 132203 h 473726"/>
              <a:gd name="connsiteX3" fmla="*/ 253388 w 1432193"/>
              <a:gd name="connsiteY3" fmla="*/ 253388 h 473726"/>
              <a:gd name="connsiteX4" fmla="*/ 418641 w 1432193"/>
              <a:gd name="connsiteY4" fmla="*/ 286439 h 473726"/>
              <a:gd name="connsiteX5" fmla="*/ 616945 w 1432193"/>
              <a:gd name="connsiteY5" fmla="*/ 253388 h 473726"/>
              <a:gd name="connsiteX6" fmla="*/ 771181 w 1432193"/>
              <a:gd name="connsiteY6" fmla="*/ 319490 h 473726"/>
              <a:gd name="connsiteX7" fmla="*/ 815249 w 1432193"/>
              <a:gd name="connsiteY7" fmla="*/ 418641 h 473726"/>
              <a:gd name="connsiteX8" fmla="*/ 1002535 w 1432193"/>
              <a:gd name="connsiteY8" fmla="*/ 451692 h 473726"/>
              <a:gd name="connsiteX9" fmla="*/ 1112704 w 1432193"/>
              <a:gd name="connsiteY9" fmla="*/ 341523 h 473726"/>
              <a:gd name="connsiteX10" fmla="*/ 1255923 w 1432193"/>
              <a:gd name="connsiteY10" fmla="*/ 341523 h 473726"/>
              <a:gd name="connsiteX11" fmla="*/ 1333041 w 1432193"/>
              <a:gd name="connsiteY11" fmla="*/ 396608 h 473726"/>
              <a:gd name="connsiteX12" fmla="*/ 1432193 w 1432193"/>
              <a:gd name="connsiteY12" fmla="*/ 473726 h 473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32193" h="473726">
                <a:moveTo>
                  <a:pt x="0" y="0"/>
                </a:moveTo>
                <a:lnTo>
                  <a:pt x="165253" y="0"/>
                </a:lnTo>
                <a:lnTo>
                  <a:pt x="198304" y="132203"/>
                </a:lnTo>
                <a:lnTo>
                  <a:pt x="253388" y="253388"/>
                </a:lnTo>
                <a:lnTo>
                  <a:pt x="418641" y="286439"/>
                </a:lnTo>
                <a:lnTo>
                  <a:pt x="616945" y="253388"/>
                </a:lnTo>
                <a:lnTo>
                  <a:pt x="771181" y="319490"/>
                </a:lnTo>
                <a:lnTo>
                  <a:pt x="815249" y="418641"/>
                </a:lnTo>
                <a:lnTo>
                  <a:pt x="1002535" y="451692"/>
                </a:lnTo>
                <a:lnTo>
                  <a:pt x="1112704" y="341523"/>
                </a:lnTo>
                <a:lnTo>
                  <a:pt x="1255923" y="341523"/>
                </a:lnTo>
                <a:lnTo>
                  <a:pt x="1333041" y="396608"/>
                </a:lnTo>
                <a:lnTo>
                  <a:pt x="1432193" y="473726"/>
                </a:ln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Freeform 10"/>
          <p:cNvSpPr/>
          <p:nvPr/>
        </p:nvSpPr>
        <p:spPr bwMode="auto">
          <a:xfrm>
            <a:off x="90252" y="4864189"/>
            <a:ext cx="568433" cy="909222"/>
          </a:xfrm>
          <a:custGeom>
            <a:avLst/>
            <a:gdLst>
              <a:gd name="connsiteX0" fmla="*/ 937260 w 937260"/>
              <a:gd name="connsiteY0" fmla="*/ 1516380 h 1516380"/>
              <a:gd name="connsiteX1" fmla="*/ 784860 w 937260"/>
              <a:gd name="connsiteY1" fmla="*/ 1478280 h 1516380"/>
              <a:gd name="connsiteX2" fmla="*/ 640080 w 937260"/>
              <a:gd name="connsiteY2" fmla="*/ 1371600 h 1516380"/>
              <a:gd name="connsiteX3" fmla="*/ 563880 w 937260"/>
              <a:gd name="connsiteY3" fmla="*/ 1242060 h 1516380"/>
              <a:gd name="connsiteX4" fmla="*/ 533400 w 937260"/>
              <a:gd name="connsiteY4" fmla="*/ 1051560 h 1516380"/>
              <a:gd name="connsiteX5" fmla="*/ 487680 w 937260"/>
              <a:gd name="connsiteY5" fmla="*/ 929640 h 1516380"/>
              <a:gd name="connsiteX6" fmla="*/ 320040 w 937260"/>
              <a:gd name="connsiteY6" fmla="*/ 777240 h 1516380"/>
              <a:gd name="connsiteX7" fmla="*/ 411480 w 937260"/>
              <a:gd name="connsiteY7" fmla="*/ 655320 h 1516380"/>
              <a:gd name="connsiteX8" fmla="*/ 327660 w 937260"/>
              <a:gd name="connsiteY8" fmla="*/ 594360 h 1516380"/>
              <a:gd name="connsiteX9" fmla="*/ 152400 w 937260"/>
              <a:gd name="connsiteY9" fmla="*/ 541020 h 1516380"/>
              <a:gd name="connsiteX10" fmla="*/ 152400 w 937260"/>
              <a:gd name="connsiteY10" fmla="*/ 441960 h 1516380"/>
              <a:gd name="connsiteX11" fmla="*/ 281940 w 937260"/>
              <a:gd name="connsiteY11" fmla="*/ 365760 h 1516380"/>
              <a:gd name="connsiteX12" fmla="*/ 304800 w 937260"/>
              <a:gd name="connsiteY12" fmla="*/ 190500 h 1516380"/>
              <a:gd name="connsiteX13" fmla="*/ 167640 w 937260"/>
              <a:gd name="connsiteY13" fmla="*/ 152400 h 1516380"/>
              <a:gd name="connsiteX14" fmla="*/ 99060 w 937260"/>
              <a:gd name="connsiteY14" fmla="*/ 38100 h 1516380"/>
              <a:gd name="connsiteX15" fmla="*/ 68580 w 937260"/>
              <a:gd name="connsiteY15" fmla="*/ 15240 h 1516380"/>
              <a:gd name="connsiteX16" fmla="*/ 0 w 937260"/>
              <a:gd name="connsiteY16" fmla="*/ 0 h 1516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37260" h="1516380">
                <a:moveTo>
                  <a:pt x="937260" y="1516380"/>
                </a:moveTo>
                <a:lnTo>
                  <a:pt x="784860" y="1478280"/>
                </a:lnTo>
                <a:lnTo>
                  <a:pt x="640080" y="1371600"/>
                </a:lnTo>
                <a:lnTo>
                  <a:pt x="563880" y="1242060"/>
                </a:lnTo>
                <a:lnTo>
                  <a:pt x="533400" y="1051560"/>
                </a:lnTo>
                <a:lnTo>
                  <a:pt x="487680" y="929640"/>
                </a:lnTo>
                <a:lnTo>
                  <a:pt x="320040" y="777240"/>
                </a:lnTo>
                <a:lnTo>
                  <a:pt x="411480" y="655320"/>
                </a:lnTo>
                <a:lnTo>
                  <a:pt x="327660" y="594360"/>
                </a:lnTo>
                <a:lnTo>
                  <a:pt x="152400" y="541020"/>
                </a:lnTo>
                <a:lnTo>
                  <a:pt x="152400" y="441960"/>
                </a:lnTo>
                <a:lnTo>
                  <a:pt x="281940" y="365760"/>
                </a:lnTo>
                <a:lnTo>
                  <a:pt x="304800" y="190500"/>
                </a:lnTo>
                <a:lnTo>
                  <a:pt x="167640" y="152400"/>
                </a:lnTo>
                <a:lnTo>
                  <a:pt x="99060" y="38100"/>
                </a:lnTo>
                <a:lnTo>
                  <a:pt x="68580" y="15240"/>
                </a:lnTo>
                <a:lnTo>
                  <a:pt x="0" y="0"/>
                </a:ln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Freeform 35"/>
          <p:cNvSpPr/>
          <p:nvPr/>
        </p:nvSpPr>
        <p:spPr bwMode="auto">
          <a:xfrm>
            <a:off x="1049008" y="-33725"/>
            <a:ext cx="4912222" cy="4871470"/>
          </a:xfrm>
          <a:custGeom>
            <a:avLst/>
            <a:gdLst>
              <a:gd name="connsiteX0" fmla="*/ 0 w 2803525"/>
              <a:gd name="connsiteY0" fmla="*/ 2651125 h 2651125"/>
              <a:gd name="connsiteX1" fmla="*/ 44450 w 2803525"/>
              <a:gd name="connsiteY1" fmla="*/ 2616200 h 2651125"/>
              <a:gd name="connsiteX2" fmla="*/ 22225 w 2803525"/>
              <a:gd name="connsiteY2" fmla="*/ 2574925 h 2651125"/>
              <a:gd name="connsiteX3" fmla="*/ 50800 w 2803525"/>
              <a:gd name="connsiteY3" fmla="*/ 2549525 h 2651125"/>
              <a:gd name="connsiteX4" fmla="*/ 50800 w 2803525"/>
              <a:gd name="connsiteY4" fmla="*/ 2441575 h 2651125"/>
              <a:gd name="connsiteX5" fmla="*/ 79375 w 2803525"/>
              <a:gd name="connsiteY5" fmla="*/ 2422525 h 2651125"/>
              <a:gd name="connsiteX6" fmla="*/ 92075 w 2803525"/>
              <a:gd name="connsiteY6" fmla="*/ 2362200 h 2651125"/>
              <a:gd name="connsiteX7" fmla="*/ 107950 w 2803525"/>
              <a:gd name="connsiteY7" fmla="*/ 2343150 h 2651125"/>
              <a:gd name="connsiteX8" fmla="*/ 152400 w 2803525"/>
              <a:gd name="connsiteY8" fmla="*/ 2324100 h 2651125"/>
              <a:gd name="connsiteX9" fmla="*/ 152400 w 2803525"/>
              <a:gd name="connsiteY9" fmla="*/ 2298700 h 2651125"/>
              <a:gd name="connsiteX10" fmla="*/ 215900 w 2803525"/>
              <a:gd name="connsiteY10" fmla="*/ 2324100 h 2651125"/>
              <a:gd name="connsiteX11" fmla="*/ 295275 w 2803525"/>
              <a:gd name="connsiteY11" fmla="*/ 2317750 h 2651125"/>
              <a:gd name="connsiteX12" fmla="*/ 330200 w 2803525"/>
              <a:gd name="connsiteY12" fmla="*/ 2327275 h 2651125"/>
              <a:gd name="connsiteX13" fmla="*/ 314325 w 2803525"/>
              <a:gd name="connsiteY13" fmla="*/ 2254250 h 2651125"/>
              <a:gd name="connsiteX14" fmla="*/ 307975 w 2803525"/>
              <a:gd name="connsiteY14" fmla="*/ 2155825 h 2651125"/>
              <a:gd name="connsiteX15" fmla="*/ 330200 w 2803525"/>
              <a:gd name="connsiteY15" fmla="*/ 2108200 h 2651125"/>
              <a:gd name="connsiteX16" fmla="*/ 377825 w 2803525"/>
              <a:gd name="connsiteY16" fmla="*/ 2098675 h 2651125"/>
              <a:gd name="connsiteX17" fmla="*/ 447675 w 2803525"/>
              <a:gd name="connsiteY17" fmla="*/ 2076450 h 2651125"/>
              <a:gd name="connsiteX18" fmla="*/ 511175 w 2803525"/>
              <a:gd name="connsiteY18" fmla="*/ 2019300 h 2651125"/>
              <a:gd name="connsiteX19" fmla="*/ 542925 w 2803525"/>
              <a:gd name="connsiteY19" fmla="*/ 2003425 h 2651125"/>
              <a:gd name="connsiteX20" fmla="*/ 635000 w 2803525"/>
              <a:gd name="connsiteY20" fmla="*/ 2019300 h 2651125"/>
              <a:gd name="connsiteX21" fmla="*/ 736600 w 2803525"/>
              <a:gd name="connsiteY21" fmla="*/ 2019300 h 2651125"/>
              <a:gd name="connsiteX22" fmla="*/ 749300 w 2803525"/>
              <a:gd name="connsiteY22" fmla="*/ 1993900 h 2651125"/>
              <a:gd name="connsiteX23" fmla="*/ 752475 w 2803525"/>
              <a:gd name="connsiteY23" fmla="*/ 1971675 h 2651125"/>
              <a:gd name="connsiteX24" fmla="*/ 774700 w 2803525"/>
              <a:gd name="connsiteY24" fmla="*/ 1958975 h 2651125"/>
              <a:gd name="connsiteX25" fmla="*/ 793750 w 2803525"/>
              <a:gd name="connsiteY25" fmla="*/ 1930400 h 2651125"/>
              <a:gd name="connsiteX26" fmla="*/ 854075 w 2803525"/>
              <a:gd name="connsiteY26" fmla="*/ 1895475 h 2651125"/>
              <a:gd name="connsiteX27" fmla="*/ 917575 w 2803525"/>
              <a:gd name="connsiteY27" fmla="*/ 1816100 h 2651125"/>
              <a:gd name="connsiteX28" fmla="*/ 936625 w 2803525"/>
              <a:gd name="connsiteY28" fmla="*/ 1781175 h 2651125"/>
              <a:gd name="connsiteX29" fmla="*/ 920750 w 2803525"/>
              <a:gd name="connsiteY29" fmla="*/ 1714500 h 2651125"/>
              <a:gd name="connsiteX30" fmla="*/ 923925 w 2803525"/>
              <a:gd name="connsiteY30" fmla="*/ 1679575 h 2651125"/>
              <a:gd name="connsiteX31" fmla="*/ 962025 w 2803525"/>
              <a:gd name="connsiteY31" fmla="*/ 1635125 h 2651125"/>
              <a:gd name="connsiteX32" fmla="*/ 955675 w 2803525"/>
              <a:gd name="connsiteY32" fmla="*/ 1616075 h 2651125"/>
              <a:gd name="connsiteX33" fmla="*/ 920750 w 2803525"/>
              <a:gd name="connsiteY33" fmla="*/ 1590675 h 2651125"/>
              <a:gd name="connsiteX34" fmla="*/ 914400 w 2803525"/>
              <a:gd name="connsiteY34" fmla="*/ 1530350 h 2651125"/>
              <a:gd name="connsiteX35" fmla="*/ 908050 w 2803525"/>
              <a:gd name="connsiteY35" fmla="*/ 1482725 h 2651125"/>
              <a:gd name="connsiteX36" fmla="*/ 949325 w 2803525"/>
              <a:gd name="connsiteY36" fmla="*/ 1428750 h 2651125"/>
              <a:gd name="connsiteX37" fmla="*/ 949325 w 2803525"/>
              <a:gd name="connsiteY37" fmla="*/ 1403350 h 2651125"/>
              <a:gd name="connsiteX38" fmla="*/ 920750 w 2803525"/>
              <a:gd name="connsiteY38" fmla="*/ 1403350 h 2651125"/>
              <a:gd name="connsiteX39" fmla="*/ 898525 w 2803525"/>
              <a:gd name="connsiteY39" fmla="*/ 1400175 h 2651125"/>
              <a:gd name="connsiteX40" fmla="*/ 876300 w 2803525"/>
              <a:gd name="connsiteY40" fmla="*/ 1381125 h 2651125"/>
              <a:gd name="connsiteX41" fmla="*/ 885825 w 2803525"/>
              <a:gd name="connsiteY41" fmla="*/ 1355725 h 2651125"/>
              <a:gd name="connsiteX42" fmla="*/ 908050 w 2803525"/>
              <a:gd name="connsiteY42" fmla="*/ 1330325 h 2651125"/>
              <a:gd name="connsiteX43" fmla="*/ 904875 w 2803525"/>
              <a:gd name="connsiteY43" fmla="*/ 1301750 h 2651125"/>
              <a:gd name="connsiteX44" fmla="*/ 879475 w 2803525"/>
              <a:gd name="connsiteY44" fmla="*/ 1260475 h 2651125"/>
              <a:gd name="connsiteX45" fmla="*/ 895350 w 2803525"/>
              <a:gd name="connsiteY45" fmla="*/ 1235075 h 2651125"/>
              <a:gd name="connsiteX46" fmla="*/ 920750 w 2803525"/>
              <a:gd name="connsiteY46" fmla="*/ 1203325 h 2651125"/>
              <a:gd name="connsiteX47" fmla="*/ 908050 w 2803525"/>
              <a:gd name="connsiteY47" fmla="*/ 1149350 h 2651125"/>
              <a:gd name="connsiteX48" fmla="*/ 936625 w 2803525"/>
              <a:gd name="connsiteY48" fmla="*/ 1082675 h 2651125"/>
              <a:gd name="connsiteX49" fmla="*/ 971550 w 2803525"/>
              <a:gd name="connsiteY49" fmla="*/ 1063625 h 2651125"/>
              <a:gd name="connsiteX50" fmla="*/ 1025525 w 2803525"/>
              <a:gd name="connsiteY50" fmla="*/ 1063625 h 2651125"/>
              <a:gd name="connsiteX51" fmla="*/ 1050925 w 2803525"/>
              <a:gd name="connsiteY51" fmla="*/ 1035050 h 2651125"/>
              <a:gd name="connsiteX52" fmla="*/ 1069975 w 2803525"/>
              <a:gd name="connsiteY52" fmla="*/ 1009650 h 2651125"/>
              <a:gd name="connsiteX53" fmla="*/ 1092200 w 2803525"/>
              <a:gd name="connsiteY53" fmla="*/ 996950 h 2651125"/>
              <a:gd name="connsiteX54" fmla="*/ 1108075 w 2803525"/>
              <a:gd name="connsiteY54" fmla="*/ 990600 h 2651125"/>
              <a:gd name="connsiteX55" fmla="*/ 1079500 w 2803525"/>
              <a:gd name="connsiteY55" fmla="*/ 962025 h 2651125"/>
              <a:gd name="connsiteX56" fmla="*/ 1044575 w 2803525"/>
              <a:gd name="connsiteY56" fmla="*/ 946150 h 2651125"/>
              <a:gd name="connsiteX57" fmla="*/ 1019175 w 2803525"/>
              <a:gd name="connsiteY57" fmla="*/ 930275 h 2651125"/>
              <a:gd name="connsiteX58" fmla="*/ 968375 w 2803525"/>
              <a:gd name="connsiteY58" fmla="*/ 930275 h 2651125"/>
              <a:gd name="connsiteX59" fmla="*/ 968375 w 2803525"/>
              <a:gd name="connsiteY59" fmla="*/ 930275 h 2651125"/>
              <a:gd name="connsiteX60" fmla="*/ 984250 w 2803525"/>
              <a:gd name="connsiteY60" fmla="*/ 850900 h 2651125"/>
              <a:gd name="connsiteX61" fmla="*/ 1012825 w 2803525"/>
              <a:gd name="connsiteY61" fmla="*/ 800100 h 2651125"/>
              <a:gd name="connsiteX62" fmla="*/ 1009650 w 2803525"/>
              <a:gd name="connsiteY62" fmla="*/ 777875 h 2651125"/>
              <a:gd name="connsiteX63" fmla="*/ 993775 w 2803525"/>
              <a:gd name="connsiteY63" fmla="*/ 755650 h 2651125"/>
              <a:gd name="connsiteX64" fmla="*/ 993775 w 2803525"/>
              <a:gd name="connsiteY64" fmla="*/ 755650 h 2651125"/>
              <a:gd name="connsiteX65" fmla="*/ 1009650 w 2803525"/>
              <a:gd name="connsiteY65" fmla="*/ 736600 h 2651125"/>
              <a:gd name="connsiteX66" fmla="*/ 1041400 w 2803525"/>
              <a:gd name="connsiteY66" fmla="*/ 736600 h 2651125"/>
              <a:gd name="connsiteX67" fmla="*/ 1082675 w 2803525"/>
              <a:gd name="connsiteY67" fmla="*/ 698500 h 2651125"/>
              <a:gd name="connsiteX68" fmla="*/ 1108075 w 2803525"/>
              <a:gd name="connsiteY68" fmla="*/ 663575 h 2651125"/>
              <a:gd name="connsiteX69" fmla="*/ 1193800 w 2803525"/>
              <a:gd name="connsiteY69" fmla="*/ 606425 h 2651125"/>
              <a:gd name="connsiteX70" fmla="*/ 1228725 w 2803525"/>
              <a:gd name="connsiteY70" fmla="*/ 568325 h 2651125"/>
              <a:gd name="connsiteX71" fmla="*/ 1244600 w 2803525"/>
              <a:gd name="connsiteY71" fmla="*/ 517525 h 2651125"/>
              <a:gd name="connsiteX72" fmla="*/ 1311275 w 2803525"/>
              <a:gd name="connsiteY72" fmla="*/ 485775 h 2651125"/>
              <a:gd name="connsiteX73" fmla="*/ 1327150 w 2803525"/>
              <a:gd name="connsiteY73" fmla="*/ 457200 h 2651125"/>
              <a:gd name="connsiteX74" fmla="*/ 1323975 w 2803525"/>
              <a:gd name="connsiteY74" fmla="*/ 419100 h 2651125"/>
              <a:gd name="connsiteX75" fmla="*/ 1292225 w 2803525"/>
              <a:gd name="connsiteY75" fmla="*/ 396875 h 2651125"/>
              <a:gd name="connsiteX76" fmla="*/ 1304925 w 2803525"/>
              <a:gd name="connsiteY76" fmla="*/ 365125 h 2651125"/>
              <a:gd name="connsiteX77" fmla="*/ 1308100 w 2803525"/>
              <a:gd name="connsiteY77" fmla="*/ 292100 h 2651125"/>
              <a:gd name="connsiteX78" fmla="*/ 1327150 w 2803525"/>
              <a:gd name="connsiteY78" fmla="*/ 279400 h 2651125"/>
              <a:gd name="connsiteX79" fmla="*/ 1314450 w 2803525"/>
              <a:gd name="connsiteY79" fmla="*/ 254000 h 2651125"/>
              <a:gd name="connsiteX80" fmla="*/ 1323975 w 2803525"/>
              <a:gd name="connsiteY80" fmla="*/ 231775 h 2651125"/>
              <a:gd name="connsiteX81" fmla="*/ 1358900 w 2803525"/>
              <a:gd name="connsiteY81" fmla="*/ 200025 h 2651125"/>
              <a:gd name="connsiteX82" fmla="*/ 1374775 w 2803525"/>
              <a:gd name="connsiteY82" fmla="*/ 187325 h 2651125"/>
              <a:gd name="connsiteX83" fmla="*/ 1412875 w 2803525"/>
              <a:gd name="connsiteY83" fmla="*/ 177800 h 2651125"/>
              <a:gd name="connsiteX84" fmla="*/ 1428750 w 2803525"/>
              <a:gd name="connsiteY84" fmla="*/ 136525 h 2651125"/>
              <a:gd name="connsiteX85" fmla="*/ 1514475 w 2803525"/>
              <a:gd name="connsiteY85" fmla="*/ 130175 h 2651125"/>
              <a:gd name="connsiteX86" fmla="*/ 1558925 w 2803525"/>
              <a:gd name="connsiteY86" fmla="*/ 111125 h 2651125"/>
              <a:gd name="connsiteX87" fmla="*/ 1584325 w 2803525"/>
              <a:gd name="connsiteY87" fmla="*/ 130175 h 2651125"/>
              <a:gd name="connsiteX88" fmla="*/ 1660525 w 2803525"/>
              <a:gd name="connsiteY88" fmla="*/ 117475 h 2651125"/>
              <a:gd name="connsiteX89" fmla="*/ 1758950 w 2803525"/>
              <a:gd name="connsiteY89" fmla="*/ 114300 h 2651125"/>
              <a:gd name="connsiteX90" fmla="*/ 1831975 w 2803525"/>
              <a:gd name="connsiteY90" fmla="*/ 123825 h 2651125"/>
              <a:gd name="connsiteX91" fmla="*/ 1924050 w 2803525"/>
              <a:gd name="connsiteY91" fmla="*/ 155575 h 2651125"/>
              <a:gd name="connsiteX92" fmla="*/ 2016125 w 2803525"/>
              <a:gd name="connsiteY92" fmla="*/ 177800 h 2651125"/>
              <a:gd name="connsiteX93" fmla="*/ 2073275 w 2803525"/>
              <a:gd name="connsiteY93" fmla="*/ 171450 h 2651125"/>
              <a:gd name="connsiteX94" fmla="*/ 2120900 w 2803525"/>
              <a:gd name="connsiteY94" fmla="*/ 219075 h 2651125"/>
              <a:gd name="connsiteX95" fmla="*/ 2165350 w 2803525"/>
              <a:gd name="connsiteY95" fmla="*/ 231775 h 2651125"/>
              <a:gd name="connsiteX96" fmla="*/ 2206625 w 2803525"/>
              <a:gd name="connsiteY96" fmla="*/ 263525 h 2651125"/>
              <a:gd name="connsiteX97" fmla="*/ 2247900 w 2803525"/>
              <a:gd name="connsiteY97" fmla="*/ 244475 h 2651125"/>
              <a:gd name="connsiteX98" fmla="*/ 2311400 w 2803525"/>
              <a:gd name="connsiteY98" fmla="*/ 282575 h 2651125"/>
              <a:gd name="connsiteX99" fmla="*/ 2352675 w 2803525"/>
              <a:gd name="connsiteY99" fmla="*/ 285750 h 2651125"/>
              <a:gd name="connsiteX100" fmla="*/ 2413000 w 2803525"/>
              <a:gd name="connsiteY100" fmla="*/ 250825 h 2651125"/>
              <a:gd name="connsiteX101" fmla="*/ 2441575 w 2803525"/>
              <a:gd name="connsiteY101" fmla="*/ 260350 h 2651125"/>
              <a:gd name="connsiteX102" fmla="*/ 2476500 w 2803525"/>
              <a:gd name="connsiteY102" fmla="*/ 273050 h 2651125"/>
              <a:gd name="connsiteX103" fmla="*/ 2511425 w 2803525"/>
              <a:gd name="connsiteY103" fmla="*/ 263525 h 2651125"/>
              <a:gd name="connsiteX104" fmla="*/ 2574925 w 2803525"/>
              <a:gd name="connsiteY104" fmla="*/ 263525 h 2651125"/>
              <a:gd name="connsiteX105" fmla="*/ 2613025 w 2803525"/>
              <a:gd name="connsiteY105" fmla="*/ 228600 h 2651125"/>
              <a:gd name="connsiteX106" fmla="*/ 2654300 w 2803525"/>
              <a:gd name="connsiteY106" fmla="*/ 187325 h 2651125"/>
              <a:gd name="connsiteX107" fmla="*/ 2695575 w 2803525"/>
              <a:gd name="connsiteY107" fmla="*/ 193675 h 2651125"/>
              <a:gd name="connsiteX108" fmla="*/ 2759075 w 2803525"/>
              <a:gd name="connsiteY108" fmla="*/ 168275 h 2651125"/>
              <a:gd name="connsiteX109" fmla="*/ 2800350 w 2803525"/>
              <a:gd name="connsiteY109" fmla="*/ 136525 h 2651125"/>
              <a:gd name="connsiteX110" fmla="*/ 2787650 w 2803525"/>
              <a:gd name="connsiteY110" fmla="*/ 101600 h 2651125"/>
              <a:gd name="connsiteX111" fmla="*/ 2803525 w 2803525"/>
              <a:gd name="connsiteY111" fmla="*/ 73025 h 2651125"/>
              <a:gd name="connsiteX112" fmla="*/ 2794000 w 2803525"/>
              <a:gd name="connsiteY112" fmla="*/ 22225 h 2651125"/>
              <a:gd name="connsiteX113" fmla="*/ 2771775 w 2803525"/>
              <a:gd name="connsiteY113" fmla="*/ 0 h 2651125"/>
              <a:gd name="connsiteX0" fmla="*/ 0 w 2816452"/>
              <a:gd name="connsiteY0" fmla="*/ 2824146 h 2824146"/>
              <a:gd name="connsiteX1" fmla="*/ 44450 w 2816452"/>
              <a:gd name="connsiteY1" fmla="*/ 2789221 h 2824146"/>
              <a:gd name="connsiteX2" fmla="*/ 22225 w 2816452"/>
              <a:gd name="connsiteY2" fmla="*/ 2747946 h 2824146"/>
              <a:gd name="connsiteX3" fmla="*/ 50800 w 2816452"/>
              <a:gd name="connsiteY3" fmla="*/ 2722546 h 2824146"/>
              <a:gd name="connsiteX4" fmla="*/ 50800 w 2816452"/>
              <a:gd name="connsiteY4" fmla="*/ 2614596 h 2824146"/>
              <a:gd name="connsiteX5" fmla="*/ 79375 w 2816452"/>
              <a:gd name="connsiteY5" fmla="*/ 2595546 h 2824146"/>
              <a:gd name="connsiteX6" fmla="*/ 92075 w 2816452"/>
              <a:gd name="connsiteY6" fmla="*/ 2535221 h 2824146"/>
              <a:gd name="connsiteX7" fmla="*/ 107950 w 2816452"/>
              <a:gd name="connsiteY7" fmla="*/ 2516171 h 2824146"/>
              <a:gd name="connsiteX8" fmla="*/ 152400 w 2816452"/>
              <a:gd name="connsiteY8" fmla="*/ 2497121 h 2824146"/>
              <a:gd name="connsiteX9" fmla="*/ 152400 w 2816452"/>
              <a:gd name="connsiteY9" fmla="*/ 2471721 h 2824146"/>
              <a:gd name="connsiteX10" fmla="*/ 215900 w 2816452"/>
              <a:gd name="connsiteY10" fmla="*/ 2497121 h 2824146"/>
              <a:gd name="connsiteX11" fmla="*/ 295275 w 2816452"/>
              <a:gd name="connsiteY11" fmla="*/ 2490771 h 2824146"/>
              <a:gd name="connsiteX12" fmla="*/ 330200 w 2816452"/>
              <a:gd name="connsiteY12" fmla="*/ 2500296 h 2824146"/>
              <a:gd name="connsiteX13" fmla="*/ 314325 w 2816452"/>
              <a:gd name="connsiteY13" fmla="*/ 2427271 h 2824146"/>
              <a:gd name="connsiteX14" fmla="*/ 307975 w 2816452"/>
              <a:gd name="connsiteY14" fmla="*/ 2328846 h 2824146"/>
              <a:gd name="connsiteX15" fmla="*/ 330200 w 2816452"/>
              <a:gd name="connsiteY15" fmla="*/ 2281221 h 2824146"/>
              <a:gd name="connsiteX16" fmla="*/ 377825 w 2816452"/>
              <a:gd name="connsiteY16" fmla="*/ 2271696 h 2824146"/>
              <a:gd name="connsiteX17" fmla="*/ 447675 w 2816452"/>
              <a:gd name="connsiteY17" fmla="*/ 2249471 h 2824146"/>
              <a:gd name="connsiteX18" fmla="*/ 511175 w 2816452"/>
              <a:gd name="connsiteY18" fmla="*/ 2192321 h 2824146"/>
              <a:gd name="connsiteX19" fmla="*/ 542925 w 2816452"/>
              <a:gd name="connsiteY19" fmla="*/ 2176446 h 2824146"/>
              <a:gd name="connsiteX20" fmla="*/ 635000 w 2816452"/>
              <a:gd name="connsiteY20" fmla="*/ 2192321 h 2824146"/>
              <a:gd name="connsiteX21" fmla="*/ 736600 w 2816452"/>
              <a:gd name="connsiteY21" fmla="*/ 2192321 h 2824146"/>
              <a:gd name="connsiteX22" fmla="*/ 749300 w 2816452"/>
              <a:gd name="connsiteY22" fmla="*/ 2166921 h 2824146"/>
              <a:gd name="connsiteX23" fmla="*/ 752475 w 2816452"/>
              <a:gd name="connsiteY23" fmla="*/ 2144696 h 2824146"/>
              <a:gd name="connsiteX24" fmla="*/ 774700 w 2816452"/>
              <a:gd name="connsiteY24" fmla="*/ 2131996 h 2824146"/>
              <a:gd name="connsiteX25" fmla="*/ 793750 w 2816452"/>
              <a:gd name="connsiteY25" fmla="*/ 2103421 h 2824146"/>
              <a:gd name="connsiteX26" fmla="*/ 854075 w 2816452"/>
              <a:gd name="connsiteY26" fmla="*/ 2068496 h 2824146"/>
              <a:gd name="connsiteX27" fmla="*/ 917575 w 2816452"/>
              <a:gd name="connsiteY27" fmla="*/ 1989121 h 2824146"/>
              <a:gd name="connsiteX28" fmla="*/ 936625 w 2816452"/>
              <a:gd name="connsiteY28" fmla="*/ 1954196 h 2824146"/>
              <a:gd name="connsiteX29" fmla="*/ 920750 w 2816452"/>
              <a:gd name="connsiteY29" fmla="*/ 1887521 h 2824146"/>
              <a:gd name="connsiteX30" fmla="*/ 923925 w 2816452"/>
              <a:gd name="connsiteY30" fmla="*/ 1852596 h 2824146"/>
              <a:gd name="connsiteX31" fmla="*/ 962025 w 2816452"/>
              <a:gd name="connsiteY31" fmla="*/ 1808146 h 2824146"/>
              <a:gd name="connsiteX32" fmla="*/ 955675 w 2816452"/>
              <a:gd name="connsiteY32" fmla="*/ 1789096 h 2824146"/>
              <a:gd name="connsiteX33" fmla="*/ 920750 w 2816452"/>
              <a:gd name="connsiteY33" fmla="*/ 1763696 h 2824146"/>
              <a:gd name="connsiteX34" fmla="*/ 914400 w 2816452"/>
              <a:gd name="connsiteY34" fmla="*/ 1703371 h 2824146"/>
              <a:gd name="connsiteX35" fmla="*/ 908050 w 2816452"/>
              <a:gd name="connsiteY35" fmla="*/ 1655746 h 2824146"/>
              <a:gd name="connsiteX36" fmla="*/ 949325 w 2816452"/>
              <a:gd name="connsiteY36" fmla="*/ 1601771 h 2824146"/>
              <a:gd name="connsiteX37" fmla="*/ 949325 w 2816452"/>
              <a:gd name="connsiteY37" fmla="*/ 1576371 h 2824146"/>
              <a:gd name="connsiteX38" fmla="*/ 920750 w 2816452"/>
              <a:gd name="connsiteY38" fmla="*/ 1576371 h 2824146"/>
              <a:gd name="connsiteX39" fmla="*/ 898525 w 2816452"/>
              <a:gd name="connsiteY39" fmla="*/ 1573196 h 2824146"/>
              <a:gd name="connsiteX40" fmla="*/ 876300 w 2816452"/>
              <a:gd name="connsiteY40" fmla="*/ 1554146 h 2824146"/>
              <a:gd name="connsiteX41" fmla="*/ 885825 w 2816452"/>
              <a:gd name="connsiteY41" fmla="*/ 1528746 h 2824146"/>
              <a:gd name="connsiteX42" fmla="*/ 908050 w 2816452"/>
              <a:gd name="connsiteY42" fmla="*/ 1503346 h 2824146"/>
              <a:gd name="connsiteX43" fmla="*/ 904875 w 2816452"/>
              <a:gd name="connsiteY43" fmla="*/ 1474771 h 2824146"/>
              <a:gd name="connsiteX44" fmla="*/ 879475 w 2816452"/>
              <a:gd name="connsiteY44" fmla="*/ 1433496 h 2824146"/>
              <a:gd name="connsiteX45" fmla="*/ 895350 w 2816452"/>
              <a:gd name="connsiteY45" fmla="*/ 1408096 h 2824146"/>
              <a:gd name="connsiteX46" fmla="*/ 920750 w 2816452"/>
              <a:gd name="connsiteY46" fmla="*/ 1376346 h 2824146"/>
              <a:gd name="connsiteX47" fmla="*/ 908050 w 2816452"/>
              <a:gd name="connsiteY47" fmla="*/ 1322371 h 2824146"/>
              <a:gd name="connsiteX48" fmla="*/ 936625 w 2816452"/>
              <a:gd name="connsiteY48" fmla="*/ 1255696 h 2824146"/>
              <a:gd name="connsiteX49" fmla="*/ 971550 w 2816452"/>
              <a:gd name="connsiteY49" fmla="*/ 1236646 h 2824146"/>
              <a:gd name="connsiteX50" fmla="*/ 1025525 w 2816452"/>
              <a:gd name="connsiteY50" fmla="*/ 1236646 h 2824146"/>
              <a:gd name="connsiteX51" fmla="*/ 1050925 w 2816452"/>
              <a:gd name="connsiteY51" fmla="*/ 1208071 h 2824146"/>
              <a:gd name="connsiteX52" fmla="*/ 1069975 w 2816452"/>
              <a:gd name="connsiteY52" fmla="*/ 1182671 h 2824146"/>
              <a:gd name="connsiteX53" fmla="*/ 1092200 w 2816452"/>
              <a:gd name="connsiteY53" fmla="*/ 1169971 h 2824146"/>
              <a:gd name="connsiteX54" fmla="*/ 1108075 w 2816452"/>
              <a:gd name="connsiteY54" fmla="*/ 1163621 h 2824146"/>
              <a:gd name="connsiteX55" fmla="*/ 1079500 w 2816452"/>
              <a:gd name="connsiteY55" fmla="*/ 1135046 h 2824146"/>
              <a:gd name="connsiteX56" fmla="*/ 1044575 w 2816452"/>
              <a:gd name="connsiteY56" fmla="*/ 1119171 h 2824146"/>
              <a:gd name="connsiteX57" fmla="*/ 1019175 w 2816452"/>
              <a:gd name="connsiteY57" fmla="*/ 1103296 h 2824146"/>
              <a:gd name="connsiteX58" fmla="*/ 968375 w 2816452"/>
              <a:gd name="connsiteY58" fmla="*/ 1103296 h 2824146"/>
              <a:gd name="connsiteX59" fmla="*/ 968375 w 2816452"/>
              <a:gd name="connsiteY59" fmla="*/ 1103296 h 2824146"/>
              <a:gd name="connsiteX60" fmla="*/ 984250 w 2816452"/>
              <a:gd name="connsiteY60" fmla="*/ 1023921 h 2824146"/>
              <a:gd name="connsiteX61" fmla="*/ 1012825 w 2816452"/>
              <a:gd name="connsiteY61" fmla="*/ 973121 h 2824146"/>
              <a:gd name="connsiteX62" fmla="*/ 1009650 w 2816452"/>
              <a:gd name="connsiteY62" fmla="*/ 950896 h 2824146"/>
              <a:gd name="connsiteX63" fmla="*/ 993775 w 2816452"/>
              <a:gd name="connsiteY63" fmla="*/ 928671 h 2824146"/>
              <a:gd name="connsiteX64" fmla="*/ 993775 w 2816452"/>
              <a:gd name="connsiteY64" fmla="*/ 928671 h 2824146"/>
              <a:gd name="connsiteX65" fmla="*/ 1009650 w 2816452"/>
              <a:gd name="connsiteY65" fmla="*/ 909621 h 2824146"/>
              <a:gd name="connsiteX66" fmla="*/ 1041400 w 2816452"/>
              <a:gd name="connsiteY66" fmla="*/ 909621 h 2824146"/>
              <a:gd name="connsiteX67" fmla="*/ 1082675 w 2816452"/>
              <a:gd name="connsiteY67" fmla="*/ 871521 h 2824146"/>
              <a:gd name="connsiteX68" fmla="*/ 1108075 w 2816452"/>
              <a:gd name="connsiteY68" fmla="*/ 836596 h 2824146"/>
              <a:gd name="connsiteX69" fmla="*/ 1193800 w 2816452"/>
              <a:gd name="connsiteY69" fmla="*/ 779446 h 2824146"/>
              <a:gd name="connsiteX70" fmla="*/ 1228725 w 2816452"/>
              <a:gd name="connsiteY70" fmla="*/ 741346 h 2824146"/>
              <a:gd name="connsiteX71" fmla="*/ 1244600 w 2816452"/>
              <a:gd name="connsiteY71" fmla="*/ 690546 h 2824146"/>
              <a:gd name="connsiteX72" fmla="*/ 1311275 w 2816452"/>
              <a:gd name="connsiteY72" fmla="*/ 658796 h 2824146"/>
              <a:gd name="connsiteX73" fmla="*/ 1327150 w 2816452"/>
              <a:gd name="connsiteY73" fmla="*/ 630221 h 2824146"/>
              <a:gd name="connsiteX74" fmla="*/ 1323975 w 2816452"/>
              <a:gd name="connsiteY74" fmla="*/ 592121 h 2824146"/>
              <a:gd name="connsiteX75" fmla="*/ 1292225 w 2816452"/>
              <a:gd name="connsiteY75" fmla="*/ 569896 h 2824146"/>
              <a:gd name="connsiteX76" fmla="*/ 1304925 w 2816452"/>
              <a:gd name="connsiteY76" fmla="*/ 538146 h 2824146"/>
              <a:gd name="connsiteX77" fmla="*/ 1308100 w 2816452"/>
              <a:gd name="connsiteY77" fmla="*/ 465121 h 2824146"/>
              <a:gd name="connsiteX78" fmla="*/ 1327150 w 2816452"/>
              <a:gd name="connsiteY78" fmla="*/ 452421 h 2824146"/>
              <a:gd name="connsiteX79" fmla="*/ 1314450 w 2816452"/>
              <a:gd name="connsiteY79" fmla="*/ 427021 h 2824146"/>
              <a:gd name="connsiteX80" fmla="*/ 1323975 w 2816452"/>
              <a:gd name="connsiteY80" fmla="*/ 404796 h 2824146"/>
              <a:gd name="connsiteX81" fmla="*/ 1358900 w 2816452"/>
              <a:gd name="connsiteY81" fmla="*/ 373046 h 2824146"/>
              <a:gd name="connsiteX82" fmla="*/ 1374775 w 2816452"/>
              <a:gd name="connsiteY82" fmla="*/ 360346 h 2824146"/>
              <a:gd name="connsiteX83" fmla="*/ 1412875 w 2816452"/>
              <a:gd name="connsiteY83" fmla="*/ 350821 h 2824146"/>
              <a:gd name="connsiteX84" fmla="*/ 1428750 w 2816452"/>
              <a:gd name="connsiteY84" fmla="*/ 309546 h 2824146"/>
              <a:gd name="connsiteX85" fmla="*/ 1514475 w 2816452"/>
              <a:gd name="connsiteY85" fmla="*/ 303196 h 2824146"/>
              <a:gd name="connsiteX86" fmla="*/ 1558925 w 2816452"/>
              <a:gd name="connsiteY86" fmla="*/ 284146 h 2824146"/>
              <a:gd name="connsiteX87" fmla="*/ 1584325 w 2816452"/>
              <a:gd name="connsiteY87" fmla="*/ 303196 h 2824146"/>
              <a:gd name="connsiteX88" fmla="*/ 1660525 w 2816452"/>
              <a:gd name="connsiteY88" fmla="*/ 290496 h 2824146"/>
              <a:gd name="connsiteX89" fmla="*/ 1758950 w 2816452"/>
              <a:gd name="connsiteY89" fmla="*/ 287321 h 2824146"/>
              <a:gd name="connsiteX90" fmla="*/ 1831975 w 2816452"/>
              <a:gd name="connsiteY90" fmla="*/ 296846 h 2824146"/>
              <a:gd name="connsiteX91" fmla="*/ 1924050 w 2816452"/>
              <a:gd name="connsiteY91" fmla="*/ 328596 h 2824146"/>
              <a:gd name="connsiteX92" fmla="*/ 2016125 w 2816452"/>
              <a:gd name="connsiteY92" fmla="*/ 350821 h 2824146"/>
              <a:gd name="connsiteX93" fmla="*/ 2073275 w 2816452"/>
              <a:gd name="connsiteY93" fmla="*/ 344471 h 2824146"/>
              <a:gd name="connsiteX94" fmla="*/ 2120900 w 2816452"/>
              <a:gd name="connsiteY94" fmla="*/ 392096 h 2824146"/>
              <a:gd name="connsiteX95" fmla="*/ 2165350 w 2816452"/>
              <a:gd name="connsiteY95" fmla="*/ 404796 h 2824146"/>
              <a:gd name="connsiteX96" fmla="*/ 2206625 w 2816452"/>
              <a:gd name="connsiteY96" fmla="*/ 436546 h 2824146"/>
              <a:gd name="connsiteX97" fmla="*/ 2247900 w 2816452"/>
              <a:gd name="connsiteY97" fmla="*/ 417496 h 2824146"/>
              <a:gd name="connsiteX98" fmla="*/ 2311400 w 2816452"/>
              <a:gd name="connsiteY98" fmla="*/ 455596 h 2824146"/>
              <a:gd name="connsiteX99" fmla="*/ 2352675 w 2816452"/>
              <a:gd name="connsiteY99" fmla="*/ 458771 h 2824146"/>
              <a:gd name="connsiteX100" fmla="*/ 2413000 w 2816452"/>
              <a:gd name="connsiteY100" fmla="*/ 423846 h 2824146"/>
              <a:gd name="connsiteX101" fmla="*/ 2441575 w 2816452"/>
              <a:gd name="connsiteY101" fmla="*/ 433371 h 2824146"/>
              <a:gd name="connsiteX102" fmla="*/ 2476500 w 2816452"/>
              <a:gd name="connsiteY102" fmla="*/ 446071 h 2824146"/>
              <a:gd name="connsiteX103" fmla="*/ 2511425 w 2816452"/>
              <a:gd name="connsiteY103" fmla="*/ 436546 h 2824146"/>
              <a:gd name="connsiteX104" fmla="*/ 2574925 w 2816452"/>
              <a:gd name="connsiteY104" fmla="*/ 436546 h 2824146"/>
              <a:gd name="connsiteX105" fmla="*/ 2613025 w 2816452"/>
              <a:gd name="connsiteY105" fmla="*/ 401621 h 2824146"/>
              <a:gd name="connsiteX106" fmla="*/ 2654300 w 2816452"/>
              <a:gd name="connsiteY106" fmla="*/ 360346 h 2824146"/>
              <a:gd name="connsiteX107" fmla="*/ 2695575 w 2816452"/>
              <a:gd name="connsiteY107" fmla="*/ 366696 h 2824146"/>
              <a:gd name="connsiteX108" fmla="*/ 2759075 w 2816452"/>
              <a:gd name="connsiteY108" fmla="*/ 341296 h 2824146"/>
              <a:gd name="connsiteX109" fmla="*/ 2800350 w 2816452"/>
              <a:gd name="connsiteY109" fmla="*/ 309546 h 2824146"/>
              <a:gd name="connsiteX110" fmla="*/ 2787650 w 2816452"/>
              <a:gd name="connsiteY110" fmla="*/ 274621 h 2824146"/>
              <a:gd name="connsiteX111" fmla="*/ 2803525 w 2816452"/>
              <a:gd name="connsiteY111" fmla="*/ 246046 h 2824146"/>
              <a:gd name="connsiteX112" fmla="*/ 2794000 w 2816452"/>
              <a:gd name="connsiteY112" fmla="*/ 195246 h 2824146"/>
              <a:gd name="connsiteX113" fmla="*/ 2815449 w 2816452"/>
              <a:gd name="connsiteY113" fmla="*/ 0 h 2824146"/>
              <a:gd name="connsiteX0" fmla="*/ 0 w 2815449"/>
              <a:gd name="connsiteY0" fmla="*/ 2824146 h 2824146"/>
              <a:gd name="connsiteX1" fmla="*/ 44450 w 2815449"/>
              <a:gd name="connsiteY1" fmla="*/ 2789221 h 2824146"/>
              <a:gd name="connsiteX2" fmla="*/ 22225 w 2815449"/>
              <a:gd name="connsiteY2" fmla="*/ 2747946 h 2824146"/>
              <a:gd name="connsiteX3" fmla="*/ 50800 w 2815449"/>
              <a:gd name="connsiteY3" fmla="*/ 2722546 h 2824146"/>
              <a:gd name="connsiteX4" fmla="*/ 50800 w 2815449"/>
              <a:gd name="connsiteY4" fmla="*/ 2614596 h 2824146"/>
              <a:gd name="connsiteX5" fmla="*/ 79375 w 2815449"/>
              <a:gd name="connsiteY5" fmla="*/ 2595546 h 2824146"/>
              <a:gd name="connsiteX6" fmla="*/ 92075 w 2815449"/>
              <a:gd name="connsiteY6" fmla="*/ 2535221 h 2824146"/>
              <a:gd name="connsiteX7" fmla="*/ 107950 w 2815449"/>
              <a:gd name="connsiteY7" fmla="*/ 2516171 h 2824146"/>
              <a:gd name="connsiteX8" fmla="*/ 152400 w 2815449"/>
              <a:gd name="connsiteY8" fmla="*/ 2497121 h 2824146"/>
              <a:gd name="connsiteX9" fmla="*/ 152400 w 2815449"/>
              <a:gd name="connsiteY9" fmla="*/ 2471721 h 2824146"/>
              <a:gd name="connsiteX10" fmla="*/ 215900 w 2815449"/>
              <a:gd name="connsiteY10" fmla="*/ 2497121 h 2824146"/>
              <a:gd name="connsiteX11" fmla="*/ 295275 w 2815449"/>
              <a:gd name="connsiteY11" fmla="*/ 2490771 h 2824146"/>
              <a:gd name="connsiteX12" fmla="*/ 330200 w 2815449"/>
              <a:gd name="connsiteY12" fmla="*/ 2500296 h 2824146"/>
              <a:gd name="connsiteX13" fmla="*/ 314325 w 2815449"/>
              <a:gd name="connsiteY13" fmla="*/ 2427271 h 2824146"/>
              <a:gd name="connsiteX14" fmla="*/ 307975 w 2815449"/>
              <a:gd name="connsiteY14" fmla="*/ 2328846 h 2824146"/>
              <a:gd name="connsiteX15" fmla="*/ 330200 w 2815449"/>
              <a:gd name="connsiteY15" fmla="*/ 2281221 h 2824146"/>
              <a:gd name="connsiteX16" fmla="*/ 377825 w 2815449"/>
              <a:gd name="connsiteY16" fmla="*/ 2271696 h 2824146"/>
              <a:gd name="connsiteX17" fmla="*/ 447675 w 2815449"/>
              <a:gd name="connsiteY17" fmla="*/ 2249471 h 2824146"/>
              <a:gd name="connsiteX18" fmla="*/ 511175 w 2815449"/>
              <a:gd name="connsiteY18" fmla="*/ 2192321 h 2824146"/>
              <a:gd name="connsiteX19" fmla="*/ 542925 w 2815449"/>
              <a:gd name="connsiteY19" fmla="*/ 2176446 h 2824146"/>
              <a:gd name="connsiteX20" fmla="*/ 635000 w 2815449"/>
              <a:gd name="connsiteY20" fmla="*/ 2192321 h 2824146"/>
              <a:gd name="connsiteX21" fmla="*/ 736600 w 2815449"/>
              <a:gd name="connsiteY21" fmla="*/ 2192321 h 2824146"/>
              <a:gd name="connsiteX22" fmla="*/ 749300 w 2815449"/>
              <a:gd name="connsiteY22" fmla="*/ 2166921 h 2824146"/>
              <a:gd name="connsiteX23" fmla="*/ 752475 w 2815449"/>
              <a:gd name="connsiteY23" fmla="*/ 2144696 h 2824146"/>
              <a:gd name="connsiteX24" fmla="*/ 774700 w 2815449"/>
              <a:gd name="connsiteY24" fmla="*/ 2131996 h 2824146"/>
              <a:gd name="connsiteX25" fmla="*/ 793750 w 2815449"/>
              <a:gd name="connsiteY25" fmla="*/ 2103421 h 2824146"/>
              <a:gd name="connsiteX26" fmla="*/ 854075 w 2815449"/>
              <a:gd name="connsiteY26" fmla="*/ 2068496 h 2824146"/>
              <a:gd name="connsiteX27" fmla="*/ 917575 w 2815449"/>
              <a:gd name="connsiteY27" fmla="*/ 1989121 h 2824146"/>
              <a:gd name="connsiteX28" fmla="*/ 936625 w 2815449"/>
              <a:gd name="connsiteY28" fmla="*/ 1954196 h 2824146"/>
              <a:gd name="connsiteX29" fmla="*/ 920750 w 2815449"/>
              <a:gd name="connsiteY29" fmla="*/ 1887521 h 2824146"/>
              <a:gd name="connsiteX30" fmla="*/ 923925 w 2815449"/>
              <a:gd name="connsiteY30" fmla="*/ 1852596 h 2824146"/>
              <a:gd name="connsiteX31" fmla="*/ 962025 w 2815449"/>
              <a:gd name="connsiteY31" fmla="*/ 1808146 h 2824146"/>
              <a:gd name="connsiteX32" fmla="*/ 955675 w 2815449"/>
              <a:gd name="connsiteY32" fmla="*/ 1789096 h 2824146"/>
              <a:gd name="connsiteX33" fmla="*/ 920750 w 2815449"/>
              <a:gd name="connsiteY33" fmla="*/ 1763696 h 2824146"/>
              <a:gd name="connsiteX34" fmla="*/ 914400 w 2815449"/>
              <a:gd name="connsiteY34" fmla="*/ 1703371 h 2824146"/>
              <a:gd name="connsiteX35" fmla="*/ 908050 w 2815449"/>
              <a:gd name="connsiteY35" fmla="*/ 1655746 h 2824146"/>
              <a:gd name="connsiteX36" fmla="*/ 949325 w 2815449"/>
              <a:gd name="connsiteY36" fmla="*/ 1601771 h 2824146"/>
              <a:gd name="connsiteX37" fmla="*/ 949325 w 2815449"/>
              <a:gd name="connsiteY37" fmla="*/ 1576371 h 2824146"/>
              <a:gd name="connsiteX38" fmla="*/ 920750 w 2815449"/>
              <a:gd name="connsiteY38" fmla="*/ 1576371 h 2824146"/>
              <a:gd name="connsiteX39" fmla="*/ 898525 w 2815449"/>
              <a:gd name="connsiteY39" fmla="*/ 1573196 h 2824146"/>
              <a:gd name="connsiteX40" fmla="*/ 876300 w 2815449"/>
              <a:gd name="connsiteY40" fmla="*/ 1554146 h 2824146"/>
              <a:gd name="connsiteX41" fmla="*/ 885825 w 2815449"/>
              <a:gd name="connsiteY41" fmla="*/ 1528746 h 2824146"/>
              <a:gd name="connsiteX42" fmla="*/ 908050 w 2815449"/>
              <a:gd name="connsiteY42" fmla="*/ 1503346 h 2824146"/>
              <a:gd name="connsiteX43" fmla="*/ 904875 w 2815449"/>
              <a:gd name="connsiteY43" fmla="*/ 1474771 h 2824146"/>
              <a:gd name="connsiteX44" fmla="*/ 879475 w 2815449"/>
              <a:gd name="connsiteY44" fmla="*/ 1433496 h 2824146"/>
              <a:gd name="connsiteX45" fmla="*/ 895350 w 2815449"/>
              <a:gd name="connsiteY45" fmla="*/ 1408096 h 2824146"/>
              <a:gd name="connsiteX46" fmla="*/ 920750 w 2815449"/>
              <a:gd name="connsiteY46" fmla="*/ 1376346 h 2824146"/>
              <a:gd name="connsiteX47" fmla="*/ 908050 w 2815449"/>
              <a:gd name="connsiteY47" fmla="*/ 1322371 h 2824146"/>
              <a:gd name="connsiteX48" fmla="*/ 936625 w 2815449"/>
              <a:gd name="connsiteY48" fmla="*/ 1255696 h 2824146"/>
              <a:gd name="connsiteX49" fmla="*/ 971550 w 2815449"/>
              <a:gd name="connsiteY49" fmla="*/ 1236646 h 2824146"/>
              <a:gd name="connsiteX50" fmla="*/ 1025525 w 2815449"/>
              <a:gd name="connsiteY50" fmla="*/ 1236646 h 2824146"/>
              <a:gd name="connsiteX51" fmla="*/ 1050925 w 2815449"/>
              <a:gd name="connsiteY51" fmla="*/ 1208071 h 2824146"/>
              <a:gd name="connsiteX52" fmla="*/ 1069975 w 2815449"/>
              <a:gd name="connsiteY52" fmla="*/ 1182671 h 2824146"/>
              <a:gd name="connsiteX53" fmla="*/ 1092200 w 2815449"/>
              <a:gd name="connsiteY53" fmla="*/ 1169971 h 2824146"/>
              <a:gd name="connsiteX54" fmla="*/ 1108075 w 2815449"/>
              <a:gd name="connsiteY54" fmla="*/ 1163621 h 2824146"/>
              <a:gd name="connsiteX55" fmla="*/ 1079500 w 2815449"/>
              <a:gd name="connsiteY55" fmla="*/ 1135046 h 2824146"/>
              <a:gd name="connsiteX56" fmla="*/ 1044575 w 2815449"/>
              <a:gd name="connsiteY56" fmla="*/ 1119171 h 2824146"/>
              <a:gd name="connsiteX57" fmla="*/ 1019175 w 2815449"/>
              <a:gd name="connsiteY57" fmla="*/ 1103296 h 2824146"/>
              <a:gd name="connsiteX58" fmla="*/ 968375 w 2815449"/>
              <a:gd name="connsiteY58" fmla="*/ 1103296 h 2824146"/>
              <a:gd name="connsiteX59" fmla="*/ 968375 w 2815449"/>
              <a:gd name="connsiteY59" fmla="*/ 1103296 h 2824146"/>
              <a:gd name="connsiteX60" fmla="*/ 984250 w 2815449"/>
              <a:gd name="connsiteY60" fmla="*/ 1023921 h 2824146"/>
              <a:gd name="connsiteX61" fmla="*/ 1012825 w 2815449"/>
              <a:gd name="connsiteY61" fmla="*/ 973121 h 2824146"/>
              <a:gd name="connsiteX62" fmla="*/ 1009650 w 2815449"/>
              <a:gd name="connsiteY62" fmla="*/ 950896 h 2824146"/>
              <a:gd name="connsiteX63" fmla="*/ 993775 w 2815449"/>
              <a:gd name="connsiteY63" fmla="*/ 928671 h 2824146"/>
              <a:gd name="connsiteX64" fmla="*/ 993775 w 2815449"/>
              <a:gd name="connsiteY64" fmla="*/ 928671 h 2824146"/>
              <a:gd name="connsiteX65" fmla="*/ 1009650 w 2815449"/>
              <a:gd name="connsiteY65" fmla="*/ 909621 h 2824146"/>
              <a:gd name="connsiteX66" fmla="*/ 1041400 w 2815449"/>
              <a:gd name="connsiteY66" fmla="*/ 909621 h 2824146"/>
              <a:gd name="connsiteX67" fmla="*/ 1082675 w 2815449"/>
              <a:gd name="connsiteY67" fmla="*/ 871521 h 2824146"/>
              <a:gd name="connsiteX68" fmla="*/ 1108075 w 2815449"/>
              <a:gd name="connsiteY68" fmla="*/ 836596 h 2824146"/>
              <a:gd name="connsiteX69" fmla="*/ 1193800 w 2815449"/>
              <a:gd name="connsiteY69" fmla="*/ 779446 h 2824146"/>
              <a:gd name="connsiteX70" fmla="*/ 1228725 w 2815449"/>
              <a:gd name="connsiteY70" fmla="*/ 741346 h 2824146"/>
              <a:gd name="connsiteX71" fmla="*/ 1244600 w 2815449"/>
              <a:gd name="connsiteY71" fmla="*/ 690546 h 2824146"/>
              <a:gd name="connsiteX72" fmla="*/ 1311275 w 2815449"/>
              <a:gd name="connsiteY72" fmla="*/ 658796 h 2824146"/>
              <a:gd name="connsiteX73" fmla="*/ 1327150 w 2815449"/>
              <a:gd name="connsiteY73" fmla="*/ 630221 h 2824146"/>
              <a:gd name="connsiteX74" fmla="*/ 1323975 w 2815449"/>
              <a:gd name="connsiteY74" fmla="*/ 592121 h 2824146"/>
              <a:gd name="connsiteX75" fmla="*/ 1292225 w 2815449"/>
              <a:gd name="connsiteY75" fmla="*/ 569896 h 2824146"/>
              <a:gd name="connsiteX76" fmla="*/ 1304925 w 2815449"/>
              <a:gd name="connsiteY76" fmla="*/ 538146 h 2824146"/>
              <a:gd name="connsiteX77" fmla="*/ 1308100 w 2815449"/>
              <a:gd name="connsiteY77" fmla="*/ 465121 h 2824146"/>
              <a:gd name="connsiteX78" fmla="*/ 1327150 w 2815449"/>
              <a:gd name="connsiteY78" fmla="*/ 452421 h 2824146"/>
              <a:gd name="connsiteX79" fmla="*/ 1314450 w 2815449"/>
              <a:gd name="connsiteY79" fmla="*/ 427021 h 2824146"/>
              <a:gd name="connsiteX80" fmla="*/ 1323975 w 2815449"/>
              <a:gd name="connsiteY80" fmla="*/ 404796 h 2824146"/>
              <a:gd name="connsiteX81" fmla="*/ 1358900 w 2815449"/>
              <a:gd name="connsiteY81" fmla="*/ 373046 h 2824146"/>
              <a:gd name="connsiteX82" fmla="*/ 1374775 w 2815449"/>
              <a:gd name="connsiteY82" fmla="*/ 360346 h 2824146"/>
              <a:gd name="connsiteX83" fmla="*/ 1412875 w 2815449"/>
              <a:gd name="connsiteY83" fmla="*/ 350821 h 2824146"/>
              <a:gd name="connsiteX84" fmla="*/ 1428750 w 2815449"/>
              <a:gd name="connsiteY84" fmla="*/ 309546 h 2824146"/>
              <a:gd name="connsiteX85" fmla="*/ 1514475 w 2815449"/>
              <a:gd name="connsiteY85" fmla="*/ 303196 h 2824146"/>
              <a:gd name="connsiteX86" fmla="*/ 1558925 w 2815449"/>
              <a:gd name="connsiteY86" fmla="*/ 284146 h 2824146"/>
              <a:gd name="connsiteX87" fmla="*/ 1584325 w 2815449"/>
              <a:gd name="connsiteY87" fmla="*/ 303196 h 2824146"/>
              <a:gd name="connsiteX88" fmla="*/ 1660525 w 2815449"/>
              <a:gd name="connsiteY88" fmla="*/ 290496 h 2824146"/>
              <a:gd name="connsiteX89" fmla="*/ 1758950 w 2815449"/>
              <a:gd name="connsiteY89" fmla="*/ 287321 h 2824146"/>
              <a:gd name="connsiteX90" fmla="*/ 1831975 w 2815449"/>
              <a:gd name="connsiteY90" fmla="*/ 296846 h 2824146"/>
              <a:gd name="connsiteX91" fmla="*/ 1924050 w 2815449"/>
              <a:gd name="connsiteY91" fmla="*/ 328596 h 2824146"/>
              <a:gd name="connsiteX92" fmla="*/ 2016125 w 2815449"/>
              <a:gd name="connsiteY92" fmla="*/ 350821 h 2824146"/>
              <a:gd name="connsiteX93" fmla="*/ 2073275 w 2815449"/>
              <a:gd name="connsiteY93" fmla="*/ 344471 h 2824146"/>
              <a:gd name="connsiteX94" fmla="*/ 2120900 w 2815449"/>
              <a:gd name="connsiteY94" fmla="*/ 392096 h 2824146"/>
              <a:gd name="connsiteX95" fmla="*/ 2165350 w 2815449"/>
              <a:gd name="connsiteY95" fmla="*/ 404796 h 2824146"/>
              <a:gd name="connsiteX96" fmla="*/ 2206625 w 2815449"/>
              <a:gd name="connsiteY96" fmla="*/ 436546 h 2824146"/>
              <a:gd name="connsiteX97" fmla="*/ 2247900 w 2815449"/>
              <a:gd name="connsiteY97" fmla="*/ 417496 h 2824146"/>
              <a:gd name="connsiteX98" fmla="*/ 2311400 w 2815449"/>
              <a:gd name="connsiteY98" fmla="*/ 455596 h 2824146"/>
              <a:gd name="connsiteX99" fmla="*/ 2352675 w 2815449"/>
              <a:gd name="connsiteY99" fmla="*/ 458771 h 2824146"/>
              <a:gd name="connsiteX100" fmla="*/ 2413000 w 2815449"/>
              <a:gd name="connsiteY100" fmla="*/ 423846 h 2824146"/>
              <a:gd name="connsiteX101" fmla="*/ 2441575 w 2815449"/>
              <a:gd name="connsiteY101" fmla="*/ 433371 h 2824146"/>
              <a:gd name="connsiteX102" fmla="*/ 2476500 w 2815449"/>
              <a:gd name="connsiteY102" fmla="*/ 446071 h 2824146"/>
              <a:gd name="connsiteX103" fmla="*/ 2511425 w 2815449"/>
              <a:gd name="connsiteY103" fmla="*/ 436546 h 2824146"/>
              <a:gd name="connsiteX104" fmla="*/ 2574925 w 2815449"/>
              <a:gd name="connsiteY104" fmla="*/ 436546 h 2824146"/>
              <a:gd name="connsiteX105" fmla="*/ 2613025 w 2815449"/>
              <a:gd name="connsiteY105" fmla="*/ 401621 h 2824146"/>
              <a:gd name="connsiteX106" fmla="*/ 2654300 w 2815449"/>
              <a:gd name="connsiteY106" fmla="*/ 360346 h 2824146"/>
              <a:gd name="connsiteX107" fmla="*/ 2695575 w 2815449"/>
              <a:gd name="connsiteY107" fmla="*/ 366696 h 2824146"/>
              <a:gd name="connsiteX108" fmla="*/ 2759075 w 2815449"/>
              <a:gd name="connsiteY108" fmla="*/ 341296 h 2824146"/>
              <a:gd name="connsiteX109" fmla="*/ 2800350 w 2815449"/>
              <a:gd name="connsiteY109" fmla="*/ 309546 h 2824146"/>
              <a:gd name="connsiteX110" fmla="*/ 2787650 w 2815449"/>
              <a:gd name="connsiteY110" fmla="*/ 274621 h 2824146"/>
              <a:gd name="connsiteX111" fmla="*/ 2803525 w 2815449"/>
              <a:gd name="connsiteY111" fmla="*/ 246046 h 2824146"/>
              <a:gd name="connsiteX112" fmla="*/ 2794000 w 2815449"/>
              <a:gd name="connsiteY112" fmla="*/ 195246 h 2824146"/>
              <a:gd name="connsiteX113" fmla="*/ 2805344 w 2815449"/>
              <a:gd name="connsiteY113" fmla="*/ 56364 h 2824146"/>
              <a:gd name="connsiteX114" fmla="*/ 2815449 w 2815449"/>
              <a:gd name="connsiteY114" fmla="*/ 0 h 2824146"/>
              <a:gd name="connsiteX0" fmla="*/ 0 w 2815449"/>
              <a:gd name="connsiteY0" fmla="*/ 2824146 h 2824146"/>
              <a:gd name="connsiteX1" fmla="*/ 44450 w 2815449"/>
              <a:gd name="connsiteY1" fmla="*/ 2789221 h 2824146"/>
              <a:gd name="connsiteX2" fmla="*/ 22225 w 2815449"/>
              <a:gd name="connsiteY2" fmla="*/ 2747946 h 2824146"/>
              <a:gd name="connsiteX3" fmla="*/ 50800 w 2815449"/>
              <a:gd name="connsiteY3" fmla="*/ 2722546 h 2824146"/>
              <a:gd name="connsiteX4" fmla="*/ 50800 w 2815449"/>
              <a:gd name="connsiteY4" fmla="*/ 2614596 h 2824146"/>
              <a:gd name="connsiteX5" fmla="*/ 79375 w 2815449"/>
              <a:gd name="connsiteY5" fmla="*/ 2595546 h 2824146"/>
              <a:gd name="connsiteX6" fmla="*/ 92075 w 2815449"/>
              <a:gd name="connsiteY6" fmla="*/ 2535221 h 2824146"/>
              <a:gd name="connsiteX7" fmla="*/ 107950 w 2815449"/>
              <a:gd name="connsiteY7" fmla="*/ 2516171 h 2824146"/>
              <a:gd name="connsiteX8" fmla="*/ 152400 w 2815449"/>
              <a:gd name="connsiteY8" fmla="*/ 2497121 h 2824146"/>
              <a:gd name="connsiteX9" fmla="*/ 152400 w 2815449"/>
              <a:gd name="connsiteY9" fmla="*/ 2471721 h 2824146"/>
              <a:gd name="connsiteX10" fmla="*/ 215900 w 2815449"/>
              <a:gd name="connsiteY10" fmla="*/ 2497121 h 2824146"/>
              <a:gd name="connsiteX11" fmla="*/ 295275 w 2815449"/>
              <a:gd name="connsiteY11" fmla="*/ 2490771 h 2824146"/>
              <a:gd name="connsiteX12" fmla="*/ 330200 w 2815449"/>
              <a:gd name="connsiteY12" fmla="*/ 2500296 h 2824146"/>
              <a:gd name="connsiteX13" fmla="*/ 314325 w 2815449"/>
              <a:gd name="connsiteY13" fmla="*/ 2427271 h 2824146"/>
              <a:gd name="connsiteX14" fmla="*/ 307975 w 2815449"/>
              <a:gd name="connsiteY14" fmla="*/ 2328846 h 2824146"/>
              <a:gd name="connsiteX15" fmla="*/ 330200 w 2815449"/>
              <a:gd name="connsiteY15" fmla="*/ 2281221 h 2824146"/>
              <a:gd name="connsiteX16" fmla="*/ 377825 w 2815449"/>
              <a:gd name="connsiteY16" fmla="*/ 2271696 h 2824146"/>
              <a:gd name="connsiteX17" fmla="*/ 447675 w 2815449"/>
              <a:gd name="connsiteY17" fmla="*/ 2249471 h 2824146"/>
              <a:gd name="connsiteX18" fmla="*/ 511175 w 2815449"/>
              <a:gd name="connsiteY18" fmla="*/ 2192321 h 2824146"/>
              <a:gd name="connsiteX19" fmla="*/ 542925 w 2815449"/>
              <a:gd name="connsiteY19" fmla="*/ 2176446 h 2824146"/>
              <a:gd name="connsiteX20" fmla="*/ 635000 w 2815449"/>
              <a:gd name="connsiteY20" fmla="*/ 2192321 h 2824146"/>
              <a:gd name="connsiteX21" fmla="*/ 736600 w 2815449"/>
              <a:gd name="connsiteY21" fmla="*/ 2192321 h 2824146"/>
              <a:gd name="connsiteX22" fmla="*/ 749300 w 2815449"/>
              <a:gd name="connsiteY22" fmla="*/ 2166921 h 2824146"/>
              <a:gd name="connsiteX23" fmla="*/ 752475 w 2815449"/>
              <a:gd name="connsiteY23" fmla="*/ 2144696 h 2824146"/>
              <a:gd name="connsiteX24" fmla="*/ 774700 w 2815449"/>
              <a:gd name="connsiteY24" fmla="*/ 2131996 h 2824146"/>
              <a:gd name="connsiteX25" fmla="*/ 793750 w 2815449"/>
              <a:gd name="connsiteY25" fmla="*/ 2103421 h 2824146"/>
              <a:gd name="connsiteX26" fmla="*/ 854075 w 2815449"/>
              <a:gd name="connsiteY26" fmla="*/ 2068496 h 2824146"/>
              <a:gd name="connsiteX27" fmla="*/ 917575 w 2815449"/>
              <a:gd name="connsiteY27" fmla="*/ 1989121 h 2824146"/>
              <a:gd name="connsiteX28" fmla="*/ 936625 w 2815449"/>
              <a:gd name="connsiteY28" fmla="*/ 1954196 h 2824146"/>
              <a:gd name="connsiteX29" fmla="*/ 920750 w 2815449"/>
              <a:gd name="connsiteY29" fmla="*/ 1887521 h 2824146"/>
              <a:gd name="connsiteX30" fmla="*/ 923925 w 2815449"/>
              <a:gd name="connsiteY30" fmla="*/ 1852596 h 2824146"/>
              <a:gd name="connsiteX31" fmla="*/ 962025 w 2815449"/>
              <a:gd name="connsiteY31" fmla="*/ 1808146 h 2824146"/>
              <a:gd name="connsiteX32" fmla="*/ 955675 w 2815449"/>
              <a:gd name="connsiteY32" fmla="*/ 1789096 h 2824146"/>
              <a:gd name="connsiteX33" fmla="*/ 920750 w 2815449"/>
              <a:gd name="connsiteY33" fmla="*/ 1763696 h 2824146"/>
              <a:gd name="connsiteX34" fmla="*/ 914400 w 2815449"/>
              <a:gd name="connsiteY34" fmla="*/ 1703371 h 2824146"/>
              <a:gd name="connsiteX35" fmla="*/ 908050 w 2815449"/>
              <a:gd name="connsiteY35" fmla="*/ 1655746 h 2824146"/>
              <a:gd name="connsiteX36" fmla="*/ 949325 w 2815449"/>
              <a:gd name="connsiteY36" fmla="*/ 1601771 h 2824146"/>
              <a:gd name="connsiteX37" fmla="*/ 949325 w 2815449"/>
              <a:gd name="connsiteY37" fmla="*/ 1576371 h 2824146"/>
              <a:gd name="connsiteX38" fmla="*/ 920750 w 2815449"/>
              <a:gd name="connsiteY38" fmla="*/ 1576371 h 2824146"/>
              <a:gd name="connsiteX39" fmla="*/ 898525 w 2815449"/>
              <a:gd name="connsiteY39" fmla="*/ 1573196 h 2824146"/>
              <a:gd name="connsiteX40" fmla="*/ 876300 w 2815449"/>
              <a:gd name="connsiteY40" fmla="*/ 1554146 h 2824146"/>
              <a:gd name="connsiteX41" fmla="*/ 885825 w 2815449"/>
              <a:gd name="connsiteY41" fmla="*/ 1528746 h 2824146"/>
              <a:gd name="connsiteX42" fmla="*/ 908050 w 2815449"/>
              <a:gd name="connsiteY42" fmla="*/ 1503346 h 2824146"/>
              <a:gd name="connsiteX43" fmla="*/ 904875 w 2815449"/>
              <a:gd name="connsiteY43" fmla="*/ 1474771 h 2824146"/>
              <a:gd name="connsiteX44" fmla="*/ 879475 w 2815449"/>
              <a:gd name="connsiteY44" fmla="*/ 1433496 h 2824146"/>
              <a:gd name="connsiteX45" fmla="*/ 895350 w 2815449"/>
              <a:gd name="connsiteY45" fmla="*/ 1408096 h 2824146"/>
              <a:gd name="connsiteX46" fmla="*/ 920750 w 2815449"/>
              <a:gd name="connsiteY46" fmla="*/ 1376346 h 2824146"/>
              <a:gd name="connsiteX47" fmla="*/ 908050 w 2815449"/>
              <a:gd name="connsiteY47" fmla="*/ 1322371 h 2824146"/>
              <a:gd name="connsiteX48" fmla="*/ 936625 w 2815449"/>
              <a:gd name="connsiteY48" fmla="*/ 1255696 h 2824146"/>
              <a:gd name="connsiteX49" fmla="*/ 971550 w 2815449"/>
              <a:gd name="connsiteY49" fmla="*/ 1236646 h 2824146"/>
              <a:gd name="connsiteX50" fmla="*/ 1025525 w 2815449"/>
              <a:gd name="connsiteY50" fmla="*/ 1236646 h 2824146"/>
              <a:gd name="connsiteX51" fmla="*/ 1050925 w 2815449"/>
              <a:gd name="connsiteY51" fmla="*/ 1208071 h 2824146"/>
              <a:gd name="connsiteX52" fmla="*/ 1069975 w 2815449"/>
              <a:gd name="connsiteY52" fmla="*/ 1182671 h 2824146"/>
              <a:gd name="connsiteX53" fmla="*/ 1092200 w 2815449"/>
              <a:gd name="connsiteY53" fmla="*/ 1169971 h 2824146"/>
              <a:gd name="connsiteX54" fmla="*/ 1108075 w 2815449"/>
              <a:gd name="connsiteY54" fmla="*/ 1163621 h 2824146"/>
              <a:gd name="connsiteX55" fmla="*/ 1079500 w 2815449"/>
              <a:gd name="connsiteY55" fmla="*/ 1135046 h 2824146"/>
              <a:gd name="connsiteX56" fmla="*/ 1044575 w 2815449"/>
              <a:gd name="connsiteY56" fmla="*/ 1119171 h 2824146"/>
              <a:gd name="connsiteX57" fmla="*/ 1019175 w 2815449"/>
              <a:gd name="connsiteY57" fmla="*/ 1103296 h 2824146"/>
              <a:gd name="connsiteX58" fmla="*/ 968375 w 2815449"/>
              <a:gd name="connsiteY58" fmla="*/ 1103296 h 2824146"/>
              <a:gd name="connsiteX59" fmla="*/ 968375 w 2815449"/>
              <a:gd name="connsiteY59" fmla="*/ 1103296 h 2824146"/>
              <a:gd name="connsiteX60" fmla="*/ 984250 w 2815449"/>
              <a:gd name="connsiteY60" fmla="*/ 1023921 h 2824146"/>
              <a:gd name="connsiteX61" fmla="*/ 1012825 w 2815449"/>
              <a:gd name="connsiteY61" fmla="*/ 973121 h 2824146"/>
              <a:gd name="connsiteX62" fmla="*/ 1009650 w 2815449"/>
              <a:gd name="connsiteY62" fmla="*/ 950896 h 2824146"/>
              <a:gd name="connsiteX63" fmla="*/ 993775 w 2815449"/>
              <a:gd name="connsiteY63" fmla="*/ 928671 h 2824146"/>
              <a:gd name="connsiteX64" fmla="*/ 993775 w 2815449"/>
              <a:gd name="connsiteY64" fmla="*/ 928671 h 2824146"/>
              <a:gd name="connsiteX65" fmla="*/ 1009650 w 2815449"/>
              <a:gd name="connsiteY65" fmla="*/ 909621 h 2824146"/>
              <a:gd name="connsiteX66" fmla="*/ 1041400 w 2815449"/>
              <a:gd name="connsiteY66" fmla="*/ 909621 h 2824146"/>
              <a:gd name="connsiteX67" fmla="*/ 1082675 w 2815449"/>
              <a:gd name="connsiteY67" fmla="*/ 871521 h 2824146"/>
              <a:gd name="connsiteX68" fmla="*/ 1108075 w 2815449"/>
              <a:gd name="connsiteY68" fmla="*/ 836596 h 2824146"/>
              <a:gd name="connsiteX69" fmla="*/ 1193800 w 2815449"/>
              <a:gd name="connsiteY69" fmla="*/ 779446 h 2824146"/>
              <a:gd name="connsiteX70" fmla="*/ 1228725 w 2815449"/>
              <a:gd name="connsiteY70" fmla="*/ 741346 h 2824146"/>
              <a:gd name="connsiteX71" fmla="*/ 1244600 w 2815449"/>
              <a:gd name="connsiteY71" fmla="*/ 690546 h 2824146"/>
              <a:gd name="connsiteX72" fmla="*/ 1311275 w 2815449"/>
              <a:gd name="connsiteY72" fmla="*/ 658796 h 2824146"/>
              <a:gd name="connsiteX73" fmla="*/ 1327150 w 2815449"/>
              <a:gd name="connsiteY73" fmla="*/ 630221 h 2824146"/>
              <a:gd name="connsiteX74" fmla="*/ 1323975 w 2815449"/>
              <a:gd name="connsiteY74" fmla="*/ 592121 h 2824146"/>
              <a:gd name="connsiteX75" fmla="*/ 1292225 w 2815449"/>
              <a:gd name="connsiteY75" fmla="*/ 569896 h 2824146"/>
              <a:gd name="connsiteX76" fmla="*/ 1304925 w 2815449"/>
              <a:gd name="connsiteY76" fmla="*/ 538146 h 2824146"/>
              <a:gd name="connsiteX77" fmla="*/ 1308100 w 2815449"/>
              <a:gd name="connsiteY77" fmla="*/ 465121 h 2824146"/>
              <a:gd name="connsiteX78" fmla="*/ 1327150 w 2815449"/>
              <a:gd name="connsiteY78" fmla="*/ 452421 h 2824146"/>
              <a:gd name="connsiteX79" fmla="*/ 1314450 w 2815449"/>
              <a:gd name="connsiteY79" fmla="*/ 427021 h 2824146"/>
              <a:gd name="connsiteX80" fmla="*/ 1323975 w 2815449"/>
              <a:gd name="connsiteY80" fmla="*/ 404796 h 2824146"/>
              <a:gd name="connsiteX81" fmla="*/ 1358900 w 2815449"/>
              <a:gd name="connsiteY81" fmla="*/ 373046 h 2824146"/>
              <a:gd name="connsiteX82" fmla="*/ 1374775 w 2815449"/>
              <a:gd name="connsiteY82" fmla="*/ 360346 h 2824146"/>
              <a:gd name="connsiteX83" fmla="*/ 1412875 w 2815449"/>
              <a:gd name="connsiteY83" fmla="*/ 350821 h 2824146"/>
              <a:gd name="connsiteX84" fmla="*/ 1428750 w 2815449"/>
              <a:gd name="connsiteY84" fmla="*/ 309546 h 2824146"/>
              <a:gd name="connsiteX85" fmla="*/ 1514475 w 2815449"/>
              <a:gd name="connsiteY85" fmla="*/ 303196 h 2824146"/>
              <a:gd name="connsiteX86" fmla="*/ 1558925 w 2815449"/>
              <a:gd name="connsiteY86" fmla="*/ 284146 h 2824146"/>
              <a:gd name="connsiteX87" fmla="*/ 1584325 w 2815449"/>
              <a:gd name="connsiteY87" fmla="*/ 303196 h 2824146"/>
              <a:gd name="connsiteX88" fmla="*/ 1660525 w 2815449"/>
              <a:gd name="connsiteY88" fmla="*/ 290496 h 2824146"/>
              <a:gd name="connsiteX89" fmla="*/ 1758950 w 2815449"/>
              <a:gd name="connsiteY89" fmla="*/ 287321 h 2824146"/>
              <a:gd name="connsiteX90" fmla="*/ 1831975 w 2815449"/>
              <a:gd name="connsiteY90" fmla="*/ 296846 h 2824146"/>
              <a:gd name="connsiteX91" fmla="*/ 1924050 w 2815449"/>
              <a:gd name="connsiteY91" fmla="*/ 328596 h 2824146"/>
              <a:gd name="connsiteX92" fmla="*/ 2016125 w 2815449"/>
              <a:gd name="connsiteY92" fmla="*/ 350821 h 2824146"/>
              <a:gd name="connsiteX93" fmla="*/ 2073275 w 2815449"/>
              <a:gd name="connsiteY93" fmla="*/ 344471 h 2824146"/>
              <a:gd name="connsiteX94" fmla="*/ 2120900 w 2815449"/>
              <a:gd name="connsiteY94" fmla="*/ 392096 h 2824146"/>
              <a:gd name="connsiteX95" fmla="*/ 2165350 w 2815449"/>
              <a:gd name="connsiteY95" fmla="*/ 404796 h 2824146"/>
              <a:gd name="connsiteX96" fmla="*/ 2206625 w 2815449"/>
              <a:gd name="connsiteY96" fmla="*/ 436546 h 2824146"/>
              <a:gd name="connsiteX97" fmla="*/ 2247900 w 2815449"/>
              <a:gd name="connsiteY97" fmla="*/ 417496 h 2824146"/>
              <a:gd name="connsiteX98" fmla="*/ 2311400 w 2815449"/>
              <a:gd name="connsiteY98" fmla="*/ 455596 h 2824146"/>
              <a:gd name="connsiteX99" fmla="*/ 2352675 w 2815449"/>
              <a:gd name="connsiteY99" fmla="*/ 458771 h 2824146"/>
              <a:gd name="connsiteX100" fmla="*/ 2413000 w 2815449"/>
              <a:gd name="connsiteY100" fmla="*/ 423846 h 2824146"/>
              <a:gd name="connsiteX101" fmla="*/ 2441575 w 2815449"/>
              <a:gd name="connsiteY101" fmla="*/ 433371 h 2824146"/>
              <a:gd name="connsiteX102" fmla="*/ 2476500 w 2815449"/>
              <a:gd name="connsiteY102" fmla="*/ 446071 h 2824146"/>
              <a:gd name="connsiteX103" fmla="*/ 2511425 w 2815449"/>
              <a:gd name="connsiteY103" fmla="*/ 436546 h 2824146"/>
              <a:gd name="connsiteX104" fmla="*/ 2574925 w 2815449"/>
              <a:gd name="connsiteY104" fmla="*/ 436546 h 2824146"/>
              <a:gd name="connsiteX105" fmla="*/ 2613025 w 2815449"/>
              <a:gd name="connsiteY105" fmla="*/ 401621 h 2824146"/>
              <a:gd name="connsiteX106" fmla="*/ 2654300 w 2815449"/>
              <a:gd name="connsiteY106" fmla="*/ 360346 h 2824146"/>
              <a:gd name="connsiteX107" fmla="*/ 2695575 w 2815449"/>
              <a:gd name="connsiteY107" fmla="*/ 366696 h 2824146"/>
              <a:gd name="connsiteX108" fmla="*/ 2759075 w 2815449"/>
              <a:gd name="connsiteY108" fmla="*/ 341296 h 2824146"/>
              <a:gd name="connsiteX109" fmla="*/ 2800350 w 2815449"/>
              <a:gd name="connsiteY109" fmla="*/ 309546 h 2824146"/>
              <a:gd name="connsiteX110" fmla="*/ 2787650 w 2815449"/>
              <a:gd name="connsiteY110" fmla="*/ 274621 h 2824146"/>
              <a:gd name="connsiteX111" fmla="*/ 2803525 w 2815449"/>
              <a:gd name="connsiteY111" fmla="*/ 246046 h 2824146"/>
              <a:gd name="connsiteX112" fmla="*/ 2794000 w 2815449"/>
              <a:gd name="connsiteY112" fmla="*/ 195246 h 2824146"/>
              <a:gd name="connsiteX113" fmla="*/ 2776228 w 2815449"/>
              <a:gd name="connsiteY113" fmla="*/ 49001 h 2824146"/>
              <a:gd name="connsiteX114" fmla="*/ 2815449 w 2815449"/>
              <a:gd name="connsiteY114" fmla="*/ 0 h 2824146"/>
              <a:gd name="connsiteX0" fmla="*/ 0 w 2815449"/>
              <a:gd name="connsiteY0" fmla="*/ 2824146 h 2824146"/>
              <a:gd name="connsiteX1" fmla="*/ 44450 w 2815449"/>
              <a:gd name="connsiteY1" fmla="*/ 2789221 h 2824146"/>
              <a:gd name="connsiteX2" fmla="*/ 22225 w 2815449"/>
              <a:gd name="connsiteY2" fmla="*/ 2747946 h 2824146"/>
              <a:gd name="connsiteX3" fmla="*/ 50800 w 2815449"/>
              <a:gd name="connsiteY3" fmla="*/ 2722546 h 2824146"/>
              <a:gd name="connsiteX4" fmla="*/ 50800 w 2815449"/>
              <a:gd name="connsiteY4" fmla="*/ 2614596 h 2824146"/>
              <a:gd name="connsiteX5" fmla="*/ 79375 w 2815449"/>
              <a:gd name="connsiteY5" fmla="*/ 2595546 h 2824146"/>
              <a:gd name="connsiteX6" fmla="*/ 92075 w 2815449"/>
              <a:gd name="connsiteY6" fmla="*/ 2535221 h 2824146"/>
              <a:gd name="connsiteX7" fmla="*/ 107950 w 2815449"/>
              <a:gd name="connsiteY7" fmla="*/ 2516171 h 2824146"/>
              <a:gd name="connsiteX8" fmla="*/ 152400 w 2815449"/>
              <a:gd name="connsiteY8" fmla="*/ 2497121 h 2824146"/>
              <a:gd name="connsiteX9" fmla="*/ 152400 w 2815449"/>
              <a:gd name="connsiteY9" fmla="*/ 2471721 h 2824146"/>
              <a:gd name="connsiteX10" fmla="*/ 215900 w 2815449"/>
              <a:gd name="connsiteY10" fmla="*/ 2497121 h 2824146"/>
              <a:gd name="connsiteX11" fmla="*/ 295275 w 2815449"/>
              <a:gd name="connsiteY11" fmla="*/ 2490771 h 2824146"/>
              <a:gd name="connsiteX12" fmla="*/ 330200 w 2815449"/>
              <a:gd name="connsiteY12" fmla="*/ 2500296 h 2824146"/>
              <a:gd name="connsiteX13" fmla="*/ 314325 w 2815449"/>
              <a:gd name="connsiteY13" fmla="*/ 2427271 h 2824146"/>
              <a:gd name="connsiteX14" fmla="*/ 307975 w 2815449"/>
              <a:gd name="connsiteY14" fmla="*/ 2328846 h 2824146"/>
              <a:gd name="connsiteX15" fmla="*/ 330200 w 2815449"/>
              <a:gd name="connsiteY15" fmla="*/ 2281221 h 2824146"/>
              <a:gd name="connsiteX16" fmla="*/ 377825 w 2815449"/>
              <a:gd name="connsiteY16" fmla="*/ 2271696 h 2824146"/>
              <a:gd name="connsiteX17" fmla="*/ 447675 w 2815449"/>
              <a:gd name="connsiteY17" fmla="*/ 2249471 h 2824146"/>
              <a:gd name="connsiteX18" fmla="*/ 511175 w 2815449"/>
              <a:gd name="connsiteY18" fmla="*/ 2192321 h 2824146"/>
              <a:gd name="connsiteX19" fmla="*/ 542925 w 2815449"/>
              <a:gd name="connsiteY19" fmla="*/ 2176446 h 2824146"/>
              <a:gd name="connsiteX20" fmla="*/ 635000 w 2815449"/>
              <a:gd name="connsiteY20" fmla="*/ 2192321 h 2824146"/>
              <a:gd name="connsiteX21" fmla="*/ 736600 w 2815449"/>
              <a:gd name="connsiteY21" fmla="*/ 2192321 h 2824146"/>
              <a:gd name="connsiteX22" fmla="*/ 749300 w 2815449"/>
              <a:gd name="connsiteY22" fmla="*/ 2166921 h 2824146"/>
              <a:gd name="connsiteX23" fmla="*/ 752475 w 2815449"/>
              <a:gd name="connsiteY23" fmla="*/ 2144696 h 2824146"/>
              <a:gd name="connsiteX24" fmla="*/ 774700 w 2815449"/>
              <a:gd name="connsiteY24" fmla="*/ 2131996 h 2824146"/>
              <a:gd name="connsiteX25" fmla="*/ 793750 w 2815449"/>
              <a:gd name="connsiteY25" fmla="*/ 2103421 h 2824146"/>
              <a:gd name="connsiteX26" fmla="*/ 854075 w 2815449"/>
              <a:gd name="connsiteY26" fmla="*/ 2068496 h 2824146"/>
              <a:gd name="connsiteX27" fmla="*/ 917575 w 2815449"/>
              <a:gd name="connsiteY27" fmla="*/ 1989121 h 2824146"/>
              <a:gd name="connsiteX28" fmla="*/ 936625 w 2815449"/>
              <a:gd name="connsiteY28" fmla="*/ 1954196 h 2824146"/>
              <a:gd name="connsiteX29" fmla="*/ 920750 w 2815449"/>
              <a:gd name="connsiteY29" fmla="*/ 1887521 h 2824146"/>
              <a:gd name="connsiteX30" fmla="*/ 923925 w 2815449"/>
              <a:gd name="connsiteY30" fmla="*/ 1852596 h 2824146"/>
              <a:gd name="connsiteX31" fmla="*/ 962025 w 2815449"/>
              <a:gd name="connsiteY31" fmla="*/ 1808146 h 2824146"/>
              <a:gd name="connsiteX32" fmla="*/ 955675 w 2815449"/>
              <a:gd name="connsiteY32" fmla="*/ 1789096 h 2824146"/>
              <a:gd name="connsiteX33" fmla="*/ 920750 w 2815449"/>
              <a:gd name="connsiteY33" fmla="*/ 1763696 h 2824146"/>
              <a:gd name="connsiteX34" fmla="*/ 914400 w 2815449"/>
              <a:gd name="connsiteY34" fmla="*/ 1703371 h 2824146"/>
              <a:gd name="connsiteX35" fmla="*/ 908050 w 2815449"/>
              <a:gd name="connsiteY35" fmla="*/ 1655746 h 2824146"/>
              <a:gd name="connsiteX36" fmla="*/ 949325 w 2815449"/>
              <a:gd name="connsiteY36" fmla="*/ 1601771 h 2824146"/>
              <a:gd name="connsiteX37" fmla="*/ 949325 w 2815449"/>
              <a:gd name="connsiteY37" fmla="*/ 1576371 h 2824146"/>
              <a:gd name="connsiteX38" fmla="*/ 920750 w 2815449"/>
              <a:gd name="connsiteY38" fmla="*/ 1576371 h 2824146"/>
              <a:gd name="connsiteX39" fmla="*/ 898525 w 2815449"/>
              <a:gd name="connsiteY39" fmla="*/ 1573196 h 2824146"/>
              <a:gd name="connsiteX40" fmla="*/ 876300 w 2815449"/>
              <a:gd name="connsiteY40" fmla="*/ 1554146 h 2824146"/>
              <a:gd name="connsiteX41" fmla="*/ 885825 w 2815449"/>
              <a:gd name="connsiteY41" fmla="*/ 1528746 h 2824146"/>
              <a:gd name="connsiteX42" fmla="*/ 908050 w 2815449"/>
              <a:gd name="connsiteY42" fmla="*/ 1503346 h 2824146"/>
              <a:gd name="connsiteX43" fmla="*/ 904875 w 2815449"/>
              <a:gd name="connsiteY43" fmla="*/ 1474771 h 2824146"/>
              <a:gd name="connsiteX44" fmla="*/ 879475 w 2815449"/>
              <a:gd name="connsiteY44" fmla="*/ 1433496 h 2824146"/>
              <a:gd name="connsiteX45" fmla="*/ 895350 w 2815449"/>
              <a:gd name="connsiteY45" fmla="*/ 1408096 h 2824146"/>
              <a:gd name="connsiteX46" fmla="*/ 920750 w 2815449"/>
              <a:gd name="connsiteY46" fmla="*/ 1376346 h 2824146"/>
              <a:gd name="connsiteX47" fmla="*/ 908050 w 2815449"/>
              <a:gd name="connsiteY47" fmla="*/ 1322371 h 2824146"/>
              <a:gd name="connsiteX48" fmla="*/ 936625 w 2815449"/>
              <a:gd name="connsiteY48" fmla="*/ 1255696 h 2824146"/>
              <a:gd name="connsiteX49" fmla="*/ 971550 w 2815449"/>
              <a:gd name="connsiteY49" fmla="*/ 1236646 h 2824146"/>
              <a:gd name="connsiteX50" fmla="*/ 1025525 w 2815449"/>
              <a:gd name="connsiteY50" fmla="*/ 1236646 h 2824146"/>
              <a:gd name="connsiteX51" fmla="*/ 1050925 w 2815449"/>
              <a:gd name="connsiteY51" fmla="*/ 1208071 h 2824146"/>
              <a:gd name="connsiteX52" fmla="*/ 1069975 w 2815449"/>
              <a:gd name="connsiteY52" fmla="*/ 1182671 h 2824146"/>
              <a:gd name="connsiteX53" fmla="*/ 1092200 w 2815449"/>
              <a:gd name="connsiteY53" fmla="*/ 1169971 h 2824146"/>
              <a:gd name="connsiteX54" fmla="*/ 1108075 w 2815449"/>
              <a:gd name="connsiteY54" fmla="*/ 1163621 h 2824146"/>
              <a:gd name="connsiteX55" fmla="*/ 1079500 w 2815449"/>
              <a:gd name="connsiteY55" fmla="*/ 1135046 h 2824146"/>
              <a:gd name="connsiteX56" fmla="*/ 1044575 w 2815449"/>
              <a:gd name="connsiteY56" fmla="*/ 1119171 h 2824146"/>
              <a:gd name="connsiteX57" fmla="*/ 1019175 w 2815449"/>
              <a:gd name="connsiteY57" fmla="*/ 1103296 h 2824146"/>
              <a:gd name="connsiteX58" fmla="*/ 968375 w 2815449"/>
              <a:gd name="connsiteY58" fmla="*/ 1103296 h 2824146"/>
              <a:gd name="connsiteX59" fmla="*/ 968375 w 2815449"/>
              <a:gd name="connsiteY59" fmla="*/ 1103296 h 2824146"/>
              <a:gd name="connsiteX60" fmla="*/ 984250 w 2815449"/>
              <a:gd name="connsiteY60" fmla="*/ 1023921 h 2824146"/>
              <a:gd name="connsiteX61" fmla="*/ 1012825 w 2815449"/>
              <a:gd name="connsiteY61" fmla="*/ 973121 h 2824146"/>
              <a:gd name="connsiteX62" fmla="*/ 1009650 w 2815449"/>
              <a:gd name="connsiteY62" fmla="*/ 950896 h 2824146"/>
              <a:gd name="connsiteX63" fmla="*/ 993775 w 2815449"/>
              <a:gd name="connsiteY63" fmla="*/ 928671 h 2824146"/>
              <a:gd name="connsiteX64" fmla="*/ 993775 w 2815449"/>
              <a:gd name="connsiteY64" fmla="*/ 928671 h 2824146"/>
              <a:gd name="connsiteX65" fmla="*/ 1009650 w 2815449"/>
              <a:gd name="connsiteY65" fmla="*/ 909621 h 2824146"/>
              <a:gd name="connsiteX66" fmla="*/ 1041400 w 2815449"/>
              <a:gd name="connsiteY66" fmla="*/ 909621 h 2824146"/>
              <a:gd name="connsiteX67" fmla="*/ 1082675 w 2815449"/>
              <a:gd name="connsiteY67" fmla="*/ 871521 h 2824146"/>
              <a:gd name="connsiteX68" fmla="*/ 1108075 w 2815449"/>
              <a:gd name="connsiteY68" fmla="*/ 836596 h 2824146"/>
              <a:gd name="connsiteX69" fmla="*/ 1193800 w 2815449"/>
              <a:gd name="connsiteY69" fmla="*/ 779446 h 2824146"/>
              <a:gd name="connsiteX70" fmla="*/ 1228725 w 2815449"/>
              <a:gd name="connsiteY70" fmla="*/ 741346 h 2824146"/>
              <a:gd name="connsiteX71" fmla="*/ 1244600 w 2815449"/>
              <a:gd name="connsiteY71" fmla="*/ 690546 h 2824146"/>
              <a:gd name="connsiteX72" fmla="*/ 1311275 w 2815449"/>
              <a:gd name="connsiteY72" fmla="*/ 658796 h 2824146"/>
              <a:gd name="connsiteX73" fmla="*/ 1327150 w 2815449"/>
              <a:gd name="connsiteY73" fmla="*/ 630221 h 2824146"/>
              <a:gd name="connsiteX74" fmla="*/ 1323975 w 2815449"/>
              <a:gd name="connsiteY74" fmla="*/ 592121 h 2824146"/>
              <a:gd name="connsiteX75" fmla="*/ 1292225 w 2815449"/>
              <a:gd name="connsiteY75" fmla="*/ 569896 h 2824146"/>
              <a:gd name="connsiteX76" fmla="*/ 1304925 w 2815449"/>
              <a:gd name="connsiteY76" fmla="*/ 538146 h 2824146"/>
              <a:gd name="connsiteX77" fmla="*/ 1308100 w 2815449"/>
              <a:gd name="connsiteY77" fmla="*/ 465121 h 2824146"/>
              <a:gd name="connsiteX78" fmla="*/ 1327150 w 2815449"/>
              <a:gd name="connsiteY78" fmla="*/ 452421 h 2824146"/>
              <a:gd name="connsiteX79" fmla="*/ 1314450 w 2815449"/>
              <a:gd name="connsiteY79" fmla="*/ 427021 h 2824146"/>
              <a:gd name="connsiteX80" fmla="*/ 1323975 w 2815449"/>
              <a:gd name="connsiteY80" fmla="*/ 404796 h 2824146"/>
              <a:gd name="connsiteX81" fmla="*/ 1358900 w 2815449"/>
              <a:gd name="connsiteY81" fmla="*/ 373046 h 2824146"/>
              <a:gd name="connsiteX82" fmla="*/ 1374775 w 2815449"/>
              <a:gd name="connsiteY82" fmla="*/ 360346 h 2824146"/>
              <a:gd name="connsiteX83" fmla="*/ 1412875 w 2815449"/>
              <a:gd name="connsiteY83" fmla="*/ 350821 h 2824146"/>
              <a:gd name="connsiteX84" fmla="*/ 1428750 w 2815449"/>
              <a:gd name="connsiteY84" fmla="*/ 309546 h 2824146"/>
              <a:gd name="connsiteX85" fmla="*/ 1514475 w 2815449"/>
              <a:gd name="connsiteY85" fmla="*/ 303196 h 2824146"/>
              <a:gd name="connsiteX86" fmla="*/ 1558925 w 2815449"/>
              <a:gd name="connsiteY86" fmla="*/ 284146 h 2824146"/>
              <a:gd name="connsiteX87" fmla="*/ 1584325 w 2815449"/>
              <a:gd name="connsiteY87" fmla="*/ 303196 h 2824146"/>
              <a:gd name="connsiteX88" fmla="*/ 1660525 w 2815449"/>
              <a:gd name="connsiteY88" fmla="*/ 290496 h 2824146"/>
              <a:gd name="connsiteX89" fmla="*/ 1758950 w 2815449"/>
              <a:gd name="connsiteY89" fmla="*/ 287321 h 2824146"/>
              <a:gd name="connsiteX90" fmla="*/ 1831975 w 2815449"/>
              <a:gd name="connsiteY90" fmla="*/ 296846 h 2824146"/>
              <a:gd name="connsiteX91" fmla="*/ 1924050 w 2815449"/>
              <a:gd name="connsiteY91" fmla="*/ 328596 h 2824146"/>
              <a:gd name="connsiteX92" fmla="*/ 2016125 w 2815449"/>
              <a:gd name="connsiteY92" fmla="*/ 350821 h 2824146"/>
              <a:gd name="connsiteX93" fmla="*/ 2073275 w 2815449"/>
              <a:gd name="connsiteY93" fmla="*/ 344471 h 2824146"/>
              <a:gd name="connsiteX94" fmla="*/ 2120900 w 2815449"/>
              <a:gd name="connsiteY94" fmla="*/ 392096 h 2824146"/>
              <a:gd name="connsiteX95" fmla="*/ 2165350 w 2815449"/>
              <a:gd name="connsiteY95" fmla="*/ 404796 h 2824146"/>
              <a:gd name="connsiteX96" fmla="*/ 2206625 w 2815449"/>
              <a:gd name="connsiteY96" fmla="*/ 436546 h 2824146"/>
              <a:gd name="connsiteX97" fmla="*/ 2247900 w 2815449"/>
              <a:gd name="connsiteY97" fmla="*/ 417496 h 2824146"/>
              <a:gd name="connsiteX98" fmla="*/ 2311400 w 2815449"/>
              <a:gd name="connsiteY98" fmla="*/ 455596 h 2824146"/>
              <a:gd name="connsiteX99" fmla="*/ 2352675 w 2815449"/>
              <a:gd name="connsiteY99" fmla="*/ 458771 h 2824146"/>
              <a:gd name="connsiteX100" fmla="*/ 2413000 w 2815449"/>
              <a:gd name="connsiteY100" fmla="*/ 423846 h 2824146"/>
              <a:gd name="connsiteX101" fmla="*/ 2441575 w 2815449"/>
              <a:gd name="connsiteY101" fmla="*/ 433371 h 2824146"/>
              <a:gd name="connsiteX102" fmla="*/ 2476500 w 2815449"/>
              <a:gd name="connsiteY102" fmla="*/ 446071 h 2824146"/>
              <a:gd name="connsiteX103" fmla="*/ 2511425 w 2815449"/>
              <a:gd name="connsiteY103" fmla="*/ 436546 h 2824146"/>
              <a:gd name="connsiteX104" fmla="*/ 2574925 w 2815449"/>
              <a:gd name="connsiteY104" fmla="*/ 436546 h 2824146"/>
              <a:gd name="connsiteX105" fmla="*/ 2613025 w 2815449"/>
              <a:gd name="connsiteY105" fmla="*/ 401621 h 2824146"/>
              <a:gd name="connsiteX106" fmla="*/ 2654300 w 2815449"/>
              <a:gd name="connsiteY106" fmla="*/ 360346 h 2824146"/>
              <a:gd name="connsiteX107" fmla="*/ 2695575 w 2815449"/>
              <a:gd name="connsiteY107" fmla="*/ 366696 h 2824146"/>
              <a:gd name="connsiteX108" fmla="*/ 2759075 w 2815449"/>
              <a:gd name="connsiteY108" fmla="*/ 341296 h 2824146"/>
              <a:gd name="connsiteX109" fmla="*/ 2800350 w 2815449"/>
              <a:gd name="connsiteY109" fmla="*/ 309546 h 2824146"/>
              <a:gd name="connsiteX110" fmla="*/ 2787650 w 2815449"/>
              <a:gd name="connsiteY110" fmla="*/ 274621 h 2824146"/>
              <a:gd name="connsiteX111" fmla="*/ 2803525 w 2815449"/>
              <a:gd name="connsiteY111" fmla="*/ 246046 h 2824146"/>
              <a:gd name="connsiteX112" fmla="*/ 2794000 w 2815449"/>
              <a:gd name="connsiteY112" fmla="*/ 195246 h 2824146"/>
              <a:gd name="connsiteX113" fmla="*/ 2779868 w 2815449"/>
              <a:gd name="connsiteY113" fmla="*/ 118946 h 2824146"/>
              <a:gd name="connsiteX114" fmla="*/ 2776228 w 2815449"/>
              <a:gd name="connsiteY114" fmla="*/ 49001 h 2824146"/>
              <a:gd name="connsiteX115" fmla="*/ 2815449 w 2815449"/>
              <a:gd name="connsiteY115" fmla="*/ 0 h 2824146"/>
              <a:gd name="connsiteX0" fmla="*/ 0 w 2815449"/>
              <a:gd name="connsiteY0" fmla="*/ 2824146 h 2824146"/>
              <a:gd name="connsiteX1" fmla="*/ 44450 w 2815449"/>
              <a:gd name="connsiteY1" fmla="*/ 2789221 h 2824146"/>
              <a:gd name="connsiteX2" fmla="*/ 22225 w 2815449"/>
              <a:gd name="connsiteY2" fmla="*/ 2747946 h 2824146"/>
              <a:gd name="connsiteX3" fmla="*/ 50800 w 2815449"/>
              <a:gd name="connsiteY3" fmla="*/ 2722546 h 2824146"/>
              <a:gd name="connsiteX4" fmla="*/ 50800 w 2815449"/>
              <a:gd name="connsiteY4" fmla="*/ 2614596 h 2824146"/>
              <a:gd name="connsiteX5" fmla="*/ 79375 w 2815449"/>
              <a:gd name="connsiteY5" fmla="*/ 2595546 h 2824146"/>
              <a:gd name="connsiteX6" fmla="*/ 92075 w 2815449"/>
              <a:gd name="connsiteY6" fmla="*/ 2535221 h 2824146"/>
              <a:gd name="connsiteX7" fmla="*/ 107950 w 2815449"/>
              <a:gd name="connsiteY7" fmla="*/ 2516171 h 2824146"/>
              <a:gd name="connsiteX8" fmla="*/ 152400 w 2815449"/>
              <a:gd name="connsiteY8" fmla="*/ 2497121 h 2824146"/>
              <a:gd name="connsiteX9" fmla="*/ 152400 w 2815449"/>
              <a:gd name="connsiteY9" fmla="*/ 2471721 h 2824146"/>
              <a:gd name="connsiteX10" fmla="*/ 215900 w 2815449"/>
              <a:gd name="connsiteY10" fmla="*/ 2497121 h 2824146"/>
              <a:gd name="connsiteX11" fmla="*/ 295275 w 2815449"/>
              <a:gd name="connsiteY11" fmla="*/ 2490771 h 2824146"/>
              <a:gd name="connsiteX12" fmla="*/ 330200 w 2815449"/>
              <a:gd name="connsiteY12" fmla="*/ 2500296 h 2824146"/>
              <a:gd name="connsiteX13" fmla="*/ 314325 w 2815449"/>
              <a:gd name="connsiteY13" fmla="*/ 2427271 h 2824146"/>
              <a:gd name="connsiteX14" fmla="*/ 307975 w 2815449"/>
              <a:gd name="connsiteY14" fmla="*/ 2328846 h 2824146"/>
              <a:gd name="connsiteX15" fmla="*/ 330200 w 2815449"/>
              <a:gd name="connsiteY15" fmla="*/ 2281221 h 2824146"/>
              <a:gd name="connsiteX16" fmla="*/ 377825 w 2815449"/>
              <a:gd name="connsiteY16" fmla="*/ 2271696 h 2824146"/>
              <a:gd name="connsiteX17" fmla="*/ 447675 w 2815449"/>
              <a:gd name="connsiteY17" fmla="*/ 2249471 h 2824146"/>
              <a:gd name="connsiteX18" fmla="*/ 511175 w 2815449"/>
              <a:gd name="connsiteY18" fmla="*/ 2192321 h 2824146"/>
              <a:gd name="connsiteX19" fmla="*/ 542925 w 2815449"/>
              <a:gd name="connsiteY19" fmla="*/ 2176446 h 2824146"/>
              <a:gd name="connsiteX20" fmla="*/ 635000 w 2815449"/>
              <a:gd name="connsiteY20" fmla="*/ 2192321 h 2824146"/>
              <a:gd name="connsiteX21" fmla="*/ 736600 w 2815449"/>
              <a:gd name="connsiteY21" fmla="*/ 2192321 h 2824146"/>
              <a:gd name="connsiteX22" fmla="*/ 749300 w 2815449"/>
              <a:gd name="connsiteY22" fmla="*/ 2166921 h 2824146"/>
              <a:gd name="connsiteX23" fmla="*/ 752475 w 2815449"/>
              <a:gd name="connsiteY23" fmla="*/ 2144696 h 2824146"/>
              <a:gd name="connsiteX24" fmla="*/ 774700 w 2815449"/>
              <a:gd name="connsiteY24" fmla="*/ 2131996 h 2824146"/>
              <a:gd name="connsiteX25" fmla="*/ 793750 w 2815449"/>
              <a:gd name="connsiteY25" fmla="*/ 2103421 h 2824146"/>
              <a:gd name="connsiteX26" fmla="*/ 854075 w 2815449"/>
              <a:gd name="connsiteY26" fmla="*/ 2068496 h 2824146"/>
              <a:gd name="connsiteX27" fmla="*/ 917575 w 2815449"/>
              <a:gd name="connsiteY27" fmla="*/ 1989121 h 2824146"/>
              <a:gd name="connsiteX28" fmla="*/ 936625 w 2815449"/>
              <a:gd name="connsiteY28" fmla="*/ 1954196 h 2824146"/>
              <a:gd name="connsiteX29" fmla="*/ 920750 w 2815449"/>
              <a:gd name="connsiteY29" fmla="*/ 1887521 h 2824146"/>
              <a:gd name="connsiteX30" fmla="*/ 923925 w 2815449"/>
              <a:gd name="connsiteY30" fmla="*/ 1852596 h 2824146"/>
              <a:gd name="connsiteX31" fmla="*/ 962025 w 2815449"/>
              <a:gd name="connsiteY31" fmla="*/ 1808146 h 2824146"/>
              <a:gd name="connsiteX32" fmla="*/ 955675 w 2815449"/>
              <a:gd name="connsiteY32" fmla="*/ 1789096 h 2824146"/>
              <a:gd name="connsiteX33" fmla="*/ 920750 w 2815449"/>
              <a:gd name="connsiteY33" fmla="*/ 1763696 h 2824146"/>
              <a:gd name="connsiteX34" fmla="*/ 914400 w 2815449"/>
              <a:gd name="connsiteY34" fmla="*/ 1703371 h 2824146"/>
              <a:gd name="connsiteX35" fmla="*/ 908050 w 2815449"/>
              <a:gd name="connsiteY35" fmla="*/ 1655746 h 2824146"/>
              <a:gd name="connsiteX36" fmla="*/ 949325 w 2815449"/>
              <a:gd name="connsiteY36" fmla="*/ 1601771 h 2824146"/>
              <a:gd name="connsiteX37" fmla="*/ 949325 w 2815449"/>
              <a:gd name="connsiteY37" fmla="*/ 1576371 h 2824146"/>
              <a:gd name="connsiteX38" fmla="*/ 920750 w 2815449"/>
              <a:gd name="connsiteY38" fmla="*/ 1576371 h 2824146"/>
              <a:gd name="connsiteX39" fmla="*/ 898525 w 2815449"/>
              <a:gd name="connsiteY39" fmla="*/ 1573196 h 2824146"/>
              <a:gd name="connsiteX40" fmla="*/ 876300 w 2815449"/>
              <a:gd name="connsiteY40" fmla="*/ 1554146 h 2824146"/>
              <a:gd name="connsiteX41" fmla="*/ 885825 w 2815449"/>
              <a:gd name="connsiteY41" fmla="*/ 1528746 h 2824146"/>
              <a:gd name="connsiteX42" fmla="*/ 908050 w 2815449"/>
              <a:gd name="connsiteY42" fmla="*/ 1503346 h 2824146"/>
              <a:gd name="connsiteX43" fmla="*/ 904875 w 2815449"/>
              <a:gd name="connsiteY43" fmla="*/ 1474771 h 2824146"/>
              <a:gd name="connsiteX44" fmla="*/ 879475 w 2815449"/>
              <a:gd name="connsiteY44" fmla="*/ 1433496 h 2824146"/>
              <a:gd name="connsiteX45" fmla="*/ 895350 w 2815449"/>
              <a:gd name="connsiteY45" fmla="*/ 1408096 h 2824146"/>
              <a:gd name="connsiteX46" fmla="*/ 920750 w 2815449"/>
              <a:gd name="connsiteY46" fmla="*/ 1376346 h 2824146"/>
              <a:gd name="connsiteX47" fmla="*/ 908050 w 2815449"/>
              <a:gd name="connsiteY47" fmla="*/ 1322371 h 2824146"/>
              <a:gd name="connsiteX48" fmla="*/ 936625 w 2815449"/>
              <a:gd name="connsiteY48" fmla="*/ 1255696 h 2824146"/>
              <a:gd name="connsiteX49" fmla="*/ 971550 w 2815449"/>
              <a:gd name="connsiteY49" fmla="*/ 1236646 h 2824146"/>
              <a:gd name="connsiteX50" fmla="*/ 1025525 w 2815449"/>
              <a:gd name="connsiteY50" fmla="*/ 1236646 h 2824146"/>
              <a:gd name="connsiteX51" fmla="*/ 1050925 w 2815449"/>
              <a:gd name="connsiteY51" fmla="*/ 1208071 h 2824146"/>
              <a:gd name="connsiteX52" fmla="*/ 1069975 w 2815449"/>
              <a:gd name="connsiteY52" fmla="*/ 1182671 h 2824146"/>
              <a:gd name="connsiteX53" fmla="*/ 1092200 w 2815449"/>
              <a:gd name="connsiteY53" fmla="*/ 1169971 h 2824146"/>
              <a:gd name="connsiteX54" fmla="*/ 1108075 w 2815449"/>
              <a:gd name="connsiteY54" fmla="*/ 1163621 h 2824146"/>
              <a:gd name="connsiteX55" fmla="*/ 1079500 w 2815449"/>
              <a:gd name="connsiteY55" fmla="*/ 1135046 h 2824146"/>
              <a:gd name="connsiteX56" fmla="*/ 1044575 w 2815449"/>
              <a:gd name="connsiteY56" fmla="*/ 1119171 h 2824146"/>
              <a:gd name="connsiteX57" fmla="*/ 1019175 w 2815449"/>
              <a:gd name="connsiteY57" fmla="*/ 1103296 h 2824146"/>
              <a:gd name="connsiteX58" fmla="*/ 968375 w 2815449"/>
              <a:gd name="connsiteY58" fmla="*/ 1103296 h 2824146"/>
              <a:gd name="connsiteX59" fmla="*/ 968375 w 2815449"/>
              <a:gd name="connsiteY59" fmla="*/ 1103296 h 2824146"/>
              <a:gd name="connsiteX60" fmla="*/ 984250 w 2815449"/>
              <a:gd name="connsiteY60" fmla="*/ 1023921 h 2824146"/>
              <a:gd name="connsiteX61" fmla="*/ 1012825 w 2815449"/>
              <a:gd name="connsiteY61" fmla="*/ 973121 h 2824146"/>
              <a:gd name="connsiteX62" fmla="*/ 1009650 w 2815449"/>
              <a:gd name="connsiteY62" fmla="*/ 950896 h 2824146"/>
              <a:gd name="connsiteX63" fmla="*/ 993775 w 2815449"/>
              <a:gd name="connsiteY63" fmla="*/ 928671 h 2824146"/>
              <a:gd name="connsiteX64" fmla="*/ 993775 w 2815449"/>
              <a:gd name="connsiteY64" fmla="*/ 928671 h 2824146"/>
              <a:gd name="connsiteX65" fmla="*/ 1009650 w 2815449"/>
              <a:gd name="connsiteY65" fmla="*/ 909621 h 2824146"/>
              <a:gd name="connsiteX66" fmla="*/ 1041400 w 2815449"/>
              <a:gd name="connsiteY66" fmla="*/ 909621 h 2824146"/>
              <a:gd name="connsiteX67" fmla="*/ 1082675 w 2815449"/>
              <a:gd name="connsiteY67" fmla="*/ 871521 h 2824146"/>
              <a:gd name="connsiteX68" fmla="*/ 1108075 w 2815449"/>
              <a:gd name="connsiteY68" fmla="*/ 836596 h 2824146"/>
              <a:gd name="connsiteX69" fmla="*/ 1193800 w 2815449"/>
              <a:gd name="connsiteY69" fmla="*/ 779446 h 2824146"/>
              <a:gd name="connsiteX70" fmla="*/ 1228725 w 2815449"/>
              <a:gd name="connsiteY70" fmla="*/ 741346 h 2824146"/>
              <a:gd name="connsiteX71" fmla="*/ 1244600 w 2815449"/>
              <a:gd name="connsiteY71" fmla="*/ 690546 h 2824146"/>
              <a:gd name="connsiteX72" fmla="*/ 1311275 w 2815449"/>
              <a:gd name="connsiteY72" fmla="*/ 658796 h 2824146"/>
              <a:gd name="connsiteX73" fmla="*/ 1327150 w 2815449"/>
              <a:gd name="connsiteY73" fmla="*/ 630221 h 2824146"/>
              <a:gd name="connsiteX74" fmla="*/ 1323975 w 2815449"/>
              <a:gd name="connsiteY74" fmla="*/ 592121 h 2824146"/>
              <a:gd name="connsiteX75" fmla="*/ 1292225 w 2815449"/>
              <a:gd name="connsiteY75" fmla="*/ 569896 h 2824146"/>
              <a:gd name="connsiteX76" fmla="*/ 1304925 w 2815449"/>
              <a:gd name="connsiteY76" fmla="*/ 538146 h 2824146"/>
              <a:gd name="connsiteX77" fmla="*/ 1308100 w 2815449"/>
              <a:gd name="connsiteY77" fmla="*/ 465121 h 2824146"/>
              <a:gd name="connsiteX78" fmla="*/ 1327150 w 2815449"/>
              <a:gd name="connsiteY78" fmla="*/ 452421 h 2824146"/>
              <a:gd name="connsiteX79" fmla="*/ 1314450 w 2815449"/>
              <a:gd name="connsiteY79" fmla="*/ 427021 h 2824146"/>
              <a:gd name="connsiteX80" fmla="*/ 1323975 w 2815449"/>
              <a:gd name="connsiteY80" fmla="*/ 404796 h 2824146"/>
              <a:gd name="connsiteX81" fmla="*/ 1358900 w 2815449"/>
              <a:gd name="connsiteY81" fmla="*/ 373046 h 2824146"/>
              <a:gd name="connsiteX82" fmla="*/ 1374775 w 2815449"/>
              <a:gd name="connsiteY82" fmla="*/ 360346 h 2824146"/>
              <a:gd name="connsiteX83" fmla="*/ 1412875 w 2815449"/>
              <a:gd name="connsiteY83" fmla="*/ 350821 h 2824146"/>
              <a:gd name="connsiteX84" fmla="*/ 1428750 w 2815449"/>
              <a:gd name="connsiteY84" fmla="*/ 309546 h 2824146"/>
              <a:gd name="connsiteX85" fmla="*/ 1514475 w 2815449"/>
              <a:gd name="connsiteY85" fmla="*/ 303196 h 2824146"/>
              <a:gd name="connsiteX86" fmla="*/ 1558925 w 2815449"/>
              <a:gd name="connsiteY86" fmla="*/ 284146 h 2824146"/>
              <a:gd name="connsiteX87" fmla="*/ 1584325 w 2815449"/>
              <a:gd name="connsiteY87" fmla="*/ 303196 h 2824146"/>
              <a:gd name="connsiteX88" fmla="*/ 1660525 w 2815449"/>
              <a:gd name="connsiteY88" fmla="*/ 290496 h 2824146"/>
              <a:gd name="connsiteX89" fmla="*/ 1758950 w 2815449"/>
              <a:gd name="connsiteY89" fmla="*/ 287321 h 2824146"/>
              <a:gd name="connsiteX90" fmla="*/ 1831975 w 2815449"/>
              <a:gd name="connsiteY90" fmla="*/ 296846 h 2824146"/>
              <a:gd name="connsiteX91" fmla="*/ 1924050 w 2815449"/>
              <a:gd name="connsiteY91" fmla="*/ 328596 h 2824146"/>
              <a:gd name="connsiteX92" fmla="*/ 2016125 w 2815449"/>
              <a:gd name="connsiteY92" fmla="*/ 350821 h 2824146"/>
              <a:gd name="connsiteX93" fmla="*/ 2073275 w 2815449"/>
              <a:gd name="connsiteY93" fmla="*/ 344471 h 2824146"/>
              <a:gd name="connsiteX94" fmla="*/ 2120900 w 2815449"/>
              <a:gd name="connsiteY94" fmla="*/ 392096 h 2824146"/>
              <a:gd name="connsiteX95" fmla="*/ 2165350 w 2815449"/>
              <a:gd name="connsiteY95" fmla="*/ 404796 h 2824146"/>
              <a:gd name="connsiteX96" fmla="*/ 2206625 w 2815449"/>
              <a:gd name="connsiteY96" fmla="*/ 436546 h 2824146"/>
              <a:gd name="connsiteX97" fmla="*/ 2247900 w 2815449"/>
              <a:gd name="connsiteY97" fmla="*/ 417496 h 2824146"/>
              <a:gd name="connsiteX98" fmla="*/ 2311400 w 2815449"/>
              <a:gd name="connsiteY98" fmla="*/ 455596 h 2824146"/>
              <a:gd name="connsiteX99" fmla="*/ 2352675 w 2815449"/>
              <a:gd name="connsiteY99" fmla="*/ 458771 h 2824146"/>
              <a:gd name="connsiteX100" fmla="*/ 2413000 w 2815449"/>
              <a:gd name="connsiteY100" fmla="*/ 423846 h 2824146"/>
              <a:gd name="connsiteX101" fmla="*/ 2441575 w 2815449"/>
              <a:gd name="connsiteY101" fmla="*/ 433371 h 2824146"/>
              <a:gd name="connsiteX102" fmla="*/ 2476500 w 2815449"/>
              <a:gd name="connsiteY102" fmla="*/ 446071 h 2824146"/>
              <a:gd name="connsiteX103" fmla="*/ 2511425 w 2815449"/>
              <a:gd name="connsiteY103" fmla="*/ 436546 h 2824146"/>
              <a:gd name="connsiteX104" fmla="*/ 2574925 w 2815449"/>
              <a:gd name="connsiteY104" fmla="*/ 436546 h 2824146"/>
              <a:gd name="connsiteX105" fmla="*/ 2613025 w 2815449"/>
              <a:gd name="connsiteY105" fmla="*/ 401621 h 2824146"/>
              <a:gd name="connsiteX106" fmla="*/ 2654300 w 2815449"/>
              <a:gd name="connsiteY106" fmla="*/ 360346 h 2824146"/>
              <a:gd name="connsiteX107" fmla="*/ 2695575 w 2815449"/>
              <a:gd name="connsiteY107" fmla="*/ 366696 h 2824146"/>
              <a:gd name="connsiteX108" fmla="*/ 2759075 w 2815449"/>
              <a:gd name="connsiteY108" fmla="*/ 341296 h 2824146"/>
              <a:gd name="connsiteX109" fmla="*/ 2800350 w 2815449"/>
              <a:gd name="connsiteY109" fmla="*/ 309546 h 2824146"/>
              <a:gd name="connsiteX110" fmla="*/ 2787650 w 2815449"/>
              <a:gd name="connsiteY110" fmla="*/ 274621 h 2824146"/>
              <a:gd name="connsiteX111" fmla="*/ 2803525 w 2815449"/>
              <a:gd name="connsiteY111" fmla="*/ 246046 h 2824146"/>
              <a:gd name="connsiteX112" fmla="*/ 2794000 w 2815449"/>
              <a:gd name="connsiteY112" fmla="*/ 195246 h 2824146"/>
              <a:gd name="connsiteX113" fmla="*/ 2812624 w 2815449"/>
              <a:gd name="connsiteY113" fmla="*/ 93177 h 2824146"/>
              <a:gd name="connsiteX114" fmla="*/ 2776228 w 2815449"/>
              <a:gd name="connsiteY114" fmla="*/ 49001 h 2824146"/>
              <a:gd name="connsiteX115" fmla="*/ 2815449 w 2815449"/>
              <a:gd name="connsiteY115" fmla="*/ 0 h 2824146"/>
              <a:gd name="connsiteX0" fmla="*/ 0 w 2815449"/>
              <a:gd name="connsiteY0" fmla="*/ 2824146 h 2824146"/>
              <a:gd name="connsiteX1" fmla="*/ 44450 w 2815449"/>
              <a:gd name="connsiteY1" fmla="*/ 2789221 h 2824146"/>
              <a:gd name="connsiteX2" fmla="*/ 22225 w 2815449"/>
              <a:gd name="connsiteY2" fmla="*/ 2747946 h 2824146"/>
              <a:gd name="connsiteX3" fmla="*/ 50800 w 2815449"/>
              <a:gd name="connsiteY3" fmla="*/ 2722546 h 2824146"/>
              <a:gd name="connsiteX4" fmla="*/ 50800 w 2815449"/>
              <a:gd name="connsiteY4" fmla="*/ 2614596 h 2824146"/>
              <a:gd name="connsiteX5" fmla="*/ 79375 w 2815449"/>
              <a:gd name="connsiteY5" fmla="*/ 2595546 h 2824146"/>
              <a:gd name="connsiteX6" fmla="*/ 92075 w 2815449"/>
              <a:gd name="connsiteY6" fmla="*/ 2535221 h 2824146"/>
              <a:gd name="connsiteX7" fmla="*/ 107950 w 2815449"/>
              <a:gd name="connsiteY7" fmla="*/ 2516171 h 2824146"/>
              <a:gd name="connsiteX8" fmla="*/ 152400 w 2815449"/>
              <a:gd name="connsiteY8" fmla="*/ 2497121 h 2824146"/>
              <a:gd name="connsiteX9" fmla="*/ 152400 w 2815449"/>
              <a:gd name="connsiteY9" fmla="*/ 2471721 h 2824146"/>
              <a:gd name="connsiteX10" fmla="*/ 215900 w 2815449"/>
              <a:gd name="connsiteY10" fmla="*/ 2497121 h 2824146"/>
              <a:gd name="connsiteX11" fmla="*/ 295275 w 2815449"/>
              <a:gd name="connsiteY11" fmla="*/ 2490771 h 2824146"/>
              <a:gd name="connsiteX12" fmla="*/ 330200 w 2815449"/>
              <a:gd name="connsiteY12" fmla="*/ 2500296 h 2824146"/>
              <a:gd name="connsiteX13" fmla="*/ 314325 w 2815449"/>
              <a:gd name="connsiteY13" fmla="*/ 2427271 h 2824146"/>
              <a:gd name="connsiteX14" fmla="*/ 307975 w 2815449"/>
              <a:gd name="connsiteY14" fmla="*/ 2328846 h 2824146"/>
              <a:gd name="connsiteX15" fmla="*/ 330200 w 2815449"/>
              <a:gd name="connsiteY15" fmla="*/ 2281221 h 2824146"/>
              <a:gd name="connsiteX16" fmla="*/ 377825 w 2815449"/>
              <a:gd name="connsiteY16" fmla="*/ 2271696 h 2824146"/>
              <a:gd name="connsiteX17" fmla="*/ 447675 w 2815449"/>
              <a:gd name="connsiteY17" fmla="*/ 2249471 h 2824146"/>
              <a:gd name="connsiteX18" fmla="*/ 511175 w 2815449"/>
              <a:gd name="connsiteY18" fmla="*/ 2192321 h 2824146"/>
              <a:gd name="connsiteX19" fmla="*/ 542925 w 2815449"/>
              <a:gd name="connsiteY19" fmla="*/ 2176446 h 2824146"/>
              <a:gd name="connsiteX20" fmla="*/ 635000 w 2815449"/>
              <a:gd name="connsiteY20" fmla="*/ 2192321 h 2824146"/>
              <a:gd name="connsiteX21" fmla="*/ 736600 w 2815449"/>
              <a:gd name="connsiteY21" fmla="*/ 2192321 h 2824146"/>
              <a:gd name="connsiteX22" fmla="*/ 749300 w 2815449"/>
              <a:gd name="connsiteY22" fmla="*/ 2166921 h 2824146"/>
              <a:gd name="connsiteX23" fmla="*/ 752475 w 2815449"/>
              <a:gd name="connsiteY23" fmla="*/ 2144696 h 2824146"/>
              <a:gd name="connsiteX24" fmla="*/ 774700 w 2815449"/>
              <a:gd name="connsiteY24" fmla="*/ 2131996 h 2824146"/>
              <a:gd name="connsiteX25" fmla="*/ 793750 w 2815449"/>
              <a:gd name="connsiteY25" fmla="*/ 2103421 h 2824146"/>
              <a:gd name="connsiteX26" fmla="*/ 854075 w 2815449"/>
              <a:gd name="connsiteY26" fmla="*/ 2068496 h 2824146"/>
              <a:gd name="connsiteX27" fmla="*/ 917575 w 2815449"/>
              <a:gd name="connsiteY27" fmla="*/ 1989121 h 2824146"/>
              <a:gd name="connsiteX28" fmla="*/ 936625 w 2815449"/>
              <a:gd name="connsiteY28" fmla="*/ 1954196 h 2824146"/>
              <a:gd name="connsiteX29" fmla="*/ 920750 w 2815449"/>
              <a:gd name="connsiteY29" fmla="*/ 1887521 h 2824146"/>
              <a:gd name="connsiteX30" fmla="*/ 923925 w 2815449"/>
              <a:gd name="connsiteY30" fmla="*/ 1852596 h 2824146"/>
              <a:gd name="connsiteX31" fmla="*/ 962025 w 2815449"/>
              <a:gd name="connsiteY31" fmla="*/ 1808146 h 2824146"/>
              <a:gd name="connsiteX32" fmla="*/ 955675 w 2815449"/>
              <a:gd name="connsiteY32" fmla="*/ 1789096 h 2824146"/>
              <a:gd name="connsiteX33" fmla="*/ 920750 w 2815449"/>
              <a:gd name="connsiteY33" fmla="*/ 1763696 h 2824146"/>
              <a:gd name="connsiteX34" fmla="*/ 914400 w 2815449"/>
              <a:gd name="connsiteY34" fmla="*/ 1703371 h 2824146"/>
              <a:gd name="connsiteX35" fmla="*/ 908050 w 2815449"/>
              <a:gd name="connsiteY35" fmla="*/ 1655746 h 2824146"/>
              <a:gd name="connsiteX36" fmla="*/ 949325 w 2815449"/>
              <a:gd name="connsiteY36" fmla="*/ 1601771 h 2824146"/>
              <a:gd name="connsiteX37" fmla="*/ 949325 w 2815449"/>
              <a:gd name="connsiteY37" fmla="*/ 1576371 h 2824146"/>
              <a:gd name="connsiteX38" fmla="*/ 920750 w 2815449"/>
              <a:gd name="connsiteY38" fmla="*/ 1576371 h 2824146"/>
              <a:gd name="connsiteX39" fmla="*/ 898525 w 2815449"/>
              <a:gd name="connsiteY39" fmla="*/ 1573196 h 2824146"/>
              <a:gd name="connsiteX40" fmla="*/ 876300 w 2815449"/>
              <a:gd name="connsiteY40" fmla="*/ 1554146 h 2824146"/>
              <a:gd name="connsiteX41" fmla="*/ 885825 w 2815449"/>
              <a:gd name="connsiteY41" fmla="*/ 1528746 h 2824146"/>
              <a:gd name="connsiteX42" fmla="*/ 908050 w 2815449"/>
              <a:gd name="connsiteY42" fmla="*/ 1503346 h 2824146"/>
              <a:gd name="connsiteX43" fmla="*/ 904875 w 2815449"/>
              <a:gd name="connsiteY43" fmla="*/ 1474771 h 2824146"/>
              <a:gd name="connsiteX44" fmla="*/ 879475 w 2815449"/>
              <a:gd name="connsiteY44" fmla="*/ 1433496 h 2824146"/>
              <a:gd name="connsiteX45" fmla="*/ 895350 w 2815449"/>
              <a:gd name="connsiteY45" fmla="*/ 1408096 h 2824146"/>
              <a:gd name="connsiteX46" fmla="*/ 920750 w 2815449"/>
              <a:gd name="connsiteY46" fmla="*/ 1376346 h 2824146"/>
              <a:gd name="connsiteX47" fmla="*/ 908050 w 2815449"/>
              <a:gd name="connsiteY47" fmla="*/ 1322371 h 2824146"/>
              <a:gd name="connsiteX48" fmla="*/ 936625 w 2815449"/>
              <a:gd name="connsiteY48" fmla="*/ 1255696 h 2824146"/>
              <a:gd name="connsiteX49" fmla="*/ 971550 w 2815449"/>
              <a:gd name="connsiteY49" fmla="*/ 1236646 h 2824146"/>
              <a:gd name="connsiteX50" fmla="*/ 1025525 w 2815449"/>
              <a:gd name="connsiteY50" fmla="*/ 1236646 h 2824146"/>
              <a:gd name="connsiteX51" fmla="*/ 1050925 w 2815449"/>
              <a:gd name="connsiteY51" fmla="*/ 1208071 h 2824146"/>
              <a:gd name="connsiteX52" fmla="*/ 1069975 w 2815449"/>
              <a:gd name="connsiteY52" fmla="*/ 1182671 h 2824146"/>
              <a:gd name="connsiteX53" fmla="*/ 1092200 w 2815449"/>
              <a:gd name="connsiteY53" fmla="*/ 1169971 h 2824146"/>
              <a:gd name="connsiteX54" fmla="*/ 1108075 w 2815449"/>
              <a:gd name="connsiteY54" fmla="*/ 1163621 h 2824146"/>
              <a:gd name="connsiteX55" fmla="*/ 1079500 w 2815449"/>
              <a:gd name="connsiteY55" fmla="*/ 1135046 h 2824146"/>
              <a:gd name="connsiteX56" fmla="*/ 1044575 w 2815449"/>
              <a:gd name="connsiteY56" fmla="*/ 1119171 h 2824146"/>
              <a:gd name="connsiteX57" fmla="*/ 1019175 w 2815449"/>
              <a:gd name="connsiteY57" fmla="*/ 1103296 h 2824146"/>
              <a:gd name="connsiteX58" fmla="*/ 968375 w 2815449"/>
              <a:gd name="connsiteY58" fmla="*/ 1103296 h 2824146"/>
              <a:gd name="connsiteX59" fmla="*/ 968375 w 2815449"/>
              <a:gd name="connsiteY59" fmla="*/ 1103296 h 2824146"/>
              <a:gd name="connsiteX60" fmla="*/ 984250 w 2815449"/>
              <a:gd name="connsiteY60" fmla="*/ 1023921 h 2824146"/>
              <a:gd name="connsiteX61" fmla="*/ 1012825 w 2815449"/>
              <a:gd name="connsiteY61" fmla="*/ 973121 h 2824146"/>
              <a:gd name="connsiteX62" fmla="*/ 1009650 w 2815449"/>
              <a:gd name="connsiteY62" fmla="*/ 950896 h 2824146"/>
              <a:gd name="connsiteX63" fmla="*/ 993775 w 2815449"/>
              <a:gd name="connsiteY63" fmla="*/ 928671 h 2824146"/>
              <a:gd name="connsiteX64" fmla="*/ 993775 w 2815449"/>
              <a:gd name="connsiteY64" fmla="*/ 928671 h 2824146"/>
              <a:gd name="connsiteX65" fmla="*/ 1009650 w 2815449"/>
              <a:gd name="connsiteY65" fmla="*/ 909621 h 2824146"/>
              <a:gd name="connsiteX66" fmla="*/ 1041400 w 2815449"/>
              <a:gd name="connsiteY66" fmla="*/ 909621 h 2824146"/>
              <a:gd name="connsiteX67" fmla="*/ 1082675 w 2815449"/>
              <a:gd name="connsiteY67" fmla="*/ 871521 h 2824146"/>
              <a:gd name="connsiteX68" fmla="*/ 1108075 w 2815449"/>
              <a:gd name="connsiteY68" fmla="*/ 836596 h 2824146"/>
              <a:gd name="connsiteX69" fmla="*/ 1193800 w 2815449"/>
              <a:gd name="connsiteY69" fmla="*/ 779446 h 2824146"/>
              <a:gd name="connsiteX70" fmla="*/ 1228725 w 2815449"/>
              <a:gd name="connsiteY70" fmla="*/ 741346 h 2824146"/>
              <a:gd name="connsiteX71" fmla="*/ 1244600 w 2815449"/>
              <a:gd name="connsiteY71" fmla="*/ 690546 h 2824146"/>
              <a:gd name="connsiteX72" fmla="*/ 1311275 w 2815449"/>
              <a:gd name="connsiteY72" fmla="*/ 658796 h 2824146"/>
              <a:gd name="connsiteX73" fmla="*/ 1327150 w 2815449"/>
              <a:gd name="connsiteY73" fmla="*/ 630221 h 2824146"/>
              <a:gd name="connsiteX74" fmla="*/ 1323975 w 2815449"/>
              <a:gd name="connsiteY74" fmla="*/ 592121 h 2824146"/>
              <a:gd name="connsiteX75" fmla="*/ 1292225 w 2815449"/>
              <a:gd name="connsiteY75" fmla="*/ 569896 h 2824146"/>
              <a:gd name="connsiteX76" fmla="*/ 1304925 w 2815449"/>
              <a:gd name="connsiteY76" fmla="*/ 538146 h 2824146"/>
              <a:gd name="connsiteX77" fmla="*/ 1308100 w 2815449"/>
              <a:gd name="connsiteY77" fmla="*/ 465121 h 2824146"/>
              <a:gd name="connsiteX78" fmla="*/ 1327150 w 2815449"/>
              <a:gd name="connsiteY78" fmla="*/ 452421 h 2824146"/>
              <a:gd name="connsiteX79" fmla="*/ 1314450 w 2815449"/>
              <a:gd name="connsiteY79" fmla="*/ 427021 h 2824146"/>
              <a:gd name="connsiteX80" fmla="*/ 1323975 w 2815449"/>
              <a:gd name="connsiteY80" fmla="*/ 404796 h 2824146"/>
              <a:gd name="connsiteX81" fmla="*/ 1358900 w 2815449"/>
              <a:gd name="connsiteY81" fmla="*/ 373046 h 2824146"/>
              <a:gd name="connsiteX82" fmla="*/ 1374775 w 2815449"/>
              <a:gd name="connsiteY82" fmla="*/ 360346 h 2824146"/>
              <a:gd name="connsiteX83" fmla="*/ 1412875 w 2815449"/>
              <a:gd name="connsiteY83" fmla="*/ 350821 h 2824146"/>
              <a:gd name="connsiteX84" fmla="*/ 1428750 w 2815449"/>
              <a:gd name="connsiteY84" fmla="*/ 309546 h 2824146"/>
              <a:gd name="connsiteX85" fmla="*/ 1514475 w 2815449"/>
              <a:gd name="connsiteY85" fmla="*/ 303196 h 2824146"/>
              <a:gd name="connsiteX86" fmla="*/ 1558925 w 2815449"/>
              <a:gd name="connsiteY86" fmla="*/ 284146 h 2824146"/>
              <a:gd name="connsiteX87" fmla="*/ 1584325 w 2815449"/>
              <a:gd name="connsiteY87" fmla="*/ 303196 h 2824146"/>
              <a:gd name="connsiteX88" fmla="*/ 1660525 w 2815449"/>
              <a:gd name="connsiteY88" fmla="*/ 290496 h 2824146"/>
              <a:gd name="connsiteX89" fmla="*/ 1758950 w 2815449"/>
              <a:gd name="connsiteY89" fmla="*/ 287321 h 2824146"/>
              <a:gd name="connsiteX90" fmla="*/ 1831975 w 2815449"/>
              <a:gd name="connsiteY90" fmla="*/ 296846 h 2824146"/>
              <a:gd name="connsiteX91" fmla="*/ 1924050 w 2815449"/>
              <a:gd name="connsiteY91" fmla="*/ 328596 h 2824146"/>
              <a:gd name="connsiteX92" fmla="*/ 2016125 w 2815449"/>
              <a:gd name="connsiteY92" fmla="*/ 350821 h 2824146"/>
              <a:gd name="connsiteX93" fmla="*/ 2073275 w 2815449"/>
              <a:gd name="connsiteY93" fmla="*/ 344471 h 2824146"/>
              <a:gd name="connsiteX94" fmla="*/ 2120900 w 2815449"/>
              <a:gd name="connsiteY94" fmla="*/ 392096 h 2824146"/>
              <a:gd name="connsiteX95" fmla="*/ 2165350 w 2815449"/>
              <a:gd name="connsiteY95" fmla="*/ 404796 h 2824146"/>
              <a:gd name="connsiteX96" fmla="*/ 2206625 w 2815449"/>
              <a:gd name="connsiteY96" fmla="*/ 436546 h 2824146"/>
              <a:gd name="connsiteX97" fmla="*/ 2247900 w 2815449"/>
              <a:gd name="connsiteY97" fmla="*/ 417496 h 2824146"/>
              <a:gd name="connsiteX98" fmla="*/ 2311400 w 2815449"/>
              <a:gd name="connsiteY98" fmla="*/ 455596 h 2824146"/>
              <a:gd name="connsiteX99" fmla="*/ 2352675 w 2815449"/>
              <a:gd name="connsiteY99" fmla="*/ 458771 h 2824146"/>
              <a:gd name="connsiteX100" fmla="*/ 2413000 w 2815449"/>
              <a:gd name="connsiteY100" fmla="*/ 423846 h 2824146"/>
              <a:gd name="connsiteX101" fmla="*/ 2441575 w 2815449"/>
              <a:gd name="connsiteY101" fmla="*/ 433371 h 2824146"/>
              <a:gd name="connsiteX102" fmla="*/ 2476500 w 2815449"/>
              <a:gd name="connsiteY102" fmla="*/ 446071 h 2824146"/>
              <a:gd name="connsiteX103" fmla="*/ 2511425 w 2815449"/>
              <a:gd name="connsiteY103" fmla="*/ 436546 h 2824146"/>
              <a:gd name="connsiteX104" fmla="*/ 2574925 w 2815449"/>
              <a:gd name="connsiteY104" fmla="*/ 436546 h 2824146"/>
              <a:gd name="connsiteX105" fmla="*/ 2613025 w 2815449"/>
              <a:gd name="connsiteY105" fmla="*/ 401621 h 2824146"/>
              <a:gd name="connsiteX106" fmla="*/ 2654300 w 2815449"/>
              <a:gd name="connsiteY106" fmla="*/ 360346 h 2824146"/>
              <a:gd name="connsiteX107" fmla="*/ 2695575 w 2815449"/>
              <a:gd name="connsiteY107" fmla="*/ 366696 h 2824146"/>
              <a:gd name="connsiteX108" fmla="*/ 2759075 w 2815449"/>
              <a:gd name="connsiteY108" fmla="*/ 341296 h 2824146"/>
              <a:gd name="connsiteX109" fmla="*/ 2800350 w 2815449"/>
              <a:gd name="connsiteY109" fmla="*/ 309546 h 2824146"/>
              <a:gd name="connsiteX110" fmla="*/ 2787650 w 2815449"/>
              <a:gd name="connsiteY110" fmla="*/ 274621 h 2824146"/>
              <a:gd name="connsiteX111" fmla="*/ 2803525 w 2815449"/>
              <a:gd name="connsiteY111" fmla="*/ 246046 h 2824146"/>
              <a:gd name="connsiteX112" fmla="*/ 2794000 w 2815449"/>
              <a:gd name="connsiteY112" fmla="*/ 195246 h 2824146"/>
              <a:gd name="connsiteX113" fmla="*/ 2801705 w 2815449"/>
              <a:gd name="connsiteY113" fmla="*/ 159441 h 2824146"/>
              <a:gd name="connsiteX114" fmla="*/ 2812624 w 2815449"/>
              <a:gd name="connsiteY114" fmla="*/ 93177 h 2824146"/>
              <a:gd name="connsiteX115" fmla="*/ 2776228 w 2815449"/>
              <a:gd name="connsiteY115" fmla="*/ 49001 h 2824146"/>
              <a:gd name="connsiteX116" fmla="*/ 2815449 w 2815449"/>
              <a:gd name="connsiteY116" fmla="*/ 0 h 2824146"/>
              <a:gd name="connsiteX0" fmla="*/ 0 w 2815449"/>
              <a:gd name="connsiteY0" fmla="*/ 2824146 h 2824146"/>
              <a:gd name="connsiteX1" fmla="*/ 44450 w 2815449"/>
              <a:gd name="connsiteY1" fmla="*/ 2789221 h 2824146"/>
              <a:gd name="connsiteX2" fmla="*/ 22225 w 2815449"/>
              <a:gd name="connsiteY2" fmla="*/ 2747946 h 2824146"/>
              <a:gd name="connsiteX3" fmla="*/ 50800 w 2815449"/>
              <a:gd name="connsiteY3" fmla="*/ 2722546 h 2824146"/>
              <a:gd name="connsiteX4" fmla="*/ 50800 w 2815449"/>
              <a:gd name="connsiteY4" fmla="*/ 2614596 h 2824146"/>
              <a:gd name="connsiteX5" fmla="*/ 79375 w 2815449"/>
              <a:gd name="connsiteY5" fmla="*/ 2595546 h 2824146"/>
              <a:gd name="connsiteX6" fmla="*/ 92075 w 2815449"/>
              <a:gd name="connsiteY6" fmla="*/ 2535221 h 2824146"/>
              <a:gd name="connsiteX7" fmla="*/ 107950 w 2815449"/>
              <a:gd name="connsiteY7" fmla="*/ 2516171 h 2824146"/>
              <a:gd name="connsiteX8" fmla="*/ 152400 w 2815449"/>
              <a:gd name="connsiteY8" fmla="*/ 2497121 h 2824146"/>
              <a:gd name="connsiteX9" fmla="*/ 152400 w 2815449"/>
              <a:gd name="connsiteY9" fmla="*/ 2471721 h 2824146"/>
              <a:gd name="connsiteX10" fmla="*/ 215900 w 2815449"/>
              <a:gd name="connsiteY10" fmla="*/ 2497121 h 2824146"/>
              <a:gd name="connsiteX11" fmla="*/ 295275 w 2815449"/>
              <a:gd name="connsiteY11" fmla="*/ 2490771 h 2824146"/>
              <a:gd name="connsiteX12" fmla="*/ 330200 w 2815449"/>
              <a:gd name="connsiteY12" fmla="*/ 2500296 h 2824146"/>
              <a:gd name="connsiteX13" fmla="*/ 314325 w 2815449"/>
              <a:gd name="connsiteY13" fmla="*/ 2427271 h 2824146"/>
              <a:gd name="connsiteX14" fmla="*/ 307975 w 2815449"/>
              <a:gd name="connsiteY14" fmla="*/ 2328846 h 2824146"/>
              <a:gd name="connsiteX15" fmla="*/ 330200 w 2815449"/>
              <a:gd name="connsiteY15" fmla="*/ 2281221 h 2824146"/>
              <a:gd name="connsiteX16" fmla="*/ 377825 w 2815449"/>
              <a:gd name="connsiteY16" fmla="*/ 2271696 h 2824146"/>
              <a:gd name="connsiteX17" fmla="*/ 447675 w 2815449"/>
              <a:gd name="connsiteY17" fmla="*/ 2249471 h 2824146"/>
              <a:gd name="connsiteX18" fmla="*/ 511175 w 2815449"/>
              <a:gd name="connsiteY18" fmla="*/ 2192321 h 2824146"/>
              <a:gd name="connsiteX19" fmla="*/ 542925 w 2815449"/>
              <a:gd name="connsiteY19" fmla="*/ 2176446 h 2824146"/>
              <a:gd name="connsiteX20" fmla="*/ 635000 w 2815449"/>
              <a:gd name="connsiteY20" fmla="*/ 2192321 h 2824146"/>
              <a:gd name="connsiteX21" fmla="*/ 736600 w 2815449"/>
              <a:gd name="connsiteY21" fmla="*/ 2192321 h 2824146"/>
              <a:gd name="connsiteX22" fmla="*/ 749300 w 2815449"/>
              <a:gd name="connsiteY22" fmla="*/ 2166921 h 2824146"/>
              <a:gd name="connsiteX23" fmla="*/ 752475 w 2815449"/>
              <a:gd name="connsiteY23" fmla="*/ 2144696 h 2824146"/>
              <a:gd name="connsiteX24" fmla="*/ 774700 w 2815449"/>
              <a:gd name="connsiteY24" fmla="*/ 2131996 h 2824146"/>
              <a:gd name="connsiteX25" fmla="*/ 793750 w 2815449"/>
              <a:gd name="connsiteY25" fmla="*/ 2103421 h 2824146"/>
              <a:gd name="connsiteX26" fmla="*/ 854075 w 2815449"/>
              <a:gd name="connsiteY26" fmla="*/ 2068496 h 2824146"/>
              <a:gd name="connsiteX27" fmla="*/ 917575 w 2815449"/>
              <a:gd name="connsiteY27" fmla="*/ 1989121 h 2824146"/>
              <a:gd name="connsiteX28" fmla="*/ 936625 w 2815449"/>
              <a:gd name="connsiteY28" fmla="*/ 1954196 h 2824146"/>
              <a:gd name="connsiteX29" fmla="*/ 920750 w 2815449"/>
              <a:gd name="connsiteY29" fmla="*/ 1887521 h 2824146"/>
              <a:gd name="connsiteX30" fmla="*/ 923925 w 2815449"/>
              <a:gd name="connsiteY30" fmla="*/ 1852596 h 2824146"/>
              <a:gd name="connsiteX31" fmla="*/ 962025 w 2815449"/>
              <a:gd name="connsiteY31" fmla="*/ 1808146 h 2824146"/>
              <a:gd name="connsiteX32" fmla="*/ 955675 w 2815449"/>
              <a:gd name="connsiteY32" fmla="*/ 1789096 h 2824146"/>
              <a:gd name="connsiteX33" fmla="*/ 920750 w 2815449"/>
              <a:gd name="connsiteY33" fmla="*/ 1763696 h 2824146"/>
              <a:gd name="connsiteX34" fmla="*/ 914400 w 2815449"/>
              <a:gd name="connsiteY34" fmla="*/ 1703371 h 2824146"/>
              <a:gd name="connsiteX35" fmla="*/ 908050 w 2815449"/>
              <a:gd name="connsiteY35" fmla="*/ 1655746 h 2824146"/>
              <a:gd name="connsiteX36" fmla="*/ 949325 w 2815449"/>
              <a:gd name="connsiteY36" fmla="*/ 1601771 h 2824146"/>
              <a:gd name="connsiteX37" fmla="*/ 949325 w 2815449"/>
              <a:gd name="connsiteY37" fmla="*/ 1576371 h 2824146"/>
              <a:gd name="connsiteX38" fmla="*/ 920750 w 2815449"/>
              <a:gd name="connsiteY38" fmla="*/ 1576371 h 2824146"/>
              <a:gd name="connsiteX39" fmla="*/ 898525 w 2815449"/>
              <a:gd name="connsiteY39" fmla="*/ 1573196 h 2824146"/>
              <a:gd name="connsiteX40" fmla="*/ 876300 w 2815449"/>
              <a:gd name="connsiteY40" fmla="*/ 1554146 h 2824146"/>
              <a:gd name="connsiteX41" fmla="*/ 885825 w 2815449"/>
              <a:gd name="connsiteY41" fmla="*/ 1528746 h 2824146"/>
              <a:gd name="connsiteX42" fmla="*/ 908050 w 2815449"/>
              <a:gd name="connsiteY42" fmla="*/ 1503346 h 2824146"/>
              <a:gd name="connsiteX43" fmla="*/ 904875 w 2815449"/>
              <a:gd name="connsiteY43" fmla="*/ 1474771 h 2824146"/>
              <a:gd name="connsiteX44" fmla="*/ 879475 w 2815449"/>
              <a:gd name="connsiteY44" fmla="*/ 1433496 h 2824146"/>
              <a:gd name="connsiteX45" fmla="*/ 895350 w 2815449"/>
              <a:gd name="connsiteY45" fmla="*/ 1408096 h 2824146"/>
              <a:gd name="connsiteX46" fmla="*/ 920750 w 2815449"/>
              <a:gd name="connsiteY46" fmla="*/ 1376346 h 2824146"/>
              <a:gd name="connsiteX47" fmla="*/ 908050 w 2815449"/>
              <a:gd name="connsiteY47" fmla="*/ 1322371 h 2824146"/>
              <a:gd name="connsiteX48" fmla="*/ 936625 w 2815449"/>
              <a:gd name="connsiteY48" fmla="*/ 1255696 h 2824146"/>
              <a:gd name="connsiteX49" fmla="*/ 971550 w 2815449"/>
              <a:gd name="connsiteY49" fmla="*/ 1236646 h 2824146"/>
              <a:gd name="connsiteX50" fmla="*/ 1025525 w 2815449"/>
              <a:gd name="connsiteY50" fmla="*/ 1236646 h 2824146"/>
              <a:gd name="connsiteX51" fmla="*/ 1050925 w 2815449"/>
              <a:gd name="connsiteY51" fmla="*/ 1208071 h 2824146"/>
              <a:gd name="connsiteX52" fmla="*/ 1069975 w 2815449"/>
              <a:gd name="connsiteY52" fmla="*/ 1182671 h 2824146"/>
              <a:gd name="connsiteX53" fmla="*/ 1092200 w 2815449"/>
              <a:gd name="connsiteY53" fmla="*/ 1169971 h 2824146"/>
              <a:gd name="connsiteX54" fmla="*/ 1108075 w 2815449"/>
              <a:gd name="connsiteY54" fmla="*/ 1163621 h 2824146"/>
              <a:gd name="connsiteX55" fmla="*/ 1079500 w 2815449"/>
              <a:gd name="connsiteY55" fmla="*/ 1135046 h 2824146"/>
              <a:gd name="connsiteX56" fmla="*/ 1044575 w 2815449"/>
              <a:gd name="connsiteY56" fmla="*/ 1119171 h 2824146"/>
              <a:gd name="connsiteX57" fmla="*/ 1019175 w 2815449"/>
              <a:gd name="connsiteY57" fmla="*/ 1103296 h 2824146"/>
              <a:gd name="connsiteX58" fmla="*/ 968375 w 2815449"/>
              <a:gd name="connsiteY58" fmla="*/ 1103296 h 2824146"/>
              <a:gd name="connsiteX59" fmla="*/ 968375 w 2815449"/>
              <a:gd name="connsiteY59" fmla="*/ 1103296 h 2824146"/>
              <a:gd name="connsiteX60" fmla="*/ 984250 w 2815449"/>
              <a:gd name="connsiteY60" fmla="*/ 1023921 h 2824146"/>
              <a:gd name="connsiteX61" fmla="*/ 1012825 w 2815449"/>
              <a:gd name="connsiteY61" fmla="*/ 973121 h 2824146"/>
              <a:gd name="connsiteX62" fmla="*/ 1009650 w 2815449"/>
              <a:gd name="connsiteY62" fmla="*/ 950896 h 2824146"/>
              <a:gd name="connsiteX63" fmla="*/ 993775 w 2815449"/>
              <a:gd name="connsiteY63" fmla="*/ 928671 h 2824146"/>
              <a:gd name="connsiteX64" fmla="*/ 993775 w 2815449"/>
              <a:gd name="connsiteY64" fmla="*/ 928671 h 2824146"/>
              <a:gd name="connsiteX65" fmla="*/ 1009650 w 2815449"/>
              <a:gd name="connsiteY65" fmla="*/ 909621 h 2824146"/>
              <a:gd name="connsiteX66" fmla="*/ 1041400 w 2815449"/>
              <a:gd name="connsiteY66" fmla="*/ 909621 h 2824146"/>
              <a:gd name="connsiteX67" fmla="*/ 1082675 w 2815449"/>
              <a:gd name="connsiteY67" fmla="*/ 871521 h 2824146"/>
              <a:gd name="connsiteX68" fmla="*/ 1108075 w 2815449"/>
              <a:gd name="connsiteY68" fmla="*/ 836596 h 2824146"/>
              <a:gd name="connsiteX69" fmla="*/ 1193800 w 2815449"/>
              <a:gd name="connsiteY69" fmla="*/ 779446 h 2824146"/>
              <a:gd name="connsiteX70" fmla="*/ 1228725 w 2815449"/>
              <a:gd name="connsiteY70" fmla="*/ 741346 h 2824146"/>
              <a:gd name="connsiteX71" fmla="*/ 1244600 w 2815449"/>
              <a:gd name="connsiteY71" fmla="*/ 690546 h 2824146"/>
              <a:gd name="connsiteX72" fmla="*/ 1311275 w 2815449"/>
              <a:gd name="connsiteY72" fmla="*/ 658796 h 2824146"/>
              <a:gd name="connsiteX73" fmla="*/ 1327150 w 2815449"/>
              <a:gd name="connsiteY73" fmla="*/ 630221 h 2824146"/>
              <a:gd name="connsiteX74" fmla="*/ 1323975 w 2815449"/>
              <a:gd name="connsiteY74" fmla="*/ 592121 h 2824146"/>
              <a:gd name="connsiteX75" fmla="*/ 1292225 w 2815449"/>
              <a:gd name="connsiteY75" fmla="*/ 569896 h 2824146"/>
              <a:gd name="connsiteX76" fmla="*/ 1304925 w 2815449"/>
              <a:gd name="connsiteY76" fmla="*/ 538146 h 2824146"/>
              <a:gd name="connsiteX77" fmla="*/ 1308100 w 2815449"/>
              <a:gd name="connsiteY77" fmla="*/ 465121 h 2824146"/>
              <a:gd name="connsiteX78" fmla="*/ 1327150 w 2815449"/>
              <a:gd name="connsiteY78" fmla="*/ 452421 h 2824146"/>
              <a:gd name="connsiteX79" fmla="*/ 1314450 w 2815449"/>
              <a:gd name="connsiteY79" fmla="*/ 427021 h 2824146"/>
              <a:gd name="connsiteX80" fmla="*/ 1323975 w 2815449"/>
              <a:gd name="connsiteY80" fmla="*/ 404796 h 2824146"/>
              <a:gd name="connsiteX81" fmla="*/ 1358900 w 2815449"/>
              <a:gd name="connsiteY81" fmla="*/ 373046 h 2824146"/>
              <a:gd name="connsiteX82" fmla="*/ 1374775 w 2815449"/>
              <a:gd name="connsiteY82" fmla="*/ 360346 h 2824146"/>
              <a:gd name="connsiteX83" fmla="*/ 1412875 w 2815449"/>
              <a:gd name="connsiteY83" fmla="*/ 350821 h 2824146"/>
              <a:gd name="connsiteX84" fmla="*/ 1428750 w 2815449"/>
              <a:gd name="connsiteY84" fmla="*/ 309546 h 2824146"/>
              <a:gd name="connsiteX85" fmla="*/ 1514475 w 2815449"/>
              <a:gd name="connsiteY85" fmla="*/ 303196 h 2824146"/>
              <a:gd name="connsiteX86" fmla="*/ 1558925 w 2815449"/>
              <a:gd name="connsiteY86" fmla="*/ 284146 h 2824146"/>
              <a:gd name="connsiteX87" fmla="*/ 1584325 w 2815449"/>
              <a:gd name="connsiteY87" fmla="*/ 303196 h 2824146"/>
              <a:gd name="connsiteX88" fmla="*/ 1660525 w 2815449"/>
              <a:gd name="connsiteY88" fmla="*/ 290496 h 2824146"/>
              <a:gd name="connsiteX89" fmla="*/ 1758950 w 2815449"/>
              <a:gd name="connsiteY89" fmla="*/ 287321 h 2824146"/>
              <a:gd name="connsiteX90" fmla="*/ 1831975 w 2815449"/>
              <a:gd name="connsiteY90" fmla="*/ 296846 h 2824146"/>
              <a:gd name="connsiteX91" fmla="*/ 1924050 w 2815449"/>
              <a:gd name="connsiteY91" fmla="*/ 328596 h 2824146"/>
              <a:gd name="connsiteX92" fmla="*/ 2016125 w 2815449"/>
              <a:gd name="connsiteY92" fmla="*/ 350821 h 2824146"/>
              <a:gd name="connsiteX93" fmla="*/ 2073275 w 2815449"/>
              <a:gd name="connsiteY93" fmla="*/ 344471 h 2824146"/>
              <a:gd name="connsiteX94" fmla="*/ 2120900 w 2815449"/>
              <a:gd name="connsiteY94" fmla="*/ 392096 h 2824146"/>
              <a:gd name="connsiteX95" fmla="*/ 2165350 w 2815449"/>
              <a:gd name="connsiteY95" fmla="*/ 404796 h 2824146"/>
              <a:gd name="connsiteX96" fmla="*/ 2206625 w 2815449"/>
              <a:gd name="connsiteY96" fmla="*/ 436546 h 2824146"/>
              <a:gd name="connsiteX97" fmla="*/ 2247900 w 2815449"/>
              <a:gd name="connsiteY97" fmla="*/ 417496 h 2824146"/>
              <a:gd name="connsiteX98" fmla="*/ 2311400 w 2815449"/>
              <a:gd name="connsiteY98" fmla="*/ 455596 h 2824146"/>
              <a:gd name="connsiteX99" fmla="*/ 2352675 w 2815449"/>
              <a:gd name="connsiteY99" fmla="*/ 458771 h 2824146"/>
              <a:gd name="connsiteX100" fmla="*/ 2413000 w 2815449"/>
              <a:gd name="connsiteY100" fmla="*/ 423846 h 2824146"/>
              <a:gd name="connsiteX101" fmla="*/ 2441575 w 2815449"/>
              <a:gd name="connsiteY101" fmla="*/ 433371 h 2824146"/>
              <a:gd name="connsiteX102" fmla="*/ 2476500 w 2815449"/>
              <a:gd name="connsiteY102" fmla="*/ 446071 h 2824146"/>
              <a:gd name="connsiteX103" fmla="*/ 2511425 w 2815449"/>
              <a:gd name="connsiteY103" fmla="*/ 436546 h 2824146"/>
              <a:gd name="connsiteX104" fmla="*/ 2574925 w 2815449"/>
              <a:gd name="connsiteY104" fmla="*/ 436546 h 2824146"/>
              <a:gd name="connsiteX105" fmla="*/ 2613025 w 2815449"/>
              <a:gd name="connsiteY105" fmla="*/ 401621 h 2824146"/>
              <a:gd name="connsiteX106" fmla="*/ 2654300 w 2815449"/>
              <a:gd name="connsiteY106" fmla="*/ 360346 h 2824146"/>
              <a:gd name="connsiteX107" fmla="*/ 2695575 w 2815449"/>
              <a:gd name="connsiteY107" fmla="*/ 366696 h 2824146"/>
              <a:gd name="connsiteX108" fmla="*/ 2759075 w 2815449"/>
              <a:gd name="connsiteY108" fmla="*/ 341296 h 2824146"/>
              <a:gd name="connsiteX109" fmla="*/ 2800350 w 2815449"/>
              <a:gd name="connsiteY109" fmla="*/ 309546 h 2824146"/>
              <a:gd name="connsiteX110" fmla="*/ 2787650 w 2815449"/>
              <a:gd name="connsiteY110" fmla="*/ 274621 h 2824146"/>
              <a:gd name="connsiteX111" fmla="*/ 2803525 w 2815449"/>
              <a:gd name="connsiteY111" fmla="*/ 246046 h 2824146"/>
              <a:gd name="connsiteX112" fmla="*/ 2794000 w 2815449"/>
              <a:gd name="connsiteY112" fmla="*/ 195246 h 2824146"/>
              <a:gd name="connsiteX113" fmla="*/ 2779868 w 2815449"/>
              <a:gd name="connsiteY113" fmla="*/ 148397 h 2824146"/>
              <a:gd name="connsiteX114" fmla="*/ 2812624 w 2815449"/>
              <a:gd name="connsiteY114" fmla="*/ 93177 h 2824146"/>
              <a:gd name="connsiteX115" fmla="*/ 2776228 w 2815449"/>
              <a:gd name="connsiteY115" fmla="*/ 49001 h 2824146"/>
              <a:gd name="connsiteX116" fmla="*/ 2815449 w 2815449"/>
              <a:gd name="connsiteY116" fmla="*/ 0 h 2824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2815449" h="2824146">
                <a:moveTo>
                  <a:pt x="0" y="2824146"/>
                </a:moveTo>
                <a:lnTo>
                  <a:pt x="44450" y="2789221"/>
                </a:lnTo>
                <a:lnTo>
                  <a:pt x="22225" y="2747946"/>
                </a:lnTo>
                <a:lnTo>
                  <a:pt x="50800" y="2722546"/>
                </a:lnTo>
                <a:lnTo>
                  <a:pt x="50800" y="2614596"/>
                </a:lnTo>
                <a:lnTo>
                  <a:pt x="79375" y="2595546"/>
                </a:lnTo>
                <a:lnTo>
                  <a:pt x="92075" y="2535221"/>
                </a:lnTo>
                <a:lnTo>
                  <a:pt x="107950" y="2516171"/>
                </a:lnTo>
                <a:lnTo>
                  <a:pt x="152400" y="2497121"/>
                </a:lnTo>
                <a:lnTo>
                  <a:pt x="152400" y="2471721"/>
                </a:lnTo>
                <a:lnTo>
                  <a:pt x="215900" y="2497121"/>
                </a:lnTo>
                <a:lnTo>
                  <a:pt x="295275" y="2490771"/>
                </a:lnTo>
                <a:lnTo>
                  <a:pt x="330200" y="2500296"/>
                </a:lnTo>
                <a:lnTo>
                  <a:pt x="314325" y="2427271"/>
                </a:lnTo>
                <a:lnTo>
                  <a:pt x="307975" y="2328846"/>
                </a:lnTo>
                <a:lnTo>
                  <a:pt x="330200" y="2281221"/>
                </a:lnTo>
                <a:lnTo>
                  <a:pt x="377825" y="2271696"/>
                </a:lnTo>
                <a:lnTo>
                  <a:pt x="447675" y="2249471"/>
                </a:lnTo>
                <a:lnTo>
                  <a:pt x="511175" y="2192321"/>
                </a:lnTo>
                <a:lnTo>
                  <a:pt x="542925" y="2176446"/>
                </a:lnTo>
                <a:lnTo>
                  <a:pt x="635000" y="2192321"/>
                </a:lnTo>
                <a:lnTo>
                  <a:pt x="736600" y="2192321"/>
                </a:lnTo>
                <a:lnTo>
                  <a:pt x="749300" y="2166921"/>
                </a:lnTo>
                <a:lnTo>
                  <a:pt x="752475" y="2144696"/>
                </a:lnTo>
                <a:lnTo>
                  <a:pt x="774700" y="2131996"/>
                </a:lnTo>
                <a:lnTo>
                  <a:pt x="793750" y="2103421"/>
                </a:lnTo>
                <a:lnTo>
                  <a:pt x="854075" y="2068496"/>
                </a:lnTo>
                <a:lnTo>
                  <a:pt x="917575" y="1989121"/>
                </a:lnTo>
                <a:lnTo>
                  <a:pt x="936625" y="1954196"/>
                </a:lnTo>
                <a:lnTo>
                  <a:pt x="920750" y="1887521"/>
                </a:lnTo>
                <a:lnTo>
                  <a:pt x="923925" y="1852596"/>
                </a:lnTo>
                <a:lnTo>
                  <a:pt x="962025" y="1808146"/>
                </a:lnTo>
                <a:lnTo>
                  <a:pt x="955675" y="1789096"/>
                </a:lnTo>
                <a:lnTo>
                  <a:pt x="920750" y="1763696"/>
                </a:lnTo>
                <a:lnTo>
                  <a:pt x="914400" y="1703371"/>
                </a:lnTo>
                <a:lnTo>
                  <a:pt x="908050" y="1655746"/>
                </a:lnTo>
                <a:lnTo>
                  <a:pt x="949325" y="1601771"/>
                </a:lnTo>
                <a:lnTo>
                  <a:pt x="949325" y="1576371"/>
                </a:lnTo>
                <a:lnTo>
                  <a:pt x="920750" y="1576371"/>
                </a:lnTo>
                <a:lnTo>
                  <a:pt x="898525" y="1573196"/>
                </a:lnTo>
                <a:lnTo>
                  <a:pt x="876300" y="1554146"/>
                </a:lnTo>
                <a:lnTo>
                  <a:pt x="885825" y="1528746"/>
                </a:lnTo>
                <a:lnTo>
                  <a:pt x="908050" y="1503346"/>
                </a:lnTo>
                <a:lnTo>
                  <a:pt x="904875" y="1474771"/>
                </a:lnTo>
                <a:lnTo>
                  <a:pt x="879475" y="1433496"/>
                </a:lnTo>
                <a:lnTo>
                  <a:pt x="895350" y="1408096"/>
                </a:lnTo>
                <a:lnTo>
                  <a:pt x="920750" y="1376346"/>
                </a:lnTo>
                <a:lnTo>
                  <a:pt x="908050" y="1322371"/>
                </a:lnTo>
                <a:lnTo>
                  <a:pt x="936625" y="1255696"/>
                </a:lnTo>
                <a:lnTo>
                  <a:pt x="971550" y="1236646"/>
                </a:lnTo>
                <a:lnTo>
                  <a:pt x="1025525" y="1236646"/>
                </a:lnTo>
                <a:lnTo>
                  <a:pt x="1050925" y="1208071"/>
                </a:lnTo>
                <a:lnTo>
                  <a:pt x="1069975" y="1182671"/>
                </a:lnTo>
                <a:lnTo>
                  <a:pt x="1092200" y="1169971"/>
                </a:lnTo>
                <a:lnTo>
                  <a:pt x="1108075" y="1163621"/>
                </a:lnTo>
                <a:lnTo>
                  <a:pt x="1079500" y="1135046"/>
                </a:lnTo>
                <a:lnTo>
                  <a:pt x="1044575" y="1119171"/>
                </a:lnTo>
                <a:lnTo>
                  <a:pt x="1019175" y="1103296"/>
                </a:lnTo>
                <a:lnTo>
                  <a:pt x="968375" y="1103296"/>
                </a:lnTo>
                <a:lnTo>
                  <a:pt x="968375" y="1103296"/>
                </a:lnTo>
                <a:lnTo>
                  <a:pt x="984250" y="1023921"/>
                </a:lnTo>
                <a:lnTo>
                  <a:pt x="1012825" y="973121"/>
                </a:lnTo>
                <a:lnTo>
                  <a:pt x="1009650" y="950896"/>
                </a:lnTo>
                <a:lnTo>
                  <a:pt x="993775" y="928671"/>
                </a:lnTo>
                <a:lnTo>
                  <a:pt x="993775" y="928671"/>
                </a:lnTo>
                <a:lnTo>
                  <a:pt x="1009650" y="909621"/>
                </a:lnTo>
                <a:lnTo>
                  <a:pt x="1041400" y="909621"/>
                </a:lnTo>
                <a:lnTo>
                  <a:pt x="1082675" y="871521"/>
                </a:lnTo>
                <a:lnTo>
                  <a:pt x="1108075" y="836596"/>
                </a:lnTo>
                <a:lnTo>
                  <a:pt x="1193800" y="779446"/>
                </a:lnTo>
                <a:lnTo>
                  <a:pt x="1228725" y="741346"/>
                </a:lnTo>
                <a:lnTo>
                  <a:pt x="1244600" y="690546"/>
                </a:lnTo>
                <a:lnTo>
                  <a:pt x="1311275" y="658796"/>
                </a:lnTo>
                <a:lnTo>
                  <a:pt x="1327150" y="630221"/>
                </a:lnTo>
                <a:lnTo>
                  <a:pt x="1323975" y="592121"/>
                </a:lnTo>
                <a:lnTo>
                  <a:pt x="1292225" y="569896"/>
                </a:lnTo>
                <a:lnTo>
                  <a:pt x="1304925" y="538146"/>
                </a:lnTo>
                <a:lnTo>
                  <a:pt x="1308100" y="465121"/>
                </a:lnTo>
                <a:lnTo>
                  <a:pt x="1327150" y="452421"/>
                </a:lnTo>
                <a:lnTo>
                  <a:pt x="1314450" y="427021"/>
                </a:lnTo>
                <a:lnTo>
                  <a:pt x="1323975" y="404796"/>
                </a:lnTo>
                <a:lnTo>
                  <a:pt x="1358900" y="373046"/>
                </a:lnTo>
                <a:lnTo>
                  <a:pt x="1374775" y="360346"/>
                </a:lnTo>
                <a:lnTo>
                  <a:pt x="1412875" y="350821"/>
                </a:lnTo>
                <a:lnTo>
                  <a:pt x="1428750" y="309546"/>
                </a:lnTo>
                <a:lnTo>
                  <a:pt x="1514475" y="303196"/>
                </a:lnTo>
                <a:lnTo>
                  <a:pt x="1558925" y="284146"/>
                </a:lnTo>
                <a:lnTo>
                  <a:pt x="1584325" y="303196"/>
                </a:lnTo>
                <a:lnTo>
                  <a:pt x="1660525" y="290496"/>
                </a:lnTo>
                <a:lnTo>
                  <a:pt x="1758950" y="287321"/>
                </a:lnTo>
                <a:lnTo>
                  <a:pt x="1831975" y="296846"/>
                </a:lnTo>
                <a:lnTo>
                  <a:pt x="1924050" y="328596"/>
                </a:lnTo>
                <a:lnTo>
                  <a:pt x="2016125" y="350821"/>
                </a:lnTo>
                <a:lnTo>
                  <a:pt x="2073275" y="344471"/>
                </a:lnTo>
                <a:lnTo>
                  <a:pt x="2120900" y="392096"/>
                </a:lnTo>
                <a:lnTo>
                  <a:pt x="2165350" y="404796"/>
                </a:lnTo>
                <a:lnTo>
                  <a:pt x="2206625" y="436546"/>
                </a:lnTo>
                <a:lnTo>
                  <a:pt x="2247900" y="417496"/>
                </a:lnTo>
                <a:lnTo>
                  <a:pt x="2311400" y="455596"/>
                </a:lnTo>
                <a:lnTo>
                  <a:pt x="2352675" y="458771"/>
                </a:lnTo>
                <a:lnTo>
                  <a:pt x="2413000" y="423846"/>
                </a:lnTo>
                <a:lnTo>
                  <a:pt x="2441575" y="433371"/>
                </a:lnTo>
                <a:lnTo>
                  <a:pt x="2476500" y="446071"/>
                </a:lnTo>
                <a:lnTo>
                  <a:pt x="2511425" y="436546"/>
                </a:lnTo>
                <a:lnTo>
                  <a:pt x="2574925" y="436546"/>
                </a:lnTo>
                <a:lnTo>
                  <a:pt x="2613025" y="401621"/>
                </a:lnTo>
                <a:lnTo>
                  <a:pt x="2654300" y="360346"/>
                </a:lnTo>
                <a:lnTo>
                  <a:pt x="2695575" y="366696"/>
                </a:lnTo>
                <a:lnTo>
                  <a:pt x="2759075" y="341296"/>
                </a:lnTo>
                <a:lnTo>
                  <a:pt x="2800350" y="309546"/>
                </a:lnTo>
                <a:lnTo>
                  <a:pt x="2787650" y="274621"/>
                </a:lnTo>
                <a:lnTo>
                  <a:pt x="2803525" y="246046"/>
                </a:lnTo>
                <a:lnTo>
                  <a:pt x="2794000" y="195246"/>
                </a:lnTo>
                <a:cubicBezTo>
                  <a:pt x="2793697" y="180812"/>
                  <a:pt x="2776764" y="165408"/>
                  <a:pt x="2779868" y="148397"/>
                </a:cubicBezTo>
                <a:cubicBezTo>
                  <a:pt x="2782972" y="131386"/>
                  <a:pt x="2816870" y="111584"/>
                  <a:pt x="2812624" y="93177"/>
                </a:cubicBezTo>
                <a:cubicBezTo>
                  <a:pt x="2808378" y="74770"/>
                  <a:pt x="2770298" y="68825"/>
                  <a:pt x="2776228" y="49001"/>
                </a:cubicBezTo>
                <a:cubicBezTo>
                  <a:pt x="2779803" y="16460"/>
                  <a:pt x="2813765" y="9394"/>
                  <a:pt x="2815449" y="0"/>
                </a:cubicBez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reeform 36"/>
          <p:cNvSpPr/>
          <p:nvPr/>
        </p:nvSpPr>
        <p:spPr bwMode="auto">
          <a:xfrm>
            <a:off x="-6668" y="4827310"/>
            <a:ext cx="1055152" cy="2007069"/>
          </a:xfrm>
          <a:custGeom>
            <a:avLst/>
            <a:gdLst>
              <a:gd name="connsiteX0" fmla="*/ 926496 w 926496"/>
              <a:gd name="connsiteY0" fmla="*/ 0 h 2046515"/>
              <a:gd name="connsiteX1" fmla="*/ 897467 w 926496"/>
              <a:gd name="connsiteY1" fmla="*/ 62896 h 2046515"/>
              <a:gd name="connsiteX2" fmla="*/ 875696 w 926496"/>
              <a:gd name="connsiteY2" fmla="*/ 87086 h 2046515"/>
              <a:gd name="connsiteX3" fmla="*/ 875696 w 926496"/>
              <a:gd name="connsiteY3" fmla="*/ 123372 h 2046515"/>
              <a:gd name="connsiteX4" fmla="*/ 851505 w 926496"/>
              <a:gd name="connsiteY4" fmla="*/ 137886 h 2046515"/>
              <a:gd name="connsiteX5" fmla="*/ 798286 w 926496"/>
              <a:gd name="connsiteY5" fmla="*/ 147562 h 2046515"/>
              <a:gd name="connsiteX6" fmla="*/ 730553 w 926496"/>
              <a:gd name="connsiteY6" fmla="*/ 181429 h 2046515"/>
              <a:gd name="connsiteX7" fmla="*/ 711200 w 926496"/>
              <a:gd name="connsiteY7" fmla="*/ 210458 h 2046515"/>
              <a:gd name="connsiteX8" fmla="*/ 730553 w 926496"/>
              <a:gd name="connsiteY8" fmla="*/ 234648 h 2046515"/>
              <a:gd name="connsiteX9" fmla="*/ 701524 w 926496"/>
              <a:gd name="connsiteY9" fmla="*/ 285448 h 2046515"/>
              <a:gd name="connsiteX10" fmla="*/ 711200 w 926496"/>
              <a:gd name="connsiteY10" fmla="*/ 321734 h 2046515"/>
              <a:gd name="connsiteX11" fmla="*/ 754743 w 926496"/>
              <a:gd name="connsiteY11" fmla="*/ 377372 h 2046515"/>
              <a:gd name="connsiteX12" fmla="*/ 749905 w 926496"/>
              <a:gd name="connsiteY12" fmla="*/ 425753 h 2046515"/>
              <a:gd name="connsiteX13" fmla="*/ 720877 w 926496"/>
              <a:gd name="connsiteY13" fmla="*/ 486229 h 2046515"/>
              <a:gd name="connsiteX14" fmla="*/ 706362 w 926496"/>
              <a:gd name="connsiteY14" fmla="*/ 500743 h 2046515"/>
              <a:gd name="connsiteX15" fmla="*/ 706362 w 926496"/>
              <a:gd name="connsiteY15" fmla="*/ 570896 h 2046515"/>
              <a:gd name="connsiteX16" fmla="*/ 706362 w 926496"/>
              <a:gd name="connsiteY16" fmla="*/ 604762 h 2046515"/>
              <a:gd name="connsiteX17" fmla="*/ 682172 w 926496"/>
              <a:gd name="connsiteY17" fmla="*/ 619277 h 2046515"/>
              <a:gd name="connsiteX18" fmla="*/ 672496 w 926496"/>
              <a:gd name="connsiteY18" fmla="*/ 653143 h 2046515"/>
              <a:gd name="connsiteX19" fmla="*/ 616858 w 926496"/>
              <a:gd name="connsiteY19" fmla="*/ 667658 h 2046515"/>
              <a:gd name="connsiteX20" fmla="*/ 585410 w 926496"/>
              <a:gd name="connsiteY20" fmla="*/ 689429 h 2046515"/>
              <a:gd name="connsiteX21" fmla="*/ 544286 w 926496"/>
              <a:gd name="connsiteY21" fmla="*/ 689429 h 2046515"/>
              <a:gd name="connsiteX22" fmla="*/ 510419 w 926496"/>
              <a:gd name="connsiteY22" fmla="*/ 747486 h 2046515"/>
              <a:gd name="connsiteX23" fmla="*/ 462038 w 926496"/>
              <a:gd name="connsiteY23" fmla="*/ 766838 h 2046515"/>
              <a:gd name="connsiteX24" fmla="*/ 442686 w 926496"/>
              <a:gd name="connsiteY24" fmla="*/ 800705 h 2046515"/>
              <a:gd name="connsiteX25" fmla="*/ 447524 w 926496"/>
              <a:gd name="connsiteY25" fmla="*/ 863600 h 2046515"/>
              <a:gd name="connsiteX26" fmla="*/ 420915 w 926496"/>
              <a:gd name="connsiteY26" fmla="*/ 899886 h 2046515"/>
              <a:gd name="connsiteX27" fmla="*/ 408819 w 926496"/>
              <a:gd name="connsiteY27" fmla="*/ 931334 h 2046515"/>
              <a:gd name="connsiteX28" fmla="*/ 413658 w 926496"/>
              <a:gd name="connsiteY28" fmla="*/ 999067 h 2046515"/>
              <a:gd name="connsiteX29" fmla="*/ 360438 w 926496"/>
              <a:gd name="connsiteY29" fmla="*/ 1040191 h 2046515"/>
              <a:gd name="connsiteX30" fmla="*/ 333829 w 926496"/>
              <a:gd name="connsiteY30" fmla="*/ 1071638 h 2046515"/>
              <a:gd name="connsiteX31" fmla="*/ 321734 w 926496"/>
              <a:gd name="connsiteY31" fmla="*/ 1107924 h 2046515"/>
              <a:gd name="connsiteX32" fmla="*/ 328991 w 926496"/>
              <a:gd name="connsiteY32" fmla="*/ 1163562 h 2046515"/>
              <a:gd name="connsiteX33" fmla="*/ 338667 w 926496"/>
              <a:gd name="connsiteY33" fmla="*/ 1228877 h 2046515"/>
              <a:gd name="connsiteX34" fmla="*/ 350762 w 926496"/>
              <a:gd name="connsiteY34" fmla="*/ 1274838 h 2046515"/>
              <a:gd name="connsiteX35" fmla="*/ 341086 w 926496"/>
              <a:gd name="connsiteY35" fmla="*/ 1323219 h 2046515"/>
              <a:gd name="connsiteX36" fmla="*/ 326572 w 926496"/>
              <a:gd name="connsiteY36" fmla="*/ 1427238 h 2046515"/>
              <a:gd name="connsiteX37" fmla="*/ 326572 w 926496"/>
              <a:gd name="connsiteY37" fmla="*/ 1453848 h 2046515"/>
              <a:gd name="connsiteX38" fmla="*/ 292705 w 926496"/>
              <a:gd name="connsiteY38" fmla="*/ 1519162 h 2046515"/>
              <a:gd name="connsiteX39" fmla="*/ 263677 w 926496"/>
              <a:gd name="connsiteY39" fmla="*/ 1594153 h 2046515"/>
              <a:gd name="connsiteX40" fmla="*/ 237067 w 926496"/>
              <a:gd name="connsiteY40" fmla="*/ 1657048 h 2046515"/>
              <a:gd name="connsiteX41" fmla="*/ 220134 w 926496"/>
              <a:gd name="connsiteY41" fmla="*/ 1681238 h 2046515"/>
              <a:gd name="connsiteX42" fmla="*/ 203200 w 926496"/>
              <a:gd name="connsiteY42" fmla="*/ 1734458 h 2046515"/>
              <a:gd name="connsiteX43" fmla="*/ 152400 w 926496"/>
              <a:gd name="connsiteY43" fmla="*/ 1753810 h 2046515"/>
              <a:gd name="connsiteX44" fmla="*/ 118534 w 926496"/>
              <a:gd name="connsiteY44" fmla="*/ 1753810 h 2046515"/>
              <a:gd name="connsiteX45" fmla="*/ 113696 w 926496"/>
              <a:gd name="connsiteY45" fmla="*/ 1792515 h 2046515"/>
              <a:gd name="connsiteX46" fmla="*/ 135467 w 926496"/>
              <a:gd name="connsiteY46" fmla="*/ 1828800 h 2046515"/>
              <a:gd name="connsiteX47" fmla="*/ 108858 w 926496"/>
              <a:gd name="connsiteY47" fmla="*/ 1862667 h 2046515"/>
              <a:gd name="connsiteX48" fmla="*/ 36286 w 926496"/>
              <a:gd name="connsiteY48" fmla="*/ 1925562 h 2046515"/>
              <a:gd name="connsiteX49" fmla="*/ 14515 w 926496"/>
              <a:gd name="connsiteY49" fmla="*/ 1964267 h 2046515"/>
              <a:gd name="connsiteX50" fmla="*/ 0 w 926496"/>
              <a:gd name="connsiteY50" fmla="*/ 2010229 h 2046515"/>
              <a:gd name="connsiteX51" fmla="*/ 12096 w 926496"/>
              <a:gd name="connsiteY51" fmla="*/ 2046515 h 2046515"/>
              <a:gd name="connsiteX0" fmla="*/ 931334 w 931334"/>
              <a:gd name="connsiteY0" fmla="*/ 0 h 2123924"/>
              <a:gd name="connsiteX1" fmla="*/ 902305 w 931334"/>
              <a:gd name="connsiteY1" fmla="*/ 62896 h 2123924"/>
              <a:gd name="connsiteX2" fmla="*/ 880534 w 931334"/>
              <a:gd name="connsiteY2" fmla="*/ 87086 h 2123924"/>
              <a:gd name="connsiteX3" fmla="*/ 880534 w 931334"/>
              <a:gd name="connsiteY3" fmla="*/ 123372 h 2123924"/>
              <a:gd name="connsiteX4" fmla="*/ 856343 w 931334"/>
              <a:gd name="connsiteY4" fmla="*/ 137886 h 2123924"/>
              <a:gd name="connsiteX5" fmla="*/ 803124 w 931334"/>
              <a:gd name="connsiteY5" fmla="*/ 147562 h 2123924"/>
              <a:gd name="connsiteX6" fmla="*/ 735391 w 931334"/>
              <a:gd name="connsiteY6" fmla="*/ 181429 h 2123924"/>
              <a:gd name="connsiteX7" fmla="*/ 716038 w 931334"/>
              <a:gd name="connsiteY7" fmla="*/ 210458 h 2123924"/>
              <a:gd name="connsiteX8" fmla="*/ 735391 w 931334"/>
              <a:gd name="connsiteY8" fmla="*/ 234648 h 2123924"/>
              <a:gd name="connsiteX9" fmla="*/ 706362 w 931334"/>
              <a:gd name="connsiteY9" fmla="*/ 285448 h 2123924"/>
              <a:gd name="connsiteX10" fmla="*/ 716038 w 931334"/>
              <a:gd name="connsiteY10" fmla="*/ 321734 h 2123924"/>
              <a:gd name="connsiteX11" fmla="*/ 759581 w 931334"/>
              <a:gd name="connsiteY11" fmla="*/ 377372 h 2123924"/>
              <a:gd name="connsiteX12" fmla="*/ 754743 w 931334"/>
              <a:gd name="connsiteY12" fmla="*/ 425753 h 2123924"/>
              <a:gd name="connsiteX13" fmla="*/ 725715 w 931334"/>
              <a:gd name="connsiteY13" fmla="*/ 486229 h 2123924"/>
              <a:gd name="connsiteX14" fmla="*/ 711200 w 931334"/>
              <a:gd name="connsiteY14" fmla="*/ 500743 h 2123924"/>
              <a:gd name="connsiteX15" fmla="*/ 711200 w 931334"/>
              <a:gd name="connsiteY15" fmla="*/ 570896 h 2123924"/>
              <a:gd name="connsiteX16" fmla="*/ 711200 w 931334"/>
              <a:gd name="connsiteY16" fmla="*/ 604762 h 2123924"/>
              <a:gd name="connsiteX17" fmla="*/ 687010 w 931334"/>
              <a:gd name="connsiteY17" fmla="*/ 619277 h 2123924"/>
              <a:gd name="connsiteX18" fmla="*/ 677334 w 931334"/>
              <a:gd name="connsiteY18" fmla="*/ 653143 h 2123924"/>
              <a:gd name="connsiteX19" fmla="*/ 621696 w 931334"/>
              <a:gd name="connsiteY19" fmla="*/ 667658 h 2123924"/>
              <a:gd name="connsiteX20" fmla="*/ 590248 w 931334"/>
              <a:gd name="connsiteY20" fmla="*/ 689429 h 2123924"/>
              <a:gd name="connsiteX21" fmla="*/ 549124 w 931334"/>
              <a:gd name="connsiteY21" fmla="*/ 689429 h 2123924"/>
              <a:gd name="connsiteX22" fmla="*/ 515257 w 931334"/>
              <a:gd name="connsiteY22" fmla="*/ 747486 h 2123924"/>
              <a:gd name="connsiteX23" fmla="*/ 466876 w 931334"/>
              <a:gd name="connsiteY23" fmla="*/ 766838 h 2123924"/>
              <a:gd name="connsiteX24" fmla="*/ 447524 w 931334"/>
              <a:gd name="connsiteY24" fmla="*/ 800705 h 2123924"/>
              <a:gd name="connsiteX25" fmla="*/ 452362 w 931334"/>
              <a:gd name="connsiteY25" fmla="*/ 863600 h 2123924"/>
              <a:gd name="connsiteX26" fmla="*/ 425753 w 931334"/>
              <a:gd name="connsiteY26" fmla="*/ 899886 h 2123924"/>
              <a:gd name="connsiteX27" fmla="*/ 413657 w 931334"/>
              <a:gd name="connsiteY27" fmla="*/ 931334 h 2123924"/>
              <a:gd name="connsiteX28" fmla="*/ 418496 w 931334"/>
              <a:gd name="connsiteY28" fmla="*/ 999067 h 2123924"/>
              <a:gd name="connsiteX29" fmla="*/ 365276 w 931334"/>
              <a:gd name="connsiteY29" fmla="*/ 1040191 h 2123924"/>
              <a:gd name="connsiteX30" fmla="*/ 338667 w 931334"/>
              <a:gd name="connsiteY30" fmla="*/ 1071638 h 2123924"/>
              <a:gd name="connsiteX31" fmla="*/ 326572 w 931334"/>
              <a:gd name="connsiteY31" fmla="*/ 1107924 h 2123924"/>
              <a:gd name="connsiteX32" fmla="*/ 333829 w 931334"/>
              <a:gd name="connsiteY32" fmla="*/ 1163562 h 2123924"/>
              <a:gd name="connsiteX33" fmla="*/ 343505 w 931334"/>
              <a:gd name="connsiteY33" fmla="*/ 1228877 h 2123924"/>
              <a:gd name="connsiteX34" fmla="*/ 355600 w 931334"/>
              <a:gd name="connsiteY34" fmla="*/ 1274838 h 2123924"/>
              <a:gd name="connsiteX35" fmla="*/ 345924 w 931334"/>
              <a:gd name="connsiteY35" fmla="*/ 1323219 h 2123924"/>
              <a:gd name="connsiteX36" fmla="*/ 331410 w 931334"/>
              <a:gd name="connsiteY36" fmla="*/ 1427238 h 2123924"/>
              <a:gd name="connsiteX37" fmla="*/ 331410 w 931334"/>
              <a:gd name="connsiteY37" fmla="*/ 1453848 h 2123924"/>
              <a:gd name="connsiteX38" fmla="*/ 297543 w 931334"/>
              <a:gd name="connsiteY38" fmla="*/ 1519162 h 2123924"/>
              <a:gd name="connsiteX39" fmla="*/ 268515 w 931334"/>
              <a:gd name="connsiteY39" fmla="*/ 1594153 h 2123924"/>
              <a:gd name="connsiteX40" fmla="*/ 241905 w 931334"/>
              <a:gd name="connsiteY40" fmla="*/ 1657048 h 2123924"/>
              <a:gd name="connsiteX41" fmla="*/ 224972 w 931334"/>
              <a:gd name="connsiteY41" fmla="*/ 1681238 h 2123924"/>
              <a:gd name="connsiteX42" fmla="*/ 208038 w 931334"/>
              <a:gd name="connsiteY42" fmla="*/ 1734458 h 2123924"/>
              <a:gd name="connsiteX43" fmla="*/ 157238 w 931334"/>
              <a:gd name="connsiteY43" fmla="*/ 1753810 h 2123924"/>
              <a:gd name="connsiteX44" fmla="*/ 123372 w 931334"/>
              <a:gd name="connsiteY44" fmla="*/ 1753810 h 2123924"/>
              <a:gd name="connsiteX45" fmla="*/ 118534 w 931334"/>
              <a:gd name="connsiteY45" fmla="*/ 1792515 h 2123924"/>
              <a:gd name="connsiteX46" fmla="*/ 140305 w 931334"/>
              <a:gd name="connsiteY46" fmla="*/ 1828800 h 2123924"/>
              <a:gd name="connsiteX47" fmla="*/ 113696 w 931334"/>
              <a:gd name="connsiteY47" fmla="*/ 1862667 h 2123924"/>
              <a:gd name="connsiteX48" fmla="*/ 41124 w 931334"/>
              <a:gd name="connsiteY48" fmla="*/ 1925562 h 2123924"/>
              <a:gd name="connsiteX49" fmla="*/ 19353 w 931334"/>
              <a:gd name="connsiteY49" fmla="*/ 1964267 h 2123924"/>
              <a:gd name="connsiteX50" fmla="*/ 4838 w 931334"/>
              <a:gd name="connsiteY50" fmla="*/ 2010229 h 2123924"/>
              <a:gd name="connsiteX51" fmla="*/ 0 w 931334"/>
              <a:gd name="connsiteY51" fmla="*/ 2123924 h 2123924"/>
              <a:gd name="connsiteX0" fmla="*/ 931334 w 931334"/>
              <a:gd name="connsiteY0" fmla="*/ 0 h 2123924"/>
              <a:gd name="connsiteX1" fmla="*/ 902305 w 931334"/>
              <a:gd name="connsiteY1" fmla="*/ 62896 h 2123924"/>
              <a:gd name="connsiteX2" fmla="*/ 880534 w 931334"/>
              <a:gd name="connsiteY2" fmla="*/ 87086 h 2123924"/>
              <a:gd name="connsiteX3" fmla="*/ 880534 w 931334"/>
              <a:gd name="connsiteY3" fmla="*/ 123372 h 2123924"/>
              <a:gd name="connsiteX4" fmla="*/ 856343 w 931334"/>
              <a:gd name="connsiteY4" fmla="*/ 137886 h 2123924"/>
              <a:gd name="connsiteX5" fmla="*/ 803124 w 931334"/>
              <a:gd name="connsiteY5" fmla="*/ 147562 h 2123924"/>
              <a:gd name="connsiteX6" fmla="*/ 735391 w 931334"/>
              <a:gd name="connsiteY6" fmla="*/ 181429 h 2123924"/>
              <a:gd name="connsiteX7" fmla="*/ 716038 w 931334"/>
              <a:gd name="connsiteY7" fmla="*/ 210458 h 2123924"/>
              <a:gd name="connsiteX8" fmla="*/ 735391 w 931334"/>
              <a:gd name="connsiteY8" fmla="*/ 234648 h 2123924"/>
              <a:gd name="connsiteX9" fmla="*/ 706362 w 931334"/>
              <a:gd name="connsiteY9" fmla="*/ 285448 h 2123924"/>
              <a:gd name="connsiteX10" fmla="*/ 716038 w 931334"/>
              <a:gd name="connsiteY10" fmla="*/ 321734 h 2123924"/>
              <a:gd name="connsiteX11" fmla="*/ 759581 w 931334"/>
              <a:gd name="connsiteY11" fmla="*/ 377372 h 2123924"/>
              <a:gd name="connsiteX12" fmla="*/ 754743 w 931334"/>
              <a:gd name="connsiteY12" fmla="*/ 425753 h 2123924"/>
              <a:gd name="connsiteX13" fmla="*/ 725715 w 931334"/>
              <a:gd name="connsiteY13" fmla="*/ 486229 h 2123924"/>
              <a:gd name="connsiteX14" fmla="*/ 711200 w 931334"/>
              <a:gd name="connsiteY14" fmla="*/ 500743 h 2123924"/>
              <a:gd name="connsiteX15" fmla="*/ 711200 w 931334"/>
              <a:gd name="connsiteY15" fmla="*/ 570896 h 2123924"/>
              <a:gd name="connsiteX16" fmla="*/ 711200 w 931334"/>
              <a:gd name="connsiteY16" fmla="*/ 604762 h 2123924"/>
              <a:gd name="connsiteX17" fmla="*/ 687010 w 931334"/>
              <a:gd name="connsiteY17" fmla="*/ 619277 h 2123924"/>
              <a:gd name="connsiteX18" fmla="*/ 677334 w 931334"/>
              <a:gd name="connsiteY18" fmla="*/ 653143 h 2123924"/>
              <a:gd name="connsiteX19" fmla="*/ 621696 w 931334"/>
              <a:gd name="connsiteY19" fmla="*/ 667658 h 2123924"/>
              <a:gd name="connsiteX20" fmla="*/ 590248 w 931334"/>
              <a:gd name="connsiteY20" fmla="*/ 689429 h 2123924"/>
              <a:gd name="connsiteX21" fmla="*/ 549124 w 931334"/>
              <a:gd name="connsiteY21" fmla="*/ 689429 h 2123924"/>
              <a:gd name="connsiteX22" fmla="*/ 515257 w 931334"/>
              <a:gd name="connsiteY22" fmla="*/ 747486 h 2123924"/>
              <a:gd name="connsiteX23" fmla="*/ 466876 w 931334"/>
              <a:gd name="connsiteY23" fmla="*/ 766838 h 2123924"/>
              <a:gd name="connsiteX24" fmla="*/ 447524 w 931334"/>
              <a:gd name="connsiteY24" fmla="*/ 800705 h 2123924"/>
              <a:gd name="connsiteX25" fmla="*/ 452362 w 931334"/>
              <a:gd name="connsiteY25" fmla="*/ 863600 h 2123924"/>
              <a:gd name="connsiteX26" fmla="*/ 425753 w 931334"/>
              <a:gd name="connsiteY26" fmla="*/ 899886 h 2123924"/>
              <a:gd name="connsiteX27" fmla="*/ 413657 w 931334"/>
              <a:gd name="connsiteY27" fmla="*/ 931334 h 2123924"/>
              <a:gd name="connsiteX28" fmla="*/ 418496 w 931334"/>
              <a:gd name="connsiteY28" fmla="*/ 999067 h 2123924"/>
              <a:gd name="connsiteX29" fmla="*/ 365276 w 931334"/>
              <a:gd name="connsiteY29" fmla="*/ 1040191 h 2123924"/>
              <a:gd name="connsiteX30" fmla="*/ 338667 w 931334"/>
              <a:gd name="connsiteY30" fmla="*/ 1071638 h 2123924"/>
              <a:gd name="connsiteX31" fmla="*/ 326572 w 931334"/>
              <a:gd name="connsiteY31" fmla="*/ 1107924 h 2123924"/>
              <a:gd name="connsiteX32" fmla="*/ 333829 w 931334"/>
              <a:gd name="connsiteY32" fmla="*/ 1163562 h 2123924"/>
              <a:gd name="connsiteX33" fmla="*/ 343505 w 931334"/>
              <a:gd name="connsiteY33" fmla="*/ 1228877 h 2123924"/>
              <a:gd name="connsiteX34" fmla="*/ 355600 w 931334"/>
              <a:gd name="connsiteY34" fmla="*/ 1274838 h 2123924"/>
              <a:gd name="connsiteX35" fmla="*/ 345924 w 931334"/>
              <a:gd name="connsiteY35" fmla="*/ 1323219 h 2123924"/>
              <a:gd name="connsiteX36" fmla="*/ 331410 w 931334"/>
              <a:gd name="connsiteY36" fmla="*/ 1427238 h 2123924"/>
              <a:gd name="connsiteX37" fmla="*/ 331410 w 931334"/>
              <a:gd name="connsiteY37" fmla="*/ 1453848 h 2123924"/>
              <a:gd name="connsiteX38" fmla="*/ 297543 w 931334"/>
              <a:gd name="connsiteY38" fmla="*/ 1519162 h 2123924"/>
              <a:gd name="connsiteX39" fmla="*/ 268515 w 931334"/>
              <a:gd name="connsiteY39" fmla="*/ 1594153 h 2123924"/>
              <a:gd name="connsiteX40" fmla="*/ 241905 w 931334"/>
              <a:gd name="connsiteY40" fmla="*/ 1657048 h 2123924"/>
              <a:gd name="connsiteX41" fmla="*/ 224972 w 931334"/>
              <a:gd name="connsiteY41" fmla="*/ 1681238 h 2123924"/>
              <a:gd name="connsiteX42" fmla="*/ 208038 w 931334"/>
              <a:gd name="connsiteY42" fmla="*/ 1734458 h 2123924"/>
              <a:gd name="connsiteX43" fmla="*/ 157238 w 931334"/>
              <a:gd name="connsiteY43" fmla="*/ 1753810 h 2123924"/>
              <a:gd name="connsiteX44" fmla="*/ 123372 w 931334"/>
              <a:gd name="connsiteY44" fmla="*/ 1753810 h 2123924"/>
              <a:gd name="connsiteX45" fmla="*/ 118534 w 931334"/>
              <a:gd name="connsiteY45" fmla="*/ 1792515 h 2123924"/>
              <a:gd name="connsiteX46" fmla="*/ 140305 w 931334"/>
              <a:gd name="connsiteY46" fmla="*/ 1828800 h 2123924"/>
              <a:gd name="connsiteX47" fmla="*/ 113696 w 931334"/>
              <a:gd name="connsiteY47" fmla="*/ 1862667 h 2123924"/>
              <a:gd name="connsiteX48" fmla="*/ 41124 w 931334"/>
              <a:gd name="connsiteY48" fmla="*/ 1925562 h 2123924"/>
              <a:gd name="connsiteX49" fmla="*/ 19353 w 931334"/>
              <a:gd name="connsiteY49" fmla="*/ 1964267 h 2123924"/>
              <a:gd name="connsiteX50" fmla="*/ 4838 w 931334"/>
              <a:gd name="connsiteY50" fmla="*/ 2010229 h 2123924"/>
              <a:gd name="connsiteX51" fmla="*/ 0 w 931334"/>
              <a:gd name="connsiteY51" fmla="*/ 2068285 h 2123924"/>
              <a:gd name="connsiteX52" fmla="*/ 0 w 931334"/>
              <a:gd name="connsiteY52" fmla="*/ 2123924 h 2123924"/>
              <a:gd name="connsiteX0" fmla="*/ 931334 w 931334"/>
              <a:gd name="connsiteY0" fmla="*/ 0 h 2123924"/>
              <a:gd name="connsiteX1" fmla="*/ 902305 w 931334"/>
              <a:gd name="connsiteY1" fmla="*/ 62896 h 2123924"/>
              <a:gd name="connsiteX2" fmla="*/ 880534 w 931334"/>
              <a:gd name="connsiteY2" fmla="*/ 87086 h 2123924"/>
              <a:gd name="connsiteX3" fmla="*/ 880534 w 931334"/>
              <a:gd name="connsiteY3" fmla="*/ 123372 h 2123924"/>
              <a:gd name="connsiteX4" fmla="*/ 856343 w 931334"/>
              <a:gd name="connsiteY4" fmla="*/ 137886 h 2123924"/>
              <a:gd name="connsiteX5" fmla="*/ 803124 w 931334"/>
              <a:gd name="connsiteY5" fmla="*/ 147562 h 2123924"/>
              <a:gd name="connsiteX6" fmla="*/ 735391 w 931334"/>
              <a:gd name="connsiteY6" fmla="*/ 181429 h 2123924"/>
              <a:gd name="connsiteX7" fmla="*/ 716038 w 931334"/>
              <a:gd name="connsiteY7" fmla="*/ 210458 h 2123924"/>
              <a:gd name="connsiteX8" fmla="*/ 735391 w 931334"/>
              <a:gd name="connsiteY8" fmla="*/ 234648 h 2123924"/>
              <a:gd name="connsiteX9" fmla="*/ 706362 w 931334"/>
              <a:gd name="connsiteY9" fmla="*/ 285448 h 2123924"/>
              <a:gd name="connsiteX10" fmla="*/ 716038 w 931334"/>
              <a:gd name="connsiteY10" fmla="*/ 321734 h 2123924"/>
              <a:gd name="connsiteX11" fmla="*/ 759581 w 931334"/>
              <a:gd name="connsiteY11" fmla="*/ 377372 h 2123924"/>
              <a:gd name="connsiteX12" fmla="*/ 754743 w 931334"/>
              <a:gd name="connsiteY12" fmla="*/ 425753 h 2123924"/>
              <a:gd name="connsiteX13" fmla="*/ 725715 w 931334"/>
              <a:gd name="connsiteY13" fmla="*/ 486229 h 2123924"/>
              <a:gd name="connsiteX14" fmla="*/ 711200 w 931334"/>
              <a:gd name="connsiteY14" fmla="*/ 500743 h 2123924"/>
              <a:gd name="connsiteX15" fmla="*/ 711200 w 931334"/>
              <a:gd name="connsiteY15" fmla="*/ 570896 h 2123924"/>
              <a:gd name="connsiteX16" fmla="*/ 711200 w 931334"/>
              <a:gd name="connsiteY16" fmla="*/ 604762 h 2123924"/>
              <a:gd name="connsiteX17" fmla="*/ 687010 w 931334"/>
              <a:gd name="connsiteY17" fmla="*/ 619277 h 2123924"/>
              <a:gd name="connsiteX18" fmla="*/ 677334 w 931334"/>
              <a:gd name="connsiteY18" fmla="*/ 653143 h 2123924"/>
              <a:gd name="connsiteX19" fmla="*/ 621696 w 931334"/>
              <a:gd name="connsiteY19" fmla="*/ 667658 h 2123924"/>
              <a:gd name="connsiteX20" fmla="*/ 590248 w 931334"/>
              <a:gd name="connsiteY20" fmla="*/ 689429 h 2123924"/>
              <a:gd name="connsiteX21" fmla="*/ 549124 w 931334"/>
              <a:gd name="connsiteY21" fmla="*/ 689429 h 2123924"/>
              <a:gd name="connsiteX22" fmla="*/ 515257 w 931334"/>
              <a:gd name="connsiteY22" fmla="*/ 747486 h 2123924"/>
              <a:gd name="connsiteX23" fmla="*/ 466876 w 931334"/>
              <a:gd name="connsiteY23" fmla="*/ 766838 h 2123924"/>
              <a:gd name="connsiteX24" fmla="*/ 447524 w 931334"/>
              <a:gd name="connsiteY24" fmla="*/ 800705 h 2123924"/>
              <a:gd name="connsiteX25" fmla="*/ 452362 w 931334"/>
              <a:gd name="connsiteY25" fmla="*/ 863600 h 2123924"/>
              <a:gd name="connsiteX26" fmla="*/ 425753 w 931334"/>
              <a:gd name="connsiteY26" fmla="*/ 899886 h 2123924"/>
              <a:gd name="connsiteX27" fmla="*/ 413657 w 931334"/>
              <a:gd name="connsiteY27" fmla="*/ 931334 h 2123924"/>
              <a:gd name="connsiteX28" fmla="*/ 418496 w 931334"/>
              <a:gd name="connsiteY28" fmla="*/ 999067 h 2123924"/>
              <a:gd name="connsiteX29" fmla="*/ 365276 w 931334"/>
              <a:gd name="connsiteY29" fmla="*/ 1040191 h 2123924"/>
              <a:gd name="connsiteX30" fmla="*/ 338667 w 931334"/>
              <a:gd name="connsiteY30" fmla="*/ 1071638 h 2123924"/>
              <a:gd name="connsiteX31" fmla="*/ 326572 w 931334"/>
              <a:gd name="connsiteY31" fmla="*/ 1107924 h 2123924"/>
              <a:gd name="connsiteX32" fmla="*/ 333829 w 931334"/>
              <a:gd name="connsiteY32" fmla="*/ 1163562 h 2123924"/>
              <a:gd name="connsiteX33" fmla="*/ 343505 w 931334"/>
              <a:gd name="connsiteY33" fmla="*/ 1228877 h 2123924"/>
              <a:gd name="connsiteX34" fmla="*/ 355600 w 931334"/>
              <a:gd name="connsiteY34" fmla="*/ 1274838 h 2123924"/>
              <a:gd name="connsiteX35" fmla="*/ 345924 w 931334"/>
              <a:gd name="connsiteY35" fmla="*/ 1323219 h 2123924"/>
              <a:gd name="connsiteX36" fmla="*/ 331410 w 931334"/>
              <a:gd name="connsiteY36" fmla="*/ 1427238 h 2123924"/>
              <a:gd name="connsiteX37" fmla="*/ 331410 w 931334"/>
              <a:gd name="connsiteY37" fmla="*/ 1453848 h 2123924"/>
              <a:gd name="connsiteX38" fmla="*/ 297543 w 931334"/>
              <a:gd name="connsiteY38" fmla="*/ 1519162 h 2123924"/>
              <a:gd name="connsiteX39" fmla="*/ 268515 w 931334"/>
              <a:gd name="connsiteY39" fmla="*/ 1594153 h 2123924"/>
              <a:gd name="connsiteX40" fmla="*/ 241905 w 931334"/>
              <a:gd name="connsiteY40" fmla="*/ 1657048 h 2123924"/>
              <a:gd name="connsiteX41" fmla="*/ 224972 w 931334"/>
              <a:gd name="connsiteY41" fmla="*/ 1681238 h 2123924"/>
              <a:gd name="connsiteX42" fmla="*/ 208038 w 931334"/>
              <a:gd name="connsiteY42" fmla="*/ 1734458 h 2123924"/>
              <a:gd name="connsiteX43" fmla="*/ 157238 w 931334"/>
              <a:gd name="connsiteY43" fmla="*/ 1753810 h 2123924"/>
              <a:gd name="connsiteX44" fmla="*/ 123372 w 931334"/>
              <a:gd name="connsiteY44" fmla="*/ 1753810 h 2123924"/>
              <a:gd name="connsiteX45" fmla="*/ 118534 w 931334"/>
              <a:gd name="connsiteY45" fmla="*/ 1792515 h 2123924"/>
              <a:gd name="connsiteX46" fmla="*/ 140305 w 931334"/>
              <a:gd name="connsiteY46" fmla="*/ 1828800 h 2123924"/>
              <a:gd name="connsiteX47" fmla="*/ 113696 w 931334"/>
              <a:gd name="connsiteY47" fmla="*/ 1862667 h 2123924"/>
              <a:gd name="connsiteX48" fmla="*/ 41124 w 931334"/>
              <a:gd name="connsiteY48" fmla="*/ 1925562 h 2123924"/>
              <a:gd name="connsiteX49" fmla="*/ 19353 w 931334"/>
              <a:gd name="connsiteY49" fmla="*/ 1964267 h 2123924"/>
              <a:gd name="connsiteX50" fmla="*/ 4838 w 931334"/>
              <a:gd name="connsiteY50" fmla="*/ 2010229 h 2123924"/>
              <a:gd name="connsiteX51" fmla="*/ 21772 w 931334"/>
              <a:gd name="connsiteY51" fmla="*/ 2073123 h 2123924"/>
              <a:gd name="connsiteX52" fmla="*/ 0 w 931334"/>
              <a:gd name="connsiteY52" fmla="*/ 2123924 h 2123924"/>
              <a:gd name="connsiteX0" fmla="*/ 926496 w 926496"/>
              <a:gd name="connsiteY0" fmla="*/ 0 h 2073123"/>
              <a:gd name="connsiteX1" fmla="*/ 897467 w 926496"/>
              <a:gd name="connsiteY1" fmla="*/ 62896 h 2073123"/>
              <a:gd name="connsiteX2" fmla="*/ 875696 w 926496"/>
              <a:gd name="connsiteY2" fmla="*/ 87086 h 2073123"/>
              <a:gd name="connsiteX3" fmla="*/ 875696 w 926496"/>
              <a:gd name="connsiteY3" fmla="*/ 123372 h 2073123"/>
              <a:gd name="connsiteX4" fmla="*/ 851505 w 926496"/>
              <a:gd name="connsiteY4" fmla="*/ 137886 h 2073123"/>
              <a:gd name="connsiteX5" fmla="*/ 798286 w 926496"/>
              <a:gd name="connsiteY5" fmla="*/ 147562 h 2073123"/>
              <a:gd name="connsiteX6" fmla="*/ 730553 w 926496"/>
              <a:gd name="connsiteY6" fmla="*/ 181429 h 2073123"/>
              <a:gd name="connsiteX7" fmla="*/ 711200 w 926496"/>
              <a:gd name="connsiteY7" fmla="*/ 210458 h 2073123"/>
              <a:gd name="connsiteX8" fmla="*/ 730553 w 926496"/>
              <a:gd name="connsiteY8" fmla="*/ 234648 h 2073123"/>
              <a:gd name="connsiteX9" fmla="*/ 701524 w 926496"/>
              <a:gd name="connsiteY9" fmla="*/ 285448 h 2073123"/>
              <a:gd name="connsiteX10" fmla="*/ 711200 w 926496"/>
              <a:gd name="connsiteY10" fmla="*/ 321734 h 2073123"/>
              <a:gd name="connsiteX11" fmla="*/ 754743 w 926496"/>
              <a:gd name="connsiteY11" fmla="*/ 377372 h 2073123"/>
              <a:gd name="connsiteX12" fmla="*/ 749905 w 926496"/>
              <a:gd name="connsiteY12" fmla="*/ 425753 h 2073123"/>
              <a:gd name="connsiteX13" fmla="*/ 720877 w 926496"/>
              <a:gd name="connsiteY13" fmla="*/ 486229 h 2073123"/>
              <a:gd name="connsiteX14" fmla="*/ 706362 w 926496"/>
              <a:gd name="connsiteY14" fmla="*/ 500743 h 2073123"/>
              <a:gd name="connsiteX15" fmla="*/ 706362 w 926496"/>
              <a:gd name="connsiteY15" fmla="*/ 570896 h 2073123"/>
              <a:gd name="connsiteX16" fmla="*/ 706362 w 926496"/>
              <a:gd name="connsiteY16" fmla="*/ 604762 h 2073123"/>
              <a:gd name="connsiteX17" fmla="*/ 682172 w 926496"/>
              <a:gd name="connsiteY17" fmla="*/ 619277 h 2073123"/>
              <a:gd name="connsiteX18" fmla="*/ 672496 w 926496"/>
              <a:gd name="connsiteY18" fmla="*/ 653143 h 2073123"/>
              <a:gd name="connsiteX19" fmla="*/ 616858 w 926496"/>
              <a:gd name="connsiteY19" fmla="*/ 667658 h 2073123"/>
              <a:gd name="connsiteX20" fmla="*/ 585410 w 926496"/>
              <a:gd name="connsiteY20" fmla="*/ 689429 h 2073123"/>
              <a:gd name="connsiteX21" fmla="*/ 544286 w 926496"/>
              <a:gd name="connsiteY21" fmla="*/ 689429 h 2073123"/>
              <a:gd name="connsiteX22" fmla="*/ 510419 w 926496"/>
              <a:gd name="connsiteY22" fmla="*/ 747486 h 2073123"/>
              <a:gd name="connsiteX23" fmla="*/ 462038 w 926496"/>
              <a:gd name="connsiteY23" fmla="*/ 766838 h 2073123"/>
              <a:gd name="connsiteX24" fmla="*/ 442686 w 926496"/>
              <a:gd name="connsiteY24" fmla="*/ 800705 h 2073123"/>
              <a:gd name="connsiteX25" fmla="*/ 447524 w 926496"/>
              <a:gd name="connsiteY25" fmla="*/ 863600 h 2073123"/>
              <a:gd name="connsiteX26" fmla="*/ 420915 w 926496"/>
              <a:gd name="connsiteY26" fmla="*/ 899886 h 2073123"/>
              <a:gd name="connsiteX27" fmla="*/ 408819 w 926496"/>
              <a:gd name="connsiteY27" fmla="*/ 931334 h 2073123"/>
              <a:gd name="connsiteX28" fmla="*/ 413658 w 926496"/>
              <a:gd name="connsiteY28" fmla="*/ 999067 h 2073123"/>
              <a:gd name="connsiteX29" fmla="*/ 360438 w 926496"/>
              <a:gd name="connsiteY29" fmla="*/ 1040191 h 2073123"/>
              <a:gd name="connsiteX30" fmla="*/ 333829 w 926496"/>
              <a:gd name="connsiteY30" fmla="*/ 1071638 h 2073123"/>
              <a:gd name="connsiteX31" fmla="*/ 321734 w 926496"/>
              <a:gd name="connsiteY31" fmla="*/ 1107924 h 2073123"/>
              <a:gd name="connsiteX32" fmla="*/ 328991 w 926496"/>
              <a:gd name="connsiteY32" fmla="*/ 1163562 h 2073123"/>
              <a:gd name="connsiteX33" fmla="*/ 338667 w 926496"/>
              <a:gd name="connsiteY33" fmla="*/ 1228877 h 2073123"/>
              <a:gd name="connsiteX34" fmla="*/ 350762 w 926496"/>
              <a:gd name="connsiteY34" fmla="*/ 1274838 h 2073123"/>
              <a:gd name="connsiteX35" fmla="*/ 341086 w 926496"/>
              <a:gd name="connsiteY35" fmla="*/ 1323219 h 2073123"/>
              <a:gd name="connsiteX36" fmla="*/ 326572 w 926496"/>
              <a:gd name="connsiteY36" fmla="*/ 1427238 h 2073123"/>
              <a:gd name="connsiteX37" fmla="*/ 326572 w 926496"/>
              <a:gd name="connsiteY37" fmla="*/ 1453848 h 2073123"/>
              <a:gd name="connsiteX38" fmla="*/ 292705 w 926496"/>
              <a:gd name="connsiteY38" fmla="*/ 1519162 h 2073123"/>
              <a:gd name="connsiteX39" fmla="*/ 263677 w 926496"/>
              <a:gd name="connsiteY39" fmla="*/ 1594153 h 2073123"/>
              <a:gd name="connsiteX40" fmla="*/ 237067 w 926496"/>
              <a:gd name="connsiteY40" fmla="*/ 1657048 h 2073123"/>
              <a:gd name="connsiteX41" fmla="*/ 220134 w 926496"/>
              <a:gd name="connsiteY41" fmla="*/ 1681238 h 2073123"/>
              <a:gd name="connsiteX42" fmla="*/ 203200 w 926496"/>
              <a:gd name="connsiteY42" fmla="*/ 1734458 h 2073123"/>
              <a:gd name="connsiteX43" fmla="*/ 152400 w 926496"/>
              <a:gd name="connsiteY43" fmla="*/ 1753810 h 2073123"/>
              <a:gd name="connsiteX44" fmla="*/ 118534 w 926496"/>
              <a:gd name="connsiteY44" fmla="*/ 1753810 h 2073123"/>
              <a:gd name="connsiteX45" fmla="*/ 113696 w 926496"/>
              <a:gd name="connsiteY45" fmla="*/ 1792515 h 2073123"/>
              <a:gd name="connsiteX46" fmla="*/ 135467 w 926496"/>
              <a:gd name="connsiteY46" fmla="*/ 1828800 h 2073123"/>
              <a:gd name="connsiteX47" fmla="*/ 108858 w 926496"/>
              <a:gd name="connsiteY47" fmla="*/ 1862667 h 2073123"/>
              <a:gd name="connsiteX48" fmla="*/ 36286 w 926496"/>
              <a:gd name="connsiteY48" fmla="*/ 1925562 h 2073123"/>
              <a:gd name="connsiteX49" fmla="*/ 14515 w 926496"/>
              <a:gd name="connsiteY49" fmla="*/ 1964267 h 2073123"/>
              <a:gd name="connsiteX50" fmla="*/ 0 w 926496"/>
              <a:gd name="connsiteY50" fmla="*/ 2010229 h 2073123"/>
              <a:gd name="connsiteX51" fmla="*/ 16934 w 926496"/>
              <a:gd name="connsiteY51" fmla="*/ 2073123 h 2073123"/>
              <a:gd name="connsiteX0" fmla="*/ 926496 w 926496"/>
              <a:gd name="connsiteY0" fmla="*/ 0 h 2010229"/>
              <a:gd name="connsiteX1" fmla="*/ 897467 w 926496"/>
              <a:gd name="connsiteY1" fmla="*/ 62896 h 2010229"/>
              <a:gd name="connsiteX2" fmla="*/ 875696 w 926496"/>
              <a:gd name="connsiteY2" fmla="*/ 87086 h 2010229"/>
              <a:gd name="connsiteX3" fmla="*/ 875696 w 926496"/>
              <a:gd name="connsiteY3" fmla="*/ 123372 h 2010229"/>
              <a:gd name="connsiteX4" fmla="*/ 851505 w 926496"/>
              <a:gd name="connsiteY4" fmla="*/ 137886 h 2010229"/>
              <a:gd name="connsiteX5" fmla="*/ 798286 w 926496"/>
              <a:gd name="connsiteY5" fmla="*/ 147562 h 2010229"/>
              <a:gd name="connsiteX6" fmla="*/ 730553 w 926496"/>
              <a:gd name="connsiteY6" fmla="*/ 181429 h 2010229"/>
              <a:gd name="connsiteX7" fmla="*/ 711200 w 926496"/>
              <a:gd name="connsiteY7" fmla="*/ 210458 h 2010229"/>
              <a:gd name="connsiteX8" fmla="*/ 730553 w 926496"/>
              <a:gd name="connsiteY8" fmla="*/ 234648 h 2010229"/>
              <a:gd name="connsiteX9" fmla="*/ 701524 w 926496"/>
              <a:gd name="connsiteY9" fmla="*/ 285448 h 2010229"/>
              <a:gd name="connsiteX10" fmla="*/ 711200 w 926496"/>
              <a:gd name="connsiteY10" fmla="*/ 321734 h 2010229"/>
              <a:gd name="connsiteX11" fmla="*/ 754743 w 926496"/>
              <a:gd name="connsiteY11" fmla="*/ 377372 h 2010229"/>
              <a:gd name="connsiteX12" fmla="*/ 749905 w 926496"/>
              <a:gd name="connsiteY12" fmla="*/ 425753 h 2010229"/>
              <a:gd name="connsiteX13" fmla="*/ 720877 w 926496"/>
              <a:gd name="connsiteY13" fmla="*/ 486229 h 2010229"/>
              <a:gd name="connsiteX14" fmla="*/ 706362 w 926496"/>
              <a:gd name="connsiteY14" fmla="*/ 500743 h 2010229"/>
              <a:gd name="connsiteX15" fmla="*/ 706362 w 926496"/>
              <a:gd name="connsiteY15" fmla="*/ 570896 h 2010229"/>
              <a:gd name="connsiteX16" fmla="*/ 706362 w 926496"/>
              <a:gd name="connsiteY16" fmla="*/ 604762 h 2010229"/>
              <a:gd name="connsiteX17" fmla="*/ 682172 w 926496"/>
              <a:gd name="connsiteY17" fmla="*/ 619277 h 2010229"/>
              <a:gd name="connsiteX18" fmla="*/ 672496 w 926496"/>
              <a:gd name="connsiteY18" fmla="*/ 653143 h 2010229"/>
              <a:gd name="connsiteX19" fmla="*/ 616858 w 926496"/>
              <a:gd name="connsiteY19" fmla="*/ 667658 h 2010229"/>
              <a:gd name="connsiteX20" fmla="*/ 585410 w 926496"/>
              <a:gd name="connsiteY20" fmla="*/ 689429 h 2010229"/>
              <a:gd name="connsiteX21" fmla="*/ 544286 w 926496"/>
              <a:gd name="connsiteY21" fmla="*/ 689429 h 2010229"/>
              <a:gd name="connsiteX22" fmla="*/ 510419 w 926496"/>
              <a:gd name="connsiteY22" fmla="*/ 747486 h 2010229"/>
              <a:gd name="connsiteX23" fmla="*/ 462038 w 926496"/>
              <a:gd name="connsiteY23" fmla="*/ 766838 h 2010229"/>
              <a:gd name="connsiteX24" fmla="*/ 442686 w 926496"/>
              <a:gd name="connsiteY24" fmla="*/ 800705 h 2010229"/>
              <a:gd name="connsiteX25" fmla="*/ 447524 w 926496"/>
              <a:gd name="connsiteY25" fmla="*/ 863600 h 2010229"/>
              <a:gd name="connsiteX26" fmla="*/ 420915 w 926496"/>
              <a:gd name="connsiteY26" fmla="*/ 899886 h 2010229"/>
              <a:gd name="connsiteX27" fmla="*/ 408819 w 926496"/>
              <a:gd name="connsiteY27" fmla="*/ 931334 h 2010229"/>
              <a:gd name="connsiteX28" fmla="*/ 413658 w 926496"/>
              <a:gd name="connsiteY28" fmla="*/ 999067 h 2010229"/>
              <a:gd name="connsiteX29" fmla="*/ 360438 w 926496"/>
              <a:gd name="connsiteY29" fmla="*/ 1040191 h 2010229"/>
              <a:gd name="connsiteX30" fmla="*/ 333829 w 926496"/>
              <a:gd name="connsiteY30" fmla="*/ 1071638 h 2010229"/>
              <a:gd name="connsiteX31" fmla="*/ 321734 w 926496"/>
              <a:gd name="connsiteY31" fmla="*/ 1107924 h 2010229"/>
              <a:gd name="connsiteX32" fmla="*/ 328991 w 926496"/>
              <a:gd name="connsiteY32" fmla="*/ 1163562 h 2010229"/>
              <a:gd name="connsiteX33" fmla="*/ 338667 w 926496"/>
              <a:gd name="connsiteY33" fmla="*/ 1228877 h 2010229"/>
              <a:gd name="connsiteX34" fmla="*/ 350762 w 926496"/>
              <a:gd name="connsiteY34" fmla="*/ 1274838 h 2010229"/>
              <a:gd name="connsiteX35" fmla="*/ 341086 w 926496"/>
              <a:gd name="connsiteY35" fmla="*/ 1323219 h 2010229"/>
              <a:gd name="connsiteX36" fmla="*/ 326572 w 926496"/>
              <a:gd name="connsiteY36" fmla="*/ 1427238 h 2010229"/>
              <a:gd name="connsiteX37" fmla="*/ 326572 w 926496"/>
              <a:gd name="connsiteY37" fmla="*/ 1453848 h 2010229"/>
              <a:gd name="connsiteX38" fmla="*/ 292705 w 926496"/>
              <a:gd name="connsiteY38" fmla="*/ 1519162 h 2010229"/>
              <a:gd name="connsiteX39" fmla="*/ 263677 w 926496"/>
              <a:gd name="connsiteY39" fmla="*/ 1594153 h 2010229"/>
              <a:gd name="connsiteX40" fmla="*/ 237067 w 926496"/>
              <a:gd name="connsiteY40" fmla="*/ 1657048 h 2010229"/>
              <a:gd name="connsiteX41" fmla="*/ 220134 w 926496"/>
              <a:gd name="connsiteY41" fmla="*/ 1681238 h 2010229"/>
              <a:gd name="connsiteX42" fmla="*/ 203200 w 926496"/>
              <a:gd name="connsiteY42" fmla="*/ 1734458 h 2010229"/>
              <a:gd name="connsiteX43" fmla="*/ 152400 w 926496"/>
              <a:gd name="connsiteY43" fmla="*/ 1753810 h 2010229"/>
              <a:gd name="connsiteX44" fmla="*/ 118534 w 926496"/>
              <a:gd name="connsiteY44" fmla="*/ 1753810 h 2010229"/>
              <a:gd name="connsiteX45" fmla="*/ 113696 w 926496"/>
              <a:gd name="connsiteY45" fmla="*/ 1792515 h 2010229"/>
              <a:gd name="connsiteX46" fmla="*/ 135467 w 926496"/>
              <a:gd name="connsiteY46" fmla="*/ 1828800 h 2010229"/>
              <a:gd name="connsiteX47" fmla="*/ 108858 w 926496"/>
              <a:gd name="connsiteY47" fmla="*/ 1862667 h 2010229"/>
              <a:gd name="connsiteX48" fmla="*/ 36286 w 926496"/>
              <a:gd name="connsiteY48" fmla="*/ 1925562 h 2010229"/>
              <a:gd name="connsiteX49" fmla="*/ 14515 w 926496"/>
              <a:gd name="connsiteY49" fmla="*/ 1964267 h 2010229"/>
              <a:gd name="connsiteX50" fmla="*/ 0 w 926496"/>
              <a:gd name="connsiteY50" fmla="*/ 2010229 h 2010229"/>
              <a:gd name="connsiteX0" fmla="*/ 911981 w 911981"/>
              <a:gd name="connsiteY0" fmla="*/ 0 h 1964267"/>
              <a:gd name="connsiteX1" fmla="*/ 882952 w 911981"/>
              <a:gd name="connsiteY1" fmla="*/ 62896 h 1964267"/>
              <a:gd name="connsiteX2" fmla="*/ 861181 w 911981"/>
              <a:gd name="connsiteY2" fmla="*/ 87086 h 1964267"/>
              <a:gd name="connsiteX3" fmla="*/ 861181 w 911981"/>
              <a:gd name="connsiteY3" fmla="*/ 123372 h 1964267"/>
              <a:gd name="connsiteX4" fmla="*/ 836990 w 911981"/>
              <a:gd name="connsiteY4" fmla="*/ 137886 h 1964267"/>
              <a:gd name="connsiteX5" fmla="*/ 783771 w 911981"/>
              <a:gd name="connsiteY5" fmla="*/ 147562 h 1964267"/>
              <a:gd name="connsiteX6" fmla="*/ 716038 w 911981"/>
              <a:gd name="connsiteY6" fmla="*/ 181429 h 1964267"/>
              <a:gd name="connsiteX7" fmla="*/ 696685 w 911981"/>
              <a:gd name="connsiteY7" fmla="*/ 210458 h 1964267"/>
              <a:gd name="connsiteX8" fmla="*/ 716038 w 911981"/>
              <a:gd name="connsiteY8" fmla="*/ 234648 h 1964267"/>
              <a:gd name="connsiteX9" fmla="*/ 687009 w 911981"/>
              <a:gd name="connsiteY9" fmla="*/ 285448 h 1964267"/>
              <a:gd name="connsiteX10" fmla="*/ 696685 w 911981"/>
              <a:gd name="connsiteY10" fmla="*/ 321734 h 1964267"/>
              <a:gd name="connsiteX11" fmla="*/ 740228 w 911981"/>
              <a:gd name="connsiteY11" fmla="*/ 377372 h 1964267"/>
              <a:gd name="connsiteX12" fmla="*/ 735390 w 911981"/>
              <a:gd name="connsiteY12" fmla="*/ 425753 h 1964267"/>
              <a:gd name="connsiteX13" fmla="*/ 706362 w 911981"/>
              <a:gd name="connsiteY13" fmla="*/ 486229 h 1964267"/>
              <a:gd name="connsiteX14" fmla="*/ 691847 w 911981"/>
              <a:gd name="connsiteY14" fmla="*/ 500743 h 1964267"/>
              <a:gd name="connsiteX15" fmla="*/ 691847 w 911981"/>
              <a:gd name="connsiteY15" fmla="*/ 570896 h 1964267"/>
              <a:gd name="connsiteX16" fmla="*/ 691847 w 911981"/>
              <a:gd name="connsiteY16" fmla="*/ 604762 h 1964267"/>
              <a:gd name="connsiteX17" fmla="*/ 667657 w 911981"/>
              <a:gd name="connsiteY17" fmla="*/ 619277 h 1964267"/>
              <a:gd name="connsiteX18" fmla="*/ 657981 w 911981"/>
              <a:gd name="connsiteY18" fmla="*/ 653143 h 1964267"/>
              <a:gd name="connsiteX19" fmla="*/ 602343 w 911981"/>
              <a:gd name="connsiteY19" fmla="*/ 667658 h 1964267"/>
              <a:gd name="connsiteX20" fmla="*/ 570895 w 911981"/>
              <a:gd name="connsiteY20" fmla="*/ 689429 h 1964267"/>
              <a:gd name="connsiteX21" fmla="*/ 529771 w 911981"/>
              <a:gd name="connsiteY21" fmla="*/ 689429 h 1964267"/>
              <a:gd name="connsiteX22" fmla="*/ 495904 w 911981"/>
              <a:gd name="connsiteY22" fmla="*/ 747486 h 1964267"/>
              <a:gd name="connsiteX23" fmla="*/ 447523 w 911981"/>
              <a:gd name="connsiteY23" fmla="*/ 766838 h 1964267"/>
              <a:gd name="connsiteX24" fmla="*/ 428171 w 911981"/>
              <a:gd name="connsiteY24" fmla="*/ 800705 h 1964267"/>
              <a:gd name="connsiteX25" fmla="*/ 433009 w 911981"/>
              <a:gd name="connsiteY25" fmla="*/ 863600 h 1964267"/>
              <a:gd name="connsiteX26" fmla="*/ 406400 w 911981"/>
              <a:gd name="connsiteY26" fmla="*/ 899886 h 1964267"/>
              <a:gd name="connsiteX27" fmla="*/ 394304 w 911981"/>
              <a:gd name="connsiteY27" fmla="*/ 931334 h 1964267"/>
              <a:gd name="connsiteX28" fmla="*/ 399143 w 911981"/>
              <a:gd name="connsiteY28" fmla="*/ 999067 h 1964267"/>
              <a:gd name="connsiteX29" fmla="*/ 345923 w 911981"/>
              <a:gd name="connsiteY29" fmla="*/ 1040191 h 1964267"/>
              <a:gd name="connsiteX30" fmla="*/ 319314 w 911981"/>
              <a:gd name="connsiteY30" fmla="*/ 1071638 h 1964267"/>
              <a:gd name="connsiteX31" fmla="*/ 307219 w 911981"/>
              <a:gd name="connsiteY31" fmla="*/ 1107924 h 1964267"/>
              <a:gd name="connsiteX32" fmla="*/ 314476 w 911981"/>
              <a:gd name="connsiteY32" fmla="*/ 1163562 h 1964267"/>
              <a:gd name="connsiteX33" fmla="*/ 324152 w 911981"/>
              <a:gd name="connsiteY33" fmla="*/ 1228877 h 1964267"/>
              <a:gd name="connsiteX34" fmla="*/ 336247 w 911981"/>
              <a:gd name="connsiteY34" fmla="*/ 1274838 h 1964267"/>
              <a:gd name="connsiteX35" fmla="*/ 326571 w 911981"/>
              <a:gd name="connsiteY35" fmla="*/ 1323219 h 1964267"/>
              <a:gd name="connsiteX36" fmla="*/ 312057 w 911981"/>
              <a:gd name="connsiteY36" fmla="*/ 1427238 h 1964267"/>
              <a:gd name="connsiteX37" fmla="*/ 312057 w 911981"/>
              <a:gd name="connsiteY37" fmla="*/ 1453848 h 1964267"/>
              <a:gd name="connsiteX38" fmla="*/ 278190 w 911981"/>
              <a:gd name="connsiteY38" fmla="*/ 1519162 h 1964267"/>
              <a:gd name="connsiteX39" fmla="*/ 249162 w 911981"/>
              <a:gd name="connsiteY39" fmla="*/ 1594153 h 1964267"/>
              <a:gd name="connsiteX40" fmla="*/ 222552 w 911981"/>
              <a:gd name="connsiteY40" fmla="*/ 1657048 h 1964267"/>
              <a:gd name="connsiteX41" fmla="*/ 205619 w 911981"/>
              <a:gd name="connsiteY41" fmla="*/ 1681238 h 1964267"/>
              <a:gd name="connsiteX42" fmla="*/ 188685 w 911981"/>
              <a:gd name="connsiteY42" fmla="*/ 1734458 h 1964267"/>
              <a:gd name="connsiteX43" fmla="*/ 137885 w 911981"/>
              <a:gd name="connsiteY43" fmla="*/ 1753810 h 1964267"/>
              <a:gd name="connsiteX44" fmla="*/ 104019 w 911981"/>
              <a:gd name="connsiteY44" fmla="*/ 1753810 h 1964267"/>
              <a:gd name="connsiteX45" fmla="*/ 99181 w 911981"/>
              <a:gd name="connsiteY45" fmla="*/ 1792515 h 1964267"/>
              <a:gd name="connsiteX46" fmla="*/ 120952 w 911981"/>
              <a:gd name="connsiteY46" fmla="*/ 1828800 h 1964267"/>
              <a:gd name="connsiteX47" fmla="*/ 94343 w 911981"/>
              <a:gd name="connsiteY47" fmla="*/ 1862667 h 1964267"/>
              <a:gd name="connsiteX48" fmla="*/ 21771 w 911981"/>
              <a:gd name="connsiteY48" fmla="*/ 1925562 h 1964267"/>
              <a:gd name="connsiteX49" fmla="*/ 0 w 911981"/>
              <a:gd name="connsiteY49" fmla="*/ 1964267 h 1964267"/>
              <a:gd name="connsiteX0" fmla="*/ 890210 w 890210"/>
              <a:gd name="connsiteY0" fmla="*/ 0 h 1925562"/>
              <a:gd name="connsiteX1" fmla="*/ 861181 w 890210"/>
              <a:gd name="connsiteY1" fmla="*/ 62896 h 1925562"/>
              <a:gd name="connsiteX2" fmla="*/ 839410 w 890210"/>
              <a:gd name="connsiteY2" fmla="*/ 87086 h 1925562"/>
              <a:gd name="connsiteX3" fmla="*/ 839410 w 890210"/>
              <a:gd name="connsiteY3" fmla="*/ 123372 h 1925562"/>
              <a:gd name="connsiteX4" fmla="*/ 815219 w 890210"/>
              <a:gd name="connsiteY4" fmla="*/ 137886 h 1925562"/>
              <a:gd name="connsiteX5" fmla="*/ 762000 w 890210"/>
              <a:gd name="connsiteY5" fmla="*/ 147562 h 1925562"/>
              <a:gd name="connsiteX6" fmla="*/ 694267 w 890210"/>
              <a:gd name="connsiteY6" fmla="*/ 181429 h 1925562"/>
              <a:gd name="connsiteX7" fmla="*/ 674914 w 890210"/>
              <a:gd name="connsiteY7" fmla="*/ 210458 h 1925562"/>
              <a:gd name="connsiteX8" fmla="*/ 694267 w 890210"/>
              <a:gd name="connsiteY8" fmla="*/ 234648 h 1925562"/>
              <a:gd name="connsiteX9" fmla="*/ 665238 w 890210"/>
              <a:gd name="connsiteY9" fmla="*/ 285448 h 1925562"/>
              <a:gd name="connsiteX10" fmla="*/ 674914 w 890210"/>
              <a:gd name="connsiteY10" fmla="*/ 321734 h 1925562"/>
              <a:gd name="connsiteX11" fmla="*/ 718457 w 890210"/>
              <a:gd name="connsiteY11" fmla="*/ 377372 h 1925562"/>
              <a:gd name="connsiteX12" fmla="*/ 713619 w 890210"/>
              <a:gd name="connsiteY12" fmla="*/ 425753 h 1925562"/>
              <a:gd name="connsiteX13" fmla="*/ 684591 w 890210"/>
              <a:gd name="connsiteY13" fmla="*/ 486229 h 1925562"/>
              <a:gd name="connsiteX14" fmla="*/ 670076 w 890210"/>
              <a:gd name="connsiteY14" fmla="*/ 500743 h 1925562"/>
              <a:gd name="connsiteX15" fmla="*/ 670076 w 890210"/>
              <a:gd name="connsiteY15" fmla="*/ 570896 h 1925562"/>
              <a:gd name="connsiteX16" fmla="*/ 670076 w 890210"/>
              <a:gd name="connsiteY16" fmla="*/ 604762 h 1925562"/>
              <a:gd name="connsiteX17" fmla="*/ 645886 w 890210"/>
              <a:gd name="connsiteY17" fmla="*/ 619277 h 1925562"/>
              <a:gd name="connsiteX18" fmla="*/ 636210 w 890210"/>
              <a:gd name="connsiteY18" fmla="*/ 653143 h 1925562"/>
              <a:gd name="connsiteX19" fmla="*/ 580572 w 890210"/>
              <a:gd name="connsiteY19" fmla="*/ 667658 h 1925562"/>
              <a:gd name="connsiteX20" fmla="*/ 549124 w 890210"/>
              <a:gd name="connsiteY20" fmla="*/ 689429 h 1925562"/>
              <a:gd name="connsiteX21" fmla="*/ 508000 w 890210"/>
              <a:gd name="connsiteY21" fmla="*/ 689429 h 1925562"/>
              <a:gd name="connsiteX22" fmla="*/ 474133 w 890210"/>
              <a:gd name="connsiteY22" fmla="*/ 747486 h 1925562"/>
              <a:gd name="connsiteX23" fmla="*/ 425752 w 890210"/>
              <a:gd name="connsiteY23" fmla="*/ 766838 h 1925562"/>
              <a:gd name="connsiteX24" fmla="*/ 406400 w 890210"/>
              <a:gd name="connsiteY24" fmla="*/ 800705 h 1925562"/>
              <a:gd name="connsiteX25" fmla="*/ 411238 w 890210"/>
              <a:gd name="connsiteY25" fmla="*/ 863600 h 1925562"/>
              <a:gd name="connsiteX26" fmla="*/ 384629 w 890210"/>
              <a:gd name="connsiteY26" fmla="*/ 899886 h 1925562"/>
              <a:gd name="connsiteX27" fmla="*/ 372533 w 890210"/>
              <a:gd name="connsiteY27" fmla="*/ 931334 h 1925562"/>
              <a:gd name="connsiteX28" fmla="*/ 377372 w 890210"/>
              <a:gd name="connsiteY28" fmla="*/ 999067 h 1925562"/>
              <a:gd name="connsiteX29" fmla="*/ 324152 w 890210"/>
              <a:gd name="connsiteY29" fmla="*/ 1040191 h 1925562"/>
              <a:gd name="connsiteX30" fmla="*/ 297543 w 890210"/>
              <a:gd name="connsiteY30" fmla="*/ 1071638 h 1925562"/>
              <a:gd name="connsiteX31" fmla="*/ 285448 w 890210"/>
              <a:gd name="connsiteY31" fmla="*/ 1107924 h 1925562"/>
              <a:gd name="connsiteX32" fmla="*/ 292705 w 890210"/>
              <a:gd name="connsiteY32" fmla="*/ 1163562 h 1925562"/>
              <a:gd name="connsiteX33" fmla="*/ 302381 w 890210"/>
              <a:gd name="connsiteY33" fmla="*/ 1228877 h 1925562"/>
              <a:gd name="connsiteX34" fmla="*/ 314476 w 890210"/>
              <a:gd name="connsiteY34" fmla="*/ 1274838 h 1925562"/>
              <a:gd name="connsiteX35" fmla="*/ 304800 w 890210"/>
              <a:gd name="connsiteY35" fmla="*/ 1323219 h 1925562"/>
              <a:gd name="connsiteX36" fmla="*/ 290286 w 890210"/>
              <a:gd name="connsiteY36" fmla="*/ 1427238 h 1925562"/>
              <a:gd name="connsiteX37" fmla="*/ 290286 w 890210"/>
              <a:gd name="connsiteY37" fmla="*/ 1453848 h 1925562"/>
              <a:gd name="connsiteX38" fmla="*/ 256419 w 890210"/>
              <a:gd name="connsiteY38" fmla="*/ 1519162 h 1925562"/>
              <a:gd name="connsiteX39" fmla="*/ 227391 w 890210"/>
              <a:gd name="connsiteY39" fmla="*/ 1594153 h 1925562"/>
              <a:gd name="connsiteX40" fmla="*/ 200781 w 890210"/>
              <a:gd name="connsiteY40" fmla="*/ 1657048 h 1925562"/>
              <a:gd name="connsiteX41" fmla="*/ 183848 w 890210"/>
              <a:gd name="connsiteY41" fmla="*/ 1681238 h 1925562"/>
              <a:gd name="connsiteX42" fmla="*/ 166914 w 890210"/>
              <a:gd name="connsiteY42" fmla="*/ 1734458 h 1925562"/>
              <a:gd name="connsiteX43" fmla="*/ 116114 w 890210"/>
              <a:gd name="connsiteY43" fmla="*/ 1753810 h 1925562"/>
              <a:gd name="connsiteX44" fmla="*/ 82248 w 890210"/>
              <a:gd name="connsiteY44" fmla="*/ 1753810 h 1925562"/>
              <a:gd name="connsiteX45" fmla="*/ 77410 w 890210"/>
              <a:gd name="connsiteY45" fmla="*/ 1792515 h 1925562"/>
              <a:gd name="connsiteX46" fmla="*/ 99181 w 890210"/>
              <a:gd name="connsiteY46" fmla="*/ 1828800 h 1925562"/>
              <a:gd name="connsiteX47" fmla="*/ 72572 w 890210"/>
              <a:gd name="connsiteY47" fmla="*/ 1862667 h 1925562"/>
              <a:gd name="connsiteX48" fmla="*/ 0 w 890210"/>
              <a:gd name="connsiteY48" fmla="*/ 1925562 h 1925562"/>
              <a:gd name="connsiteX0" fmla="*/ 817638 w 817638"/>
              <a:gd name="connsiteY0" fmla="*/ 0 h 1862667"/>
              <a:gd name="connsiteX1" fmla="*/ 788609 w 817638"/>
              <a:gd name="connsiteY1" fmla="*/ 62896 h 1862667"/>
              <a:gd name="connsiteX2" fmla="*/ 766838 w 817638"/>
              <a:gd name="connsiteY2" fmla="*/ 87086 h 1862667"/>
              <a:gd name="connsiteX3" fmla="*/ 766838 w 817638"/>
              <a:gd name="connsiteY3" fmla="*/ 123372 h 1862667"/>
              <a:gd name="connsiteX4" fmla="*/ 742647 w 817638"/>
              <a:gd name="connsiteY4" fmla="*/ 137886 h 1862667"/>
              <a:gd name="connsiteX5" fmla="*/ 689428 w 817638"/>
              <a:gd name="connsiteY5" fmla="*/ 147562 h 1862667"/>
              <a:gd name="connsiteX6" fmla="*/ 621695 w 817638"/>
              <a:gd name="connsiteY6" fmla="*/ 181429 h 1862667"/>
              <a:gd name="connsiteX7" fmla="*/ 602342 w 817638"/>
              <a:gd name="connsiteY7" fmla="*/ 210458 h 1862667"/>
              <a:gd name="connsiteX8" fmla="*/ 621695 w 817638"/>
              <a:gd name="connsiteY8" fmla="*/ 234648 h 1862667"/>
              <a:gd name="connsiteX9" fmla="*/ 592666 w 817638"/>
              <a:gd name="connsiteY9" fmla="*/ 285448 h 1862667"/>
              <a:gd name="connsiteX10" fmla="*/ 602342 w 817638"/>
              <a:gd name="connsiteY10" fmla="*/ 321734 h 1862667"/>
              <a:gd name="connsiteX11" fmla="*/ 645885 w 817638"/>
              <a:gd name="connsiteY11" fmla="*/ 377372 h 1862667"/>
              <a:gd name="connsiteX12" fmla="*/ 641047 w 817638"/>
              <a:gd name="connsiteY12" fmla="*/ 425753 h 1862667"/>
              <a:gd name="connsiteX13" fmla="*/ 612019 w 817638"/>
              <a:gd name="connsiteY13" fmla="*/ 486229 h 1862667"/>
              <a:gd name="connsiteX14" fmla="*/ 597504 w 817638"/>
              <a:gd name="connsiteY14" fmla="*/ 500743 h 1862667"/>
              <a:gd name="connsiteX15" fmla="*/ 597504 w 817638"/>
              <a:gd name="connsiteY15" fmla="*/ 570896 h 1862667"/>
              <a:gd name="connsiteX16" fmla="*/ 597504 w 817638"/>
              <a:gd name="connsiteY16" fmla="*/ 604762 h 1862667"/>
              <a:gd name="connsiteX17" fmla="*/ 573314 w 817638"/>
              <a:gd name="connsiteY17" fmla="*/ 619277 h 1862667"/>
              <a:gd name="connsiteX18" fmla="*/ 563638 w 817638"/>
              <a:gd name="connsiteY18" fmla="*/ 653143 h 1862667"/>
              <a:gd name="connsiteX19" fmla="*/ 508000 w 817638"/>
              <a:gd name="connsiteY19" fmla="*/ 667658 h 1862667"/>
              <a:gd name="connsiteX20" fmla="*/ 476552 w 817638"/>
              <a:gd name="connsiteY20" fmla="*/ 689429 h 1862667"/>
              <a:gd name="connsiteX21" fmla="*/ 435428 w 817638"/>
              <a:gd name="connsiteY21" fmla="*/ 689429 h 1862667"/>
              <a:gd name="connsiteX22" fmla="*/ 401561 w 817638"/>
              <a:gd name="connsiteY22" fmla="*/ 747486 h 1862667"/>
              <a:gd name="connsiteX23" fmla="*/ 353180 w 817638"/>
              <a:gd name="connsiteY23" fmla="*/ 766838 h 1862667"/>
              <a:gd name="connsiteX24" fmla="*/ 333828 w 817638"/>
              <a:gd name="connsiteY24" fmla="*/ 800705 h 1862667"/>
              <a:gd name="connsiteX25" fmla="*/ 338666 w 817638"/>
              <a:gd name="connsiteY25" fmla="*/ 863600 h 1862667"/>
              <a:gd name="connsiteX26" fmla="*/ 312057 w 817638"/>
              <a:gd name="connsiteY26" fmla="*/ 899886 h 1862667"/>
              <a:gd name="connsiteX27" fmla="*/ 299961 w 817638"/>
              <a:gd name="connsiteY27" fmla="*/ 931334 h 1862667"/>
              <a:gd name="connsiteX28" fmla="*/ 304800 w 817638"/>
              <a:gd name="connsiteY28" fmla="*/ 999067 h 1862667"/>
              <a:gd name="connsiteX29" fmla="*/ 251580 w 817638"/>
              <a:gd name="connsiteY29" fmla="*/ 1040191 h 1862667"/>
              <a:gd name="connsiteX30" fmla="*/ 224971 w 817638"/>
              <a:gd name="connsiteY30" fmla="*/ 1071638 h 1862667"/>
              <a:gd name="connsiteX31" fmla="*/ 212876 w 817638"/>
              <a:gd name="connsiteY31" fmla="*/ 1107924 h 1862667"/>
              <a:gd name="connsiteX32" fmla="*/ 220133 w 817638"/>
              <a:gd name="connsiteY32" fmla="*/ 1163562 h 1862667"/>
              <a:gd name="connsiteX33" fmla="*/ 229809 w 817638"/>
              <a:gd name="connsiteY33" fmla="*/ 1228877 h 1862667"/>
              <a:gd name="connsiteX34" fmla="*/ 241904 w 817638"/>
              <a:gd name="connsiteY34" fmla="*/ 1274838 h 1862667"/>
              <a:gd name="connsiteX35" fmla="*/ 232228 w 817638"/>
              <a:gd name="connsiteY35" fmla="*/ 1323219 h 1862667"/>
              <a:gd name="connsiteX36" fmla="*/ 217714 w 817638"/>
              <a:gd name="connsiteY36" fmla="*/ 1427238 h 1862667"/>
              <a:gd name="connsiteX37" fmla="*/ 217714 w 817638"/>
              <a:gd name="connsiteY37" fmla="*/ 1453848 h 1862667"/>
              <a:gd name="connsiteX38" fmla="*/ 183847 w 817638"/>
              <a:gd name="connsiteY38" fmla="*/ 1519162 h 1862667"/>
              <a:gd name="connsiteX39" fmla="*/ 154819 w 817638"/>
              <a:gd name="connsiteY39" fmla="*/ 1594153 h 1862667"/>
              <a:gd name="connsiteX40" fmla="*/ 128209 w 817638"/>
              <a:gd name="connsiteY40" fmla="*/ 1657048 h 1862667"/>
              <a:gd name="connsiteX41" fmla="*/ 111276 w 817638"/>
              <a:gd name="connsiteY41" fmla="*/ 1681238 h 1862667"/>
              <a:gd name="connsiteX42" fmla="*/ 94342 w 817638"/>
              <a:gd name="connsiteY42" fmla="*/ 1734458 h 1862667"/>
              <a:gd name="connsiteX43" fmla="*/ 43542 w 817638"/>
              <a:gd name="connsiteY43" fmla="*/ 1753810 h 1862667"/>
              <a:gd name="connsiteX44" fmla="*/ 9676 w 817638"/>
              <a:gd name="connsiteY44" fmla="*/ 1753810 h 1862667"/>
              <a:gd name="connsiteX45" fmla="*/ 4838 w 817638"/>
              <a:gd name="connsiteY45" fmla="*/ 1792515 h 1862667"/>
              <a:gd name="connsiteX46" fmla="*/ 26609 w 817638"/>
              <a:gd name="connsiteY46" fmla="*/ 1828800 h 1862667"/>
              <a:gd name="connsiteX47" fmla="*/ 0 w 817638"/>
              <a:gd name="connsiteY47" fmla="*/ 1862667 h 1862667"/>
              <a:gd name="connsiteX0" fmla="*/ 812800 w 812800"/>
              <a:gd name="connsiteY0" fmla="*/ 0 h 1828800"/>
              <a:gd name="connsiteX1" fmla="*/ 783771 w 812800"/>
              <a:gd name="connsiteY1" fmla="*/ 62896 h 1828800"/>
              <a:gd name="connsiteX2" fmla="*/ 762000 w 812800"/>
              <a:gd name="connsiteY2" fmla="*/ 87086 h 1828800"/>
              <a:gd name="connsiteX3" fmla="*/ 762000 w 812800"/>
              <a:gd name="connsiteY3" fmla="*/ 123372 h 1828800"/>
              <a:gd name="connsiteX4" fmla="*/ 737809 w 812800"/>
              <a:gd name="connsiteY4" fmla="*/ 137886 h 1828800"/>
              <a:gd name="connsiteX5" fmla="*/ 684590 w 812800"/>
              <a:gd name="connsiteY5" fmla="*/ 147562 h 1828800"/>
              <a:gd name="connsiteX6" fmla="*/ 616857 w 812800"/>
              <a:gd name="connsiteY6" fmla="*/ 181429 h 1828800"/>
              <a:gd name="connsiteX7" fmla="*/ 597504 w 812800"/>
              <a:gd name="connsiteY7" fmla="*/ 210458 h 1828800"/>
              <a:gd name="connsiteX8" fmla="*/ 616857 w 812800"/>
              <a:gd name="connsiteY8" fmla="*/ 234648 h 1828800"/>
              <a:gd name="connsiteX9" fmla="*/ 587828 w 812800"/>
              <a:gd name="connsiteY9" fmla="*/ 285448 h 1828800"/>
              <a:gd name="connsiteX10" fmla="*/ 597504 w 812800"/>
              <a:gd name="connsiteY10" fmla="*/ 321734 h 1828800"/>
              <a:gd name="connsiteX11" fmla="*/ 641047 w 812800"/>
              <a:gd name="connsiteY11" fmla="*/ 377372 h 1828800"/>
              <a:gd name="connsiteX12" fmla="*/ 636209 w 812800"/>
              <a:gd name="connsiteY12" fmla="*/ 425753 h 1828800"/>
              <a:gd name="connsiteX13" fmla="*/ 607181 w 812800"/>
              <a:gd name="connsiteY13" fmla="*/ 486229 h 1828800"/>
              <a:gd name="connsiteX14" fmla="*/ 592666 w 812800"/>
              <a:gd name="connsiteY14" fmla="*/ 500743 h 1828800"/>
              <a:gd name="connsiteX15" fmla="*/ 592666 w 812800"/>
              <a:gd name="connsiteY15" fmla="*/ 570896 h 1828800"/>
              <a:gd name="connsiteX16" fmla="*/ 592666 w 812800"/>
              <a:gd name="connsiteY16" fmla="*/ 604762 h 1828800"/>
              <a:gd name="connsiteX17" fmla="*/ 568476 w 812800"/>
              <a:gd name="connsiteY17" fmla="*/ 619277 h 1828800"/>
              <a:gd name="connsiteX18" fmla="*/ 558800 w 812800"/>
              <a:gd name="connsiteY18" fmla="*/ 653143 h 1828800"/>
              <a:gd name="connsiteX19" fmla="*/ 503162 w 812800"/>
              <a:gd name="connsiteY19" fmla="*/ 667658 h 1828800"/>
              <a:gd name="connsiteX20" fmla="*/ 471714 w 812800"/>
              <a:gd name="connsiteY20" fmla="*/ 689429 h 1828800"/>
              <a:gd name="connsiteX21" fmla="*/ 430590 w 812800"/>
              <a:gd name="connsiteY21" fmla="*/ 689429 h 1828800"/>
              <a:gd name="connsiteX22" fmla="*/ 396723 w 812800"/>
              <a:gd name="connsiteY22" fmla="*/ 747486 h 1828800"/>
              <a:gd name="connsiteX23" fmla="*/ 348342 w 812800"/>
              <a:gd name="connsiteY23" fmla="*/ 766838 h 1828800"/>
              <a:gd name="connsiteX24" fmla="*/ 328990 w 812800"/>
              <a:gd name="connsiteY24" fmla="*/ 800705 h 1828800"/>
              <a:gd name="connsiteX25" fmla="*/ 333828 w 812800"/>
              <a:gd name="connsiteY25" fmla="*/ 863600 h 1828800"/>
              <a:gd name="connsiteX26" fmla="*/ 307219 w 812800"/>
              <a:gd name="connsiteY26" fmla="*/ 899886 h 1828800"/>
              <a:gd name="connsiteX27" fmla="*/ 295123 w 812800"/>
              <a:gd name="connsiteY27" fmla="*/ 931334 h 1828800"/>
              <a:gd name="connsiteX28" fmla="*/ 299962 w 812800"/>
              <a:gd name="connsiteY28" fmla="*/ 999067 h 1828800"/>
              <a:gd name="connsiteX29" fmla="*/ 246742 w 812800"/>
              <a:gd name="connsiteY29" fmla="*/ 1040191 h 1828800"/>
              <a:gd name="connsiteX30" fmla="*/ 220133 w 812800"/>
              <a:gd name="connsiteY30" fmla="*/ 1071638 h 1828800"/>
              <a:gd name="connsiteX31" fmla="*/ 208038 w 812800"/>
              <a:gd name="connsiteY31" fmla="*/ 1107924 h 1828800"/>
              <a:gd name="connsiteX32" fmla="*/ 215295 w 812800"/>
              <a:gd name="connsiteY32" fmla="*/ 1163562 h 1828800"/>
              <a:gd name="connsiteX33" fmla="*/ 224971 w 812800"/>
              <a:gd name="connsiteY33" fmla="*/ 1228877 h 1828800"/>
              <a:gd name="connsiteX34" fmla="*/ 237066 w 812800"/>
              <a:gd name="connsiteY34" fmla="*/ 1274838 h 1828800"/>
              <a:gd name="connsiteX35" fmla="*/ 227390 w 812800"/>
              <a:gd name="connsiteY35" fmla="*/ 1323219 h 1828800"/>
              <a:gd name="connsiteX36" fmla="*/ 212876 w 812800"/>
              <a:gd name="connsiteY36" fmla="*/ 1427238 h 1828800"/>
              <a:gd name="connsiteX37" fmla="*/ 212876 w 812800"/>
              <a:gd name="connsiteY37" fmla="*/ 1453848 h 1828800"/>
              <a:gd name="connsiteX38" fmla="*/ 179009 w 812800"/>
              <a:gd name="connsiteY38" fmla="*/ 1519162 h 1828800"/>
              <a:gd name="connsiteX39" fmla="*/ 149981 w 812800"/>
              <a:gd name="connsiteY39" fmla="*/ 1594153 h 1828800"/>
              <a:gd name="connsiteX40" fmla="*/ 123371 w 812800"/>
              <a:gd name="connsiteY40" fmla="*/ 1657048 h 1828800"/>
              <a:gd name="connsiteX41" fmla="*/ 106438 w 812800"/>
              <a:gd name="connsiteY41" fmla="*/ 1681238 h 1828800"/>
              <a:gd name="connsiteX42" fmla="*/ 89504 w 812800"/>
              <a:gd name="connsiteY42" fmla="*/ 1734458 h 1828800"/>
              <a:gd name="connsiteX43" fmla="*/ 38704 w 812800"/>
              <a:gd name="connsiteY43" fmla="*/ 1753810 h 1828800"/>
              <a:gd name="connsiteX44" fmla="*/ 4838 w 812800"/>
              <a:gd name="connsiteY44" fmla="*/ 1753810 h 1828800"/>
              <a:gd name="connsiteX45" fmla="*/ 0 w 812800"/>
              <a:gd name="connsiteY45" fmla="*/ 1792515 h 1828800"/>
              <a:gd name="connsiteX46" fmla="*/ 21771 w 812800"/>
              <a:gd name="connsiteY46" fmla="*/ 1828800 h 1828800"/>
              <a:gd name="connsiteX0" fmla="*/ 812800 w 812800"/>
              <a:gd name="connsiteY0" fmla="*/ 0 h 1792515"/>
              <a:gd name="connsiteX1" fmla="*/ 783771 w 812800"/>
              <a:gd name="connsiteY1" fmla="*/ 62896 h 1792515"/>
              <a:gd name="connsiteX2" fmla="*/ 762000 w 812800"/>
              <a:gd name="connsiteY2" fmla="*/ 87086 h 1792515"/>
              <a:gd name="connsiteX3" fmla="*/ 762000 w 812800"/>
              <a:gd name="connsiteY3" fmla="*/ 123372 h 1792515"/>
              <a:gd name="connsiteX4" fmla="*/ 737809 w 812800"/>
              <a:gd name="connsiteY4" fmla="*/ 137886 h 1792515"/>
              <a:gd name="connsiteX5" fmla="*/ 684590 w 812800"/>
              <a:gd name="connsiteY5" fmla="*/ 147562 h 1792515"/>
              <a:gd name="connsiteX6" fmla="*/ 616857 w 812800"/>
              <a:gd name="connsiteY6" fmla="*/ 181429 h 1792515"/>
              <a:gd name="connsiteX7" fmla="*/ 597504 w 812800"/>
              <a:gd name="connsiteY7" fmla="*/ 210458 h 1792515"/>
              <a:gd name="connsiteX8" fmla="*/ 616857 w 812800"/>
              <a:gd name="connsiteY8" fmla="*/ 234648 h 1792515"/>
              <a:gd name="connsiteX9" fmla="*/ 587828 w 812800"/>
              <a:gd name="connsiteY9" fmla="*/ 285448 h 1792515"/>
              <a:gd name="connsiteX10" fmla="*/ 597504 w 812800"/>
              <a:gd name="connsiteY10" fmla="*/ 321734 h 1792515"/>
              <a:gd name="connsiteX11" fmla="*/ 641047 w 812800"/>
              <a:gd name="connsiteY11" fmla="*/ 377372 h 1792515"/>
              <a:gd name="connsiteX12" fmla="*/ 636209 w 812800"/>
              <a:gd name="connsiteY12" fmla="*/ 425753 h 1792515"/>
              <a:gd name="connsiteX13" fmla="*/ 607181 w 812800"/>
              <a:gd name="connsiteY13" fmla="*/ 486229 h 1792515"/>
              <a:gd name="connsiteX14" fmla="*/ 592666 w 812800"/>
              <a:gd name="connsiteY14" fmla="*/ 500743 h 1792515"/>
              <a:gd name="connsiteX15" fmla="*/ 592666 w 812800"/>
              <a:gd name="connsiteY15" fmla="*/ 570896 h 1792515"/>
              <a:gd name="connsiteX16" fmla="*/ 592666 w 812800"/>
              <a:gd name="connsiteY16" fmla="*/ 604762 h 1792515"/>
              <a:gd name="connsiteX17" fmla="*/ 568476 w 812800"/>
              <a:gd name="connsiteY17" fmla="*/ 619277 h 1792515"/>
              <a:gd name="connsiteX18" fmla="*/ 558800 w 812800"/>
              <a:gd name="connsiteY18" fmla="*/ 653143 h 1792515"/>
              <a:gd name="connsiteX19" fmla="*/ 503162 w 812800"/>
              <a:gd name="connsiteY19" fmla="*/ 667658 h 1792515"/>
              <a:gd name="connsiteX20" fmla="*/ 471714 w 812800"/>
              <a:gd name="connsiteY20" fmla="*/ 689429 h 1792515"/>
              <a:gd name="connsiteX21" fmla="*/ 430590 w 812800"/>
              <a:gd name="connsiteY21" fmla="*/ 689429 h 1792515"/>
              <a:gd name="connsiteX22" fmla="*/ 396723 w 812800"/>
              <a:gd name="connsiteY22" fmla="*/ 747486 h 1792515"/>
              <a:gd name="connsiteX23" fmla="*/ 348342 w 812800"/>
              <a:gd name="connsiteY23" fmla="*/ 766838 h 1792515"/>
              <a:gd name="connsiteX24" fmla="*/ 328990 w 812800"/>
              <a:gd name="connsiteY24" fmla="*/ 800705 h 1792515"/>
              <a:gd name="connsiteX25" fmla="*/ 333828 w 812800"/>
              <a:gd name="connsiteY25" fmla="*/ 863600 h 1792515"/>
              <a:gd name="connsiteX26" fmla="*/ 307219 w 812800"/>
              <a:gd name="connsiteY26" fmla="*/ 899886 h 1792515"/>
              <a:gd name="connsiteX27" fmla="*/ 295123 w 812800"/>
              <a:gd name="connsiteY27" fmla="*/ 931334 h 1792515"/>
              <a:gd name="connsiteX28" fmla="*/ 299962 w 812800"/>
              <a:gd name="connsiteY28" fmla="*/ 999067 h 1792515"/>
              <a:gd name="connsiteX29" fmla="*/ 246742 w 812800"/>
              <a:gd name="connsiteY29" fmla="*/ 1040191 h 1792515"/>
              <a:gd name="connsiteX30" fmla="*/ 220133 w 812800"/>
              <a:gd name="connsiteY30" fmla="*/ 1071638 h 1792515"/>
              <a:gd name="connsiteX31" fmla="*/ 208038 w 812800"/>
              <a:gd name="connsiteY31" fmla="*/ 1107924 h 1792515"/>
              <a:gd name="connsiteX32" fmla="*/ 215295 w 812800"/>
              <a:gd name="connsiteY32" fmla="*/ 1163562 h 1792515"/>
              <a:gd name="connsiteX33" fmla="*/ 224971 w 812800"/>
              <a:gd name="connsiteY33" fmla="*/ 1228877 h 1792515"/>
              <a:gd name="connsiteX34" fmla="*/ 237066 w 812800"/>
              <a:gd name="connsiteY34" fmla="*/ 1274838 h 1792515"/>
              <a:gd name="connsiteX35" fmla="*/ 227390 w 812800"/>
              <a:gd name="connsiteY35" fmla="*/ 1323219 h 1792515"/>
              <a:gd name="connsiteX36" fmla="*/ 212876 w 812800"/>
              <a:gd name="connsiteY36" fmla="*/ 1427238 h 1792515"/>
              <a:gd name="connsiteX37" fmla="*/ 212876 w 812800"/>
              <a:gd name="connsiteY37" fmla="*/ 1453848 h 1792515"/>
              <a:gd name="connsiteX38" fmla="*/ 179009 w 812800"/>
              <a:gd name="connsiteY38" fmla="*/ 1519162 h 1792515"/>
              <a:gd name="connsiteX39" fmla="*/ 149981 w 812800"/>
              <a:gd name="connsiteY39" fmla="*/ 1594153 h 1792515"/>
              <a:gd name="connsiteX40" fmla="*/ 123371 w 812800"/>
              <a:gd name="connsiteY40" fmla="*/ 1657048 h 1792515"/>
              <a:gd name="connsiteX41" fmla="*/ 106438 w 812800"/>
              <a:gd name="connsiteY41" fmla="*/ 1681238 h 1792515"/>
              <a:gd name="connsiteX42" fmla="*/ 89504 w 812800"/>
              <a:gd name="connsiteY42" fmla="*/ 1734458 h 1792515"/>
              <a:gd name="connsiteX43" fmla="*/ 38704 w 812800"/>
              <a:gd name="connsiteY43" fmla="*/ 1753810 h 1792515"/>
              <a:gd name="connsiteX44" fmla="*/ 4838 w 812800"/>
              <a:gd name="connsiteY44" fmla="*/ 1753810 h 1792515"/>
              <a:gd name="connsiteX45" fmla="*/ 0 w 812800"/>
              <a:gd name="connsiteY45" fmla="*/ 1792515 h 1792515"/>
              <a:gd name="connsiteX0" fmla="*/ 807962 w 807962"/>
              <a:gd name="connsiteY0" fmla="*/ 0 h 1753810"/>
              <a:gd name="connsiteX1" fmla="*/ 778933 w 807962"/>
              <a:gd name="connsiteY1" fmla="*/ 62896 h 1753810"/>
              <a:gd name="connsiteX2" fmla="*/ 757162 w 807962"/>
              <a:gd name="connsiteY2" fmla="*/ 87086 h 1753810"/>
              <a:gd name="connsiteX3" fmla="*/ 757162 w 807962"/>
              <a:gd name="connsiteY3" fmla="*/ 123372 h 1753810"/>
              <a:gd name="connsiteX4" fmla="*/ 732971 w 807962"/>
              <a:gd name="connsiteY4" fmla="*/ 137886 h 1753810"/>
              <a:gd name="connsiteX5" fmla="*/ 679752 w 807962"/>
              <a:gd name="connsiteY5" fmla="*/ 147562 h 1753810"/>
              <a:gd name="connsiteX6" fmla="*/ 612019 w 807962"/>
              <a:gd name="connsiteY6" fmla="*/ 181429 h 1753810"/>
              <a:gd name="connsiteX7" fmla="*/ 592666 w 807962"/>
              <a:gd name="connsiteY7" fmla="*/ 210458 h 1753810"/>
              <a:gd name="connsiteX8" fmla="*/ 612019 w 807962"/>
              <a:gd name="connsiteY8" fmla="*/ 234648 h 1753810"/>
              <a:gd name="connsiteX9" fmla="*/ 582990 w 807962"/>
              <a:gd name="connsiteY9" fmla="*/ 285448 h 1753810"/>
              <a:gd name="connsiteX10" fmla="*/ 592666 w 807962"/>
              <a:gd name="connsiteY10" fmla="*/ 321734 h 1753810"/>
              <a:gd name="connsiteX11" fmla="*/ 636209 w 807962"/>
              <a:gd name="connsiteY11" fmla="*/ 377372 h 1753810"/>
              <a:gd name="connsiteX12" fmla="*/ 631371 w 807962"/>
              <a:gd name="connsiteY12" fmla="*/ 425753 h 1753810"/>
              <a:gd name="connsiteX13" fmla="*/ 602343 w 807962"/>
              <a:gd name="connsiteY13" fmla="*/ 486229 h 1753810"/>
              <a:gd name="connsiteX14" fmla="*/ 587828 w 807962"/>
              <a:gd name="connsiteY14" fmla="*/ 500743 h 1753810"/>
              <a:gd name="connsiteX15" fmla="*/ 587828 w 807962"/>
              <a:gd name="connsiteY15" fmla="*/ 570896 h 1753810"/>
              <a:gd name="connsiteX16" fmla="*/ 587828 w 807962"/>
              <a:gd name="connsiteY16" fmla="*/ 604762 h 1753810"/>
              <a:gd name="connsiteX17" fmla="*/ 563638 w 807962"/>
              <a:gd name="connsiteY17" fmla="*/ 619277 h 1753810"/>
              <a:gd name="connsiteX18" fmla="*/ 553962 w 807962"/>
              <a:gd name="connsiteY18" fmla="*/ 653143 h 1753810"/>
              <a:gd name="connsiteX19" fmla="*/ 498324 w 807962"/>
              <a:gd name="connsiteY19" fmla="*/ 667658 h 1753810"/>
              <a:gd name="connsiteX20" fmla="*/ 466876 w 807962"/>
              <a:gd name="connsiteY20" fmla="*/ 689429 h 1753810"/>
              <a:gd name="connsiteX21" fmla="*/ 425752 w 807962"/>
              <a:gd name="connsiteY21" fmla="*/ 689429 h 1753810"/>
              <a:gd name="connsiteX22" fmla="*/ 391885 w 807962"/>
              <a:gd name="connsiteY22" fmla="*/ 747486 h 1753810"/>
              <a:gd name="connsiteX23" fmla="*/ 343504 w 807962"/>
              <a:gd name="connsiteY23" fmla="*/ 766838 h 1753810"/>
              <a:gd name="connsiteX24" fmla="*/ 324152 w 807962"/>
              <a:gd name="connsiteY24" fmla="*/ 800705 h 1753810"/>
              <a:gd name="connsiteX25" fmla="*/ 328990 w 807962"/>
              <a:gd name="connsiteY25" fmla="*/ 863600 h 1753810"/>
              <a:gd name="connsiteX26" fmla="*/ 302381 w 807962"/>
              <a:gd name="connsiteY26" fmla="*/ 899886 h 1753810"/>
              <a:gd name="connsiteX27" fmla="*/ 290285 w 807962"/>
              <a:gd name="connsiteY27" fmla="*/ 931334 h 1753810"/>
              <a:gd name="connsiteX28" fmla="*/ 295124 w 807962"/>
              <a:gd name="connsiteY28" fmla="*/ 999067 h 1753810"/>
              <a:gd name="connsiteX29" fmla="*/ 241904 w 807962"/>
              <a:gd name="connsiteY29" fmla="*/ 1040191 h 1753810"/>
              <a:gd name="connsiteX30" fmla="*/ 215295 w 807962"/>
              <a:gd name="connsiteY30" fmla="*/ 1071638 h 1753810"/>
              <a:gd name="connsiteX31" fmla="*/ 203200 w 807962"/>
              <a:gd name="connsiteY31" fmla="*/ 1107924 h 1753810"/>
              <a:gd name="connsiteX32" fmla="*/ 210457 w 807962"/>
              <a:gd name="connsiteY32" fmla="*/ 1163562 h 1753810"/>
              <a:gd name="connsiteX33" fmla="*/ 220133 w 807962"/>
              <a:gd name="connsiteY33" fmla="*/ 1228877 h 1753810"/>
              <a:gd name="connsiteX34" fmla="*/ 232228 w 807962"/>
              <a:gd name="connsiteY34" fmla="*/ 1274838 h 1753810"/>
              <a:gd name="connsiteX35" fmla="*/ 222552 w 807962"/>
              <a:gd name="connsiteY35" fmla="*/ 1323219 h 1753810"/>
              <a:gd name="connsiteX36" fmla="*/ 208038 w 807962"/>
              <a:gd name="connsiteY36" fmla="*/ 1427238 h 1753810"/>
              <a:gd name="connsiteX37" fmla="*/ 208038 w 807962"/>
              <a:gd name="connsiteY37" fmla="*/ 1453848 h 1753810"/>
              <a:gd name="connsiteX38" fmla="*/ 174171 w 807962"/>
              <a:gd name="connsiteY38" fmla="*/ 1519162 h 1753810"/>
              <a:gd name="connsiteX39" fmla="*/ 145143 w 807962"/>
              <a:gd name="connsiteY39" fmla="*/ 1594153 h 1753810"/>
              <a:gd name="connsiteX40" fmla="*/ 118533 w 807962"/>
              <a:gd name="connsiteY40" fmla="*/ 1657048 h 1753810"/>
              <a:gd name="connsiteX41" fmla="*/ 101600 w 807962"/>
              <a:gd name="connsiteY41" fmla="*/ 1681238 h 1753810"/>
              <a:gd name="connsiteX42" fmla="*/ 84666 w 807962"/>
              <a:gd name="connsiteY42" fmla="*/ 1734458 h 1753810"/>
              <a:gd name="connsiteX43" fmla="*/ 33866 w 807962"/>
              <a:gd name="connsiteY43" fmla="*/ 1753810 h 1753810"/>
              <a:gd name="connsiteX44" fmla="*/ 0 w 807962"/>
              <a:gd name="connsiteY44" fmla="*/ 1753810 h 1753810"/>
              <a:gd name="connsiteX0" fmla="*/ 774096 w 774096"/>
              <a:gd name="connsiteY0" fmla="*/ 0 h 1753810"/>
              <a:gd name="connsiteX1" fmla="*/ 745067 w 774096"/>
              <a:gd name="connsiteY1" fmla="*/ 62896 h 1753810"/>
              <a:gd name="connsiteX2" fmla="*/ 723296 w 774096"/>
              <a:gd name="connsiteY2" fmla="*/ 87086 h 1753810"/>
              <a:gd name="connsiteX3" fmla="*/ 723296 w 774096"/>
              <a:gd name="connsiteY3" fmla="*/ 123372 h 1753810"/>
              <a:gd name="connsiteX4" fmla="*/ 699105 w 774096"/>
              <a:gd name="connsiteY4" fmla="*/ 137886 h 1753810"/>
              <a:gd name="connsiteX5" fmla="*/ 645886 w 774096"/>
              <a:gd name="connsiteY5" fmla="*/ 147562 h 1753810"/>
              <a:gd name="connsiteX6" fmla="*/ 578153 w 774096"/>
              <a:gd name="connsiteY6" fmla="*/ 181429 h 1753810"/>
              <a:gd name="connsiteX7" fmla="*/ 558800 w 774096"/>
              <a:gd name="connsiteY7" fmla="*/ 210458 h 1753810"/>
              <a:gd name="connsiteX8" fmla="*/ 578153 w 774096"/>
              <a:gd name="connsiteY8" fmla="*/ 234648 h 1753810"/>
              <a:gd name="connsiteX9" fmla="*/ 549124 w 774096"/>
              <a:gd name="connsiteY9" fmla="*/ 285448 h 1753810"/>
              <a:gd name="connsiteX10" fmla="*/ 558800 w 774096"/>
              <a:gd name="connsiteY10" fmla="*/ 321734 h 1753810"/>
              <a:gd name="connsiteX11" fmla="*/ 602343 w 774096"/>
              <a:gd name="connsiteY11" fmla="*/ 377372 h 1753810"/>
              <a:gd name="connsiteX12" fmla="*/ 597505 w 774096"/>
              <a:gd name="connsiteY12" fmla="*/ 425753 h 1753810"/>
              <a:gd name="connsiteX13" fmla="*/ 568477 w 774096"/>
              <a:gd name="connsiteY13" fmla="*/ 486229 h 1753810"/>
              <a:gd name="connsiteX14" fmla="*/ 553962 w 774096"/>
              <a:gd name="connsiteY14" fmla="*/ 500743 h 1753810"/>
              <a:gd name="connsiteX15" fmla="*/ 553962 w 774096"/>
              <a:gd name="connsiteY15" fmla="*/ 570896 h 1753810"/>
              <a:gd name="connsiteX16" fmla="*/ 553962 w 774096"/>
              <a:gd name="connsiteY16" fmla="*/ 604762 h 1753810"/>
              <a:gd name="connsiteX17" fmla="*/ 529772 w 774096"/>
              <a:gd name="connsiteY17" fmla="*/ 619277 h 1753810"/>
              <a:gd name="connsiteX18" fmla="*/ 520096 w 774096"/>
              <a:gd name="connsiteY18" fmla="*/ 653143 h 1753810"/>
              <a:gd name="connsiteX19" fmla="*/ 464458 w 774096"/>
              <a:gd name="connsiteY19" fmla="*/ 667658 h 1753810"/>
              <a:gd name="connsiteX20" fmla="*/ 433010 w 774096"/>
              <a:gd name="connsiteY20" fmla="*/ 689429 h 1753810"/>
              <a:gd name="connsiteX21" fmla="*/ 391886 w 774096"/>
              <a:gd name="connsiteY21" fmla="*/ 689429 h 1753810"/>
              <a:gd name="connsiteX22" fmla="*/ 358019 w 774096"/>
              <a:gd name="connsiteY22" fmla="*/ 747486 h 1753810"/>
              <a:gd name="connsiteX23" fmla="*/ 309638 w 774096"/>
              <a:gd name="connsiteY23" fmla="*/ 766838 h 1753810"/>
              <a:gd name="connsiteX24" fmla="*/ 290286 w 774096"/>
              <a:gd name="connsiteY24" fmla="*/ 800705 h 1753810"/>
              <a:gd name="connsiteX25" fmla="*/ 295124 w 774096"/>
              <a:gd name="connsiteY25" fmla="*/ 863600 h 1753810"/>
              <a:gd name="connsiteX26" fmla="*/ 268515 w 774096"/>
              <a:gd name="connsiteY26" fmla="*/ 899886 h 1753810"/>
              <a:gd name="connsiteX27" fmla="*/ 256419 w 774096"/>
              <a:gd name="connsiteY27" fmla="*/ 931334 h 1753810"/>
              <a:gd name="connsiteX28" fmla="*/ 261258 w 774096"/>
              <a:gd name="connsiteY28" fmla="*/ 999067 h 1753810"/>
              <a:gd name="connsiteX29" fmla="*/ 208038 w 774096"/>
              <a:gd name="connsiteY29" fmla="*/ 1040191 h 1753810"/>
              <a:gd name="connsiteX30" fmla="*/ 181429 w 774096"/>
              <a:gd name="connsiteY30" fmla="*/ 1071638 h 1753810"/>
              <a:gd name="connsiteX31" fmla="*/ 169334 w 774096"/>
              <a:gd name="connsiteY31" fmla="*/ 1107924 h 1753810"/>
              <a:gd name="connsiteX32" fmla="*/ 176591 w 774096"/>
              <a:gd name="connsiteY32" fmla="*/ 1163562 h 1753810"/>
              <a:gd name="connsiteX33" fmla="*/ 186267 w 774096"/>
              <a:gd name="connsiteY33" fmla="*/ 1228877 h 1753810"/>
              <a:gd name="connsiteX34" fmla="*/ 198362 w 774096"/>
              <a:gd name="connsiteY34" fmla="*/ 1274838 h 1753810"/>
              <a:gd name="connsiteX35" fmla="*/ 188686 w 774096"/>
              <a:gd name="connsiteY35" fmla="*/ 1323219 h 1753810"/>
              <a:gd name="connsiteX36" fmla="*/ 174172 w 774096"/>
              <a:gd name="connsiteY36" fmla="*/ 1427238 h 1753810"/>
              <a:gd name="connsiteX37" fmla="*/ 174172 w 774096"/>
              <a:gd name="connsiteY37" fmla="*/ 1453848 h 1753810"/>
              <a:gd name="connsiteX38" fmla="*/ 140305 w 774096"/>
              <a:gd name="connsiteY38" fmla="*/ 1519162 h 1753810"/>
              <a:gd name="connsiteX39" fmla="*/ 111277 w 774096"/>
              <a:gd name="connsiteY39" fmla="*/ 1594153 h 1753810"/>
              <a:gd name="connsiteX40" fmla="*/ 84667 w 774096"/>
              <a:gd name="connsiteY40" fmla="*/ 1657048 h 1753810"/>
              <a:gd name="connsiteX41" fmla="*/ 67734 w 774096"/>
              <a:gd name="connsiteY41" fmla="*/ 1681238 h 1753810"/>
              <a:gd name="connsiteX42" fmla="*/ 50800 w 774096"/>
              <a:gd name="connsiteY42" fmla="*/ 1734458 h 1753810"/>
              <a:gd name="connsiteX43" fmla="*/ 0 w 774096"/>
              <a:gd name="connsiteY43" fmla="*/ 1753810 h 1753810"/>
              <a:gd name="connsiteX0" fmla="*/ 723296 w 723296"/>
              <a:gd name="connsiteY0" fmla="*/ 0 h 1734458"/>
              <a:gd name="connsiteX1" fmla="*/ 694267 w 723296"/>
              <a:gd name="connsiteY1" fmla="*/ 62896 h 1734458"/>
              <a:gd name="connsiteX2" fmla="*/ 672496 w 723296"/>
              <a:gd name="connsiteY2" fmla="*/ 87086 h 1734458"/>
              <a:gd name="connsiteX3" fmla="*/ 672496 w 723296"/>
              <a:gd name="connsiteY3" fmla="*/ 123372 h 1734458"/>
              <a:gd name="connsiteX4" fmla="*/ 648305 w 723296"/>
              <a:gd name="connsiteY4" fmla="*/ 137886 h 1734458"/>
              <a:gd name="connsiteX5" fmla="*/ 595086 w 723296"/>
              <a:gd name="connsiteY5" fmla="*/ 147562 h 1734458"/>
              <a:gd name="connsiteX6" fmla="*/ 527353 w 723296"/>
              <a:gd name="connsiteY6" fmla="*/ 181429 h 1734458"/>
              <a:gd name="connsiteX7" fmla="*/ 508000 w 723296"/>
              <a:gd name="connsiteY7" fmla="*/ 210458 h 1734458"/>
              <a:gd name="connsiteX8" fmla="*/ 527353 w 723296"/>
              <a:gd name="connsiteY8" fmla="*/ 234648 h 1734458"/>
              <a:gd name="connsiteX9" fmla="*/ 498324 w 723296"/>
              <a:gd name="connsiteY9" fmla="*/ 285448 h 1734458"/>
              <a:gd name="connsiteX10" fmla="*/ 508000 w 723296"/>
              <a:gd name="connsiteY10" fmla="*/ 321734 h 1734458"/>
              <a:gd name="connsiteX11" fmla="*/ 551543 w 723296"/>
              <a:gd name="connsiteY11" fmla="*/ 377372 h 1734458"/>
              <a:gd name="connsiteX12" fmla="*/ 546705 w 723296"/>
              <a:gd name="connsiteY12" fmla="*/ 425753 h 1734458"/>
              <a:gd name="connsiteX13" fmla="*/ 517677 w 723296"/>
              <a:gd name="connsiteY13" fmla="*/ 486229 h 1734458"/>
              <a:gd name="connsiteX14" fmla="*/ 503162 w 723296"/>
              <a:gd name="connsiteY14" fmla="*/ 500743 h 1734458"/>
              <a:gd name="connsiteX15" fmla="*/ 503162 w 723296"/>
              <a:gd name="connsiteY15" fmla="*/ 570896 h 1734458"/>
              <a:gd name="connsiteX16" fmla="*/ 503162 w 723296"/>
              <a:gd name="connsiteY16" fmla="*/ 604762 h 1734458"/>
              <a:gd name="connsiteX17" fmla="*/ 478972 w 723296"/>
              <a:gd name="connsiteY17" fmla="*/ 619277 h 1734458"/>
              <a:gd name="connsiteX18" fmla="*/ 469296 w 723296"/>
              <a:gd name="connsiteY18" fmla="*/ 653143 h 1734458"/>
              <a:gd name="connsiteX19" fmla="*/ 413658 w 723296"/>
              <a:gd name="connsiteY19" fmla="*/ 667658 h 1734458"/>
              <a:gd name="connsiteX20" fmla="*/ 382210 w 723296"/>
              <a:gd name="connsiteY20" fmla="*/ 689429 h 1734458"/>
              <a:gd name="connsiteX21" fmla="*/ 341086 w 723296"/>
              <a:gd name="connsiteY21" fmla="*/ 689429 h 1734458"/>
              <a:gd name="connsiteX22" fmla="*/ 307219 w 723296"/>
              <a:gd name="connsiteY22" fmla="*/ 747486 h 1734458"/>
              <a:gd name="connsiteX23" fmla="*/ 258838 w 723296"/>
              <a:gd name="connsiteY23" fmla="*/ 766838 h 1734458"/>
              <a:gd name="connsiteX24" fmla="*/ 239486 w 723296"/>
              <a:gd name="connsiteY24" fmla="*/ 800705 h 1734458"/>
              <a:gd name="connsiteX25" fmla="*/ 244324 w 723296"/>
              <a:gd name="connsiteY25" fmla="*/ 863600 h 1734458"/>
              <a:gd name="connsiteX26" fmla="*/ 217715 w 723296"/>
              <a:gd name="connsiteY26" fmla="*/ 899886 h 1734458"/>
              <a:gd name="connsiteX27" fmla="*/ 205619 w 723296"/>
              <a:gd name="connsiteY27" fmla="*/ 931334 h 1734458"/>
              <a:gd name="connsiteX28" fmla="*/ 210458 w 723296"/>
              <a:gd name="connsiteY28" fmla="*/ 999067 h 1734458"/>
              <a:gd name="connsiteX29" fmla="*/ 157238 w 723296"/>
              <a:gd name="connsiteY29" fmla="*/ 1040191 h 1734458"/>
              <a:gd name="connsiteX30" fmla="*/ 130629 w 723296"/>
              <a:gd name="connsiteY30" fmla="*/ 1071638 h 1734458"/>
              <a:gd name="connsiteX31" fmla="*/ 118534 w 723296"/>
              <a:gd name="connsiteY31" fmla="*/ 1107924 h 1734458"/>
              <a:gd name="connsiteX32" fmla="*/ 125791 w 723296"/>
              <a:gd name="connsiteY32" fmla="*/ 1163562 h 1734458"/>
              <a:gd name="connsiteX33" fmla="*/ 135467 w 723296"/>
              <a:gd name="connsiteY33" fmla="*/ 1228877 h 1734458"/>
              <a:gd name="connsiteX34" fmla="*/ 147562 w 723296"/>
              <a:gd name="connsiteY34" fmla="*/ 1274838 h 1734458"/>
              <a:gd name="connsiteX35" fmla="*/ 137886 w 723296"/>
              <a:gd name="connsiteY35" fmla="*/ 1323219 h 1734458"/>
              <a:gd name="connsiteX36" fmla="*/ 123372 w 723296"/>
              <a:gd name="connsiteY36" fmla="*/ 1427238 h 1734458"/>
              <a:gd name="connsiteX37" fmla="*/ 123372 w 723296"/>
              <a:gd name="connsiteY37" fmla="*/ 1453848 h 1734458"/>
              <a:gd name="connsiteX38" fmla="*/ 89505 w 723296"/>
              <a:gd name="connsiteY38" fmla="*/ 1519162 h 1734458"/>
              <a:gd name="connsiteX39" fmla="*/ 60477 w 723296"/>
              <a:gd name="connsiteY39" fmla="*/ 1594153 h 1734458"/>
              <a:gd name="connsiteX40" fmla="*/ 33867 w 723296"/>
              <a:gd name="connsiteY40" fmla="*/ 1657048 h 1734458"/>
              <a:gd name="connsiteX41" fmla="*/ 16934 w 723296"/>
              <a:gd name="connsiteY41" fmla="*/ 1681238 h 1734458"/>
              <a:gd name="connsiteX42" fmla="*/ 0 w 723296"/>
              <a:gd name="connsiteY42" fmla="*/ 1734458 h 1734458"/>
              <a:gd name="connsiteX0" fmla="*/ 706362 w 706362"/>
              <a:gd name="connsiteY0" fmla="*/ 0 h 1681238"/>
              <a:gd name="connsiteX1" fmla="*/ 677333 w 706362"/>
              <a:gd name="connsiteY1" fmla="*/ 62896 h 1681238"/>
              <a:gd name="connsiteX2" fmla="*/ 655562 w 706362"/>
              <a:gd name="connsiteY2" fmla="*/ 87086 h 1681238"/>
              <a:gd name="connsiteX3" fmla="*/ 655562 w 706362"/>
              <a:gd name="connsiteY3" fmla="*/ 123372 h 1681238"/>
              <a:gd name="connsiteX4" fmla="*/ 631371 w 706362"/>
              <a:gd name="connsiteY4" fmla="*/ 137886 h 1681238"/>
              <a:gd name="connsiteX5" fmla="*/ 578152 w 706362"/>
              <a:gd name="connsiteY5" fmla="*/ 147562 h 1681238"/>
              <a:gd name="connsiteX6" fmla="*/ 510419 w 706362"/>
              <a:gd name="connsiteY6" fmla="*/ 181429 h 1681238"/>
              <a:gd name="connsiteX7" fmla="*/ 491066 w 706362"/>
              <a:gd name="connsiteY7" fmla="*/ 210458 h 1681238"/>
              <a:gd name="connsiteX8" fmla="*/ 510419 w 706362"/>
              <a:gd name="connsiteY8" fmla="*/ 234648 h 1681238"/>
              <a:gd name="connsiteX9" fmla="*/ 481390 w 706362"/>
              <a:gd name="connsiteY9" fmla="*/ 285448 h 1681238"/>
              <a:gd name="connsiteX10" fmla="*/ 491066 w 706362"/>
              <a:gd name="connsiteY10" fmla="*/ 321734 h 1681238"/>
              <a:gd name="connsiteX11" fmla="*/ 534609 w 706362"/>
              <a:gd name="connsiteY11" fmla="*/ 377372 h 1681238"/>
              <a:gd name="connsiteX12" fmla="*/ 529771 w 706362"/>
              <a:gd name="connsiteY12" fmla="*/ 425753 h 1681238"/>
              <a:gd name="connsiteX13" fmla="*/ 500743 w 706362"/>
              <a:gd name="connsiteY13" fmla="*/ 486229 h 1681238"/>
              <a:gd name="connsiteX14" fmla="*/ 486228 w 706362"/>
              <a:gd name="connsiteY14" fmla="*/ 500743 h 1681238"/>
              <a:gd name="connsiteX15" fmla="*/ 486228 w 706362"/>
              <a:gd name="connsiteY15" fmla="*/ 570896 h 1681238"/>
              <a:gd name="connsiteX16" fmla="*/ 486228 w 706362"/>
              <a:gd name="connsiteY16" fmla="*/ 604762 h 1681238"/>
              <a:gd name="connsiteX17" fmla="*/ 462038 w 706362"/>
              <a:gd name="connsiteY17" fmla="*/ 619277 h 1681238"/>
              <a:gd name="connsiteX18" fmla="*/ 452362 w 706362"/>
              <a:gd name="connsiteY18" fmla="*/ 653143 h 1681238"/>
              <a:gd name="connsiteX19" fmla="*/ 396724 w 706362"/>
              <a:gd name="connsiteY19" fmla="*/ 667658 h 1681238"/>
              <a:gd name="connsiteX20" fmla="*/ 365276 w 706362"/>
              <a:gd name="connsiteY20" fmla="*/ 689429 h 1681238"/>
              <a:gd name="connsiteX21" fmla="*/ 324152 w 706362"/>
              <a:gd name="connsiteY21" fmla="*/ 689429 h 1681238"/>
              <a:gd name="connsiteX22" fmla="*/ 290285 w 706362"/>
              <a:gd name="connsiteY22" fmla="*/ 747486 h 1681238"/>
              <a:gd name="connsiteX23" fmla="*/ 241904 w 706362"/>
              <a:gd name="connsiteY23" fmla="*/ 766838 h 1681238"/>
              <a:gd name="connsiteX24" fmla="*/ 222552 w 706362"/>
              <a:gd name="connsiteY24" fmla="*/ 800705 h 1681238"/>
              <a:gd name="connsiteX25" fmla="*/ 227390 w 706362"/>
              <a:gd name="connsiteY25" fmla="*/ 863600 h 1681238"/>
              <a:gd name="connsiteX26" fmla="*/ 200781 w 706362"/>
              <a:gd name="connsiteY26" fmla="*/ 899886 h 1681238"/>
              <a:gd name="connsiteX27" fmla="*/ 188685 w 706362"/>
              <a:gd name="connsiteY27" fmla="*/ 931334 h 1681238"/>
              <a:gd name="connsiteX28" fmla="*/ 193524 w 706362"/>
              <a:gd name="connsiteY28" fmla="*/ 999067 h 1681238"/>
              <a:gd name="connsiteX29" fmla="*/ 140304 w 706362"/>
              <a:gd name="connsiteY29" fmla="*/ 1040191 h 1681238"/>
              <a:gd name="connsiteX30" fmla="*/ 113695 w 706362"/>
              <a:gd name="connsiteY30" fmla="*/ 1071638 h 1681238"/>
              <a:gd name="connsiteX31" fmla="*/ 101600 w 706362"/>
              <a:gd name="connsiteY31" fmla="*/ 1107924 h 1681238"/>
              <a:gd name="connsiteX32" fmla="*/ 108857 w 706362"/>
              <a:gd name="connsiteY32" fmla="*/ 1163562 h 1681238"/>
              <a:gd name="connsiteX33" fmla="*/ 118533 w 706362"/>
              <a:gd name="connsiteY33" fmla="*/ 1228877 h 1681238"/>
              <a:gd name="connsiteX34" fmla="*/ 130628 w 706362"/>
              <a:gd name="connsiteY34" fmla="*/ 1274838 h 1681238"/>
              <a:gd name="connsiteX35" fmla="*/ 120952 w 706362"/>
              <a:gd name="connsiteY35" fmla="*/ 1323219 h 1681238"/>
              <a:gd name="connsiteX36" fmla="*/ 106438 w 706362"/>
              <a:gd name="connsiteY36" fmla="*/ 1427238 h 1681238"/>
              <a:gd name="connsiteX37" fmla="*/ 106438 w 706362"/>
              <a:gd name="connsiteY37" fmla="*/ 1453848 h 1681238"/>
              <a:gd name="connsiteX38" fmla="*/ 72571 w 706362"/>
              <a:gd name="connsiteY38" fmla="*/ 1519162 h 1681238"/>
              <a:gd name="connsiteX39" fmla="*/ 43543 w 706362"/>
              <a:gd name="connsiteY39" fmla="*/ 1594153 h 1681238"/>
              <a:gd name="connsiteX40" fmla="*/ 16933 w 706362"/>
              <a:gd name="connsiteY40" fmla="*/ 1657048 h 1681238"/>
              <a:gd name="connsiteX41" fmla="*/ 0 w 706362"/>
              <a:gd name="connsiteY41" fmla="*/ 1681238 h 1681238"/>
              <a:gd name="connsiteX0" fmla="*/ 706362 w 706362"/>
              <a:gd name="connsiteY0" fmla="*/ 0 h 1681238"/>
              <a:gd name="connsiteX1" fmla="*/ 677333 w 706362"/>
              <a:gd name="connsiteY1" fmla="*/ 62896 h 1681238"/>
              <a:gd name="connsiteX2" fmla="*/ 655562 w 706362"/>
              <a:gd name="connsiteY2" fmla="*/ 87086 h 1681238"/>
              <a:gd name="connsiteX3" fmla="*/ 655562 w 706362"/>
              <a:gd name="connsiteY3" fmla="*/ 123372 h 1681238"/>
              <a:gd name="connsiteX4" fmla="*/ 631371 w 706362"/>
              <a:gd name="connsiteY4" fmla="*/ 137886 h 1681238"/>
              <a:gd name="connsiteX5" fmla="*/ 578152 w 706362"/>
              <a:gd name="connsiteY5" fmla="*/ 147562 h 1681238"/>
              <a:gd name="connsiteX6" fmla="*/ 510419 w 706362"/>
              <a:gd name="connsiteY6" fmla="*/ 181429 h 1681238"/>
              <a:gd name="connsiteX7" fmla="*/ 491066 w 706362"/>
              <a:gd name="connsiteY7" fmla="*/ 210458 h 1681238"/>
              <a:gd name="connsiteX8" fmla="*/ 510419 w 706362"/>
              <a:gd name="connsiteY8" fmla="*/ 234648 h 1681238"/>
              <a:gd name="connsiteX9" fmla="*/ 481390 w 706362"/>
              <a:gd name="connsiteY9" fmla="*/ 285448 h 1681238"/>
              <a:gd name="connsiteX10" fmla="*/ 491066 w 706362"/>
              <a:gd name="connsiteY10" fmla="*/ 321734 h 1681238"/>
              <a:gd name="connsiteX11" fmla="*/ 534609 w 706362"/>
              <a:gd name="connsiteY11" fmla="*/ 377372 h 1681238"/>
              <a:gd name="connsiteX12" fmla="*/ 529771 w 706362"/>
              <a:gd name="connsiteY12" fmla="*/ 425753 h 1681238"/>
              <a:gd name="connsiteX13" fmla="*/ 500743 w 706362"/>
              <a:gd name="connsiteY13" fmla="*/ 486229 h 1681238"/>
              <a:gd name="connsiteX14" fmla="*/ 486228 w 706362"/>
              <a:gd name="connsiteY14" fmla="*/ 500743 h 1681238"/>
              <a:gd name="connsiteX15" fmla="*/ 486228 w 706362"/>
              <a:gd name="connsiteY15" fmla="*/ 570896 h 1681238"/>
              <a:gd name="connsiteX16" fmla="*/ 486228 w 706362"/>
              <a:gd name="connsiteY16" fmla="*/ 604762 h 1681238"/>
              <a:gd name="connsiteX17" fmla="*/ 462038 w 706362"/>
              <a:gd name="connsiteY17" fmla="*/ 619277 h 1681238"/>
              <a:gd name="connsiteX18" fmla="*/ 452362 w 706362"/>
              <a:gd name="connsiteY18" fmla="*/ 653143 h 1681238"/>
              <a:gd name="connsiteX19" fmla="*/ 396724 w 706362"/>
              <a:gd name="connsiteY19" fmla="*/ 667658 h 1681238"/>
              <a:gd name="connsiteX20" fmla="*/ 365276 w 706362"/>
              <a:gd name="connsiteY20" fmla="*/ 689429 h 1681238"/>
              <a:gd name="connsiteX21" fmla="*/ 324152 w 706362"/>
              <a:gd name="connsiteY21" fmla="*/ 689429 h 1681238"/>
              <a:gd name="connsiteX22" fmla="*/ 290285 w 706362"/>
              <a:gd name="connsiteY22" fmla="*/ 747486 h 1681238"/>
              <a:gd name="connsiteX23" fmla="*/ 241904 w 706362"/>
              <a:gd name="connsiteY23" fmla="*/ 766838 h 1681238"/>
              <a:gd name="connsiteX24" fmla="*/ 222552 w 706362"/>
              <a:gd name="connsiteY24" fmla="*/ 800705 h 1681238"/>
              <a:gd name="connsiteX25" fmla="*/ 227390 w 706362"/>
              <a:gd name="connsiteY25" fmla="*/ 863600 h 1681238"/>
              <a:gd name="connsiteX26" fmla="*/ 200781 w 706362"/>
              <a:gd name="connsiteY26" fmla="*/ 899886 h 1681238"/>
              <a:gd name="connsiteX27" fmla="*/ 188685 w 706362"/>
              <a:gd name="connsiteY27" fmla="*/ 931334 h 1681238"/>
              <a:gd name="connsiteX28" fmla="*/ 193524 w 706362"/>
              <a:gd name="connsiteY28" fmla="*/ 999067 h 1681238"/>
              <a:gd name="connsiteX29" fmla="*/ 140304 w 706362"/>
              <a:gd name="connsiteY29" fmla="*/ 1040191 h 1681238"/>
              <a:gd name="connsiteX30" fmla="*/ 113695 w 706362"/>
              <a:gd name="connsiteY30" fmla="*/ 1071638 h 1681238"/>
              <a:gd name="connsiteX31" fmla="*/ 101600 w 706362"/>
              <a:gd name="connsiteY31" fmla="*/ 1107924 h 1681238"/>
              <a:gd name="connsiteX32" fmla="*/ 108857 w 706362"/>
              <a:gd name="connsiteY32" fmla="*/ 1163562 h 1681238"/>
              <a:gd name="connsiteX33" fmla="*/ 118533 w 706362"/>
              <a:gd name="connsiteY33" fmla="*/ 1228877 h 1681238"/>
              <a:gd name="connsiteX34" fmla="*/ 130628 w 706362"/>
              <a:gd name="connsiteY34" fmla="*/ 1274838 h 1681238"/>
              <a:gd name="connsiteX35" fmla="*/ 120952 w 706362"/>
              <a:gd name="connsiteY35" fmla="*/ 1323219 h 1681238"/>
              <a:gd name="connsiteX36" fmla="*/ 106438 w 706362"/>
              <a:gd name="connsiteY36" fmla="*/ 1427238 h 1681238"/>
              <a:gd name="connsiteX37" fmla="*/ 106438 w 706362"/>
              <a:gd name="connsiteY37" fmla="*/ 1453848 h 1681238"/>
              <a:gd name="connsiteX38" fmla="*/ 72571 w 706362"/>
              <a:gd name="connsiteY38" fmla="*/ 1519162 h 1681238"/>
              <a:gd name="connsiteX39" fmla="*/ 43543 w 706362"/>
              <a:gd name="connsiteY39" fmla="*/ 1594153 h 1681238"/>
              <a:gd name="connsiteX40" fmla="*/ 0 w 706362"/>
              <a:gd name="connsiteY40" fmla="*/ 1681238 h 1681238"/>
              <a:gd name="connsiteX0" fmla="*/ 662819 w 662819"/>
              <a:gd name="connsiteY0" fmla="*/ 0 h 1594153"/>
              <a:gd name="connsiteX1" fmla="*/ 633790 w 662819"/>
              <a:gd name="connsiteY1" fmla="*/ 62896 h 1594153"/>
              <a:gd name="connsiteX2" fmla="*/ 612019 w 662819"/>
              <a:gd name="connsiteY2" fmla="*/ 87086 h 1594153"/>
              <a:gd name="connsiteX3" fmla="*/ 612019 w 662819"/>
              <a:gd name="connsiteY3" fmla="*/ 123372 h 1594153"/>
              <a:gd name="connsiteX4" fmla="*/ 587828 w 662819"/>
              <a:gd name="connsiteY4" fmla="*/ 137886 h 1594153"/>
              <a:gd name="connsiteX5" fmla="*/ 534609 w 662819"/>
              <a:gd name="connsiteY5" fmla="*/ 147562 h 1594153"/>
              <a:gd name="connsiteX6" fmla="*/ 466876 w 662819"/>
              <a:gd name="connsiteY6" fmla="*/ 181429 h 1594153"/>
              <a:gd name="connsiteX7" fmla="*/ 447523 w 662819"/>
              <a:gd name="connsiteY7" fmla="*/ 210458 h 1594153"/>
              <a:gd name="connsiteX8" fmla="*/ 466876 w 662819"/>
              <a:gd name="connsiteY8" fmla="*/ 234648 h 1594153"/>
              <a:gd name="connsiteX9" fmla="*/ 437847 w 662819"/>
              <a:gd name="connsiteY9" fmla="*/ 285448 h 1594153"/>
              <a:gd name="connsiteX10" fmla="*/ 447523 w 662819"/>
              <a:gd name="connsiteY10" fmla="*/ 321734 h 1594153"/>
              <a:gd name="connsiteX11" fmla="*/ 491066 w 662819"/>
              <a:gd name="connsiteY11" fmla="*/ 377372 h 1594153"/>
              <a:gd name="connsiteX12" fmla="*/ 486228 w 662819"/>
              <a:gd name="connsiteY12" fmla="*/ 425753 h 1594153"/>
              <a:gd name="connsiteX13" fmla="*/ 457200 w 662819"/>
              <a:gd name="connsiteY13" fmla="*/ 486229 h 1594153"/>
              <a:gd name="connsiteX14" fmla="*/ 442685 w 662819"/>
              <a:gd name="connsiteY14" fmla="*/ 500743 h 1594153"/>
              <a:gd name="connsiteX15" fmla="*/ 442685 w 662819"/>
              <a:gd name="connsiteY15" fmla="*/ 570896 h 1594153"/>
              <a:gd name="connsiteX16" fmla="*/ 442685 w 662819"/>
              <a:gd name="connsiteY16" fmla="*/ 604762 h 1594153"/>
              <a:gd name="connsiteX17" fmla="*/ 418495 w 662819"/>
              <a:gd name="connsiteY17" fmla="*/ 619277 h 1594153"/>
              <a:gd name="connsiteX18" fmla="*/ 408819 w 662819"/>
              <a:gd name="connsiteY18" fmla="*/ 653143 h 1594153"/>
              <a:gd name="connsiteX19" fmla="*/ 353181 w 662819"/>
              <a:gd name="connsiteY19" fmla="*/ 667658 h 1594153"/>
              <a:gd name="connsiteX20" fmla="*/ 321733 w 662819"/>
              <a:gd name="connsiteY20" fmla="*/ 689429 h 1594153"/>
              <a:gd name="connsiteX21" fmla="*/ 280609 w 662819"/>
              <a:gd name="connsiteY21" fmla="*/ 689429 h 1594153"/>
              <a:gd name="connsiteX22" fmla="*/ 246742 w 662819"/>
              <a:gd name="connsiteY22" fmla="*/ 747486 h 1594153"/>
              <a:gd name="connsiteX23" fmla="*/ 198361 w 662819"/>
              <a:gd name="connsiteY23" fmla="*/ 766838 h 1594153"/>
              <a:gd name="connsiteX24" fmla="*/ 179009 w 662819"/>
              <a:gd name="connsiteY24" fmla="*/ 800705 h 1594153"/>
              <a:gd name="connsiteX25" fmla="*/ 183847 w 662819"/>
              <a:gd name="connsiteY25" fmla="*/ 863600 h 1594153"/>
              <a:gd name="connsiteX26" fmla="*/ 157238 w 662819"/>
              <a:gd name="connsiteY26" fmla="*/ 899886 h 1594153"/>
              <a:gd name="connsiteX27" fmla="*/ 145142 w 662819"/>
              <a:gd name="connsiteY27" fmla="*/ 931334 h 1594153"/>
              <a:gd name="connsiteX28" fmla="*/ 149981 w 662819"/>
              <a:gd name="connsiteY28" fmla="*/ 999067 h 1594153"/>
              <a:gd name="connsiteX29" fmla="*/ 96761 w 662819"/>
              <a:gd name="connsiteY29" fmla="*/ 1040191 h 1594153"/>
              <a:gd name="connsiteX30" fmla="*/ 70152 w 662819"/>
              <a:gd name="connsiteY30" fmla="*/ 1071638 h 1594153"/>
              <a:gd name="connsiteX31" fmla="*/ 58057 w 662819"/>
              <a:gd name="connsiteY31" fmla="*/ 1107924 h 1594153"/>
              <a:gd name="connsiteX32" fmla="*/ 65314 w 662819"/>
              <a:gd name="connsiteY32" fmla="*/ 1163562 h 1594153"/>
              <a:gd name="connsiteX33" fmla="*/ 74990 w 662819"/>
              <a:gd name="connsiteY33" fmla="*/ 1228877 h 1594153"/>
              <a:gd name="connsiteX34" fmla="*/ 87085 w 662819"/>
              <a:gd name="connsiteY34" fmla="*/ 1274838 h 1594153"/>
              <a:gd name="connsiteX35" fmla="*/ 77409 w 662819"/>
              <a:gd name="connsiteY35" fmla="*/ 1323219 h 1594153"/>
              <a:gd name="connsiteX36" fmla="*/ 62895 w 662819"/>
              <a:gd name="connsiteY36" fmla="*/ 1427238 h 1594153"/>
              <a:gd name="connsiteX37" fmla="*/ 62895 w 662819"/>
              <a:gd name="connsiteY37" fmla="*/ 1453848 h 1594153"/>
              <a:gd name="connsiteX38" fmla="*/ 29028 w 662819"/>
              <a:gd name="connsiteY38" fmla="*/ 1519162 h 1594153"/>
              <a:gd name="connsiteX39" fmla="*/ 0 w 662819"/>
              <a:gd name="connsiteY39" fmla="*/ 1594153 h 1594153"/>
              <a:gd name="connsiteX0" fmla="*/ 633791 w 633791"/>
              <a:gd name="connsiteY0" fmla="*/ 0 h 1519162"/>
              <a:gd name="connsiteX1" fmla="*/ 604762 w 633791"/>
              <a:gd name="connsiteY1" fmla="*/ 62896 h 1519162"/>
              <a:gd name="connsiteX2" fmla="*/ 582991 w 633791"/>
              <a:gd name="connsiteY2" fmla="*/ 87086 h 1519162"/>
              <a:gd name="connsiteX3" fmla="*/ 582991 w 633791"/>
              <a:gd name="connsiteY3" fmla="*/ 123372 h 1519162"/>
              <a:gd name="connsiteX4" fmla="*/ 558800 w 633791"/>
              <a:gd name="connsiteY4" fmla="*/ 137886 h 1519162"/>
              <a:gd name="connsiteX5" fmla="*/ 505581 w 633791"/>
              <a:gd name="connsiteY5" fmla="*/ 147562 h 1519162"/>
              <a:gd name="connsiteX6" fmla="*/ 437848 w 633791"/>
              <a:gd name="connsiteY6" fmla="*/ 181429 h 1519162"/>
              <a:gd name="connsiteX7" fmla="*/ 418495 w 633791"/>
              <a:gd name="connsiteY7" fmla="*/ 210458 h 1519162"/>
              <a:gd name="connsiteX8" fmla="*/ 437848 w 633791"/>
              <a:gd name="connsiteY8" fmla="*/ 234648 h 1519162"/>
              <a:gd name="connsiteX9" fmla="*/ 408819 w 633791"/>
              <a:gd name="connsiteY9" fmla="*/ 285448 h 1519162"/>
              <a:gd name="connsiteX10" fmla="*/ 418495 w 633791"/>
              <a:gd name="connsiteY10" fmla="*/ 321734 h 1519162"/>
              <a:gd name="connsiteX11" fmla="*/ 462038 w 633791"/>
              <a:gd name="connsiteY11" fmla="*/ 377372 h 1519162"/>
              <a:gd name="connsiteX12" fmla="*/ 457200 w 633791"/>
              <a:gd name="connsiteY12" fmla="*/ 425753 h 1519162"/>
              <a:gd name="connsiteX13" fmla="*/ 428172 w 633791"/>
              <a:gd name="connsiteY13" fmla="*/ 486229 h 1519162"/>
              <a:gd name="connsiteX14" fmla="*/ 413657 w 633791"/>
              <a:gd name="connsiteY14" fmla="*/ 500743 h 1519162"/>
              <a:gd name="connsiteX15" fmla="*/ 413657 w 633791"/>
              <a:gd name="connsiteY15" fmla="*/ 570896 h 1519162"/>
              <a:gd name="connsiteX16" fmla="*/ 413657 w 633791"/>
              <a:gd name="connsiteY16" fmla="*/ 604762 h 1519162"/>
              <a:gd name="connsiteX17" fmla="*/ 389467 w 633791"/>
              <a:gd name="connsiteY17" fmla="*/ 619277 h 1519162"/>
              <a:gd name="connsiteX18" fmla="*/ 379791 w 633791"/>
              <a:gd name="connsiteY18" fmla="*/ 653143 h 1519162"/>
              <a:gd name="connsiteX19" fmla="*/ 324153 w 633791"/>
              <a:gd name="connsiteY19" fmla="*/ 667658 h 1519162"/>
              <a:gd name="connsiteX20" fmla="*/ 292705 w 633791"/>
              <a:gd name="connsiteY20" fmla="*/ 689429 h 1519162"/>
              <a:gd name="connsiteX21" fmla="*/ 251581 w 633791"/>
              <a:gd name="connsiteY21" fmla="*/ 689429 h 1519162"/>
              <a:gd name="connsiteX22" fmla="*/ 217714 w 633791"/>
              <a:gd name="connsiteY22" fmla="*/ 747486 h 1519162"/>
              <a:gd name="connsiteX23" fmla="*/ 169333 w 633791"/>
              <a:gd name="connsiteY23" fmla="*/ 766838 h 1519162"/>
              <a:gd name="connsiteX24" fmla="*/ 149981 w 633791"/>
              <a:gd name="connsiteY24" fmla="*/ 800705 h 1519162"/>
              <a:gd name="connsiteX25" fmla="*/ 154819 w 633791"/>
              <a:gd name="connsiteY25" fmla="*/ 863600 h 1519162"/>
              <a:gd name="connsiteX26" fmla="*/ 128210 w 633791"/>
              <a:gd name="connsiteY26" fmla="*/ 899886 h 1519162"/>
              <a:gd name="connsiteX27" fmla="*/ 116114 w 633791"/>
              <a:gd name="connsiteY27" fmla="*/ 931334 h 1519162"/>
              <a:gd name="connsiteX28" fmla="*/ 120953 w 633791"/>
              <a:gd name="connsiteY28" fmla="*/ 999067 h 1519162"/>
              <a:gd name="connsiteX29" fmla="*/ 67733 w 633791"/>
              <a:gd name="connsiteY29" fmla="*/ 1040191 h 1519162"/>
              <a:gd name="connsiteX30" fmla="*/ 41124 w 633791"/>
              <a:gd name="connsiteY30" fmla="*/ 1071638 h 1519162"/>
              <a:gd name="connsiteX31" fmla="*/ 29029 w 633791"/>
              <a:gd name="connsiteY31" fmla="*/ 1107924 h 1519162"/>
              <a:gd name="connsiteX32" fmla="*/ 36286 w 633791"/>
              <a:gd name="connsiteY32" fmla="*/ 1163562 h 1519162"/>
              <a:gd name="connsiteX33" fmla="*/ 45962 w 633791"/>
              <a:gd name="connsiteY33" fmla="*/ 1228877 h 1519162"/>
              <a:gd name="connsiteX34" fmla="*/ 58057 w 633791"/>
              <a:gd name="connsiteY34" fmla="*/ 1274838 h 1519162"/>
              <a:gd name="connsiteX35" fmla="*/ 48381 w 633791"/>
              <a:gd name="connsiteY35" fmla="*/ 1323219 h 1519162"/>
              <a:gd name="connsiteX36" fmla="*/ 33867 w 633791"/>
              <a:gd name="connsiteY36" fmla="*/ 1427238 h 1519162"/>
              <a:gd name="connsiteX37" fmla="*/ 33867 w 633791"/>
              <a:gd name="connsiteY37" fmla="*/ 1453848 h 1519162"/>
              <a:gd name="connsiteX38" fmla="*/ 0 w 633791"/>
              <a:gd name="connsiteY38" fmla="*/ 1519162 h 1519162"/>
              <a:gd name="connsiteX0" fmla="*/ 604762 w 604762"/>
              <a:gd name="connsiteY0" fmla="*/ 0 h 1453848"/>
              <a:gd name="connsiteX1" fmla="*/ 575733 w 604762"/>
              <a:gd name="connsiteY1" fmla="*/ 62896 h 1453848"/>
              <a:gd name="connsiteX2" fmla="*/ 553962 w 604762"/>
              <a:gd name="connsiteY2" fmla="*/ 87086 h 1453848"/>
              <a:gd name="connsiteX3" fmla="*/ 553962 w 604762"/>
              <a:gd name="connsiteY3" fmla="*/ 123372 h 1453848"/>
              <a:gd name="connsiteX4" fmla="*/ 529771 w 604762"/>
              <a:gd name="connsiteY4" fmla="*/ 137886 h 1453848"/>
              <a:gd name="connsiteX5" fmla="*/ 476552 w 604762"/>
              <a:gd name="connsiteY5" fmla="*/ 147562 h 1453848"/>
              <a:gd name="connsiteX6" fmla="*/ 408819 w 604762"/>
              <a:gd name="connsiteY6" fmla="*/ 181429 h 1453848"/>
              <a:gd name="connsiteX7" fmla="*/ 389466 w 604762"/>
              <a:gd name="connsiteY7" fmla="*/ 210458 h 1453848"/>
              <a:gd name="connsiteX8" fmla="*/ 408819 w 604762"/>
              <a:gd name="connsiteY8" fmla="*/ 234648 h 1453848"/>
              <a:gd name="connsiteX9" fmla="*/ 379790 w 604762"/>
              <a:gd name="connsiteY9" fmla="*/ 285448 h 1453848"/>
              <a:gd name="connsiteX10" fmla="*/ 389466 w 604762"/>
              <a:gd name="connsiteY10" fmla="*/ 321734 h 1453848"/>
              <a:gd name="connsiteX11" fmla="*/ 433009 w 604762"/>
              <a:gd name="connsiteY11" fmla="*/ 377372 h 1453848"/>
              <a:gd name="connsiteX12" fmla="*/ 428171 w 604762"/>
              <a:gd name="connsiteY12" fmla="*/ 425753 h 1453848"/>
              <a:gd name="connsiteX13" fmla="*/ 399143 w 604762"/>
              <a:gd name="connsiteY13" fmla="*/ 486229 h 1453848"/>
              <a:gd name="connsiteX14" fmla="*/ 384628 w 604762"/>
              <a:gd name="connsiteY14" fmla="*/ 500743 h 1453848"/>
              <a:gd name="connsiteX15" fmla="*/ 384628 w 604762"/>
              <a:gd name="connsiteY15" fmla="*/ 570896 h 1453848"/>
              <a:gd name="connsiteX16" fmla="*/ 384628 w 604762"/>
              <a:gd name="connsiteY16" fmla="*/ 604762 h 1453848"/>
              <a:gd name="connsiteX17" fmla="*/ 360438 w 604762"/>
              <a:gd name="connsiteY17" fmla="*/ 619277 h 1453848"/>
              <a:gd name="connsiteX18" fmla="*/ 350762 w 604762"/>
              <a:gd name="connsiteY18" fmla="*/ 653143 h 1453848"/>
              <a:gd name="connsiteX19" fmla="*/ 295124 w 604762"/>
              <a:gd name="connsiteY19" fmla="*/ 667658 h 1453848"/>
              <a:gd name="connsiteX20" fmla="*/ 263676 w 604762"/>
              <a:gd name="connsiteY20" fmla="*/ 689429 h 1453848"/>
              <a:gd name="connsiteX21" fmla="*/ 222552 w 604762"/>
              <a:gd name="connsiteY21" fmla="*/ 689429 h 1453848"/>
              <a:gd name="connsiteX22" fmla="*/ 188685 w 604762"/>
              <a:gd name="connsiteY22" fmla="*/ 747486 h 1453848"/>
              <a:gd name="connsiteX23" fmla="*/ 140304 w 604762"/>
              <a:gd name="connsiteY23" fmla="*/ 766838 h 1453848"/>
              <a:gd name="connsiteX24" fmla="*/ 120952 w 604762"/>
              <a:gd name="connsiteY24" fmla="*/ 800705 h 1453848"/>
              <a:gd name="connsiteX25" fmla="*/ 125790 w 604762"/>
              <a:gd name="connsiteY25" fmla="*/ 863600 h 1453848"/>
              <a:gd name="connsiteX26" fmla="*/ 99181 w 604762"/>
              <a:gd name="connsiteY26" fmla="*/ 899886 h 1453848"/>
              <a:gd name="connsiteX27" fmla="*/ 87085 w 604762"/>
              <a:gd name="connsiteY27" fmla="*/ 931334 h 1453848"/>
              <a:gd name="connsiteX28" fmla="*/ 91924 w 604762"/>
              <a:gd name="connsiteY28" fmla="*/ 999067 h 1453848"/>
              <a:gd name="connsiteX29" fmla="*/ 38704 w 604762"/>
              <a:gd name="connsiteY29" fmla="*/ 1040191 h 1453848"/>
              <a:gd name="connsiteX30" fmla="*/ 12095 w 604762"/>
              <a:gd name="connsiteY30" fmla="*/ 1071638 h 1453848"/>
              <a:gd name="connsiteX31" fmla="*/ 0 w 604762"/>
              <a:gd name="connsiteY31" fmla="*/ 1107924 h 1453848"/>
              <a:gd name="connsiteX32" fmla="*/ 7257 w 604762"/>
              <a:gd name="connsiteY32" fmla="*/ 1163562 h 1453848"/>
              <a:gd name="connsiteX33" fmla="*/ 16933 w 604762"/>
              <a:gd name="connsiteY33" fmla="*/ 1228877 h 1453848"/>
              <a:gd name="connsiteX34" fmla="*/ 29028 w 604762"/>
              <a:gd name="connsiteY34" fmla="*/ 1274838 h 1453848"/>
              <a:gd name="connsiteX35" fmla="*/ 19352 w 604762"/>
              <a:gd name="connsiteY35" fmla="*/ 1323219 h 1453848"/>
              <a:gd name="connsiteX36" fmla="*/ 4838 w 604762"/>
              <a:gd name="connsiteY36" fmla="*/ 1427238 h 1453848"/>
              <a:gd name="connsiteX37" fmla="*/ 4838 w 604762"/>
              <a:gd name="connsiteY37" fmla="*/ 1453848 h 1453848"/>
              <a:gd name="connsiteX0" fmla="*/ 604762 w 604762"/>
              <a:gd name="connsiteY0" fmla="*/ 0 h 1427238"/>
              <a:gd name="connsiteX1" fmla="*/ 575733 w 604762"/>
              <a:gd name="connsiteY1" fmla="*/ 62896 h 1427238"/>
              <a:gd name="connsiteX2" fmla="*/ 553962 w 604762"/>
              <a:gd name="connsiteY2" fmla="*/ 87086 h 1427238"/>
              <a:gd name="connsiteX3" fmla="*/ 553962 w 604762"/>
              <a:gd name="connsiteY3" fmla="*/ 123372 h 1427238"/>
              <a:gd name="connsiteX4" fmla="*/ 529771 w 604762"/>
              <a:gd name="connsiteY4" fmla="*/ 137886 h 1427238"/>
              <a:gd name="connsiteX5" fmla="*/ 476552 w 604762"/>
              <a:gd name="connsiteY5" fmla="*/ 147562 h 1427238"/>
              <a:gd name="connsiteX6" fmla="*/ 408819 w 604762"/>
              <a:gd name="connsiteY6" fmla="*/ 181429 h 1427238"/>
              <a:gd name="connsiteX7" fmla="*/ 389466 w 604762"/>
              <a:gd name="connsiteY7" fmla="*/ 210458 h 1427238"/>
              <a:gd name="connsiteX8" fmla="*/ 408819 w 604762"/>
              <a:gd name="connsiteY8" fmla="*/ 234648 h 1427238"/>
              <a:gd name="connsiteX9" fmla="*/ 379790 w 604762"/>
              <a:gd name="connsiteY9" fmla="*/ 285448 h 1427238"/>
              <a:gd name="connsiteX10" fmla="*/ 389466 w 604762"/>
              <a:gd name="connsiteY10" fmla="*/ 321734 h 1427238"/>
              <a:gd name="connsiteX11" fmla="*/ 433009 w 604762"/>
              <a:gd name="connsiteY11" fmla="*/ 377372 h 1427238"/>
              <a:gd name="connsiteX12" fmla="*/ 428171 w 604762"/>
              <a:gd name="connsiteY12" fmla="*/ 425753 h 1427238"/>
              <a:gd name="connsiteX13" fmla="*/ 399143 w 604762"/>
              <a:gd name="connsiteY13" fmla="*/ 486229 h 1427238"/>
              <a:gd name="connsiteX14" fmla="*/ 384628 w 604762"/>
              <a:gd name="connsiteY14" fmla="*/ 500743 h 1427238"/>
              <a:gd name="connsiteX15" fmla="*/ 384628 w 604762"/>
              <a:gd name="connsiteY15" fmla="*/ 570896 h 1427238"/>
              <a:gd name="connsiteX16" fmla="*/ 384628 w 604762"/>
              <a:gd name="connsiteY16" fmla="*/ 604762 h 1427238"/>
              <a:gd name="connsiteX17" fmla="*/ 360438 w 604762"/>
              <a:gd name="connsiteY17" fmla="*/ 619277 h 1427238"/>
              <a:gd name="connsiteX18" fmla="*/ 350762 w 604762"/>
              <a:gd name="connsiteY18" fmla="*/ 653143 h 1427238"/>
              <a:gd name="connsiteX19" fmla="*/ 295124 w 604762"/>
              <a:gd name="connsiteY19" fmla="*/ 667658 h 1427238"/>
              <a:gd name="connsiteX20" fmla="*/ 263676 w 604762"/>
              <a:gd name="connsiteY20" fmla="*/ 689429 h 1427238"/>
              <a:gd name="connsiteX21" fmla="*/ 222552 w 604762"/>
              <a:gd name="connsiteY21" fmla="*/ 689429 h 1427238"/>
              <a:gd name="connsiteX22" fmla="*/ 188685 w 604762"/>
              <a:gd name="connsiteY22" fmla="*/ 747486 h 1427238"/>
              <a:gd name="connsiteX23" fmla="*/ 140304 w 604762"/>
              <a:gd name="connsiteY23" fmla="*/ 766838 h 1427238"/>
              <a:gd name="connsiteX24" fmla="*/ 120952 w 604762"/>
              <a:gd name="connsiteY24" fmla="*/ 800705 h 1427238"/>
              <a:gd name="connsiteX25" fmla="*/ 125790 w 604762"/>
              <a:gd name="connsiteY25" fmla="*/ 863600 h 1427238"/>
              <a:gd name="connsiteX26" fmla="*/ 99181 w 604762"/>
              <a:gd name="connsiteY26" fmla="*/ 899886 h 1427238"/>
              <a:gd name="connsiteX27" fmla="*/ 87085 w 604762"/>
              <a:gd name="connsiteY27" fmla="*/ 931334 h 1427238"/>
              <a:gd name="connsiteX28" fmla="*/ 91924 w 604762"/>
              <a:gd name="connsiteY28" fmla="*/ 999067 h 1427238"/>
              <a:gd name="connsiteX29" fmla="*/ 38704 w 604762"/>
              <a:gd name="connsiteY29" fmla="*/ 1040191 h 1427238"/>
              <a:gd name="connsiteX30" fmla="*/ 12095 w 604762"/>
              <a:gd name="connsiteY30" fmla="*/ 1071638 h 1427238"/>
              <a:gd name="connsiteX31" fmla="*/ 0 w 604762"/>
              <a:gd name="connsiteY31" fmla="*/ 1107924 h 1427238"/>
              <a:gd name="connsiteX32" fmla="*/ 7257 w 604762"/>
              <a:gd name="connsiteY32" fmla="*/ 1163562 h 1427238"/>
              <a:gd name="connsiteX33" fmla="*/ 16933 w 604762"/>
              <a:gd name="connsiteY33" fmla="*/ 1228877 h 1427238"/>
              <a:gd name="connsiteX34" fmla="*/ 29028 w 604762"/>
              <a:gd name="connsiteY34" fmla="*/ 1274838 h 1427238"/>
              <a:gd name="connsiteX35" fmla="*/ 19352 w 604762"/>
              <a:gd name="connsiteY35" fmla="*/ 1323219 h 1427238"/>
              <a:gd name="connsiteX36" fmla="*/ 4838 w 604762"/>
              <a:gd name="connsiteY36" fmla="*/ 1427238 h 1427238"/>
              <a:gd name="connsiteX0" fmla="*/ 604762 w 604762"/>
              <a:gd name="connsiteY0" fmla="*/ 0 h 1323219"/>
              <a:gd name="connsiteX1" fmla="*/ 575733 w 604762"/>
              <a:gd name="connsiteY1" fmla="*/ 62896 h 1323219"/>
              <a:gd name="connsiteX2" fmla="*/ 553962 w 604762"/>
              <a:gd name="connsiteY2" fmla="*/ 87086 h 1323219"/>
              <a:gd name="connsiteX3" fmla="*/ 553962 w 604762"/>
              <a:gd name="connsiteY3" fmla="*/ 123372 h 1323219"/>
              <a:gd name="connsiteX4" fmla="*/ 529771 w 604762"/>
              <a:gd name="connsiteY4" fmla="*/ 137886 h 1323219"/>
              <a:gd name="connsiteX5" fmla="*/ 476552 w 604762"/>
              <a:gd name="connsiteY5" fmla="*/ 147562 h 1323219"/>
              <a:gd name="connsiteX6" fmla="*/ 408819 w 604762"/>
              <a:gd name="connsiteY6" fmla="*/ 181429 h 1323219"/>
              <a:gd name="connsiteX7" fmla="*/ 389466 w 604762"/>
              <a:gd name="connsiteY7" fmla="*/ 210458 h 1323219"/>
              <a:gd name="connsiteX8" fmla="*/ 408819 w 604762"/>
              <a:gd name="connsiteY8" fmla="*/ 234648 h 1323219"/>
              <a:gd name="connsiteX9" fmla="*/ 379790 w 604762"/>
              <a:gd name="connsiteY9" fmla="*/ 285448 h 1323219"/>
              <a:gd name="connsiteX10" fmla="*/ 389466 w 604762"/>
              <a:gd name="connsiteY10" fmla="*/ 321734 h 1323219"/>
              <a:gd name="connsiteX11" fmla="*/ 433009 w 604762"/>
              <a:gd name="connsiteY11" fmla="*/ 377372 h 1323219"/>
              <a:gd name="connsiteX12" fmla="*/ 428171 w 604762"/>
              <a:gd name="connsiteY12" fmla="*/ 425753 h 1323219"/>
              <a:gd name="connsiteX13" fmla="*/ 399143 w 604762"/>
              <a:gd name="connsiteY13" fmla="*/ 486229 h 1323219"/>
              <a:gd name="connsiteX14" fmla="*/ 384628 w 604762"/>
              <a:gd name="connsiteY14" fmla="*/ 500743 h 1323219"/>
              <a:gd name="connsiteX15" fmla="*/ 384628 w 604762"/>
              <a:gd name="connsiteY15" fmla="*/ 570896 h 1323219"/>
              <a:gd name="connsiteX16" fmla="*/ 384628 w 604762"/>
              <a:gd name="connsiteY16" fmla="*/ 604762 h 1323219"/>
              <a:gd name="connsiteX17" fmla="*/ 360438 w 604762"/>
              <a:gd name="connsiteY17" fmla="*/ 619277 h 1323219"/>
              <a:gd name="connsiteX18" fmla="*/ 350762 w 604762"/>
              <a:gd name="connsiteY18" fmla="*/ 653143 h 1323219"/>
              <a:gd name="connsiteX19" fmla="*/ 295124 w 604762"/>
              <a:gd name="connsiteY19" fmla="*/ 667658 h 1323219"/>
              <a:gd name="connsiteX20" fmla="*/ 263676 w 604762"/>
              <a:gd name="connsiteY20" fmla="*/ 689429 h 1323219"/>
              <a:gd name="connsiteX21" fmla="*/ 222552 w 604762"/>
              <a:gd name="connsiteY21" fmla="*/ 689429 h 1323219"/>
              <a:gd name="connsiteX22" fmla="*/ 188685 w 604762"/>
              <a:gd name="connsiteY22" fmla="*/ 747486 h 1323219"/>
              <a:gd name="connsiteX23" fmla="*/ 140304 w 604762"/>
              <a:gd name="connsiteY23" fmla="*/ 766838 h 1323219"/>
              <a:gd name="connsiteX24" fmla="*/ 120952 w 604762"/>
              <a:gd name="connsiteY24" fmla="*/ 800705 h 1323219"/>
              <a:gd name="connsiteX25" fmla="*/ 125790 w 604762"/>
              <a:gd name="connsiteY25" fmla="*/ 863600 h 1323219"/>
              <a:gd name="connsiteX26" fmla="*/ 99181 w 604762"/>
              <a:gd name="connsiteY26" fmla="*/ 899886 h 1323219"/>
              <a:gd name="connsiteX27" fmla="*/ 87085 w 604762"/>
              <a:gd name="connsiteY27" fmla="*/ 931334 h 1323219"/>
              <a:gd name="connsiteX28" fmla="*/ 91924 w 604762"/>
              <a:gd name="connsiteY28" fmla="*/ 999067 h 1323219"/>
              <a:gd name="connsiteX29" fmla="*/ 38704 w 604762"/>
              <a:gd name="connsiteY29" fmla="*/ 1040191 h 1323219"/>
              <a:gd name="connsiteX30" fmla="*/ 12095 w 604762"/>
              <a:gd name="connsiteY30" fmla="*/ 1071638 h 1323219"/>
              <a:gd name="connsiteX31" fmla="*/ 0 w 604762"/>
              <a:gd name="connsiteY31" fmla="*/ 1107924 h 1323219"/>
              <a:gd name="connsiteX32" fmla="*/ 7257 w 604762"/>
              <a:gd name="connsiteY32" fmla="*/ 1163562 h 1323219"/>
              <a:gd name="connsiteX33" fmla="*/ 16933 w 604762"/>
              <a:gd name="connsiteY33" fmla="*/ 1228877 h 1323219"/>
              <a:gd name="connsiteX34" fmla="*/ 29028 w 604762"/>
              <a:gd name="connsiteY34" fmla="*/ 1274838 h 1323219"/>
              <a:gd name="connsiteX35" fmla="*/ 19352 w 604762"/>
              <a:gd name="connsiteY35" fmla="*/ 1323219 h 1323219"/>
              <a:gd name="connsiteX0" fmla="*/ 604762 w 604762"/>
              <a:gd name="connsiteY0" fmla="*/ 0 h 1323219"/>
              <a:gd name="connsiteX1" fmla="*/ 575733 w 604762"/>
              <a:gd name="connsiteY1" fmla="*/ 62896 h 1323219"/>
              <a:gd name="connsiteX2" fmla="*/ 553962 w 604762"/>
              <a:gd name="connsiteY2" fmla="*/ 87086 h 1323219"/>
              <a:gd name="connsiteX3" fmla="*/ 553962 w 604762"/>
              <a:gd name="connsiteY3" fmla="*/ 123372 h 1323219"/>
              <a:gd name="connsiteX4" fmla="*/ 529771 w 604762"/>
              <a:gd name="connsiteY4" fmla="*/ 137886 h 1323219"/>
              <a:gd name="connsiteX5" fmla="*/ 476552 w 604762"/>
              <a:gd name="connsiteY5" fmla="*/ 147562 h 1323219"/>
              <a:gd name="connsiteX6" fmla="*/ 408819 w 604762"/>
              <a:gd name="connsiteY6" fmla="*/ 181429 h 1323219"/>
              <a:gd name="connsiteX7" fmla="*/ 389466 w 604762"/>
              <a:gd name="connsiteY7" fmla="*/ 210458 h 1323219"/>
              <a:gd name="connsiteX8" fmla="*/ 408819 w 604762"/>
              <a:gd name="connsiteY8" fmla="*/ 234648 h 1323219"/>
              <a:gd name="connsiteX9" fmla="*/ 379790 w 604762"/>
              <a:gd name="connsiteY9" fmla="*/ 285448 h 1323219"/>
              <a:gd name="connsiteX10" fmla="*/ 389466 w 604762"/>
              <a:gd name="connsiteY10" fmla="*/ 321734 h 1323219"/>
              <a:gd name="connsiteX11" fmla="*/ 433009 w 604762"/>
              <a:gd name="connsiteY11" fmla="*/ 377372 h 1323219"/>
              <a:gd name="connsiteX12" fmla="*/ 428171 w 604762"/>
              <a:gd name="connsiteY12" fmla="*/ 425753 h 1323219"/>
              <a:gd name="connsiteX13" fmla="*/ 399143 w 604762"/>
              <a:gd name="connsiteY13" fmla="*/ 486229 h 1323219"/>
              <a:gd name="connsiteX14" fmla="*/ 384628 w 604762"/>
              <a:gd name="connsiteY14" fmla="*/ 500743 h 1323219"/>
              <a:gd name="connsiteX15" fmla="*/ 384628 w 604762"/>
              <a:gd name="connsiteY15" fmla="*/ 570896 h 1323219"/>
              <a:gd name="connsiteX16" fmla="*/ 384628 w 604762"/>
              <a:gd name="connsiteY16" fmla="*/ 604762 h 1323219"/>
              <a:gd name="connsiteX17" fmla="*/ 360438 w 604762"/>
              <a:gd name="connsiteY17" fmla="*/ 619277 h 1323219"/>
              <a:gd name="connsiteX18" fmla="*/ 350762 w 604762"/>
              <a:gd name="connsiteY18" fmla="*/ 653143 h 1323219"/>
              <a:gd name="connsiteX19" fmla="*/ 295124 w 604762"/>
              <a:gd name="connsiteY19" fmla="*/ 667658 h 1323219"/>
              <a:gd name="connsiteX20" fmla="*/ 263676 w 604762"/>
              <a:gd name="connsiteY20" fmla="*/ 689429 h 1323219"/>
              <a:gd name="connsiteX21" fmla="*/ 222552 w 604762"/>
              <a:gd name="connsiteY21" fmla="*/ 689429 h 1323219"/>
              <a:gd name="connsiteX22" fmla="*/ 188685 w 604762"/>
              <a:gd name="connsiteY22" fmla="*/ 747486 h 1323219"/>
              <a:gd name="connsiteX23" fmla="*/ 140304 w 604762"/>
              <a:gd name="connsiteY23" fmla="*/ 766838 h 1323219"/>
              <a:gd name="connsiteX24" fmla="*/ 120952 w 604762"/>
              <a:gd name="connsiteY24" fmla="*/ 800705 h 1323219"/>
              <a:gd name="connsiteX25" fmla="*/ 125790 w 604762"/>
              <a:gd name="connsiteY25" fmla="*/ 863600 h 1323219"/>
              <a:gd name="connsiteX26" fmla="*/ 99181 w 604762"/>
              <a:gd name="connsiteY26" fmla="*/ 899886 h 1323219"/>
              <a:gd name="connsiteX27" fmla="*/ 87085 w 604762"/>
              <a:gd name="connsiteY27" fmla="*/ 931334 h 1323219"/>
              <a:gd name="connsiteX28" fmla="*/ 91924 w 604762"/>
              <a:gd name="connsiteY28" fmla="*/ 999067 h 1323219"/>
              <a:gd name="connsiteX29" fmla="*/ 38704 w 604762"/>
              <a:gd name="connsiteY29" fmla="*/ 1040191 h 1323219"/>
              <a:gd name="connsiteX30" fmla="*/ 12095 w 604762"/>
              <a:gd name="connsiteY30" fmla="*/ 1071638 h 1323219"/>
              <a:gd name="connsiteX31" fmla="*/ 0 w 604762"/>
              <a:gd name="connsiteY31" fmla="*/ 1107924 h 1323219"/>
              <a:gd name="connsiteX32" fmla="*/ 7257 w 604762"/>
              <a:gd name="connsiteY32" fmla="*/ 1163562 h 1323219"/>
              <a:gd name="connsiteX33" fmla="*/ 29028 w 604762"/>
              <a:gd name="connsiteY33" fmla="*/ 1274838 h 1323219"/>
              <a:gd name="connsiteX34" fmla="*/ 19352 w 604762"/>
              <a:gd name="connsiteY34" fmla="*/ 1323219 h 1323219"/>
              <a:gd name="connsiteX0" fmla="*/ 604762 w 604762"/>
              <a:gd name="connsiteY0" fmla="*/ 0 h 1323219"/>
              <a:gd name="connsiteX1" fmla="*/ 575733 w 604762"/>
              <a:gd name="connsiteY1" fmla="*/ 62896 h 1323219"/>
              <a:gd name="connsiteX2" fmla="*/ 553962 w 604762"/>
              <a:gd name="connsiteY2" fmla="*/ 87086 h 1323219"/>
              <a:gd name="connsiteX3" fmla="*/ 553962 w 604762"/>
              <a:gd name="connsiteY3" fmla="*/ 123372 h 1323219"/>
              <a:gd name="connsiteX4" fmla="*/ 529771 w 604762"/>
              <a:gd name="connsiteY4" fmla="*/ 137886 h 1323219"/>
              <a:gd name="connsiteX5" fmla="*/ 476552 w 604762"/>
              <a:gd name="connsiteY5" fmla="*/ 147562 h 1323219"/>
              <a:gd name="connsiteX6" fmla="*/ 408819 w 604762"/>
              <a:gd name="connsiteY6" fmla="*/ 181429 h 1323219"/>
              <a:gd name="connsiteX7" fmla="*/ 389466 w 604762"/>
              <a:gd name="connsiteY7" fmla="*/ 210458 h 1323219"/>
              <a:gd name="connsiteX8" fmla="*/ 408819 w 604762"/>
              <a:gd name="connsiteY8" fmla="*/ 234648 h 1323219"/>
              <a:gd name="connsiteX9" fmla="*/ 379790 w 604762"/>
              <a:gd name="connsiteY9" fmla="*/ 285448 h 1323219"/>
              <a:gd name="connsiteX10" fmla="*/ 389466 w 604762"/>
              <a:gd name="connsiteY10" fmla="*/ 321734 h 1323219"/>
              <a:gd name="connsiteX11" fmla="*/ 433009 w 604762"/>
              <a:gd name="connsiteY11" fmla="*/ 377372 h 1323219"/>
              <a:gd name="connsiteX12" fmla="*/ 428171 w 604762"/>
              <a:gd name="connsiteY12" fmla="*/ 425753 h 1323219"/>
              <a:gd name="connsiteX13" fmla="*/ 399143 w 604762"/>
              <a:gd name="connsiteY13" fmla="*/ 486229 h 1323219"/>
              <a:gd name="connsiteX14" fmla="*/ 384628 w 604762"/>
              <a:gd name="connsiteY14" fmla="*/ 500743 h 1323219"/>
              <a:gd name="connsiteX15" fmla="*/ 384628 w 604762"/>
              <a:gd name="connsiteY15" fmla="*/ 570896 h 1323219"/>
              <a:gd name="connsiteX16" fmla="*/ 384628 w 604762"/>
              <a:gd name="connsiteY16" fmla="*/ 604762 h 1323219"/>
              <a:gd name="connsiteX17" fmla="*/ 360438 w 604762"/>
              <a:gd name="connsiteY17" fmla="*/ 619277 h 1323219"/>
              <a:gd name="connsiteX18" fmla="*/ 350762 w 604762"/>
              <a:gd name="connsiteY18" fmla="*/ 653143 h 1323219"/>
              <a:gd name="connsiteX19" fmla="*/ 295124 w 604762"/>
              <a:gd name="connsiteY19" fmla="*/ 667658 h 1323219"/>
              <a:gd name="connsiteX20" fmla="*/ 263676 w 604762"/>
              <a:gd name="connsiteY20" fmla="*/ 689429 h 1323219"/>
              <a:gd name="connsiteX21" fmla="*/ 222552 w 604762"/>
              <a:gd name="connsiteY21" fmla="*/ 689429 h 1323219"/>
              <a:gd name="connsiteX22" fmla="*/ 188685 w 604762"/>
              <a:gd name="connsiteY22" fmla="*/ 747486 h 1323219"/>
              <a:gd name="connsiteX23" fmla="*/ 140304 w 604762"/>
              <a:gd name="connsiteY23" fmla="*/ 766838 h 1323219"/>
              <a:gd name="connsiteX24" fmla="*/ 120952 w 604762"/>
              <a:gd name="connsiteY24" fmla="*/ 800705 h 1323219"/>
              <a:gd name="connsiteX25" fmla="*/ 125790 w 604762"/>
              <a:gd name="connsiteY25" fmla="*/ 863600 h 1323219"/>
              <a:gd name="connsiteX26" fmla="*/ 99181 w 604762"/>
              <a:gd name="connsiteY26" fmla="*/ 899886 h 1323219"/>
              <a:gd name="connsiteX27" fmla="*/ 87085 w 604762"/>
              <a:gd name="connsiteY27" fmla="*/ 931334 h 1323219"/>
              <a:gd name="connsiteX28" fmla="*/ 91924 w 604762"/>
              <a:gd name="connsiteY28" fmla="*/ 999067 h 1323219"/>
              <a:gd name="connsiteX29" fmla="*/ 38704 w 604762"/>
              <a:gd name="connsiteY29" fmla="*/ 1040191 h 1323219"/>
              <a:gd name="connsiteX30" fmla="*/ 12095 w 604762"/>
              <a:gd name="connsiteY30" fmla="*/ 1071638 h 1323219"/>
              <a:gd name="connsiteX31" fmla="*/ 0 w 604762"/>
              <a:gd name="connsiteY31" fmla="*/ 1107924 h 1323219"/>
              <a:gd name="connsiteX32" fmla="*/ 7257 w 604762"/>
              <a:gd name="connsiteY32" fmla="*/ 1163562 h 1323219"/>
              <a:gd name="connsiteX33" fmla="*/ 19352 w 604762"/>
              <a:gd name="connsiteY33" fmla="*/ 1323219 h 1323219"/>
              <a:gd name="connsiteX0" fmla="*/ 604762 w 604762"/>
              <a:gd name="connsiteY0" fmla="*/ 0 h 1163562"/>
              <a:gd name="connsiteX1" fmla="*/ 575733 w 604762"/>
              <a:gd name="connsiteY1" fmla="*/ 62896 h 1163562"/>
              <a:gd name="connsiteX2" fmla="*/ 553962 w 604762"/>
              <a:gd name="connsiteY2" fmla="*/ 87086 h 1163562"/>
              <a:gd name="connsiteX3" fmla="*/ 553962 w 604762"/>
              <a:gd name="connsiteY3" fmla="*/ 123372 h 1163562"/>
              <a:gd name="connsiteX4" fmla="*/ 529771 w 604762"/>
              <a:gd name="connsiteY4" fmla="*/ 137886 h 1163562"/>
              <a:gd name="connsiteX5" fmla="*/ 476552 w 604762"/>
              <a:gd name="connsiteY5" fmla="*/ 147562 h 1163562"/>
              <a:gd name="connsiteX6" fmla="*/ 408819 w 604762"/>
              <a:gd name="connsiteY6" fmla="*/ 181429 h 1163562"/>
              <a:gd name="connsiteX7" fmla="*/ 389466 w 604762"/>
              <a:gd name="connsiteY7" fmla="*/ 210458 h 1163562"/>
              <a:gd name="connsiteX8" fmla="*/ 408819 w 604762"/>
              <a:gd name="connsiteY8" fmla="*/ 234648 h 1163562"/>
              <a:gd name="connsiteX9" fmla="*/ 379790 w 604762"/>
              <a:gd name="connsiteY9" fmla="*/ 285448 h 1163562"/>
              <a:gd name="connsiteX10" fmla="*/ 389466 w 604762"/>
              <a:gd name="connsiteY10" fmla="*/ 321734 h 1163562"/>
              <a:gd name="connsiteX11" fmla="*/ 433009 w 604762"/>
              <a:gd name="connsiteY11" fmla="*/ 377372 h 1163562"/>
              <a:gd name="connsiteX12" fmla="*/ 428171 w 604762"/>
              <a:gd name="connsiteY12" fmla="*/ 425753 h 1163562"/>
              <a:gd name="connsiteX13" fmla="*/ 399143 w 604762"/>
              <a:gd name="connsiteY13" fmla="*/ 486229 h 1163562"/>
              <a:gd name="connsiteX14" fmla="*/ 384628 w 604762"/>
              <a:gd name="connsiteY14" fmla="*/ 500743 h 1163562"/>
              <a:gd name="connsiteX15" fmla="*/ 384628 w 604762"/>
              <a:gd name="connsiteY15" fmla="*/ 570896 h 1163562"/>
              <a:gd name="connsiteX16" fmla="*/ 384628 w 604762"/>
              <a:gd name="connsiteY16" fmla="*/ 604762 h 1163562"/>
              <a:gd name="connsiteX17" fmla="*/ 360438 w 604762"/>
              <a:gd name="connsiteY17" fmla="*/ 619277 h 1163562"/>
              <a:gd name="connsiteX18" fmla="*/ 350762 w 604762"/>
              <a:gd name="connsiteY18" fmla="*/ 653143 h 1163562"/>
              <a:gd name="connsiteX19" fmla="*/ 295124 w 604762"/>
              <a:gd name="connsiteY19" fmla="*/ 667658 h 1163562"/>
              <a:gd name="connsiteX20" fmla="*/ 263676 w 604762"/>
              <a:gd name="connsiteY20" fmla="*/ 689429 h 1163562"/>
              <a:gd name="connsiteX21" fmla="*/ 222552 w 604762"/>
              <a:gd name="connsiteY21" fmla="*/ 689429 h 1163562"/>
              <a:gd name="connsiteX22" fmla="*/ 188685 w 604762"/>
              <a:gd name="connsiteY22" fmla="*/ 747486 h 1163562"/>
              <a:gd name="connsiteX23" fmla="*/ 140304 w 604762"/>
              <a:gd name="connsiteY23" fmla="*/ 766838 h 1163562"/>
              <a:gd name="connsiteX24" fmla="*/ 120952 w 604762"/>
              <a:gd name="connsiteY24" fmla="*/ 800705 h 1163562"/>
              <a:gd name="connsiteX25" fmla="*/ 125790 w 604762"/>
              <a:gd name="connsiteY25" fmla="*/ 863600 h 1163562"/>
              <a:gd name="connsiteX26" fmla="*/ 99181 w 604762"/>
              <a:gd name="connsiteY26" fmla="*/ 899886 h 1163562"/>
              <a:gd name="connsiteX27" fmla="*/ 87085 w 604762"/>
              <a:gd name="connsiteY27" fmla="*/ 931334 h 1163562"/>
              <a:gd name="connsiteX28" fmla="*/ 91924 w 604762"/>
              <a:gd name="connsiteY28" fmla="*/ 999067 h 1163562"/>
              <a:gd name="connsiteX29" fmla="*/ 38704 w 604762"/>
              <a:gd name="connsiteY29" fmla="*/ 1040191 h 1163562"/>
              <a:gd name="connsiteX30" fmla="*/ 12095 w 604762"/>
              <a:gd name="connsiteY30" fmla="*/ 1071638 h 1163562"/>
              <a:gd name="connsiteX31" fmla="*/ 0 w 604762"/>
              <a:gd name="connsiteY31" fmla="*/ 1107924 h 1163562"/>
              <a:gd name="connsiteX32" fmla="*/ 7257 w 604762"/>
              <a:gd name="connsiteY32" fmla="*/ 1163562 h 1163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04762" h="1163562">
                <a:moveTo>
                  <a:pt x="604762" y="0"/>
                </a:moveTo>
                <a:lnTo>
                  <a:pt x="575733" y="62896"/>
                </a:lnTo>
                <a:lnTo>
                  <a:pt x="553962" y="87086"/>
                </a:lnTo>
                <a:lnTo>
                  <a:pt x="553962" y="123372"/>
                </a:lnTo>
                <a:lnTo>
                  <a:pt x="529771" y="137886"/>
                </a:lnTo>
                <a:lnTo>
                  <a:pt x="476552" y="147562"/>
                </a:lnTo>
                <a:lnTo>
                  <a:pt x="408819" y="181429"/>
                </a:lnTo>
                <a:lnTo>
                  <a:pt x="389466" y="210458"/>
                </a:lnTo>
                <a:lnTo>
                  <a:pt x="408819" y="234648"/>
                </a:lnTo>
                <a:lnTo>
                  <a:pt x="379790" y="285448"/>
                </a:lnTo>
                <a:lnTo>
                  <a:pt x="389466" y="321734"/>
                </a:lnTo>
                <a:lnTo>
                  <a:pt x="433009" y="377372"/>
                </a:lnTo>
                <a:lnTo>
                  <a:pt x="428171" y="425753"/>
                </a:lnTo>
                <a:lnTo>
                  <a:pt x="399143" y="486229"/>
                </a:lnTo>
                <a:lnTo>
                  <a:pt x="384628" y="500743"/>
                </a:lnTo>
                <a:lnTo>
                  <a:pt x="384628" y="570896"/>
                </a:lnTo>
                <a:lnTo>
                  <a:pt x="384628" y="604762"/>
                </a:lnTo>
                <a:lnTo>
                  <a:pt x="360438" y="619277"/>
                </a:lnTo>
                <a:lnTo>
                  <a:pt x="350762" y="653143"/>
                </a:lnTo>
                <a:lnTo>
                  <a:pt x="295124" y="667658"/>
                </a:lnTo>
                <a:lnTo>
                  <a:pt x="263676" y="689429"/>
                </a:lnTo>
                <a:lnTo>
                  <a:pt x="222552" y="689429"/>
                </a:lnTo>
                <a:lnTo>
                  <a:pt x="188685" y="747486"/>
                </a:lnTo>
                <a:lnTo>
                  <a:pt x="140304" y="766838"/>
                </a:lnTo>
                <a:lnTo>
                  <a:pt x="120952" y="800705"/>
                </a:lnTo>
                <a:lnTo>
                  <a:pt x="125790" y="863600"/>
                </a:lnTo>
                <a:lnTo>
                  <a:pt x="99181" y="899886"/>
                </a:lnTo>
                <a:lnTo>
                  <a:pt x="87085" y="931334"/>
                </a:lnTo>
                <a:lnTo>
                  <a:pt x="91924" y="999067"/>
                </a:lnTo>
                <a:lnTo>
                  <a:pt x="38704" y="1040191"/>
                </a:lnTo>
                <a:lnTo>
                  <a:pt x="12095" y="1071638"/>
                </a:lnTo>
                <a:lnTo>
                  <a:pt x="0" y="1107924"/>
                </a:lnTo>
                <a:lnTo>
                  <a:pt x="7257" y="1163562"/>
                </a:ln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reeform 37"/>
          <p:cNvSpPr/>
          <p:nvPr/>
        </p:nvSpPr>
        <p:spPr bwMode="auto">
          <a:xfrm>
            <a:off x="8164873" y="1076841"/>
            <a:ext cx="1703247" cy="848623"/>
          </a:xfrm>
          <a:custGeom>
            <a:avLst/>
            <a:gdLst>
              <a:gd name="connsiteX0" fmla="*/ 5151 w 3881692"/>
              <a:gd name="connsiteY0" fmla="*/ 275608 h 2140469"/>
              <a:gd name="connsiteX1" fmla="*/ 0 w 3881692"/>
              <a:gd name="connsiteY1" fmla="*/ 224092 h 2140469"/>
              <a:gd name="connsiteX2" fmla="*/ 41212 w 3881692"/>
              <a:gd name="connsiteY2" fmla="*/ 185456 h 2140469"/>
              <a:gd name="connsiteX3" fmla="*/ 30909 w 3881692"/>
              <a:gd name="connsiteY3" fmla="*/ 154546 h 2140469"/>
              <a:gd name="connsiteX4" fmla="*/ 12879 w 3881692"/>
              <a:gd name="connsiteY4" fmla="*/ 133940 h 2140469"/>
              <a:gd name="connsiteX5" fmla="*/ 46364 w 3881692"/>
              <a:gd name="connsiteY5" fmla="*/ 97879 h 2140469"/>
              <a:gd name="connsiteX6" fmla="*/ 10303 w 3881692"/>
              <a:gd name="connsiteY6" fmla="*/ 54091 h 2140469"/>
              <a:gd name="connsiteX7" fmla="*/ 41212 w 3881692"/>
              <a:gd name="connsiteY7" fmla="*/ 7727 h 2140469"/>
              <a:gd name="connsiteX8" fmla="*/ 77273 w 3881692"/>
              <a:gd name="connsiteY8" fmla="*/ 18030 h 2140469"/>
              <a:gd name="connsiteX9" fmla="*/ 103031 w 3881692"/>
              <a:gd name="connsiteY9" fmla="*/ 0 h 2140469"/>
              <a:gd name="connsiteX10" fmla="*/ 131364 w 3881692"/>
              <a:gd name="connsiteY10" fmla="*/ 12879 h 2140469"/>
              <a:gd name="connsiteX11" fmla="*/ 118486 w 3881692"/>
              <a:gd name="connsiteY11" fmla="*/ 66970 h 2140469"/>
              <a:gd name="connsiteX12" fmla="*/ 144243 w 3881692"/>
              <a:gd name="connsiteY12" fmla="*/ 100455 h 2140469"/>
              <a:gd name="connsiteX13" fmla="*/ 126213 w 3881692"/>
              <a:gd name="connsiteY13" fmla="*/ 136516 h 2140469"/>
              <a:gd name="connsiteX14" fmla="*/ 136516 w 3881692"/>
              <a:gd name="connsiteY14" fmla="*/ 162274 h 2140469"/>
              <a:gd name="connsiteX15" fmla="*/ 198335 w 3881692"/>
              <a:gd name="connsiteY15" fmla="*/ 159698 h 2140469"/>
              <a:gd name="connsiteX16" fmla="*/ 265305 w 3881692"/>
              <a:gd name="connsiteY16" fmla="*/ 167425 h 2140469"/>
              <a:gd name="connsiteX17" fmla="*/ 314244 w 3881692"/>
              <a:gd name="connsiteY17" fmla="*/ 193183 h 2140469"/>
              <a:gd name="connsiteX18" fmla="*/ 347729 w 3881692"/>
              <a:gd name="connsiteY18" fmla="*/ 244699 h 2140469"/>
              <a:gd name="connsiteX19" fmla="*/ 409548 w 3881692"/>
              <a:gd name="connsiteY19" fmla="*/ 265305 h 2140469"/>
              <a:gd name="connsiteX20" fmla="*/ 453336 w 3881692"/>
              <a:gd name="connsiteY20" fmla="*/ 265305 h 2140469"/>
              <a:gd name="connsiteX21" fmla="*/ 491973 w 3881692"/>
              <a:gd name="connsiteY21" fmla="*/ 314245 h 2140469"/>
              <a:gd name="connsiteX22" fmla="*/ 533185 w 3881692"/>
              <a:gd name="connsiteY22" fmla="*/ 301366 h 2140469"/>
              <a:gd name="connsiteX23" fmla="*/ 579549 w 3881692"/>
              <a:gd name="connsiteY23" fmla="*/ 319396 h 2140469"/>
              <a:gd name="connsiteX24" fmla="*/ 623337 w 3881692"/>
              <a:gd name="connsiteY24" fmla="*/ 309093 h 2140469"/>
              <a:gd name="connsiteX25" fmla="*/ 690307 w 3881692"/>
              <a:gd name="connsiteY25" fmla="*/ 324548 h 2140469"/>
              <a:gd name="connsiteX26" fmla="*/ 731520 w 3881692"/>
              <a:gd name="connsiteY26" fmla="*/ 314245 h 2140469"/>
              <a:gd name="connsiteX27" fmla="*/ 757278 w 3881692"/>
              <a:gd name="connsiteY27" fmla="*/ 342578 h 2140469"/>
              <a:gd name="connsiteX28" fmla="*/ 765005 w 3881692"/>
              <a:gd name="connsiteY28" fmla="*/ 412124 h 2140469"/>
              <a:gd name="connsiteX29" fmla="*/ 788187 w 3881692"/>
              <a:gd name="connsiteY29" fmla="*/ 466215 h 2140469"/>
              <a:gd name="connsiteX30" fmla="*/ 831975 w 3881692"/>
              <a:gd name="connsiteY30" fmla="*/ 468791 h 2140469"/>
              <a:gd name="connsiteX31" fmla="*/ 883491 w 3881692"/>
              <a:gd name="connsiteY31" fmla="*/ 499700 h 2140469"/>
              <a:gd name="connsiteX32" fmla="*/ 911824 w 3881692"/>
              <a:gd name="connsiteY32" fmla="*/ 553792 h 2140469"/>
              <a:gd name="connsiteX33" fmla="*/ 955612 w 3881692"/>
              <a:gd name="connsiteY33" fmla="*/ 574398 h 2140469"/>
              <a:gd name="connsiteX34" fmla="*/ 1025158 w 3881692"/>
              <a:gd name="connsiteY34" fmla="*/ 641368 h 2140469"/>
              <a:gd name="connsiteX35" fmla="*/ 1086977 w 3881692"/>
              <a:gd name="connsiteY35" fmla="*/ 680005 h 2140469"/>
              <a:gd name="connsiteX36" fmla="*/ 1123038 w 3881692"/>
              <a:gd name="connsiteY36" fmla="*/ 654247 h 2140469"/>
              <a:gd name="connsiteX37" fmla="*/ 1148795 w 3881692"/>
              <a:gd name="connsiteY37" fmla="*/ 667126 h 2140469"/>
              <a:gd name="connsiteX38" fmla="*/ 1161674 w 3881692"/>
              <a:gd name="connsiteY38" fmla="*/ 680005 h 2140469"/>
              <a:gd name="connsiteX39" fmla="*/ 1202887 w 3881692"/>
              <a:gd name="connsiteY39" fmla="*/ 651671 h 2140469"/>
              <a:gd name="connsiteX40" fmla="*/ 1226069 w 3881692"/>
              <a:gd name="connsiteY40" fmla="*/ 628489 h 2140469"/>
              <a:gd name="connsiteX41" fmla="*/ 1262129 w 3881692"/>
              <a:gd name="connsiteY41" fmla="*/ 628489 h 2140469"/>
              <a:gd name="connsiteX42" fmla="*/ 1300766 w 3881692"/>
              <a:gd name="connsiteY42" fmla="*/ 664550 h 2140469"/>
              <a:gd name="connsiteX43" fmla="*/ 1303342 w 3881692"/>
              <a:gd name="connsiteY43" fmla="*/ 739247 h 2140469"/>
              <a:gd name="connsiteX44" fmla="*/ 1347130 w 3881692"/>
              <a:gd name="connsiteY44" fmla="*/ 770157 h 2140469"/>
              <a:gd name="connsiteX45" fmla="*/ 1419252 w 3881692"/>
              <a:gd name="connsiteY45" fmla="*/ 813945 h 2140469"/>
              <a:gd name="connsiteX46" fmla="*/ 1465616 w 3881692"/>
              <a:gd name="connsiteY46" fmla="*/ 826824 h 2140469"/>
              <a:gd name="connsiteX47" fmla="*/ 1493949 w 3881692"/>
              <a:gd name="connsiteY47" fmla="*/ 816521 h 2140469"/>
              <a:gd name="connsiteX48" fmla="*/ 1524858 w 3881692"/>
              <a:gd name="connsiteY48" fmla="*/ 834551 h 2140469"/>
              <a:gd name="connsiteX49" fmla="*/ 1566071 w 3881692"/>
              <a:gd name="connsiteY49" fmla="*/ 813945 h 2140469"/>
              <a:gd name="connsiteX50" fmla="*/ 1581526 w 3881692"/>
              <a:gd name="connsiteY50" fmla="*/ 790763 h 2140469"/>
              <a:gd name="connsiteX51" fmla="*/ 1612435 w 3881692"/>
              <a:gd name="connsiteY51" fmla="*/ 813945 h 2140469"/>
              <a:gd name="connsiteX52" fmla="*/ 1645920 w 3881692"/>
              <a:gd name="connsiteY52" fmla="*/ 793339 h 2140469"/>
              <a:gd name="connsiteX53" fmla="*/ 1656223 w 3881692"/>
              <a:gd name="connsiteY53" fmla="*/ 765005 h 2140469"/>
              <a:gd name="connsiteX54" fmla="*/ 1705163 w 3881692"/>
              <a:gd name="connsiteY54" fmla="*/ 785611 h 2140469"/>
              <a:gd name="connsiteX55" fmla="*/ 1759254 w 3881692"/>
              <a:gd name="connsiteY55" fmla="*/ 842278 h 2140469"/>
              <a:gd name="connsiteX56" fmla="*/ 1813345 w 3881692"/>
              <a:gd name="connsiteY56" fmla="*/ 847430 h 2140469"/>
              <a:gd name="connsiteX57" fmla="*/ 1833951 w 3881692"/>
              <a:gd name="connsiteY57" fmla="*/ 831975 h 2140469"/>
              <a:gd name="connsiteX58" fmla="*/ 1880315 w 3881692"/>
              <a:gd name="connsiteY58" fmla="*/ 834551 h 2140469"/>
              <a:gd name="connsiteX59" fmla="*/ 1916376 w 3881692"/>
              <a:gd name="connsiteY59" fmla="*/ 868036 h 2140469"/>
              <a:gd name="connsiteX60" fmla="*/ 1931831 w 3881692"/>
              <a:gd name="connsiteY60" fmla="*/ 927279 h 2140469"/>
              <a:gd name="connsiteX61" fmla="*/ 1973043 w 3881692"/>
              <a:gd name="connsiteY61" fmla="*/ 996825 h 2140469"/>
              <a:gd name="connsiteX62" fmla="*/ 1970467 w 3881692"/>
              <a:gd name="connsiteY62" fmla="*/ 1045765 h 2140469"/>
              <a:gd name="connsiteX63" fmla="*/ 1993649 w 3881692"/>
              <a:gd name="connsiteY63" fmla="*/ 1089553 h 2140469"/>
              <a:gd name="connsiteX64" fmla="*/ 2042589 w 3881692"/>
              <a:gd name="connsiteY64" fmla="*/ 1099856 h 2140469"/>
              <a:gd name="connsiteX65" fmla="*/ 2070923 w 3881692"/>
              <a:gd name="connsiteY65" fmla="*/ 1128189 h 2140469"/>
              <a:gd name="connsiteX66" fmla="*/ 2148196 w 3881692"/>
              <a:gd name="connsiteY66" fmla="*/ 1156523 h 2140469"/>
              <a:gd name="connsiteX67" fmla="*/ 2194560 w 3881692"/>
              <a:gd name="connsiteY67" fmla="*/ 1135917 h 2140469"/>
              <a:gd name="connsiteX68" fmla="*/ 2230621 w 3881692"/>
              <a:gd name="connsiteY68" fmla="*/ 1135917 h 2140469"/>
              <a:gd name="connsiteX69" fmla="*/ 2258954 w 3881692"/>
              <a:gd name="connsiteY69" fmla="*/ 1190008 h 2140469"/>
              <a:gd name="connsiteX70" fmla="*/ 2279560 w 3881692"/>
              <a:gd name="connsiteY70" fmla="*/ 1231220 h 2140469"/>
              <a:gd name="connsiteX71" fmla="*/ 2315621 w 3881692"/>
              <a:gd name="connsiteY71" fmla="*/ 1254402 h 2140469"/>
              <a:gd name="connsiteX72" fmla="*/ 2356834 w 3881692"/>
              <a:gd name="connsiteY72" fmla="*/ 1251826 h 2140469"/>
              <a:gd name="connsiteX73" fmla="*/ 2400622 w 3881692"/>
              <a:gd name="connsiteY73" fmla="*/ 1287887 h 2140469"/>
              <a:gd name="connsiteX74" fmla="*/ 2467592 w 3881692"/>
              <a:gd name="connsiteY74" fmla="*/ 1311069 h 2140469"/>
              <a:gd name="connsiteX75" fmla="*/ 2539714 w 3881692"/>
              <a:gd name="connsiteY75" fmla="*/ 1303342 h 2140469"/>
              <a:gd name="connsiteX76" fmla="*/ 2568047 w 3881692"/>
              <a:gd name="connsiteY76" fmla="*/ 1285312 h 2140469"/>
              <a:gd name="connsiteX77" fmla="*/ 2583502 w 3881692"/>
              <a:gd name="connsiteY77" fmla="*/ 1303342 h 2140469"/>
              <a:gd name="connsiteX78" fmla="*/ 2591229 w 3881692"/>
              <a:gd name="connsiteY78" fmla="*/ 1339403 h 2140469"/>
              <a:gd name="connsiteX79" fmla="*/ 2640169 w 3881692"/>
              <a:gd name="connsiteY79" fmla="*/ 1352282 h 2140469"/>
              <a:gd name="connsiteX80" fmla="*/ 2660775 w 3881692"/>
              <a:gd name="connsiteY80" fmla="*/ 1380615 h 2140469"/>
              <a:gd name="connsiteX81" fmla="*/ 2691684 w 3881692"/>
              <a:gd name="connsiteY81" fmla="*/ 1426979 h 2140469"/>
              <a:gd name="connsiteX82" fmla="*/ 2753503 w 3881692"/>
              <a:gd name="connsiteY82" fmla="*/ 1442434 h 2140469"/>
              <a:gd name="connsiteX83" fmla="*/ 2823049 w 3881692"/>
              <a:gd name="connsiteY83" fmla="*/ 1473343 h 2140469"/>
              <a:gd name="connsiteX84" fmla="*/ 2853958 w 3881692"/>
              <a:gd name="connsiteY84" fmla="*/ 1468192 h 2140469"/>
              <a:gd name="connsiteX85" fmla="*/ 2887443 w 3881692"/>
              <a:gd name="connsiteY85" fmla="*/ 1496525 h 2140469"/>
              <a:gd name="connsiteX86" fmla="*/ 2933807 w 3881692"/>
              <a:gd name="connsiteY86" fmla="*/ 1504252 h 2140469"/>
              <a:gd name="connsiteX87" fmla="*/ 2956989 w 3881692"/>
              <a:gd name="connsiteY87" fmla="*/ 1540313 h 2140469"/>
              <a:gd name="connsiteX88" fmla="*/ 3000777 w 3881692"/>
              <a:gd name="connsiteY88" fmla="*/ 1576374 h 2140469"/>
              <a:gd name="connsiteX89" fmla="*/ 3062596 w 3881692"/>
              <a:gd name="connsiteY89" fmla="*/ 1581526 h 2140469"/>
              <a:gd name="connsiteX90" fmla="*/ 3062596 w 3881692"/>
              <a:gd name="connsiteY90" fmla="*/ 1581526 h 2140469"/>
              <a:gd name="connsiteX91" fmla="*/ 3083202 w 3881692"/>
              <a:gd name="connsiteY91" fmla="*/ 1560919 h 2140469"/>
              <a:gd name="connsiteX92" fmla="*/ 3101233 w 3881692"/>
              <a:gd name="connsiteY92" fmla="*/ 1581526 h 2140469"/>
              <a:gd name="connsiteX93" fmla="*/ 3101233 w 3881692"/>
              <a:gd name="connsiteY93" fmla="*/ 1622738 h 2140469"/>
              <a:gd name="connsiteX94" fmla="*/ 3134718 w 3881692"/>
              <a:gd name="connsiteY94" fmla="*/ 1643344 h 2140469"/>
              <a:gd name="connsiteX95" fmla="*/ 3173354 w 3881692"/>
              <a:gd name="connsiteY95" fmla="*/ 1643344 h 2140469"/>
              <a:gd name="connsiteX96" fmla="*/ 3214567 w 3881692"/>
              <a:gd name="connsiteY96" fmla="*/ 1669102 h 2140469"/>
              <a:gd name="connsiteX97" fmla="*/ 3222294 w 3881692"/>
              <a:gd name="connsiteY97" fmla="*/ 1720617 h 2140469"/>
              <a:gd name="connsiteX98" fmla="*/ 3250627 w 3881692"/>
              <a:gd name="connsiteY98" fmla="*/ 1746375 h 2140469"/>
              <a:gd name="connsiteX99" fmla="*/ 3250627 w 3881692"/>
              <a:gd name="connsiteY99" fmla="*/ 1769557 h 2140469"/>
              <a:gd name="connsiteX100" fmla="*/ 3294416 w 3881692"/>
              <a:gd name="connsiteY100" fmla="*/ 1797891 h 2140469"/>
              <a:gd name="connsiteX101" fmla="*/ 3289264 w 3881692"/>
              <a:gd name="connsiteY101" fmla="*/ 1846830 h 2140469"/>
              <a:gd name="connsiteX102" fmla="*/ 3327901 w 3881692"/>
              <a:gd name="connsiteY102" fmla="*/ 1882891 h 2140469"/>
              <a:gd name="connsiteX103" fmla="*/ 3374265 w 3881692"/>
              <a:gd name="connsiteY103" fmla="*/ 1918952 h 2140469"/>
              <a:gd name="connsiteX104" fmla="*/ 3418053 w 3881692"/>
              <a:gd name="connsiteY104" fmla="*/ 1906073 h 2140469"/>
              <a:gd name="connsiteX105" fmla="*/ 3472144 w 3881692"/>
              <a:gd name="connsiteY105" fmla="*/ 1936983 h 2140469"/>
              <a:gd name="connsiteX106" fmla="*/ 3503053 w 3881692"/>
              <a:gd name="connsiteY106" fmla="*/ 1913801 h 2140469"/>
              <a:gd name="connsiteX107" fmla="*/ 3554569 w 3881692"/>
              <a:gd name="connsiteY107" fmla="*/ 1939558 h 2140469"/>
              <a:gd name="connsiteX108" fmla="*/ 3598357 w 3881692"/>
              <a:gd name="connsiteY108" fmla="*/ 1985922 h 2140469"/>
              <a:gd name="connsiteX109" fmla="*/ 3636994 w 3881692"/>
              <a:gd name="connsiteY109" fmla="*/ 2058044 h 2140469"/>
              <a:gd name="connsiteX110" fmla="*/ 3657600 w 3881692"/>
              <a:gd name="connsiteY110" fmla="*/ 2070923 h 2140469"/>
              <a:gd name="connsiteX111" fmla="*/ 3675630 w 3881692"/>
              <a:gd name="connsiteY111" fmla="*/ 2101832 h 2140469"/>
              <a:gd name="connsiteX112" fmla="*/ 3698812 w 3881692"/>
              <a:gd name="connsiteY112" fmla="*/ 2140469 h 2140469"/>
              <a:gd name="connsiteX113" fmla="*/ 3727146 w 3881692"/>
              <a:gd name="connsiteY113" fmla="*/ 2140469 h 2140469"/>
              <a:gd name="connsiteX114" fmla="*/ 3750328 w 3881692"/>
              <a:gd name="connsiteY114" fmla="*/ 2112135 h 2140469"/>
              <a:gd name="connsiteX115" fmla="*/ 3786389 w 3881692"/>
              <a:gd name="connsiteY115" fmla="*/ 2076074 h 2140469"/>
              <a:gd name="connsiteX116" fmla="*/ 3783813 w 3881692"/>
              <a:gd name="connsiteY116" fmla="*/ 2034862 h 2140469"/>
              <a:gd name="connsiteX117" fmla="*/ 3799267 w 3881692"/>
              <a:gd name="connsiteY117" fmla="*/ 2011680 h 2140469"/>
              <a:gd name="connsiteX118" fmla="*/ 3796692 w 3881692"/>
              <a:gd name="connsiteY118" fmla="*/ 1939558 h 2140469"/>
              <a:gd name="connsiteX119" fmla="*/ 3822449 w 3881692"/>
              <a:gd name="connsiteY119" fmla="*/ 1898346 h 2140469"/>
              <a:gd name="connsiteX120" fmla="*/ 3801843 w 3881692"/>
              <a:gd name="connsiteY120" fmla="*/ 1864861 h 2140469"/>
              <a:gd name="connsiteX121" fmla="*/ 3830177 w 3881692"/>
              <a:gd name="connsiteY121" fmla="*/ 1826224 h 2140469"/>
              <a:gd name="connsiteX122" fmla="*/ 3837904 w 3881692"/>
              <a:gd name="connsiteY122" fmla="*/ 1792739 h 2140469"/>
              <a:gd name="connsiteX123" fmla="*/ 3801843 w 3881692"/>
              <a:gd name="connsiteY123" fmla="*/ 1741224 h 2140469"/>
              <a:gd name="connsiteX124" fmla="*/ 3740025 w 3881692"/>
              <a:gd name="connsiteY124" fmla="*/ 1692284 h 2140469"/>
              <a:gd name="connsiteX125" fmla="*/ 3727146 w 3881692"/>
              <a:gd name="connsiteY125" fmla="*/ 1643344 h 2140469"/>
              <a:gd name="connsiteX126" fmla="*/ 3716843 w 3881692"/>
              <a:gd name="connsiteY126" fmla="*/ 1586677 h 2140469"/>
              <a:gd name="connsiteX127" fmla="*/ 3696236 w 3881692"/>
              <a:gd name="connsiteY127" fmla="*/ 1550616 h 2140469"/>
              <a:gd name="connsiteX128" fmla="*/ 3709115 w 3881692"/>
              <a:gd name="connsiteY128" fmla="*/ 1511980 h 2140469"/>
              <a:gd name="connsiteX129" fmla="*/ 3660176 w 3881692"/>
              <a:gd name="connsiteY129" fmla="*/ 1390918 h 2140469"/>
              <a:gd name="connsiteX130" fmla="*/ 3660176 w 3881692"/>
              <a:gd name="connsiteY130" fmla="*/ 1347130 h 2140469"/>
              <a:gd name="connsiteX131" fmla="*/ 3634418 w 3881692"/>
              <a:gd name="connsiteY131" fmla="*/ 1282736 h 2140469"/>
              <a:gd name="connsiteX132" fmla="*/ 3631842 w 3881692"/>
              <a:gd name="connsiteY132" fmla="*/ 1246675 h 2140469"/>
              <a:gd name="connsiteX133" fmla="*/ 3611236 w 3881692"/>
              <a:gd name="connsiteY133" fmla="*/ 1208038 h 2140469"/>
              <a:gd name="connsiteX134" fmla="*/ 3531387 w 3881692"/>
              <a:gd name="connsiteY134" fmla="*/ 1161674 h 2140469"/>
              <a:gd name="connsiteX135" fmla="*/ 3528811 w 3881692"/>
              <a:gd name="connsiteY135" fmla="*/ 1125614 h 2140469"/>
              <a:gd name="connsiteX136" fmla="*/ 3497902 w 3881692"/>
              <a:gd name="connsiteY136" fmla="*/ 1102432 h 2140469"/>
              <a:gd name="connsiteX137" fmla="*/ 3474720 w 3881692"/>
              <a:gd name="connsiteY137" fmla="*/ 1102432 h 2140469"/>
              <a:gd name="connsiteX138" fmla="*/ 3430932 w 3881692"/>
              <a:gd name="connsiteY138" fmla="*/ 1105007 h 2140469"/>
              <a:gd name="connsiteX139" fmla="*/ 3361386 w 3881692"/>
              <a:gd name="connsiteY139" fmla="*/ 1066371 h 2140469"/>
              <a:gd name="connsiteX140" fmla="*/ 3309870 w 3881692"/>
              <a:gd name="connsiteY140" fmla="*/ 1001976 h 2140469"/>
              <a:gd name="connsiteX141" fmla="*/ 3266082 w 3881692"/>
              <a:gd name="connsiteY141" fmla="*/ 978794 h 2140469"/>
              <a:gd name="connsiteX142" fmla="*/ 3260931 w 3881692"/>
              <a:gd name="connsiteY142" fmla="*/ 942734 h 2140469"/>
              <a:gd name="connsiteX143" fmla="*/ 3237749 w 3881692"/>
              <a:gd name="connsiteY143" fmla="*/ 893794 h 2140469"/>
              <a:gd name="connsiteX144" fmla="*/ 3196536 w 3881692"/>
              <a:gd name="connsiteY144" fmla="*/ 862885 h 2140469"/>
              <a:gd name="connsiteX145" fmla="*/ 3201688 w 3881692"/>
              <a:gd name="connsiteY145" fmla="*/ 819096 h 2140469"/>
              <a:gd name="connsiteX146" fmla="*/ 3237749 w 3881692"/>
              <a:gd name="connsiteY146" fmla="*/ 762429 h 2140469"/>
              <a:gd name="connsiteX147" fmla="*/ 3242900 w 3881692"/>
              <a:gd name="connsiteY147" fmla="*/ 698035 h 2140469"/>
              <a:gd name="connsiteX148" fmla="*/ 3271234 w 3881692"/>
              <a:gd name="connsiteY148" fmla="*/ 661974 h 2140469"/>
              <a:gd name="connsiteX149" fmla="*/ 3317598 w 3881692"/>
              <a:gd name="connsiteY149" fmla="*/ 638792 h 2140469"/>
              <a:gd name="connsiteX150" fmla="*/ 3340780 w 3881692"/>
              <a:gd name="connsiteY150" fmla="*/ 595004 h 2140469"/>
              <a:gd name="connsiteX151" fmla="*/ 3389719 w 3881692"/>
              <a:gd name="connsiteY151" fmla="*/ 592428 h 2140469"/>
              <a:gd name="connsiteX152" fmla="*/ 3420629 w 3881692"/>
              <a:gd name="connsiteY152" fmla="*/ 607883 h 2140469"/>
              <a:gd name="connsiteX153" fmla="*/ 3495326 w 3881692"/>
              <a:gd name="connsiteY153" fmla="*/ 592428 h 2140469"/>
              <a:gd name="connsiteX154" fmla="*/ 3531387 w 3881692"/>
              <a:gd name="connsiteY154" fmla="*/ 618186 h 2140469"/>
              <a:gd name="connsiteX155" fmla="*/ 3580327 w 3881692"/>
              <a:gd name="connsiteY155" fmla="*/ 610459 h 2140469"/>
              <a:gd name="connsiteX156" fmla="*/ 3631842 w 3881692"/>
              <a:gd name="connsiteY156" fmla="*/ 628489 h 2140469"/>
              <a:gd name="connsiteX157" fmla="*/ 3711691 w 3881692"/>
              <a:gd name="connsiteY157" fmla="*/ 667126 h 2140469"/>
              <a:gd name="connsiteX158" fmla="*/ 3835328 w 3881692"/>
              <a:gd name="connsiteY158" fmla="*/ 677429 h 2140469"/>
              <a:gd name="connsiteX159" fmla="*/ 3881692 w 3881692"/>
              <a:gd name="connsiteY159" fmla="*/ 667126 h 2140469"/>
              <a:gd name="connsiteX160" fmla="*/ 3863662 w 3881692"/>
              <a:gd name="connsiteY160" fmla="*/ 641368 h 2140469"/>
              <a:gd name="connsiteX161" fmla="*/ 3861086 w 3881692"/>
              <a:gd name="connsiteY161" fmla="*/ 610459 h 2140469"/>
              <a:gd name="connsiteX0" fmla="*/ 0 w 3881692"/>
              <a:gd name="connsiteY0" fmla="*/ 224092 h 2140469"/>
              <a:gd name="connsiteX1" fmla="*/ 41212 w 3881692"/>
              <a:gd name="connsiteY1" fmla="*/ 185456 h 2140469"/>
              <a:gd name="connsiteX2" fmla="*/ 30909 w 3881692"/>
              <a:gd name="connsiteY2" fmla="*/ 154546 h 2140469"/>
              <a:gd name="connsiteX3" fmla="*/ 12879 w 3881692"/>
              <a:gd name="connsiteY3" fmla="*/ 133940 h 2140469"/>
              <a:gd name="connsiteX4" fmla="*/ 46364 w 3881692"/>
              <a:gd name="connsiteY4" fmla="*/ 97879 h 2140469"/>
              <a:gd name="connsiteX5" fmla="*/ 10303 w 3881692"/>
              <a:gd name="connsiteY5" fmla="*/ 54091 h 2140469"/>
              <a:gd name="connsiteX6" fmla="*/ 41212 w 3881692"/>
              <a:gd name="connsiteY6" fmla="*/ 7727 h 2140469"/>
              <a:gd name="connsiteX7" fmla="*/ 77273 w 3881692"/>
              <a:gd name="connsiteY7" fmla="*/ 18030 h 2140469"/>
              <a:gd name="connsiteX8" fmla="*/ 103031 w 3881692"/>
              <a:gd name="connsiteY8" fmla="*/ 0 h 2140469"/>
              <a:gd name="connsiteX9" fmla="*/ 131364 w 3881692"/>
              <a:gd name="connsiteY9" fmla="*/ 12879 h 2140469"/>
              <a:gd name="connsiteX10" fmla="*/ 118486 w 3881692"/>
              <a:gd name="connsiteY10" fmla="*/ 66970 h 2140469"/>
              <a:gd name="connsiteX11" fmla="*/ 144243 w 3881692"/>
              <a:gd name="connsiteY11" fmla="*/ 100455 h 2140469"/>
              <a:gd name="connsiteX12" fmla="*/ 126213 w 3881692"/>
              <a:gd name="connsiteY12" fmla="*/ 136516 h 2140469"/>
              <a:gd name="connsiteX13" fmla="*/ 136516 w 3881692"/>
              <a:gd name="connsiteY13" fmla="*/ 162274 h 2140469"/>
              <a:gd name="connsiteX14" fmla="*/ 198335 w 3881692"/>
              <a:gd name="connsiteY14" fmla="*/ 159698 h 2140469"/>
              <a:gd name="connsiteX15" fmla="*/ 265305 w 3881692"/>
              <a:gd name="connsiteY15" fmla="*/ 167425 h 2140469"/>
              <a:gd name="connsiteX16" fmla="*/ 314244 w 3881692"/>
              <a:gd name="connsiteY16" fmla="*/ 193183 h 2140469"/>
              <a:gd name="connsiteX17" fmla="*/ 347729 w 3881692"/>
              <a:gd name="connsiteY17" fmla="*/ 244699 h 2140469"/>
              <a:gd name="connsiteX18" fmla="*/ 409548 w 3881692"/>
              <a:gd name="connsiteY18" fmla="*/ 265305 h 2140469"/>
              <a:gd name="connsiteX19" fmla="*/ 453336 w 3881692"/>
              <a:gd name="connsiteY19" fmla="*/ 265305 h 2140469"/>
              <a:gd name="connsiteX20" fmla="*/ 491973 w 3881692"/>
              <a:gd name="connsiteY20" fmla="*/ 314245 h 2140469"/>
              <a:gd name="connsiteX21" fmla="*/ 533185 w 3881692"/>
              <a:gd name="connsiteY21" fmla="*/ 301366 h 2140469"/>
              <a:gd name="connsiteX22" fmla="*/ 579549 w 3881692"/>
              <a:gd name="connsiteY22" fmla="*/ 319396 h 2140469"/>
              <a:gd name="connsiteX23" fmla="*/ 623337 w 3881692"/>
              <a:gd name="connsiteY23" fmla="*/ 309093 h 2140469"/>
              <a:gd name="connsiteX24" fmla="*/ 690307 w 3881692"/>
              <a:gd name="connsiteY24" fmla="*/ 324548 h 2140469"/>
              <a:gd name="connsiteX25" fmla="*/ 731520 w 3881692"/>
              <a:gd name="connsiteY25" fmla="*/ 314245 h 2140469"/>
              <a:gd name="connsiteX26" fmla="*/ 757278 w 3881692"/>
              <a:gd name="connsiteY26" fmla="*/ 342578 h 2140469"/>
              <a:gd name="connsiteX27" fmla="*/ 765005 w 3881692"/>
              <a:gd name="connsiteY27" fmla="*/ 412124 h 2140469"/>
              <a:gd name="connsiteX28" fmla="*/ 788187 w 3881692"/>
              <a:gd name="connsiteY28" fmla="*/ 466215 h 2140469"/>
              <a:gd name="connsiteX29" fmla="*/ 831975 w 3881692"/>
              <a:gd name="connsiteY29" fmla="*/ 468791 h 2140469"/>
              <a:gd name="connsiteX30" fmla="*/ 883491 w 3881692"/>
              <a:gd name="connsiteY30" fmla="*/ 499700 h 2140469"/>
              <a:gd name="connsiteX31" fmla="*/ 911824 w 3881692"/>
              <a:gd name="connsiteY31" fmla="*/ 553792 h 2140469"/>
              <a:gd name="connsiteX32" fmla="*/ 955612 w 3881692"/>
              <a:gd name="connsiteY32" fmla="*/ 574398 h 2140469"/>
              <a:gd name="connsiteX33" fmla="*/ 1025158 w 3881692"/>
              <a:gd name="connsiteY33" fmla="*/ 641368 h 2140469"/>
              <a:gd name="connsiteX34" fmla="*/ 1086977 w 3881692"/>
              <a:gd name="connsiteY34" fmla="*/ 680005 h 2140469"/>
              <a:gd name="connsiteX35" fmla="*/ 1123038 w 3881692"/>
              <a:gd name="connsiteY35" fmla="*/ 654247 h 2140469"/>
              <a:gd name="connsiteX36" fmla="*/ 1148795 w 3881692"/>
              <a:gd name="connsiteY36" fmla="*/ 667126 h 2140469"/>
              <a:gd name="connsiteX37" fmla="*/ 1161674 w 3881692"/>
              <a:gd name="connsiteY37" fmla="*/ 680005 h 2140469"/>
              <a:gd name="connsiteX38" fmla="*/ 1202887 w 3881692"/>
              <a:gd name="connsiteY38" fmla="*/ 651671 h 2140469"/>
              <a:gd name="connsiteX39" fmla="*/ 1226069 w 3881692"/>
              <a:gd name="connsiteY39" fmla="*/ 628489 h 2140469"/>
              <a:gd name="connsiteX40" fmla="*/ 1262129 w 3881692"/>
              <a:gd name="connsiteY40" fmla="*/ 628489 h 2140469"/>
              <a:gd name="connsiteX41" fmla="*/ 1300766 w 3881692"/>
              <a:gd name="connsiteY41" fmla="*/ 664550 h 2140469"/>
              <a:gd name="connsiteX42" fmla="*/ 1303342 w 3881692"/>
              <a:gd name="connsiteY42" fmla="*/ 739247 h 2140469"/>
              <a:gd name="connsiteX43" fmla="*/ 1347130 w 3881692"/>
              <a:gd name="connsiteY43" fmla="*/ 770157 h 2140469"/>
              <a:gd name="connsiteX44" fmla="*/ 1419252 w 3881692"/>
              <a:gd name="connsiteY44" fmla="*/ 813945 h 2140469"/>
              <a:gd name="connsiteX45" fmla="*/ 1465616 w 3881692"/>
              <a:gd name="connsiteY45" fmla="*/ 826824 h 2140469"/>
              <a:gd name="connsiteX46" fmla="*/ 1493949 w 3881692"/>
              <a:gd name="connsiteY46" fmla="*/ 816521 h 2140469"/>
              <a:gd name="connsiteX47" fmla="*/ 1524858 w 3881692"/>
              <a:gd name="connsiteY47" fmla="*/ 834551 h 2140469"/>
              <a:gd name="connsiteX48" fmla="*/ 1566071 w 3881692"/>
              <a:gd name="connsiteY48" fmla="*/ 813945 h 2140469"/>
              <a:gd name="connsiteX49" fmla="*/ 1581526 w 3881692"/>
              <a:gd name="connsiteY49" fmla="*/ 790763 h 2140469"/>
              <a:gd name="connsiteX50" fmla="*/ 1612435 w 3881692"/>
              <a:gd name="connsiteY50" fmla="*/ 813945 h 2140469"/>
              <a:gd name="connsiteX51" fmla="*/ 1645920 w 3881692"/>
              <a:gd name="connsiteY51" fmla="*/ 793339 h 2140469"/>
              <a:gd name="connsiteX52" fmla="*/ 1656223 w 3881692"/>
              <a:gd name="connsiteY52" fmla="*/ 765005 h 2140469"/>
              <a:gd name="connsiteX53" fmla="*/ 1705163 w 3881692"/>
              <a:gd name="connsiteY53" fmla="*/ 785611 h 2140469"/>
              <a:gd name="connsiteX54" fmla="*/ 1759254 w 3881692"/>
              <a:gd name="connsiteY54" fmla="*/ 842278 h 2140469"/>
              <a:gd name="connsiteX55" fmla="*/ 1813345 w 3881692"/>
              <a:gd name="connsiteY55" fmla="*/ 847430 h 2140469"/>
              <a:gd name="connsiteX56" fmla="*/ 1833951 w 3881692"/>
              <a:gd name="connsiteY56" fmla="*/ 831975 h 2140469"/>
              <a:gd name="connsiteX57" fmla="*/ 1880315 w 3881692"/>
              <a:gd name="connsiteY57" fmla="*/ 834551 h 2140469"/>
              <a:gd name="connsiteX58" fmla="*/ 1916376 w 3881692"/>
              <a:gd name="connsiteY58" fmla="*/ 868036 h 2140469"/>
              <a:gd name="connsiteX59" fmla="*/ 1931831 w 3881692"/>
              <a:gd name="connsiteY59" fmla="*/ 927279 h 2140469"/>
              <a:gd name="connsiteX60" fmla="*/ 1973043 w 3881692"/>
              <a:gd name="connsiteY60" fmla="*/ 996825 h 2140469"/>
              <a:gd name="connsiteX61" fmla="*/ 1970467 w 3881692"/>
              <a:gd name="connsiteY61" fmla="*/ 1045765 h 2140469"/>
              <a:gd name="connsiteX62" fmla="*/ 1993649 w 3881692"/>
              <a:gd name="connsiteY62" fmla="*/ 1089553 h 2140469"/>
              <a:gd name="connsiteX63" fmla="*/ 2042589 w 3881692"/>
              <a:gd name="connsiteY63" fmla="*/ 1099856 h 2140469"/>
              <a:gd name="connsiteX64" fmla="*/ 2070923 w 3881692"/>
              <a:gd name="connsiteY64" fmla="*/ 1128189 h 2140469"/>
              <a:gd name="connsiteX65" fmla="*/ 2148196 w 3881692"/>
              <a:gd name="connsiteY65" fmla="*/ 1156523 h 2140469"/>
              <a:gd name="connsiteX66" fmla="*/ 2194560 w 3881692"/>
              <a:gd name="connsiteY66" fmla="*/ 1135917 h 2140469"/>
              <a:gd name="connsiteX67" fmla="*/ 2230621 w 3881692"/>
              <a:gd name="connsiteY67" fmla="*/ 1135917 h 2140469"/>
              <a:gd name="connsiteX68" fmla="*/ 2258954 w 3881692"/>
              <a:gd name="connsiteY68" fmla="*/ 1190008 h 2140469"/>
              <a:gd name="connsiteX69" fmla="*/ 2279560 w 3881692"/>
              <a:gd name="connsiteY69" fmla="*/ 1231220 h 2140469"/>
              <a:gd name="connsiteX70" fmla="*/ 2315621 w 3881692"/>
              <a:gd name="connsiteY70" fmla="*/ 1254402 h 2140469"/>
              <a:gd name="connsiteX71" fmla="*/ 2356834 w 3881692"/>
              <a:gd name="connsiteY71" fmla="*/ 1251826 h 2140469"/>
              <a:gd name="connsiteX72" fmla="*/ 2400622 w 3881692"/>
              <a:gd name="connsiteY72" fmla="*/ 1287887 h 2140469"/>
              <a:gd name="connsiteX73" fmla="*/ 2467592 w 3881692"/>
              <a:gd name="connsiteY73" fmla="*/ 1311069 h 2140469"/>
              <a:gd name="connsiteX74" fmla="*/ 2539714 w 3881692"/>
              <a:gd name="connsiteY74" fmla="*/ 1303342 h 2140469"/>
              <a:gd name="connsiteX75" fmla="*/ 2568047 w 3881692"/>
              <a:gd name="connsiteY75" fmla="*/ 1285312 h 2140469"/>
              <a:gd name="connsiteX76" fmla="*/ 2583502 w 3881692"/>
              <a:gd name="connsiteY76" fmla="*/ 1303342 h 2140469"/>
              <a:gd name="connsiteX77" fmla="*/ 2591229 w 3881692"/>
              <a:gd name="connsiteY77" fmla="*/ 1339403 h 2140469"/>
              <a:gd name="connsiteX78" fmla="*/ 2640169 w 3881692"/>
              <a:gd name="connsiteY78" fmla="*/ 1352282 h 2140469"/>
              <a:gd name="connsiteX79" fmla="*/ 2660775 w 3881692"/>
              <a:gd name="connsiteY79" fmla="*/ 1380615 h 2140469"/>
              <a:gd name="connsiteX80" fmla="*/ 2691684 w 3881692"/>
              <a:gd name="connsiteY80" fmla="*/ 1426979 h 2140469"/>
              <a:gd name="connsiteX81" fmla="*/ 2753503 w 3881692"/>
              <a:gd name="connsiteY81" fmla="*/ 1442434 h 2140469"/>
              <a:gd name="connsiteX82" fmla="*/ 2823049 w 3881692"/>
              <a:gd name="connsiteY82" fmla="*/ 1473343 h 2140469"/>
              <a:gd name="connsiteX83" fmla="*/ 2853958 w 3881692"/>
              <a:gd name="connsiteY83" fmla="*/ 1468192 h 2140469"/>
              <a:gd name="connsiteX84" fmla="*/ 2887443 w 3881692"/>
              <a:gd name="connsiteY84" fmla="*/ 1496525 h 2140469"/>
              <a:gd name="connsiteX85" fmla="*/ 2933807 w 3881692"/>
              <a:gd name="connsiteY85" fmla="*/ 1504252 h 2140469"/>
              <a:gd name="connsiteX86" fmla="*/ 2956989 w 3881692"/>
              <a:gd name="connsiteY86" fmla="*/ 1540313 h 2140469"/>
              <a:gd name="connsiteX87" fmla="*/ 3000777 w 3881692"/>
              <a:gd name="connsiteY87" fmla="*/ 1576374 h 2140469"/>
              <a:gd name="connsiteX88" fmla="*/ 3062596 w 3881692"/>
              <a:gd name="connsiteY88" fmla="*/ 1581526 h 2140469"/>
              <a:gd name="connsiteX89" fmla="*/ 3062596 w 3881692"/>
              <a:gd name="connsiteY89" fmla="*/ 1581526 h 2140469"/>
              <a:gd name="connsiteX90" fmla="*/ 3083202 w 3881692"/>
              <a:gd name="connsiteY90" fmla="*/ 1560919 h 2140469"/>
              <a:gd name="connsiteX91" fmla="*/ 3101233 w 3881692"/>
              <a:gd name="connsiteY91" fmla="*/ 1581526 h 2140469"/>
              <a:gd name="connsiteX92" fmla="*/ 3101233 w 3881692"/>
              <a:gd name="connsiteY92" fmla="*/ 1622738 h 2140469"/>
              <a:gd name="connsiteX93" fmla="*/ 3134718 w 3881692"/>
              <a:gd name="connsiteY93" fmla="*/ 1643344 h 2140469"/>
              <a:gd name="connsiteX94" fmla="*/ 3173354 w 3881692"/>
              <a:gd name="connsiteY94" fmla="*/ 1643344 h 2140469"/>
              <a:gd name="connsiteX95" fmla="*/ 3214567 w 3881692"/>
              <a:gd name="connsiteY95" fmla="*/ 1669102 h 2140469"/>
              <a:gd name="connsiteX96" fmla="*/ 3222294 w 3881692"/>
              <a:gd name="connsiteY96" fmla="*/ 1720617 h 2140469"/>
              <a:gd name="connsiteX97" fmla="*/ 3250627 w 3881692"/>
              <a:gd name="connsiteY97" fmla="*/ 1746375 h 2140469"/>
              <a:gd name="connsiteX98" fmla="*/ 3250627 w 3881692"/>
              <a:gd name="connsiteY98" fmla="*/ 1769557 h 2140469"/>
              <a:gd name="connsiteX99" fmla="*/ 3294416 w 3881692"/>
              <a:gd name="connsiteY99" fmla="*/ 1797891 h 2140469"/>
              <a:gd name="connsiteX100" fmla="*/ 3289264 w 3881692"/>
              <a:gd name="connsiteY100" fmla="*/ 1846830 h 2140469"/>
              <a:gd name="connsiteX101" fmla="*/ 3327901 w 3881692"/>
              <a:gd name="connsiteY101" fmla="*/ 1882891 h 2140469"/>
              <a:gd name="connsiteX102" fmla="*/ 3374265 w 3881692"/>
              <a:gd name="connsiteY102" fmla="*/ 1918952 h 2140469"/>
              <a:gd name="connsiteX103" fmla="*/ 3418053 w 3881692"/>
              <a:gd name="connsiteY103" fmla="*/ 1906073 h 2140469"/>
              <a:gd name="connsiteX104" fmla="*/ 3472144 w 3881692"/>
              <a:gd name="connsiteY104" fmla="*/ 1936983 h 2140469"/>
              <a:gd name="connsiteX105" fmla="*/ 3503053 w 3881692"/>
              <a:gd name="connsiteY105" fmla="*/ 1913801 h 2140469"/>
              <a:gd name="connsiteX106" fmla="*/ 3554569 w 3881692"/>
              <a:gd name="connsiteY106" fmla="*/ 1939558 h 2140469"/>
              <a:gd name="connsiteX107" fmla="*/ 3598357 w 3881692"/>
              <a:gd name="connsiteY107" fmla="*/ 1985922 h 2140469"/>
              <a:gd name="connsiteX108" fmla="*/ 3636994 w 3881692"/>
              <a:gd name="connsiteY108" fmla="*/ 2058044 h 2140469"/>
              <a:gd name="connsiteX109" fmla="*/ 3657600 w 3881692"/>
              <a:gd name="connsiteY109" fmla="*/ 2070923 h 2140469"/>
              <a:gd name="connsiteX110" fmla="*/ 3675630 w 3881692"/>
              <a:gd name="connsiteY110" fmla="*/ 2101832 h 2140469"/>
              <a:gd name="connsiteX111" fmla="*/ 3698812 w 3881692"/>
              <a:gd name="connsiteY111" fmla="*/ 2140469 h 2140469"/>
              <a:gd name="connsiteX112" fmla="*/ 3727146 w 3881692"/>
              <a:gd name="connsiteY112" fmla="*/ 2140469 h 2140469"/>
              <a:gd name="connsiteX113" fmla="*/ 3750328 w 3881692"/>
              <a:gd name="connsiteY113" fmla="*/ 2112135 h 2140469"/>
              <a:gd name="connsiteX114" fmla="*/ 3786389 w 3881692"/>
              <a:gd name="connsiteY114" fmla="*/ 2076074 h 2140469"/>
              <a:gd name="connsiteX115" fmla="*/ 3783813 w 3881692"/>
              <a:gd name="connsiteY115" fmla="*/ 2034862 h 2140469"/>
              <a:gd name="connsiteX116" fmla="*/ 3799267 w 3881692"/>
              <a:gd name="connsiteY116" fmla="*/ 2011680 h 2140469"/>
              <a:gd name="connsiteX117" fmla="*/ 3796692 w 3881692"/>
              <a:gd name="connsiteY117" fmla="*/ 1939558 h 2140469"/>
              <a:gd name="connsiteX118" fmla="*/ 3822449 w 3881692"/>
              <a:gd name="connsiteY118" fmla="*/ 1898346 h 2140469"/>
              <a:gd name="connsiteX119" fmla="*/ 3801843 w 3881692"/>
              <a:gd name="connsiteY119" fmla="*/ 1864861 h 2140469"/>
              <a:gd name="connsiteX120" fmla="*/ 3830177 w 3881692"/>
              <a:gd name="connsiteY120" fmla="*/ 1826224 h 2140469"/>
              <a:gd name="connsiteX121" fmla="*/ 3837904 w 3881692"/>
              <a:gd name="connsiteY121" fmla="*/ 1792739 h 2140469"/>
              <a:gd name="connsiteX122" fmla="*/ 3801843 w 3881692"/>
              <a:gd name="connsiteY122" fmla="*/ 1741224 h 2140469"/>
              <a:gd name="connsiteX123" fmla="*/ 3740025 w 3881692"/>
              <a:gd name="connsiteY123" fmla="*/ 1692284 h 2140469"/>
              <a:gd name="connsiteX124" fmla="*/ 3727146 w 3881692"/>
              <a:gd name="connsiteY124" fmla="*/ 1643344 h 2140469"/>
              <a:gd name="connsiteX125" fmla="*/ 3716843 w 3881692"/>
              <a:gd name="connsiteY125" fmla="*/ 1586677 h 2140469"/>
              <a:gd name="connsiteX126" fmla="*/ 3696236 w 3881692"/>
              <a:gd name="connsiteY126" fmla="*/ 1550616 h 2140469"/>
              <a:gd name="connsiteX127" fmla="*/ 3709115 w 3881692"/>
              <a:gd name="connsiteY127" fmla="*/ 1511980 h 2140469"/>
              <a:gd name="connsiteX128" fmla="*/ 3660176 w 3881692"/>
              <a:gd name="connsiteY128" fmla="*/ 1390918 h 2140469"/>
              <a:gd name="connsiteX129" fmla="*/ 3660176 w 3881692"/>
              <a:gd name="connsiteY129" fmla="*/ 1347130 h 2140469"/>
              <a:gd name="connsiteX130" fmla="*/ 3634418 w 3881692"/>
              <a:gd name="connsiteY130" fmla="*/ 1282736 h 2140469"/>
              <a:gd name="connsiteX131" fmla="*/ 3631842 w 3881692"/>
              <a:gd name="connsiteY131" fmla="*/ 1246675 h 2140469"/>
              <a:gd name="connsiteX132" fmla="*/ 3611236 w 3881692"/>
              <a:gd name="connsiteY132" fmla="*/ 1208038 h 2140469"/>
              <a:gd name="connsiteX133" fmla="*/ 3531387 w 3881692"/>
              <a:gd name="connsiteY133" fmla="*/ 1161674 h 2140469"/>
              <a:gd name="connsiteX134" fmla="*/ 3528811 w 3881692"/>
              <a:gd name="connsiteY134" fmla="*/ 1125614 h 2140469"/>
              <a:gd name="connsiteX135" fmla="*/ 3497902 w 3881692"/>
              <a:gd name="connsiteY135" fmla="*/ 1102432 h 2140469"/>
              <a:gd name="connsiteX136" fmla="*/ 3474720 w 3881692"/>
              <a:gd name="connsiteY136" fmla="*/ 1102432 h 2140469"/>
              <a:gd name="connsiteX137" fmla="*/ 3430932 w 3881692"/>
              <a:gd name="connsiteY137" fmla="*/ 1105007 h 2140469"/>
              <a:gd name="connsiteX138" fmla="*/ 3361386 w 3881692"/>
              <a:gd name="connsiteY138" fmla="*/ 1066371 h 2140469"/>
              <a:gd name="connsiteX139" fmla="*/ 3309870 w 3881692"/>
              <a:gd name="connsiteY139" fmla="*/ 1001976 h 2140469"/>
              <a:gd name="connsiteX140" fmla="*/ 3266082 w 3881692"/>
              <a:gd name="connsiteY140" fmla="*/ 978794 h 2140469"/>
              <a:gd name="connsiteX141" fmla="*/ 3260931 w 3881692"/>
              <a:gd name="connsiteY141" fmla="*/ 942734 h 2140469"/>
              <a:gd name="connsiteX142" fmla="*/ 3237749 w 3881692"/>
              <a:gd name="connsiteY142" fmla="*/ 893794 h 2140469"/>
              <a:gd name="connsiteX143" fmla="*/ 3196536 w 3881692"/>
              <a:gd name="connsiteY143" fmla="*/ 862885 h 2140469"/>
              <a:gd name="connsiteX144" fmla="*/ 3201688 w 3881692"/>
              <a:gd name="connsiteY144" fmla="*/ 819096 h 2140469"/>
              <a:gd name="connsiteX145" fmla="*/ 3237749 w 3881692"/>
              <a:gd name="connsiteY145" fmla="*/ 762429 h 2140469"/>
              <a:gd name="connsiteX146" fmla="*/ 3242900 w 3881692"/>
              <a:gd name="connsiteY146" fmla="*/ 698035 h 2140469"/>
              <a:gd name="connsiteX147" fmla="*/ 3271234 w 3881692"/>
              <a:gd name="connsiteY147" fmla="*/ 661974 h 2140469"/>
              <a:gd name="connsiteX148" fmla="*/ 3317598 w 3881692"/>
              <a:gd name="connsiteY148" fmla="*/ 638792 h 2140469"/>
              <a:gd name="connsiteX149" fmla="*/ 3340780 w 3881692"/>
              <a:gd name="connsiteY149" fmla="*/ 595004 h 2140469"/>
              <a:gd name="connsiteX150" fmla="*/ 3389719 w 3881692"/>
              <a:gd name="connsiteY150" fmla="*/ 592428 h 2140469"/>
              <a:gd name="connsiteX151" fmla="*/ 3420629 w 3881692"/>
              <a:gd name="connsiteY151" fmla="*/ 607883 h 2140469"/>
              <a:gd name="connsiteX152" fmla="*/ 3495326 w 3881692"/>
              <a:gd name="connsiteY152" fmla="*/ 592428 h 2140469"/>
              <a:gd name="connsiteX153" fmla="*/ 3531387 w 3881692"/>
              <a:gd name="connsiteY153" fmla="*/ 618186 h 2140469"/>
              <a:gd name="connsiteX154" fmla="*/ 3580327 w 3881692"/>
              <a:gd name="connsiteY154" fmla="*/ 610459 h 2140469"/>
              <a:gd name="connsiteX155" fmla="*/ 3631842 w 3881692"/>
              <a:gd name="connsiteY155" fmla="*/ 628489 h 2140469"/>
              <a:gd name="connsiteX156" fmla="*/ 3711691 w 3881692"/>
              <a:gd name="connsiteY156" fmla="*/ 667126 h 2140469"/>
              <a:gd name="connsiteX157" fmla="*/ 3835328 w 3881692"/>
              <a:gd name="connsiteY157" fmla="*/ 677429 h 2140469"/>
              <a:gd name="connsiteX158" fmla="*/ 3881692 w 3881692"/>
              <a:gd name="connsiteY158" fmla="*/ 667126 h 2140469"/>
              <a:gd name="connsiteX159" fmla="*/ 3863662 w 3881692"/>
              <a:gd name="connsiteY159" fmla="*/ 641368 h 2140469"/>
              <a:gd name="connsiteX160" fmla="*/ 3861086 w 3881692"/>
              <a:gd name="connsiteY160" fmla="*/ 610459 h 2140469"/>
              <a:gd name="connsiteX0" fmla="*/ 30909 w 3871389"/>
              <a:gd name="connsiteY0" fmla="*/ 185456 h 2140469"/>
              <a:gd name="connsiteX1" fmla="*/ 20606 w 3871389"/>
              <a:gd name="connsiteY1" fmla="*/ 154546 h 2140469"/>
              <a:gd name="connsiteX2" fmla="*/ 2576 w 3871389"/>
              <a:gd name="connsiteY2" fmla="*/ 133940 h 2140469"/>
              <a:gd name="connsiteX3" fmla="*/ 36061 w 3871389"/>
              <a:gd name="connsiteY3" fmla="*/ 97879 h 2140469"/>
              <a:gd name="connsiteX4" fmla="*/ 0 w 3871389"/>
              <a:gd name="connsiteY4" fmla="*/ 54091 h 2140469"/>
              <a:gd name="connsiteX5" fmla="*/ 30909 w 3871389"/>
              <a:gd name="connsiteY5" fmla="*/ 7727 h 2140469"/>
              <a:gd name="connsiteX6" fmla="*/ 66970 w 3871389"/>
              <a:gd name="connsiteY6" fmla="*/ 18030 h 2140469"/>
              <a:gd name="connsiteX7" fmla="*/ 92728 w 3871389"/>
              <a:gd name="connsiteY7" fmla="*/ 0 h 2140469"/>
              <a:gd name="connsiteX8" fmla="*/ 121061 w 3871389"/>
              <a:gd name="connsiteY8" fmla="*/ 12879 h 2140469"/>
              <a:gd name="connsiteX9" fmla="*/ 108183 w 3871389"/>
              <a:gd name="connsiteY9" fmla="*/ 66970 h 2140469"/>
              <a:gd name="connsiteX10" fmla="*/ 133940 w 3871389"/>
              <a:gd name="connsiteY10" fmla="*/ 100455 h 2140469"/>
              <a:gd name="connsiteX11" fmla="*/ 115910 w 3871389"/>
              <a:gd name="connsiteY11" fmla="*/ 136516 h 2140469"/>
              <a:gd name="connsiteX12" fmla="*/ 126213 w 3871389"/>
              <a:gd name="connsiteY12" fmla="*/ 162274 h 2140469"/>
              <a:gd name="connsiteX13" fmla="*/ 188032 w 3871389"/>
              <a:gd name="connsiteY13" fmla="*/ 159698 h 2140469"/>
              <a:gd name="connsiteX14" fmla="*/ 255002 w 3871389"/>
              <a:gd name="connsiteY14" fmla="*/ 167425 h 2140469"/>
              <a:gd name="connsiteX15" fmla="*/ 303941 w 3871389"/>
              <a:gd name="connsiteY15" fmla="*/ 193183 h 2140469"/>
              <a:gd name="connsiteX16" fmla="*/ 337426 w 3871389"/>
              <a:gd name="connsiteY16" fmla="*/ 244699 h 2140469"/>
              <a:gd name="connsiteX17" fmla="*/ 399245 w 3871389"/>
              <a:gd name="connsiteY17" fmla="*/ 265305 h 2140469"/>
              <a:gd name="connsiteX18" fmla="*/ 443033 w 3871389"/>
              <a:gd name="connsiteY18" fmla="*/ 265305 h 2140469"/>
              <a:gd name="connsiteX19" fmla="*/ 481670 w 3871389"/>
              <a:gd name="connsiteY19" fmla="*/ 314245 h 2140469"/>
              <a:gd name="connsiteX20" fmla="*/ 522882 w 3871389"/>
              <a:gd name="connsiteY20" fmla="*/ 301366 h 2140469"/>
              <a:gd name="connsiteX21" fmla="*/ 569246 w 3871389"/>
              <a:gd name="connsiteY21" fmla="*/ 319396 h 2140469"/>
              <a:gd name="connsiteX22" fmla="*/ 613034 w 3871389"/>
              <a:gd name="connsiteY22" fmla="*/ 309093 h 2140469"/>
              <a:gd name="connsiteX23" fmla="*/ 680004 w 3871389"/>
              <a:gd name="connsiteY23" fmla="*/ 324548 h 2140469"/>
              <a:gd name="connsiteX24" fmla="*/ 721217 w 3871389"/>
              <a:gd name="connsiteY24" fmla="*/ 314245 h 2140469"/>
              <a:gd name="connsiteX25" fmla="*/ 746975 w 3871389"/>
              <a:gd name="connsiteY25" fmla="*/ 342578 h 2140469"/>
              <a:gd name="connsiteX26" fmla="*/ 754702 w 3871389"/>
              <a:gd name="connsiteY26" fmla="*/ 412124 h 2140469"/>
              <a:gd name="connsiteX27" fmla="*/ 777884 w 3871389"/>
              <a:gd name="connsiteY27" fmla="*/ 466215 h 2140469"/>
              <a:gd name="connsiteX28" fmla="*/ 821672 w 3871389"/>
              <a:gd name="connsiteY28" fmla="*/ 468791 h 2140469"/>
              <a:gd name="connsiteX29" fmla="*/ 873188 w 3871389"/>
              <a:gd name="connsiteY29" fmla="*/ 499700 h 2140469"/>
              <a:gd name="connsiteX30" fmla="*/ 901521 w 3871389"/>
              <a:gd name="connsiteY30" fmla="*/ 553792 h 2140469"/>
              <a:gd name="connsiteX31" fmla="*/ 945309 w 3871389"/>
              <a:gd name="connsiteY31" fmla="*/ 574398 h 2140469"/>
              <a:gd name="connsiteX32" fmla="*/ 1014855 w 3871389"/>
              <a:gd name="connsiteY32" fmla="*/ 641368 h 2140469"/>
              <a:gd name="connsiteX33" fmla="*/ 1076674 w 3871389"/>
              <a:gd name="connsiteY33" fmla="*/ 680005 h 2140469"/>
              <a:gd name="connsiteX34" fmla="*/ 1112735 w 3871389"/>
              <a:gd name="connsiteY34" fmla="*/ 654247 h 2140469"/>
              <a:gd name="connsiteX35" fmla="*/ 1138492 w 3871389"/>
              <a:gd name="connsiteY35" fmla="*/ 667126 h 2140469"/>
              <a:gd name="connsiteX36" fmla="*/ 1151371 w 3871389"/>
              <a:gd name="connsiteY36" fmla="*/ 680005 h 2140469"/>
              <a:gd name="connsiteX37" fmla="*/ 1192584 w 3871389"/>
              <a:gd name="connsiteY37" fmla="*/ 651671 h 2140469"/>
              <a:gd name="connsiteX38" fmla="*/ 1215766 w 3871389"/>
              <a:gd name="connsiteY38" fmla="*/ 628489 h 2140469"/>
              <a:gd name="connsiteX39" fmla="*/ 1251826 w 3871389"/>
              <a:gd name="connsiteY39" fmla="*/ 628489 h 2140469"/>
              <a:gd name="connsiteX40" fmla="*/ 1290463 w 3871389"/>
              <a:gd name="connsiteY40" fmla="*/ 664550 h 2140469"/>
              <a:gd name="connsiteX41" fmla="*/ 1293039 w 3871389"/>
              <a:gd name="connsiteY41" fmla="*/ 739247 h 2140469"/>
              <a:gd name="connsiteX42" fmla="*/ 1336827 w 3871389"/>
              <a:gd name="connsiteY42" fmla="*/ 770157 h 2140469"/>
              <a:gd name="connsiteX43" fmla="*/ 1408949 w 3871389"/>
              <a:gd name="connsiteY43" fmla="*/ 813945 h 2140469"/>
              <a:gd name="connsiteX44" fmla="*/ 1455313 w 3871389"/>
              <a:gd name="connsiteY44" fmla="*/ 826824 h 2140469"/>
              <a:gd name="connsiteX45" fmla="*/ 1483646 w 3871389"/>
              <a:gd name="connsiteY45" fmla="*/ 816521 h 2140469"/>
              <a:gd name="connsiteX46" fmla="*/ 1514555 w 3871389"/>
              <a:gd name="connsiteY46" fmla="*/ 834551 h 2140469"/>
              <a:gd name="connsiteX47" fmla="*/ 1555768 w 3871389"/>
              <a:gd name="connsiteY47" fmla="*/ 813945 h 2140469"/>
              <a:gd name="connsiteX48" fmla="*/ 1571223 w 3871389"/>
              <a:gd name="connsiteY48" fmla="*/ 790763 h 2140469"/>
              <a:gd name="connsiteX49" fmla="*/ 1602132 w 3871389"/>
              <a:gd name="connsiteY49" fmla="*/ 813945 h 2140469"/>
              <a:gd name="connsiteX50" fmla="*/ 1635617 w 3871389"/>
              <a:gd name="connsiteY50" fmla="*/ 793339 h 2140469"/>
              <a:gd name="connsiteX51" fmla="*/ 1645920 w 3871389"/>
              <a:gd name="connsiteY51" fmla="*/ 765005 h 2140469"/>
              <a:gd name="connsiteX52" fmla="*/ 1694860 w 3871389"/>
              <a:gd name="connsiteY52" fmla="*/ 785611 h 2140469"/>
              <a:gd name="connsiteX53" fmla="*/ 1748951 w 3871389"/>
              <a:gd name="connsiteY53" fmla="*/ 842278 h 2140469"/>
              <a:gd name="connsiteX54" fmla="*/ 1803042 w 3871389"/>
              <a:gd name="connsiteY54" fmla="*/ 847430 h 2140469"/>
              <a:gd name="connsiteX55" fmla="*/ 1823648 w 3871389"/>
              <a:gd name="connsiteY55" fmla="*/ 831975 h 2140469"/>
              <a:gd name="connsiteX56" fmla="*/ 1870012 w 3871389"/>
              <a:gd name="connsiteY56" fmla="*/ 834551 h 2140469"/>
              <a:gd name="connsiteX57" fmla="*/ 1906073 w 3871389"/>
              <a:gd name="connsiteY57" fmla="*/ 868036 h 2140469"/>
              <a:gd name="connsiteX58" fmla="*/ 1921528 w 3871389"/>
              <a:gd name="connsiteY58" fmla="*/ 927279 h 2140469"/>
              <a:gd name="connsiteX59" fmla="*/ 1962740 w 3871389"/>
              <a:gd name="connsiteY59" fmla="*/ 996825 h 2140469"/>
              <a:gd name="connsiteX60" fmla="*/ 1960164 w 3871389"/>
              <a:gd name="connsiteY60" fmla="*/ 1045765 h 2140469"/>
              <a:gd name="connsiteX61" fmla="*/ 1983346 w 3871389"/>
              <a:gd name="connsiteY61" fmla="*/ 1089553 h 2140469"/>
              <a:gd name="connsiteX62" fmla="*/ 2032286 w 3871389"/>
              <a:gd name="connsiteY62" fmla="*/ 1099856 h 2140469"/>
              <a:gd name="connsiteX63" fmla="*/ 2060620 w 3871389"/>
              <a:gd name="connsiteY63" fmla="*/ 1128189 h 2140469"/>
              <a:gd name="connsiteX64" fmla="*/ 2137893 w 3871389"/>
              <a:gd name="connsiteY64" fmla="*/ 1156523 h 2140469"/>
              <a:gd name="connsiteX65" fmla="*/ 2184257 w 3871389"/>
              <a:gd name="connsiteY65" fmla="*/ 1135917 h 2140469"/>
              <a:gd name="connsiteX66" fmla="*/ 2220318 w 3871389"/>
              <a:gd name="connsiteY66" fmla="*/ 1135917 h 2140469"/>
              <a:gd name="connsiteX67" fmla="*/ 2248651 w 3871389"/>
              <a:gd name="connsiteY67" fmla="*/ 1190008 h 2140469"/>
              <a:gd name="connsiteX68" fmla="*/ 2269257 w 3871389"/>
              <a:gd name="connsiteY68" fmla="*/ 1231220 h 2140469"/>
              <a:gd name="connsiteX69" fmla="*/ 2305318 w 3871389"/>
              <a:gd name="connsiteY69" fmla="*/ 1254402 h 2140469"/>
              <a:gd name="connsiteX70" fmla="*/ 2346531 w 3871389"/>
              <a:gd name="connsiteY70" fmla="*/ 1251826 h 2140469"/>
              <a:gd name="connsiteX71" fmla="*/ 2390319 w 3871389"/>
              <a:gd name="connsiteY71" fmla="*/ 1287887 h 2140469"/>
              <a:gd name="connsiteX72" fmla="*/ 2457289 w 3871389"/>
              <a:gd name="connsiteY72" fmla="*/ 1311069 h 2140469"/>
              <a:gd name="connsiteX73" fmla="*/ 2529411 w 3871389"/>
              <a:gd name="connsiteY73" fmla="*/ 1303342 h 2140469"/>
              <a:gd name="connsiteX74" fmla="*/ 2557744 w 3871389"/>
              <a:gd name="connsiteY74" fmla="*/ 1285312 h 2140469"/>
              <a:gd name="connsiteX75" fmla="*/ 2573199 w 3871389"/>
              <a:gd name="connsiteY75" fmla="*/ 1303342 h 2140469"/>
              <a:gd name="connsiteX76" fmla="*/ 2580926 w 3871389"/>
              <a:gd name="connsiteY76" fmla="*/ 1339403 h 2140469"/>
              <a:gd name="connsiteX77" fmla="*/ 2629866 w 3871389"/>
              <a:gd name="connsiteY77" fmla="*/ 1352282 h 2140469"/>
              <a:gd name="connsiteX78" fmla="*/ 2650472 w 3871389"/>
              <a:gd name="connsiteY78" fmla="*/ 1380615 h 2140469"/>
              <a:gd name="connsiteX79" fmla="*/ 2681381 w 3871389"/>
              <a:gd name="connsiteY79" fmla="*/ 1426979 h 2140469"/>
              <a:gd name="connsiteX80" fmla="*/ 2743200 w 3871389"/>
              <a:gd name="connsiteY80" fmla="*/ 1442434 h 2140469"/>
              <a:gd name="connsiteX81" fmla="*/ 2812746 w 3871389"/>
              <a:gd name="connsiteY81" fmla="*/ 1473343 h 2140469"/>
              <a:gd name="connsiteX82" fmla="*/ 2843655 w 3871389"/>
              <a:gd name="connsiteY82" fmla="*/ 1468192 h 2140469"/>
              <a:gd name="connsiteX83" fmla="*/ 2877140 w 3871389"/>
              <a:gd name="connsiteY83" fmla="*/ 1496525 h 2140469"/>
              <a:gd name="connsiteX84" fmla="*/ 2923504 w 3871389"/>
              <a:gd name="connsiteY84" fmla="*/ 1504252 h 2140469"/>
              <a:gd name="connsiteX85" fmla="*/ 2946686 w 3871389"/>
              <a:gd name="connsiteY85" fmla="*/ 1540313 h 2140469"/>
              <a:gd name="connsiteX86" fmla="*/ 2990474 w 3871389"/>
              <a:gd name="connsiteY86" fmla="*/ 1576374 h 2140469"/>
              <a:gd name="connsiteX87" fmla="*/ 3052293 w 3871389"/>
              <a:gd name="connsiteY87" fmla="*/ 1581526 h 2140469"/>
              <a:gd name="connsiteX88" fmla="*/ 3052293 w 3871389"/>
              <a:gd name="connsiteY88" fmla="*/ 1581526 h 2140469"/>
              <a:gd name="connsiteX89" fmla="*/ 3072899 w 3871389"/>
              <a:gd name="connsiteY89" fmla="*/ 1560919 h 2140469"/>
              <a:gd name="connsiteX90" fmla="*/ 3090930 w 3871389"/>
              <a:gd name="connsiteY90" fmla="*/ 1581526 h 2140469"/>
              <a:gd name="connsiteX91" fmla="*/ 3090930 w 3871389"/>
              <a:gd name="connsiteY91" fmla="*/ 1622738 h 2140469"/>
              <a:gd name="connsiteX92" fmla="*/ 3124415 w 3871389"/>
              <a:gd name="connsiteY92" fmla="*/ 1643344 h 2140469"/>
              <a:gd name="connsiteX93" fmla="*/ 3163051 w 3871389"/>
              <a:gd name="connsiteY93" fmla="*/ 1643344 h 2140469"/>
              <a:gd name="connsiteX94" fmla="*/ 3204264 w 3871389"/>
              <a:gd name="connsiteY94" fmla="*/ 1669102 h 2140469"/>
              <a:gd name="connsiteX95" fmla="*/ 3211991 w 3871389"/>
              <a:gd name="connsiteY95" fmla="*/ 1720617 h 2140469"/>
              <a:gd name="connsiteX96" fmla="*/ 3240324 w 3871389"/>
              <a:gd name="connsiteY96" fmla="*/ 1746375 h 2140469"/>
              <a:gd name="connsiteX97" fmla="*/ 3240324 w 3871389"/>
              <a:gd name="connsiteY97" fmla="*/ 1769557 h 2140469"/>
              <a:gd name="connsiteX98" fmla="*/ 3284113 w 3871389"/>
              <a:gd name="connsiteY98" fmla="*/ 1797891 h 2140469"/>
              <a:gd name="connsiteX99" fmla="*/ 3278961 w 3871389"/>
              <a:gd name="connsiteY99" fmla="*/ 1846830 h 2140469"/>
              <a:gd name="connsiteX100" fmla="*/ 3317598 w 3871389"/>
              <a:gd name="connsiteY100" fmla="*/ 1882891 h 2140469"/>
              <a:gd name="connsiteX101" fmla="*/ 3363962 w 3871389"/>
              <a:gd name="connsiteY101" fmla="*/ 1918952 h 2140469"/>
              <a:gd name="connsiteX102" fmla="*/ 3407750 w 3871389"/>
              <a:gd name="connsiteY102" fmla="*/ 1906073 h 2140469"/>
              <a:gd name="connsiteX103" fmla="*/ 3461841 w 3871389"/>
              <a:gd name="connsiteY103" fmla="*/ 1936983 h 2140469"/>
              <a:gd name="connsiteX104" fmla="*/ 3492750 w 3871389"/>
              <a:gd name="connsiteY104" fmla="*/ 1913801 h 2140469"/>
              <a:gd name="connsiteX105" fmla="*/ 3544266 w 3871389"/>
              <a:gd name="connsiteY105" fmla="*/ 1939558 h 2140469"/>
              <a:gd name="connsiteX106" fmla="*/ 3588054 w 3871389"/>
              <a:gd name="connsiteY106" fmla="*/ 1985922 h 2140469"/>
              <a:gd name="connsiteX107" fmla="*/ 3626691 w 3871389"/>
              <a:gd name="connsiteY107" fmla="*/ 2058044 h 2140469"/>
              <a:gd name="connsiteX108" fmla="*/ 3647297 w 3871389"/>
              <a:gd name="connsiteY108" fmla="*/ 2070923 h 2140469"/>
              <a:gd name="connsiteX109" fmla="*/ 3665327 w 3871389"/>
              <a:gd name="connsiteY109" fmla="*/ 2101832 h 2140469"/>
              <a:gd name="connsiteX110" fmla="*/ 3688509 w 3871389"/>
              <a:gd name="connsiteY110" fmla="*/ 2140469 h 2140469"/>
              <a:gd name="connsiteX111" fmla="*/ 3716843 w 3871389"/>
              <a:gd name="connsiteY111" fmla="*/ 2140469 h 2140469"/>
              <a:gd name="connsiteX112" fmla="*/ 3740025 w 3871389"/>
              <a:gd name="connsiteY112" fmla="*/ 2112135 h 2140469"/>
              <a:gd name="connsiteX113" fmla="*/ 3776086 w 3871389"/>
              <a:gd name="connsiteY113" fmla="*/ 2076074 h 2140469"/>
              <a:gd name="connsiteX114" fmla="*/ 3773510 w 3871389"/>
              <a:gd name="connsiteY114" fmla="*/ 2034862 h 2140469"/>
              <a:gd name="connsiteX115" fmla="*/ 3788964 w 3871389"/>
              <a:gd name="connsiteY115" fmla="*/ 2011680 h 2140469"/>
              <a:gd name="connsiteX116" fmla="*/ 3786389 w 3871389"/>
              <a:gd name="connsiteY116" fmla="*/ 1939558 h 2140469"/>
              <a:gd name="connsiteX117" fmla="*/ 3812146 w 3871389"/>
              <a:gd name="connsiteY117" fmla="*/ 1898346 h 2140469"/>
              <a:gd name="connsiteX118" fmla="*/ 3791540 w 3871389"/>
              <a:gd name="connsiteY118" fmla="*/ 1864861 h 2140469"/>
              <a:gd name="connsiteX119" fmla="*/ 3819874 w 3871389"/>
              <a:gd name="connsiteY119" fmla="*/ 1826224 h 2140469"/>
              <a:gd name="connsiteX120" fmla="*/ 3827601 w 3871389"/>
              <a:gd name="connsiteY120" fmla="*/ 1792739 h 2140469"/>
              <a:gd name="connsiteX121" fmla="*/ 3791540 w 3871389"/>
              <a:gd name="connsiteY121" fmla="*/ 1741224 h 2140469"/>
              <a:gd name="connsiteX122" fmla="*/ 3729722 w 3871389"/>
              <a:gd name="connsiteY122" fmla="*/ 1692284 h 2140469"/>
              <a:gd name="connsiteX123" fmla="*/ 3716843 w 3871389"/>
              <a:gd name="connsiteY123" fmla="*/ 1643344 h 2140469"/>
              <a:gd name="connsiteX124" fmla="*/ 3706540 w 3871389"/>
              <a:gd name="connsiteY124" fmla="*/ 1586677 h 2140469"/>
              <a:gd name="connsiteX125" fmla="*/ 3685933 w 3871389"/>
              <a:gd name="connsiteY125" fmla="*/ 1550616 h 2140469"/>
              <a:gd name="connsiteX126" fmla="*/ 3698812 w 3871389"/>
              <a:gd name="connsiteY126" fmla="*/ 1511980 h 2140469"/>
              <a:gd name="connsiteX127" fmla="*/ 3649873 w 3871389"/>
              <a:gd name="connsiteY127" fmla="*/ 1390918 h 2140469"/>
              <a:gd name="connsiteX128" fmla="*/ 3649873 w 3871389"/>
              <a:gd name="connsiteY128" fmla="*/ 1347130 h 2140469"/>
              <a:gd name="connsiteX129" fmla="*/ 3624115 w 3871389"/>
              <a:gd name="connsiteY129" fmla="*/ 1282736 h 2140469"/>
              <a:gd name="connsiteX130" fmla="*/ 3621539 w 3871389"/>
              <a:gd name="connsiteY130" fmla="*/ 1246675 h 2140469"/>
              <a:gd name="connsiteX131" fmla="*/ 3600933 w 3871389"/>
              <a:gd name="connsiteY131" fmla="*/ 1208038 h 2140469"/>
              <a:gd name="connsiteX132" fmla="*/ 3521084 w 3871389"/>
              <a:gd name="connsiteY132" fmla="*/ 1161674 h 2140469"/>
              <a:gd name="connsiteX133" fmla="*/ 3518508 w 3871389"/>
              <a:gd name="connsiteY133" fmla="*/ 1125614 h 2140469"/>
              <a:gd name="connsiteX134" fmla="*/ 3487599 w 3871389"/>
              <a:gd name="connsiteY134" fmla="*/ 1102432 h 2140469"/>
              <a:gd name="connsiteX135" fmla="*/ 3464417 w 3871389"/>
              <a:gd name="connsiteY135" fmla="*/ 1102432 h 2140469"/>
              <a:gd name="connsiteX136" fmla="*/ 3420629 w 3871389"/>
              <a:gd name="connsiteY136" fmla="*/ 1105007 h 2140469"/>
              <a:gd name="connsiteX137" fmla="*/ 3351083 w 3871389"/>
              <a:gd name="connsiteY137" fmla="*/ 1066371 h 2140469"/>
              <a:gd name="connsiteX138" fmla="*/ 3299567 w 3871389"/>
              <a:gd name="connsiteY138" fmla="*/ 1001976 h 2140469"/>
              <a:gd name="connsiteX139" fmla="*/ 3255779 w 3871389"/>
              <a:gd name="connsiteY139" fmla="*/ 978794 h 2140469"/>
              <a:gd name="connsiteX140" fmla="*/ 3250628 w 3871389"/>
              <a:gd name="connsiteY140" fmla="*/ 942734 h 2140469"/>
              <a:gd name="connsiteX141" fmla="*/ 3227446 w 3871389"/>
              <a:gd name="connsiteY141" fmla="*/ 893794 h 2140469"/>
              <a:gd name="connsiteX142" fmla="*/ 3186233 w 3871389"/>
              <a:gd name="connsiteY142" fmla="*/ 862885 h 2140469"/>
              <a:gd name="connsiteX143" fmla="*/ 3191385 w 3871389"/>
              <a:gd name="connsiteY143" fmla="*/ 819096 h 2140469"/>
              <a:gd name="connsiteX144" fmla="*/ 3227446 w 3871389"/>
              <a:gd name="connsiteY144" fmla="*/ 762429 h 2140469"/>
              <a:gd name="connsiteX145" fmla="*/ 3232597 w 3871389"/>
              <a:gd name="connsiteY145" fmla="*/ 698035 h 2140469"/>
              <a:gd name="connsiteX146" fmla="*/ 3260931 w 3871389"/>
              <a:gd name="connsiteY146" fmla="*/ 661974 h 2140469"/>
              <a:gd name="connsiteX147" fmla="*/ 3307295 w 3871389"/>
              <a:gd name="connsiteY147" fmla="*/ 638792 h 2140469"/>
              <a:gd name="connsiteX148" fmla="*/ 3330477 w 3871389"/>
              <a:gd name="connsiteY148" fmla="*/ 595004 h 2140469"/>
              <a:gd name="connsiteX149" fmla="*/ 3379416 w 3871389"/>
              <a:gd name="connsiteY149" fmla="*/ 592428 h 2140469"/>
              <a:gd name="connsiteX150" fmla="*/ 3410326 w 3871389"/>
              <a:gd name="connsiteY150" fmla="*/ 607883 h 2140469"/>
              <a:gd name="connsiteX151" fmla="*/ 3485023 w 3871389"/>
              <a:gd name="connsiteY151" fmla="*/ 592428 h 2140469"/>
              <a:gd name="connsiteX152" fmla="*/ 3521084 w 3871389"/>
              <a:gd name="connsiteY152" fmla="*/ 618186 h 2140469"/>
              <a:gd name="connsiteX153" fmla="*/ 3570024 w 3871389"/>
              <a:gd name="connsiteY153" fmla="*/ 610459 h 2140469"/>
              <a:gd name="connsiteX154" fmla="*/ 3621539 w 3871389"/>
              <a:gd name="connsiteY154" fmla="*/ 628489 h 2140469"/>
              <a:gd name="connsiteX155" fmla="*/ 3701388 w 3871389"/>
              <a:gd name="connsiteY155" fmla="*/ 667126 h 2140469"/>
              <a:gd name="connsiteX156" fmla="*/ 3825025 w 3871389"/>
              <a:gd name="connsiteY156" fmla="*/ 677429 h 2140469"/>
              <a:gd name="connsiteX157" fmla="*/ 3871389 w 3871389"/>
              <a:gd name="connsiteY157" fmla="*/ 667126 h 2140469"/>
              <a:gd name="connsiteX158" fmla="*/ 3853359 w 3871389"/>
              <a:gd name="connsiteY158" fmla="*/ 641368 h 2140469"/>
              <a:gd name="connsiteX159" fmla="*/ 3850783 w 3871389"/>
              <a:gd name="connsiteY159" fmla="*/ 610459 h 2140469"/>
              <a:gd name="connsiteX0" fmla="*/ 20606 w 3871389"/>
              <a:gd name="connsiteY0" fmla="*/ 154546 h 2140469"/>
              <a:gd name="connsiteX1" fmla="*/ 2576 w 3871389"/>
              <a:gd name="connsiteY1" fmla="*/ 133940 h 2140469"/>
              <a:gd name="connsiteX2" fmla="*/ 36061 w 3871389"/>
              <a:gd name="connsiteY2" fmla="*/ 97879 h 2140469"/>
              <a:gd name="connsiteX3" fmla="*/ 0 w 3871389"/>
              <a:gd name="connsiteY3" fmla="*/ 54091 h 2140469"/>
              <a:gd name="connsiteX4" fmla="*/ 30909 w 3871389"/>
              <a:gd name="connsiteY4" fmla="*/ 7727 h 2140469"/>
              <a:gd name="connsiteX5" fmla="*/ 66970 w 3871389"/>
              <a:gd name="connsiteY5" fmla="*/ 18030 h 2140469"/>
              <a:gd name="connsiteX6" fmla="*/ 92728 w 3871389"/>
              <a:gd name="connsiteY6" fmla="*/ 0 h 2140469"/>
              <a:gd name="connsiteX7" fmla="*/ 121061 w 3871389"/>
              <a:gd name="connsiteY7" fmla="*/ 12879 h 2140469"/>
              <a:gd name="connsiteX8" fmla="*/ 108183 w 3871389"/>
              <a:gd name="connsiteY8" fmla="*/ 66970 h 2140469"/>
              <a:gd name="connsiteX9" fmla="*/ 133940 w 3871389"/>
              <a:gd name="connsiteY9" fmla="*/ 100455 h 2140469"/>
              <a:gd name="connsiteX10" fmla="*/ 115910 w 3871389"/>
              <a:gd name="connsiteY10" fmla="*/ 136516 h 2140469"/>
              <a:gd name="connsiteX11" fmla="*/ 126213 w 3871389"/>
              <a:gd name="connsiteY11" fmla="*/ 162274 h 2140469"/>
              <a:gd name="connsiteX12" fmla="*/ 188032 w 3871389"/>
              <a:gd name="connsiteY12" fmla="*/ 159698 h 2140469"/>
              <a:gd name="connsiteX13" fmla="*/ 255002 w 3871389"/>
              <a:gd name="connsiteY13" fmla="*/ 167425 h 2140469"/>
              <a:gd name="connsiteX14" fmla="*/ 303941 w 3871389"/>
              <a:gd name="connsiteY14" fmla="*/ 193183 h 2140469"/>
              <a:gd name="connsiteX15" fmla="*/ 337426 w 3871389"/>
              <a:gd name="connsiteY15" fmla="*/ 244699 h 2140469"/>
              <a:gd name="connsiteX16" fmla="*/ 399245 w 3871389"/>
              <a:gd name="connsiteY16" fmla="*/ 265305 h 2140469"/>
              <a:gd name="connsiteX17" fmla="*/ 443033 w 3871389"/>
              <a:gd name="connsiteY17" fmla="*/ 265305 h 2140469"/>
              <a:gd name="connsiteX18" fmla="*/ 481670 w 3871389"/>
              <a:gd name="connsiteY18" fmla="*/ 314245 h 2140469"/>
              <a:gd name="connsiteX19" fmla="*/ 522882 w 3871389"/>
              <a:gd name="connsiteY19" fmla="*/ 301366 h 2140469"/>
              <a:gd name="connsiteX20" fmla="*/ 569246 w 3871389"/>
              <a:gd name="connsiteY20" fmla="*/ 319396 h 2140469"/>
              <a:gd name="connsiteX21" fmla="*/ 613034 w 3871389"/>
              <a:gd name="connsiteY21" fmla="*/ 309093 h 2140469"/>
              <a:gd name="connsiteX22" fmla="*/ 680004 w 3871389"/>
              <a:gd name="connsiteY22" fmla="*/ 324548 h 2140469"/>
              <a:gd name="connsiteX23" fmla="*/ 721217 w 3871389"/>
              <a:gd name="connsiteY23" fmla="*/ 314245 h 2140469"/>
              <a:gd name="connsiteX24" fmla="*/ 746975 w 3871389"/>
              <a:gd name="connsiteY24" fmla="*/ 342578 h 2140469"/>
              <a:gd name="connsiteX25" fmla="*/ 754702 w 3871389"/>
              <a:gd name="connsiteY25" fmla="*/ 412124 h 2140469"/>
              <a:gd name="connsiteX26" fmla="*/ 777884 w 3871389"/>
              <a:gd name="connsiteY26" fmla="*/ 466215 h 2140469"/>
              <a:gd name="connsiteX27" fmla="*/ 821672 w 3871389"/>
              <a:gd name="connsiteY27" fmla="*/ 468791 h 2140469"/>
              <a:gd name="connsiteX28" fmla="*/ 873188 w 3871389"/>
              <a:gd name="connsiteY28" fmla="*/ 499700 h 2140469"/>
              <a:gd name="connsiteX29" fmla="*/ 901521 w 3871389"/>
              <a:gd name="connsiteY29" fmla="*/ 553792 h 2140469"/>
              <a:gd name="connsiteX30" fmla="*/ 945309 w 3871389"/>
              <a:gd name="connsiteY30" fmla="*/ 574398 h 2140469"/>
              <a:gd name="connsiteX31" fmla="*/ 1014855 w 3871389"/>
              <a:gd name="connsiteY31" fmla="*/ 641368 h 2140469"/>
              <a:gd name="connsiteX32" fmla="*/ 1076674 w 3871389"/>
              <a:gd name="connsiteY32" fmla="*/ 680005 h 2140469"/>
              <a:gd name="connsiteX33" fmla="*/ 1112735 w 3871389"/>
              <a:gd name="connsiteY33" fmla="*/ 654247 h 2140469"/>
              <a:gd name="connsiteX34" fmla="*/ 1138492 w 3871389"/>
              <a:gd name="connsiteY34" fmla="*/ 667126 h 2140469"/>
              <a:gd name="connsiteX35" fmla="*/ 1151371 w 3871389"/>
              <a:gd name="connsiteY35" fmla="*/ 680005 h 2140469"/>
              <a:gd name="connsiteX36" fmla="*/ 1192584 w 3871389"/>
              <a:gd name="connsiteY36" fmla="*/ 651671 h 2140469"/>
              <a:gd name="connsiteX37" fmla="*/ 1215766 w 3871389"/>
              <a:gd name="connsiteY37" fmla="*/ 628489 h 2140469"/>
              <a:gd name="connsiteX38" fmla="*/ 1251826 w 3871389"/>
              <a:gd name="connsiteY38" fmla="*/ 628489 h 2140469"/>
              <a:gd name="connsiteX39" fmla="*/ 1290463 w 3871389"/>
              <a:gd name="connsiteY39" fmla="*/ 664550 h 2140469"/>
              <a:gd name="connsiteX40" fmla="*/ 1293039 w 3871389"/>
              <a:gd name="connsiteY40" fmla="*/ 739247 h 2140469"/>
              <a:gd name="connsiteX41" fmla="*/ 1336827 w 3871389"/>
              <a:gd name="connsiteY41" fmla="*/ 770157 h 2140469"/>
              <a:gd name="connsiteX42" fmla="*/ 1408949 w 3871389"/>
              <a:gd name="connsiteY42" fmla="*/ 813945 h 2140469"/>
              <a:gd name="connsiteX43" fmla="*/ 1455313 w 3871389"/>
              <a:gd name="connsiteY43" fmla="*/ 826824 h 2140469"/>
              <a:gd name="connsiteX44" fmla="*/ 1483646 w 3871389"/>
              <a:gd name="connsiteY44" fmla="*/ 816521 h 2140469"/>
              <a:gd name="connsiteX45" fmla="*/ 1514555 w 3871389"/>
              <a:gd name="connsiteY45" fmla="*/ 834551 h 2140469"/>
              <a:gd name="connsiteX46" fmla="*/ 1555768 w 3871389"/>
              <a:gd name="connsiteY46" fmla="*/ 813945 h 2140469"/>
              <a:gd name="connsiteX47" fmla="*/ 1571223 w 3871389"/>
              <a:gd name="connsiteY47" fmla="*/ 790763 h 2140469"/>
              <a:gd name="connsiteX48" fmla="*/ 1602132 w 3871389"/>
              <a:gd name="connsiteY48" fmla="*/ 813945 h 2140469"/>
              <a:gd name="connsiteX49" fmla="*/ 1635617 w 3871389"/>
              <a:gd name="connsiteY49" fmla="*/ 793339 h 2140469"/>
              <a:gd name="connsiteX50" fmla="*/ 1645920 w 3871389"/>
              <a:gd name="connsiteY50" fmla="*/ 765005 h 2140469"/>
              <a:gd name="connsiteX51" fmla="*/ 1694860 w 3871389"/>
              <a:gd name="connsiteY51" fmla="*/ 785611 h 2140469"/>
              <a:gd name="connsiteX52" fmla="*/ 1748951 w 3871389"/>
              <a:gd name="connsiteY52" fmla="*/ 842278 h 2140469"/>
              <a:gd name="connsiteX53" fmla="*/ 1803042 w 3871389"/>
              <a:gd name="connsiteY53" fmla="*/ 847430 h 2140469"/>
              <a:gd name="connsiteX54" fmla="*/ 1823648 w 3871389"/>
              <a:gd name="connsiteY54" fmla="*/ 831975 h 2140469"/>
              <a:gd name="connsiteX55" fmla="*/ 1870012 w 3871389"/>
              <a:gd name="connsiteY55" fmla="*/ 834551 h 2140469"/>
              <a:gd name="connsiteX56" fmla="*/ 1906073 w 3871389"/>
              <a:gd name="connsiteY56" fmla="*/ 868036 h 2140469"/>
              <a:gd name="connsiteX57" fmla="*/ 1921528 w 3871389"/>
              <a:gd name="connsiteY57" fmla="*/ 927279 h 2140469"/>
              <a:gd name="connsiteX58" fmla="*/ 1962740 w 3871389"/>
              <a:gd name="connsiteY58" fmla="*/ 996825 h 2140469"/>
              <a:gd name="connsiteX59" fmla="*/ 1960164 w 3871389"/>
              <a:gd name="connsiteY59" fmla="*/ 1045765 h 2140469"/>
              <a:gd name="connsiteX60" fmla="*/ 1983346 w 3871389"/>
              <a:gd name="connsiteY60" fmla="*/ 1089553 h 2140469"/>
              <a:gd name="connsiteX61" fmla="*/ 2032286 w 3871389"/>
              <a:gd name="connsiteY61" fmla="*/ 1099856 h 2140469"/>
              <a:gd name="connsiteX62" fmla="*/ 2060620 w 3871389"/>
              <a:gd name="connsiteY62" fmla="*/ 1128189 h 2140469"/>
              <a:gd name="connsiteX63" fmla="*/ 2137893 w 3871389"/>
              <a:gd name="connsiteY63" fmla="*/ 1156523 h 2140469"/>
              <a:gd name="connsiteX64" fmla="*/ 2184257 w 3871389"/>
              <a:gd name="connsiteY64" fmla="*/ 1135917 h 2140469"/>
              <a:gd name="connsiteX65" fmla="*/ 2220318 w 3871389"/>
              <a:gd name="connsiteY65" fmla="*/ 1135917 h 2140469"/>
              <a:gd name="connsiteX66" fmla="*/ 2248651 w 3871389"/>
              <a:gd name="connsiteY66" fmla="*/ 1190008 h 2140469"/>
              <a:gd name="connsiteX67" fmla="*/ 2269257 w 3871389"/>
              <a:gd name="connsiteY67" fmla="*/ 1231220 h 2140469"/>
              <a:gd name="connsiteX68" fmla="*/ 2305318 w 3871389"/>
              <a:gd name="connsiteY68" fmla="*/ 1254402 h 2140469"/>
              <a:gd name="connsiteX69" fmla="*/ 2346531 w 3871389"/>
              <a:gd name="connsiteY69" fmla="*/ 1251826 h 2140469"/>
              <a:gd name="connsiteX70" fmla="*/ 2390319 w 3871389"/>
              <a:gd name="connsiteY70" fmla="*/ 1287887 h 2140469"/>
              <a:gd name="connsiteX71" fmla="*/ 2457289 w 3871389"/>
              <a:gd name="connsiteY71" fmla="*/ 1311069 h 2140469"/>
              <a:gd name="connsiteX72" fmla="*/ 2529411 w 3871389"/>
              <a:gd name="connsiteY72" fmla="*/ 1303342 h 2140469"/>
              <a:gd name="connsiteX73" fmla="*/ 2557744 w 3871389"/>
              <a:gd name="connsiteY73" fmla="*/ 1285312 h 2140469"/>
              <a:gd name="connsiteX74" fmla="*/ 2573199 w 3871389"/>
              <a:gd name="connsiteY74" fmla="*/ 1303342 h 2140469"/>
              <a:gd name="connsiteX75" fmla="*/ 2580926 w 3871389"/>
              <a:gd name="connsiteY75" fmla="*/ 1339403 h 2140469"/>
              <a:gd name="connsiteX76" fmla="*/ 2629866 w 3871389"/>
              <a:gd name="connsiteY76" fmla="*/ 1352282 h 2140469"/>
              <a:gd name="connsiteX77" fmla="*/ 2650472 w 3871389"/>
              <a:gd name="connsiteY77" fmla="*/ 1380615 h 2140469"/>
              <a:gd name="connsiteX78" fmla="*/ 2681381 w 3871389"/>
              <a:gd name="connsiteY78" fmla="*/ 1426979 h 2140469"/>
              <a:gd name="connsiteX79" fmla="*/ 2743200 w 3871389"/>
              <a:gd name="connsiteY79" fmla="*/ 1442434 h 2140469"/>
              <a:gd name="connsiteX80" fmla="*/ 2812746 w 3871389"/>
              <a:gd name="connsiteY80" fmla="*/ 1473343 h 2140469"/>
              <a:gd name="connsiteX81" fmla="*/ 2843655 w 3871389"/>
              <a:gd name="connsiteY81" fmla="*/ 1468192 h 2140469"/>
              <a:gd name="connsiteX82" fmla="*/ 2877140 w 3871389"/>
              <a:gd name="connsiteY82" fmla="*/ 1496525 h 2140469"/>
              <a:gd name="connsiteX83" fmla="*/ 2923504 w 3871389"/>
              <a:gd name="connsiteY83" fmla="*/ 1504252 h 2140469"/>
              <a:gd name="connsiteX84" fmla="*/ 2946686 w 3871389"/>
              <a:gd name="connsiteY84" fmla="*/ 1540313 h 2140469"/>
              <a:gd name="connsiteX85" fmla="*/ 2990474 w 3871389"/>
              <a:gd name="connsiteY85" fmla="*/ 1576374 h 2140469"/>
              <a:gd name="connsiteX86" fmla="*/ 3052293 w 3871389"/>
              <a:gd name="connsiteY86" fmla="*/ 1581526 h 2140469"/>
              <a:gd name="connsiteX87" fmla="*/ 3052293 w 3871389"/>
              <a:gd name="connsiteY87" fmla="*/ 1581526 h 2140469"/>
              <a:gd name="connsiteX88" fmla="*/ 3072899 w 3871389"/>
              <a:gd name="connsiteY88" fmla="*/ 1560919 h 2140469"/>
              <a:gd name="connsiteX89" fmla="*/ 3090930 w 3871389"/>
              <a:gd name="connsiteY89" fmla="*/ 1581526 h 2140469"/>
              <a:gd name="connsiteX90" fmla="*/ 3090930 w 3871389"/>
              <a:gd name="connsiteY90" fmla="*/ 1622738 h 2140469"/>
              <a:gd name="connsiteX91" fmla="*/ 3124415 w 3871389"/>
              <a:gd name="connsiteY91" fmla="*/ 1643344 h 2140469"/>
              <a:gd name="connsiteX92" fmla="*/ 3163051 w 3871389"/>
              <a:gd name="connsiteY92" fmla="*/ 1643344 h 2140469"/>
              <a:gd name="connsiteX93" fmla="*/ 3204264 w 3871389"/>
              <a:gd name="connsiteY93" fmla="*/ 1669102 h 2140469"/>
              <a:gd name="connsiteX94" fmla="*/ 3211991 w 3871389"/>
              <a:gd name="connsiteY94" fmla="*/ 1720617 h 2140469"/>
              <a:gd name="connsiteX95" fmla="*/ 3240324 w 3871389"/>
              <a:gd name="connsiteY95" fmla="*/ 1746375 h 2140469"/>
              <a:gd name="connsiteX96" fmla="*/ 3240324 w 3871389"/>
              <a:gd name="connsiteY96" fmla="*/ 1769557 h 2140469"/>
              <a:gd name="connsiteX97" fmla="*/ 3284113 w 3871389"/>
              <a:gd name="connsiteY97" fmla="*/ 1797891 h 2140469"/>
              <a:gd name="connsiteX98" fmla="*/ 3278961 w 3871389"/>
              <a:gd name="connsiteY98" fmla="*/ 1846830 h 2140469"/>
              <a:gd name="connsiteX99" fmla="*/ 3317598 w 3871389"/>
              <a:gd name="connsiteY99" fmla="*/ 1882891 h 2140469"/>
              <a:gd name="connsiteX100" fmla="*/ 3363962 w 3871389"/>
              <a:gd name="connsiteY100" fmla="*/ 1918952 h 2140469"/>
              <a:gd name="connsiteX101" fmla="*/ 3407750 w 3871389"/>
              <a:gd name="connsiteY101" fmla="*/ 1906073 h 2140469"/>
              <a:gd name="connsiteX102" fmla="*/ 3461841 w 3871389"/>
              <a:gd name="connsiteY102" fmla="*/ 1936983 h 2140469"/>
              <a:gd name="connsiteX103" fmla="*/ 3492750 w 3871389"/>
              <a:gd name="connsiteY103" fmla="*/ 1913801 h 2140469"/>
              <a:gd name="connsiteX104" fmla="*/ 3544266 w 3871389"/>
              <a:gd name="connsiteY104" fmla="*/ 1939558 h 2140469"/>
              <a:gd name="connsiteX105" fmla="*/ 3588054 w 3871389"/>
              <a:gd name="connsiteY105" fmla="*/ 1985922 h 2140469"/>
              <a:gd name="connsiteX106" fmla="*/ 3626691 w 3871389"/>
              <a:gd name="connsiteY106" fmla="*/ 2058044 h 2140469"/>
              <a:gd name="connsiteX107" fmla="*/ 3647297 w 3871389"/>
              <a:gd name="connsiteY107" fmla="*/ 2070923 h 2140469"/>
              <a:gd name="connsiteX108" fmla="*/ 3665327 w 3871389"/>
              <a:gd name="connsiteY108" fmla="*/ 2101832 h 2140469"/>
              <a:gd name="connsiteX109" fmla="*/ 3688509 w 3871389"/>
              <a:gd name="connsiteY109" fmla="*/ 2140469 h 2140469"/>
              <a:gd name="connsiteX110" fmla="*/ 3716843 w 3871389"/>
              <a:gd name="connsiteY110" fmla="*/ 2140469 h 2140469"/>
              <a:gd name="connsiteX111" fmla="*/ 3740025 w 3871389"/>
              <a:gd name="connsiteY111" fmla="*/ 2112135 h 2140469"/>
              <a:gd name="connsiteX112" fmla="*/ 3776086 w 3871389"/>
              <a:gd name="connsiteY112" fmla="*/ 2076074 h 2140469"/>
              <a:gd name="connsiteX113" fmla="*/ 3773510 w 3871389"/>
              <a:gd name="connsiteY113" fmla="*/ 2034862 h 2140469"/>
              <a:gd name="connsiteX114" fmla="*/ 3788964 w 3871389"/>
              <a:gd name="connsiteY114" fmla="*/ 2011680 h 2140469"/>
              <a:gd name="connsiteX115" fmla="*/ 3786389 w 3871389"/>
              <a:gd name="connsiteY115" fmla="*/ 1939558 h 2140469"/>
              <a:gd name="connsiteX116" fmla="*/ 3812146 w 3871389"/>
              <a:gd name="connsiteY116" fmla="*/ 1898346 h 2140469"/>
              <a:gd name="connsiteX117" fmla="*/ 3791540 w 3871389"/>
              <a:gd name="connsiteY117" fmla="*/ 1864861 h 2140469"/>
              <a:gd name="connsiteX118" fmla="*/ 3819874 w 3871389"/>
              <a:gd name="connsiteY118" fmla="*/ 1826224 h 2140469"/>
              <a:gd name="connsiteX119" fmla="*/ 3827601 w 3871389"/>
              <a:gd name="connsiteY119" fmla="*/ 1792739 h 2140469"/>
              <a:gd name="connsiteX120" fmla="*/ 3791540 w 3871389"/>
              <a:gd name="connsiteY120" fmla="*/ 1741224 h 2140469"/>
              <a:gd name="connsiteX121" fmla="*/ 3729722 w 3871389"/>
              <a:gd name="connsiteY121" fmla="*/ 1692284 h 2140469"/>
              <a:gd name="connsiteX122" fmla="*/ 3716843 w 3871389"/>
              <a:gd name="connsiteY122" fmla="*/ 1643344 h 2140469"/>
              <a:gd name="connsiteX123" fmla="*/ 3706540 w 3871389"/>
              <a:gd name="connsiteY123" fmla="*/ 1586677 h 2140469"/>
              <a:gd name="connsiteX124" fmla="*/ 3685933 w 3871389"/>
              <a:gd name="connsiteY124" fmla="*/ 1550616 h 2140469"/>
              <a:gd name="connsiteX125" fmla="*/ 3698812 w 3871389"/>
              <a:gd name="connsiteY125" fmla="*/ 1511980 h 2140469"/>
              <a:gd name="connsiteX126" fmla="*/ 3649873 w 3871389"/>
              <a:gd name="connsiteY126" fmla="*/ 1390918 h 2140469"/>
              <a:gd name="connsiteX127" fmla="*/ 3649873 w 3871389"/>
              <a:gd name="connsiteY127" fmla="*/ 1347130 h 2140469"/>
              <a:gd name="connsiteX128" fmla="*/ 3624115 w 3871389"/>
              <a:gd name="connsiteY128" fmla="*/ 1282736 h 2140469"/>
              <a:gd name="connsiteX129" fmla="*/ 3621539 w 3871389"/>
              <a:gd name="connsiteY129" fmla="*/ 1246675 h 2140469"/>
              <a:gd name="connsiteX130" fmla="*/ 3600933 w 3871389"/>
              <a:gd name="connsiteY130" fmla="*/ 1208038 h 2140469"/>
              <a:gd name="connsiteX131" fmla="*/ 3521084 w 3871389"/>
              <a:gd name="connsiteY131" fmla="*/ 1161674 h 2140469"/>
              <a:gd name="connsiteX132" fmla="*/ 3518508 w 3871389"/>
              <a:gd name="connsiteY132" fmla="*/ 1125614 h 2140469"/>
              <a:gd name="connsiteX133" fmla="*/ 3487599 w 3871389"/>
              <a:gd name="connsiteY133" fmla="*/ 1102432 h 2140469"/>
              <a:gd name="connsiteX134" fmla="*/ 3464417 w 3871389"/>
              <a:gd name="connsiteY134" fmla="*/ 1102432 h 2140469"/>
              <a:gd name="connsiteX135" fmla="*/ 3420629 w 3871389"/>
              <a:gd name="connsiteY135" fmla="*/ 1105007 h 2140469"/>
              <a:gd name="connsiteX136" fmla="*/ 3351083 w 3871389"/>
              <a:gd name="connsiteY136" fmla="*/ 1066371 h 2140469"/>
              <a:gd name="connsiteX137" fmla="*/ 3299567 w 3871389"/>
              <a:gd name="connsiteY137" fmla="*/ 1001976 h 2140469"/>
              <a:gd name="connsiteX138" fmla="*/ 3255779 w 3871389"/>
              <a:gd name="connsiteY138" fmla="*/ 978794 h 2140469"/>
              <a:gd name="connsiteX139" fmla="*/ 3250628 w 3871389"/>
              <a:gd name="connsiteY139" fmla="*/ 942734 h 2140469"/>
              <a:gd name="connsiteX140" fmla="*/ 3227446 w 3871389"/>
              <a:gd name="connsiteY140" fmla="*/ 893794 h 2140469"/>
              <a:gd name="connsiteX141" fmla="*/ 3186233 w 3871389"/>
              <a:gd name="connsiteY141" fmla="*/ 862885 h 2140469"/>
              <a:gd name="connsiteX142" fmla="*/ 3191385 w 3871389"/>
              <a:gd name="connsiteY142" fmla="*/ 819096 h 2140469"/>
              <a:gd name="connsiteX143" fmla="*/ 3227446 w 3871389"/>
              <a:gd name="connsiteY143" fmla="*/ 762429 h 2140469"/>
              <a:gd name="connsiteX144" fmla="*/ 3232597 w 3871389"/>
              <a:gd name="connsiteY144" fmla="*/ 698035 h 2140469"/>
              <a:gd name="connsiteX145" fmla="*/ 3260931 w 3871389"/>
              <a:gd name="connsiteY145" fmla="*/ 661974 h 2140469"/>
              <a:gd name="connsiteX146" fmla="*/ 3307295 w 3871389"/>
              <a:gd name="connsiteY146" fmla="*/ 638792 h 2140469"/>
              <a:gd name="connsiteX147" fmla="*/ 3330477 w 3871389"/>
              <a:gd name="connsiteY147" fmla="*/ 595004 h 2140469"/>
              <a:gd name="connsiteX148" fmla="*/ 3379416 w 3871389"/>
              <a:gd name="connsiteY148" fmla="*/ 592428 h 2140469"/>
              <a:gd name="connsiteX149" fmla="*/ 3410326 w 3871389"/>
              <a:gd name="connsiteY149" fmla="*/ 607883 h 2140469"/>
              <a:gd name="connsiteX150" fmla="*/ 3485023 w 3871389"/>
              <a:gd name="connsiteY150" fmla="*/ 592428 h 2140469"/>
              <a:gd name="connsiteX151" fmla="*/ 3521084 w 3871389"/>
              <a:gd name="connsiteY151" fmla="*/ 618186 h 2140469"/>
              <a:gd name="connsiteX152" fmla="*/ 3570024 w 3871389"/>
              <a:gd name="connsiteY152" fmla="*/ 610459 h 2140469"/>
              <a:gd name="connsiteX153" fmla="*/ 3621539 w 3871389"/>
              <a:gd name="connsiteY153" fmla="*/ 628489 h 2140469"/>
              <a:gd name="connsiteX154" fmla="*/ 3701388 w 3871389"/>
              <a:gd name="connsiteY154" fmla="*/ 667126 h 2140469"/>
              <a:gd name="connsiteX155" fmla="*/ 3825025 w 3871389"/>
              <a:gd name="connsiteY155" fmla="*/ 677429 h 2140469"/>
              <a:gd name="connsiteX156" fmla="*/ 3871389 w 3871389"/>
              <a:gd name="connsiteY156" fmla="*/ 667126 h 2140469"/>
              <a:gd name="connsiteX157" fmla="*/ 3853359 w 3871389"/>
              <a:gd name="connsiteY157" fmla="*/ 641368 h 2140469"/>
              <a:gd name="connsiteX158" fmla="*/ 3850783 w 3871389"/>
              <a:gd name="connsiteY158" fmla="*/ 610459 h 2140469"/>
              <a:gd name="connsiteX0" fmla="*/ 2576 w 3871389"/>
              <a:gd name="connsiteY0" fmla="*/ 133940 h 2140469"/>
              <a:gd name="connsiteX1" fmla="*/ 36061 w 3871389"/>
              <a:gd name="connsiteY1" fmla="*/ 97879 h 2140469"/>
              <a:gd name="connsiteX2" fmla="*/ 0 w 3871389"/>
              <a:gd name="connsiteY2" fmla="*/ 54091 h 2140469"/>
              <a:gd name="connsiteX3" fmla="*/ 30909 w 3871389"/>
              <a:gd name="connsiteY3" fmla="*/ 7727 h 2140469"/>
              <a:gd name="connsiteX4" fmla="*/ 66970 w 3871389"/>
              <a:gd name="connsiteY4" fmla="*/ 18030 h 2140469"/>
              <a:gd name="connsiteX5" fmla="*/ 92728 w 3871389"/>
              <a:gd name="connsiteY5" fmla="*/ 0 h 2140469"/>
              <a:gd name="connsiteX6" fmla="*/ 121061 w 3871389"/>
              <a:gd name="connsiteY6" fmla="*/ 12879 h 2140469"/>
              <a:gd name="connsiteX7" fmla="*/ 108183 w 3871389"/>
              <a:gd name="connsiteY7" fmla="*/ 66970 h 2140469"/>
              <a:gd name="connsiteX8" fmla="*/ 133940 w 3871389"/>
              <a:gd name="connsiteY8" fmla="*/ 100455 h 2140469"/>
              <a:gd name="connsiteX9" fmla="*/ 115910 w 3871389"/>
              <a:gd name="connsiteY9" fmla="*/ 136516 h 2140469"/>
              <a:gd name="connsiteX10" fmla="*/ 126213 w 3871389"/>
              <a:gd name="connsiteY10" fmla="*/ 162274 h 2140469"/>
              <a:gd name="connsiteX11" fmla="*/ 188032 w 3871389"/>
              <a:gd name="connsiteY11" fmla="*/ 159698 h 2140469"/>
              <a:gd name="connsiteX12" fmla="*/ 255002 w 3871389"/>
              <a:gd name="connsiteY12" fmla="*/ 167425 h 2140469"/>
              <a:gd name="connsiteX13" fmla="*/ 303941 w 3871389"/>
              <a:gd name="connsiteY13" fmla="*/ 193183 h 2140469"/>
              <a:gd name="connsiteX14" fmla="*/ 337426 w 3871389"/>
              <a:gd name="connsiteY14" fmla="*/ 244699 h 2140469"/>
              <a:gd name="connsiteX15" fmla="*/ 399245 w 3871389"/>
              <a:gd name="connsiteY15" fmla="*/ 265305 h 2140469"/>
              <a:gd name="connsiteX16" fmla="*/ 443033 w 3871389"/>
              <a:gd name="connsiteY16" fmla="*/ 265305 h 2140469"/>
              <a:gd name="connsiteX17" fmla="*/ 481670 w 3871389"/>
              <a:gd name="connsiteY17" fmla="*/ 314245 h 2140469"/>
              <a:gd name="connsiteX18" fmla="*/ 522882 w 3871389"/>
              <a:gd name="connsiteY18" fmla="*/ 301366 h 2140469"/>
              <a:gd name="connsiteX19" fmla="*/ 569246 w 3871389"/>
              <a:gd name="connsiteY19" fmla="*/ 319396 h 2140469"/>
              <a:gd name="connsiteX20" fmla="*/ 613034 w 3871389"/>
              <a:gd name="connsiteY20" fmla="*/ 309093 h 2140469"/>
              <a:gd name="connsiteX21" fmla="*/ 680004 w 3871389"/>
              <a:gd name="connsiteY21" fmla="*/ 324548 h 2140469"/>
              <a:gd name="connsiteX22" fmla="*/ 721217 w 3871389"/>
              <a:gd name="connsiteY22" fmla="*/ 314245 h 2140469"/>
              <a:gd name="connsiteX23" fmla="*/ 746975 w 3871389"/>
              <a:gd name="connsiteY23" fmla="*/ 342578 h 2140469"/>
              <a:gd name="connsiteX24" fmla="*/ 754702 w 3871389"/>
              <a:gd name="connsiteY24" fmla="*/ 412124 h 2140469"/>
              <a:gd name="connsiteX25" fmla="*/ 777884 w 3871389"/>
              <a:gd name="connsiteY25" fmla="*/ 466215 h 2140469"/>
              <a:gd name="connsiteX26" fmla="*/ 821672 w 3871389"/>
              <a:gd name="connsiteY26" fmla="*/ 468791 h 2140469"/>
              <a:gd name="connsiteX27" fmla="*/ 873188 w 3871389"/>
              <a:gd name="connsiteY27" fmla="*/ 499700 h 2140469"/>
              <a:gd name="connsiteX28" fmla="*/ 901521 w 3871389"/>
              <a:gd name="connsiteY28" fmla="*/ 553792 h 2140469"/>
              <a:gd name="connsiteX29" fmla="*/ 945309 w 3871389"/>
              <a:gd name="connsiteY29" fmla="*/ 574398 h 2140469"/>
              <a:gd name="connsiteX30" fmla="*/ 1014855 w 3871389"/>
              <a:gd name="connsiteY30" fmla="*/ 641368 h 2140469"/>
              <a:gd name="connsiteX31" fmla="*/ 1076674 w 3871389"/>
              <a:gd name="connsiteY31" fmla="*/ 680005 h 2140469"/>
              <a:gd name="connsiteX32" fmla="*/ 1112735 w 3871389"/>
              <a:gd name="connsiteY32" fmla="*/ 654247 h 2140469"/>
              <a:gd name="connsiteX33" fmla="*/ 1138492 w 3871389"/>
              <a:gd name="connsiteY33" fmla="*/ 667126 h 2140469"/>
              <a:gd name="connsiteX34" fmla="*/ 1151371 w 3871389"/>
              <a:gd name="connsiteY34" fmla="*/ 680005 h 2140469"/>
              <a:gd name="connsiteX35" fmla="*/ 1192584 w 3871389"/>
              <a:gd name="connsiteY35" fmla="*/ 651671 h 2140469"/>
              <a:gd name="connsiteX36" fmla="*/ 1215766 w 3871389"/>
              <a:gd name="connsiteY36" fmla="*/ 628489 h 2140469"/>
              <a:gd name="connsiteX37" fmla="*/ 1251826 w 3871389"/>
              <a:gd name="connsiteY37" fmla="*/ 628489 h 2140469"/>
              <a:gd name="connsiteX38" fmla="*/ 1290463 w 3871389"/>
              <a:gd name="connsiteY38" fmla="*/ 664550 h 2140469"/>
              <a:gd name="connsiteX39" fmla="*/ 1293039 w 3871389"/>
              <a:gd name="connsiteY39" fmla="*/ 739247 h 2140469"/>
              <a:gd name="connsiteX40" fmla="*/ 1336827 w 3871389"/>
              <a:gd name="connsiteY40" fmla="*/ 770157 h 2140469"/>
              <a:gd name="connsiteX41" fmla="*/ 1408949 w 3871389"/>
              <a:gd name="connsiteY41" fmla="*/ 813945 h 2140469"/>
              <a:gd name="connsiteX42" fmla="*/ 1455313 w 3871389"/>
              <a:gd name="connsiteY42" fmla="*/ 826824 h 2140469"/>
              <a:gd name="connsiteX43" fmla="*/ 1483646 w 3871389"/>
              <a:gd name="connsiteY43" fmla="*/ 816521 h 2140469"/>
              <a:gd name="connsiteX44" fmla="*/ 1514555 w 3871389"/>
              <a:gd name="connsiteY44" fmla="*/ 834551 h 2140469"/>
              <a:gd name="connsiteX45" fmla="*/ 1555768 w 3871389"/>
              <a:gd name="connsiteY45" fmla="*/ 813945 h 2140469"/>
              <a:gd name="connsiteX46" fmla="*/ 1571223 w 3871389"/>
              <a:gd name="connsiteY46" fmla="*/ 790763 h 2140469"/>
              <a:gd name="connsiteX47" fmla="*/ 1602132 w 3871389"/>
              <a:gd name="connsiteY47" fmla="*/ 813945 h 2140469"/>
              <a:gd name="connsiteX48" fmla="*/ 1635617 w 3871389"/>
              <a:gd name="connsiteY48" fmla="*/ 793339 h 2140469"/>
              <a:gd name="connsiteX49" fmla="*/ 1645920 w 3871389"/>
              <a:gd name="connsiteY49" fmla="*/ 765005 h 2140469"/>
              <a:gd name="connsiteX50" fmla="*/ 1694860 w 3871389"/>
              <a:gd name="connsiteY50" fmla="*/ 785611 h 2140469"/>
              <a:gd name="connsiteX51" fmla="*/ 1748951 w 3871389"/>
              <a:gd name="connsiteY51" fmla="*/ 842278 h 2140469"/>
              <a:gd name="connsiteX52" fmla="*/ 1803042 w 3871389"/>
              <a:gd name="connsiteY52" fmla="*/ 847430 h 2140469"/>
              <a:gd name="connsiteX53" fmla="*/ 1823648 w 3871389"/>
              <a:gd name="connsiteY53" fmla="*/ 831975 h 2140469"/>
              <a:gd name="connsiteX54" fmla="*/ 1870012 w 3871389"/>
              <a:gd name="connsiteY54" fmla="*/ 834551 h 2140469"/>
              <a:gd name="connsiteX55" fmla="*/ 1906073 w 3871389"/>
              <a:gd name="connsiteY55" fmla="*/ 868036 h 2140469"/>
              <a:gd name="connsiteX56" fmla="*/ 1921528 w 3871389"/>
              <a:gd name="connsiteY56" fmla="*/ 927279 h 2140469"/>
              <a:gd name="connsiteX57" fmla="*/ 1962740 w 3871389"/>
              <a:gd name="connsiteY57" fmla="*/ 996825 h 2140469"/>
              <a:gd name="connsiteX58" fmla="*/ 1960164 w 3871389"/>
              <a:gd name="connsiteY58" fmla="*/ 1045765 h 2140469"/>
              <a:gd name="connsiteX59" fmla="*/ 1983346 w 3871389"/>
              <a:gd name="connsiteY59" fmla="*/ 1089553 h 2140469"/>
              <a:gd name="connsiteX60" fmla="*/ 2032286 w 3871389"/>
              <a:gd name="connsiteY60" fmla="*/ 1099856 h 2140469"/>
              <a:gd name="connsiteX61" fmla="*/ 2060620 w 3871389"/>
              <a:gd name="connsiteY61" fmla="*/ 1128189 h 2140469"/>
              <a:gd name="connsiteX62" fmla="*/ 2137893 w 3871389"/>
              <a:gd name="connsiteY62" fmla="*/ 1156523 h 2140469"/>
              <a:gd name="connsiteX63" fmla="*/ 2184257 w 3871389"/>
              <a:gd name="connsiteY63" fmla="*/ 1135917 h 2140469"/>
              <a:gd name="connsiteX64" fmla="*/ 2220318 w 3871389"/>
              <a:gd name="connsiteY64" fmla="*/ 1135917 h 2140469"/>
              <a:gd name="connsiteX65" fmla="*/ 2248651 w 3871389"/>
              <a:gd name="connsiteY65" fmla="*/ 1190008 h 2140469"/>
              <a:gd name="connsiteX66" fmla="*/ 2269257 w 3871389"/>
              <a:gd name="connsiteY66" fmla="*/ 1231220 h 2140469"/>
              <a:gd name="connsiteX67" fmla="*/ 2305318 w 3871389"/>
              <a:gd name="connsiteY67" fmla="*/ 1254402 h 2140469"/>
              <a:gd name="connsiteX68" fmla="*/ 2346531 w 3871389"/>
              <a:gd name="connsiteY68" fmla="*/ 1251826 h 2140469"/>
              <a:gd name="connsiteX69" fmla="*/ 2390319 w 3871389"/>
              <a:gd name="connsiteY69" fmla="*/ 1287887 h 2140469"/>
              <a:gd name="connsiteX70" fmla="*/ 2457289 w 3871389"/>
              <a:gd name="connsiteY70" fmla="*/ 1311069 h 2140469"/>
              <a:gd name="connsiteX71" fmla="*/ 2529411 w 3871389"/>
              <a:gd name="connsiteY71" fmla="*/ 1303342 h 2140469"/>
              <a:gd name="connsiteX72" fmla="*/ 2557744 w 3871389"/>
              <a:gd name="connsiteY72" fmla="*/ 1285312 h 2140469"/>
              <a:gd name="connsiteX73" fmla="*/ 2573199 w 3871389"/>
              <a:gd name="connsiteY73" fmla="*/ 1303342 h 2140469"/>
              <a:gd name="connsiteX74" fmla="*/ 2580926 w 3871389"/>
              <a:gd name="connsiteY74" fmla="*/ 1339403 h 2140469"/>
              <a:gd name="connsiteX75" fmla="*/ 2629866 w 3871389"/>
              <a:gd name="connsiteY75" fmla="*/ 1352282 h 2140469"/>
              <a:gd name="connsiteX76" fmla="*/ 2650472 w 3871389"/>
              <a:gd name="connsiteY76" fmla="*/ 1380615 h 2140469"/>
              <a:gd name="connsiteX77" fmla="*/ 2681381 w 3871389"/>
              <a:gd name="connsiteY77" fmla="*/ 1426979 h 2140469"/>
              <a:gd name="connsiteX78" fmla="*/ 2743200 w 3871389"/>
              <a:gd name="connsiteY78" fmla="*/ 1442434 h 2140469"/>
              <a:gd name="connsiteX79" fmla="*/ 2812746 w 3871389"/>
              <a:gd name="connsiteY79" fmla="*/ 1473343 h 2140469"/>
              <a:gd name="connsiteX80" fmla="*/ 2843655 w 3871389"/>
              <a:gd name="connsiteY80" fmla="*/ 1468192 h 2140469"/>
              <a:gd name="connsiteX81" fmla="*/ 2877140 w 3871389"/>
              <a:gd name="connsiteY81" fmla="*/ 1496525 h 2140469"/>
              <a:gd name="connsiteX82" fmla="*/ 2923504 w 3871389"/>
              <a:gd name="connsiteY82" fmla="*/ 1504252 h 2140469"/>
              <a:gd name="connsiteX83" fmla="*/ 2946686 w 3871389"/>
              <a:gd name="connsiteY83" fmla="*/ 1540313 h 2140469"/>
              <a:gd name="connsiteX84" fmla="*/ 2990474 w 3871389"/>
              <a:gd name="connsiteY84" fmla="*/ 1576374 h 2140469"/>
              <a:gd name="connsiteX85" fmla="*/ 3052293 w 3871389"/>
              <a:gd name="connsiteY85" fmla="*/ 1581526 h 2140469"/>
              <a:gd name="connsiteX86" fmla="*/ 3052293 w 3871389"/>
              <a:gd name="connsiteY86" fmla="*/ 1581526 h 2140469"/>
              <a:gd name="connsiteX87" fmla="*/ 3072899 w 3871389"/>
              <a:gd name="connsiteY87" fmla="*/ 1560919 h 2140469"/>
              <a:gd name="connsiteX88" fmla="*/ 3090930 w 3871389"/>
              <a:gd name="connsiteY88" fmla="*/ 1581526 h 2140469"/>
              <a:gd name="connsiteX89" fmla="*/ 3090930 w 3871389"/>
              <a:gd name="connsiteY89" fmla="*/ 1622738 h 2140469"/>
              <a:gd name="connsiteX90" fmla="*/ 3124415 w 3871389"/>
              <a:gd name="connsiteY90" fmla="*/ 1643344 h 2140469"/>
              <a:gd name="connsiteX91" fmla="*/ 3163051 w 3871389"/>
              <a:gd name="connsiteY91" fmla="*/ 1643344 h 2140469"/>
              <a:gd name="connsiteX92" fmla="*/ 3204264 w 3871389"/>
              <a:gd name="connsiteY92" fmla="*/ 1669102 h 2140469"/>
              <a:gd name="connsiteX93" fmla="*/ 3211991 w 3871389"/>
              <a:gd name="connsiteY93" fmla="*/ 1720617 h 2140469"/>
              <a:gd name="connsiteX94" fmla="*/ 3240324 w 3871389"/>
              <a:gd name="connsiteY94" fmla="*/ 1746375 h 2140469"/>
              <a:gd name="connsiteX95" fmla="*/ 3240324 w 3871389"/>
              <a:gd name="connsiteY95" fmla="*/ 1769557 h 2140469"/>
              <a:gd name="connsiteX96" fmla="*/ 3284113 w 3871389"/>
              <a:gd name="connsiteY96" fmla="*/ 1797891 h 2140469"/>
              <a:gd name="connsiteX97" fmla="*/ 3278961 w 3871389"/>
              <a:gd name="connsiteY97" fmla="*/ 1846830 h 2140469"/>
              <a:gd name="connsiteX98" fmla="*/ 3317598 w 3871389"/>
              <a:gd name="connsiteY98" fmla="*/ 1882891 h 2140469"/>
              <a:gd name="connsiteX99" fmla="*/ 3363962 w 3871389"/>
              <a:gd name="connsiteY99" fmla="*/ 1918952 h 2140469"/>
              <a:gd name="connsiteX100" fmla="*/ 3407750 w 3871389"/>
              <a:gd name="connsiteY100" fmla="*/ 1906073 h 2140469"/>
              <a:gd name="connsiteX101" fmla="*/ 3461841 w 3871389"/>
              <a:gd name="connsiteY101" fmla="*/ 1936983 h 2140469"/>
              <a:gd name="connsiteX102" fmla="*/ 3492750 w 3871389"/>
              <a:gd name="connsiteY102" fmla="*/ 1913801 h 2140469"/>
              <a:gd name="connsiteX103" fmla="*/ 3544266 w 3871389"/>
              <a:gd name="connsiteY103" fmla="*/ 1939558 h 2140469"/>
              <a:gd name="connsiteX104" fmla="*/ 3588054 w 3871389"/>
              <a:gd name="connsiteY104" fmla="*/ 1985922 h 2140469"/>
              <a:gd name="connsiteX105" fmla="*/ 3626691 w 3871389"/>
              <a:gd name="connsiteY105" fmla="*/ 2058044 h 2140469"/>
              <a:gd name="connsiteX106" fmla="*/ 3647297 w 3871389"/>
              <a:gd name="connsiteY106" fmla="*/ 2070923 h 2140469"/>
              <a:gd name="connsiteX107" fmla="*/ 3665327 w 3871389"/>
              <a:gd name="connsiteY107" fmla="*/ 2101832 h 2140469"/>
              <a:gd name="connsiteX108" fmla="*/ 3688509 w 3871389"/>
              <a:gd name="connsiteY108" fmla="*/ 2140469 h 2140469"/>
              <a:gd name="connsiteX109" fmla="*/ 3716843 w 3871389"/>
              <a:gd name="connsiteY109" fmla="*/ 2140469 h 2140469"/>
              <a:gd name="connsiteX110" fmla="*/ 3740025 w 3871389"/>
              <a:gd name="connsiteY110" fmla="*/ 2112135 h 2140469"/>
              <a:gd name="connsiteX111" fmla="*/ 3776086 w 3871389"/>
              <a:gd name="connsiteY111" fmla="*/ 2076074 h 2140469"/>
              <a:gd name="connsiteX112" fmla="*/ 3773510 w 3871389"/>
              <a:gd name="connsiteY112" fmla="*/ 2034862 h 2140469"/>
              <a:gd name="connsiteX113" fmla="*/ 3788964 w 3871389"/>
              <a:gd name="connsiteY113" fmla="*/ 2011680 h 2140469"/>
              <a:gd name="connsiteX114" fmla="*/ 3786389 w 3871389"/>
              <a:gd name="connsiteY114" fmla="*/ 1939558 h 2140469"/>
              <a:gd name="connsiteX115" fmla="*/ 3812146 w 3871389"/>
              <a:gd name="connsiteY115" fmla="*/ 1898346 h 2140469"/>
              <a:gd name="connsiteX116" fmla="*/ 3791540 w 3871389"/>
              <a:gd name="connsiteY116" fmla="*/ 1864861 h 2140469"/>
              <a:gd name="connsiteX117" fmla="*/ 3819874 w 3871389"/>
              <a:gd name="connsiteY117" fmla="*/ 1826224 h 2140469"/>
              <a:gd name="connsiteX118" fmla="*/ 3827601 w 3871389"/>
              <a:gd name="connsiteY118" fmla="*/ 1792739 h 2140469"/>
              <a:gd name="connsiteX119" fmla="*/ 3791540 w 3871389"/>
              <a:gd name="connsiteY119" fmla="*/ 1741224 h 2140469"/>
              <a:gd name="connsiteX120" fmla="*/ 3729722 w 3871389"/>
              <a:gd name="connsiteY120" fmla="*/ 1692284 h 2140469"/>
              <a:gd name="connsiteX121" fmla="*/ 3716843 w 3871389"/>
              <a:gd name="connsiteY121" fmla="*/ 1643344 h 2140469"/>
              <a:gd name="connsiteX122" fmla="*/ 3706540 w 3871389"/>
              <a:gd name="connsiteY122" fmla="*/ 1586677 h 2140469"/>
              <a:gd name="connsiteX123" fmla="*/ 3685933 w 3871389"/>
              <a:gd name="connsiteY123" fmla="*/ 1550616 h 2140469"/>
              <a:gd name="connsiteX124" fmla="*/ 3698812 w 3871389"/>
              <a:gd name="connsiteY124" fmla="*/ 1511980 h 2140469"/>
              <a:gd name="connsiteX125" fmla="*/ 3649873 w 3871389"/>
              <a:gd name="connsiteY125" fmla="*/ 1390918 h 2140469"/>
              <a:gd name="connsiteX126" fmla="*/ 3649873 w 3871389"/>
              <a:gd name="connsiteY126" fmla="*/ 1347130 h 2140469"/>
              <a:gd name="connsiteX127" fmla="*/ 3624115 w 3871389"/>
              <a:gd name="connsiteY127" fmla="*/ 1282736 h 2140469"/>
              <a:gd name="connsiteX128" fmla="*/ 3621539 w 3871389"/>
              <a:gd name="connsiteY128" fmla="*/ 1246675 h 2140469"/>
              <a:gd name="connsiteX129" fmla="*/ 3600933 w 3871389"/>
              <a:gd name="connsiteY129" fmla="*/ 1208038 h 2140469"/>
              <a:gd name="connsiteX130" fmla="*/ 3521084 w 3871389"/>
              <a:gd name="connsiteY130" fmla="*/ 1161674 h 2140469"/>
              <a:gd name="connsiteX131" fmla="*/ 3518508 w 3871389"/>
              <a:gd name="connsiteY131" fmla="*/ 1125614 h 2140469"/>
              <a:gd name="connsiteX132" fmla="*/ 3487599 w 3871389"/>
              <a:gd name="connsiteY132" fmla="*/ 1102432 h 2140469"/>
              <a:gd name="connsiteX133" fmla="*/ 3464417 w 3871389"/>
              <a:gd name="connsiteY133" fmla="*/ 1102432 h 2140469"/>
              <a:gd name="connsiteX134" fmla="*/ 3420629 w 3871389"/>
              <a:gd name="connsiteY134" fmla="*/ 1105007 h 2140469"/>
              <a:gd name="connsiteX135" fmla="*/ 3351083 w 3871389"/>
              <a:gd name="connsiteY135" fmla="*/ 1066371 h 2140469"/>
              <a:gd name="connsiteX136" fmla="*/ 3299567 w 3871389"/>
              <a:gd name="connsiteY136" fmla="*/ 1001976 h 2140469"/>
              <a:gd name="connsiteX137" fmla="*/ 3255779 w 3871389"/>
              <a:gd name="connsiteY137" fmla="*/ 978794 h 2140469"/>
              <a:gd name="connsiteX138" fmla="*/ 3250628 w 3871389"/>
              <a:gd name="connsiteY138" fmla="*/ 942734 h 2140469"/>
              <a:gd name="connsiteX139" fmla="*/ 3227446 w 3871389"/>
              <a:gd name="connsiteY139" fmla="*/ 893794 h 2140469"/>
              <a:gd name="connsiteX140" fmla="*/ 3186233 w 3871389"/>
              <a:gd name="connsiteY140" fmla="*/ 862885 h 2140469"/>
              <a:gd name="connsiteX141" fmla="*/ 3191385 w 3871389"/>
              <a:gd name="connsiteY141" fmla="*/ 819096 h 2140469"/>
              <a:gd name="connsiteX142" fmla="*/ 3227446 w 3871389"/>
              <a:gd name="connsiteY142" fmla="*/ 762429 h 2140469"/>
              <a:gd name="connsiteX143" fmla="*/ 3232597 w 3871389"/>
              <a:gd name="connsiteY143" fmla="*/ 698035 h 2140469"/>
              <a:gd name="connsiteX144" fmla="*/ 3260931 w 3871389"/>
              <a:gd name="connsiteY144" fmla="*/ 661974 h 2140469"/>
              <a:gd name="connsiteX145" fmla="*/ 3307295 w 3871389"/>
              <a:gd name="connsiteY145" fmla="*/ 638792 h 2140469"/>
              <a:gd name="connsiteX146" fmla="*/ 3330477 w 3871389"/>
              <a:gd name="connsiteY146" fmla="*/ 595004 h 2140469"/>
              <a:gd name="connsiteX147" fmla="*/ 3379416 w 3871389"/>
              <a:gd name="connsiteY147" fmla="*/ 592428 h 2140469"/>
              <a:gd name="connsiteX148" fmla="*/ 3410326 w 3871389"/>
              <a:gd name="connsiteY148" fmla="*/ 607883 h 2140469"/>
              <a:gd name="connsiteX149" fmla="*/ 3485023 w 3871389"/>
              <a:gd name="connsiteY149" fmla="*/ 592428 h 2140469"/>
              <a:gd name="connsiteX150" fmla="*/ 3521084 w 3871389"/>
              <a:gd name="connsiteY150" fmla="*/ 618186 h 2140469"/>
              <a:gd name="connsiteX151" fmla="*/ 3570024 w 3871389"/>
              <a:gd name="connsiteY151" fmla="*/ 610459 h 2140469"/>
              <a:gd name="connsiteX152" fmla="*/ 3621539 w 3871389"/>
              <a:gd name="connsiteY152" fmla="*/ 628489 h 2140469"/>
              <a:gd name="connsiteX153" fmla="*/ 3701388 w 3871389"/>
              <a:gd name="connsiteY153" fmla="*/ 667126 h 2140469"/>
              <a:gd name="connsiteX154" fmla="*/ 3825025 w 3871389"/>
              <a:gd name="connsiteY154" fmla="*/ 677429 h 2140469"/>
              <a:gd name="connsiteX155" fmla="*/ 3871389 w 3871389"/>
              <a:gd name="connsiteY155" fmla="*/ 667126 h 2140469"/>
              <a:gd name="connsiteX156" fmla="*/ 3853359 w 3871389"/>
              <a:gd name="connsiteY156" fmla="*/ 641368 h 2140469"/>
              <a:gd name="connsiteX157" fmla="*/ 3850783 w 3871389"/>
              <a:gd name="connsiteY157" fmla="*/ 610459 h 2140469"/>
              <a:gd name="connsiteX0" fmla="*/ 36061 w 3871389"/>
              <a:gd name="connsiteY0" fmla="*/ 97879 h 2140469"/>
              <a:gd name="connsiteX1" fmla="*/ 0 w 3871389"/>
              <a:gd name="connsiteY1" fmla="*/ 54091 h 2140469"/>
              <a:gd name="connsiteX2" fmla="*/ 30909 w 3871389"/>
              <a:gd name="connsiteY2" fmla="*/ 7727 h 2140469"/>
              <a:gd name="connsiteX3" fmla="*/ 66970 w 3871389"/>
              <a:gd name="connsiteY3" fmla="*/ 18030 h 2140469"/>
              <a:gd name="connsiteX4" fmla="*/ 92728 w 3871389"/>
              <a:gd name="connsiteY4" fmla="*/ 0 h 2140469"/>
              <a:gd name="connsiteX5" fmla="*/ 121061 w 3871389"/>
              <a:gd name="connsiteY5" fmla="*/ 12879 h 2140469"/>
              <a:gd name="connsiteX6" fmla="*/ 108183 w 3871389"/>
              <a:gd name="connsiteY6" fmla="*/ 66970 h 2140469"/>
              <a:gd name="connsiteX7" fmla="*/ 133940 w 3871389"/>
              <a:gd name="connsiteY7" fmla="*/ 100455 h 2140469"/>
              <a:gd name="connsiteX8" fmla="*/ 115910 w 3871389"/>
              <a:gd name="connsiteY8" fmla="*/ 136516 h 2140469"/>
              <a:gd name="connsiteX9" fmla="*/ 126213 w 3871389"/>
              <a:gd name="connsiteY9" fmla="*/ 162274 h 2140469"/>
              <a:gd name="connsiteX10" fmla="*/ 188032 w 3871389"/>
              <a:gd name="connsiteY10" fmla="*/ 159698 h 2140469"/>
              <a:gd name="connsiteX11" fmla="*/ 255002 w 3871389"/>
              <a:gd name="connsiteY11" fmla="*/ 167425 h 2140469"/>
              <a:gd name="connsiteX12" fmla="*/ 303941 w 3871389"/>
              <a:gd name="connsiteY12" fmla="*/ 193183 h 2140469"/>
              <a:gd name="connsiteX13" fmla="*/ 337426 w 3871389"/>
              <a:gd name="connsiteY13" fmla="*/ 244699 h 2140469"/>
              <a:gd name="connsiteX14" fmla="*/ 399245 w 3871389"/>
              <a:gd name="connsiteY14" fmla="*/ 265305 h 2140469"/>
              <a:gd name="connsiteX15" fmla="*/ 443033 w 3871389"/>
              <a:gd name="connsiteY15" fmla="*/ 265305 h 2140469"/>
              <a:gd name="connsiteX16" fmla="*/ 481670 w 3871389"/>
              <a:gd name="connsiteY16" fmla="*/ 314245 h 2140469"/>
              <a:gd name="connsiteX17" fmla="*/ 522882 w 3871389"/>
              <a:gd name="connsiteY17" fmla="*/ 301366 h 2140469"/>
              <a:gd name="connsiteX18" fmla="*/ 569246 w 3871389"/>
              <a:gd name="connsiteY18" fmla="*/ 319396 h 2140469"/>
              <a:gd name="connsiteX19" fmla="*/ 613034 w 3871389"/>
              <a:gd name="connsiteY19" fmla="*/ 309093 h 2140469"/>
              <a:gd name="connsiteX20" fmla="*/ 680004 w 3871389"/>
              <a:gd name="connsiteY20" fmla="*/ 324548 h 2140469"/>
              <a:gd name="connsiteX21" fmla="*/ 721217 w 3871389"/>
              <a:gd name="connsiteY21" fmla="*/ 314245 h 2140469"/>
              <a:gd name="connsiteX22" fmla="*/ 746975 w 3871389"/>
              <a:gd name="connsiteY22" fmla="*/ 342578 h 2140469"/>
              <a:gd name="connsiteX23" fmla="*/ 754702 w 3871389"/>
              <a:gd name="connsiteY23" fmla="*/ 412124 h 2140469"/>
              <a:gd name="connsiteX24" fmla="*/ 777884 w 3871389"/>
              <a:gd name="connsiteY24" fmla="*/ 466215 h 2140469"/>
              <a:gd name="connsiteX25" fmla="*/ 821672 w 3871389"/>
              <a:gd name="connsiteY25" fmla="*/ 468791 h 2140469"/>
              <a:gd name="connsiteX26" fmla="*/ 873188 w 3871389"/>
              <a:gd name="connsiteY26" fmla="*/ 499700 h 2140469"/>
              <a:gd name="connsiteX27" fmla="*/ 901521 w 3871389"/>
              <a:gd name="connsiteY27" fmla="*/ 553792 h 2140469"/>
              <a:gd name="connsiteX28" fmla="*/ 945309 w 3871389"/>
              <a:gd name="connsiteY28" fmla="*/ 574398 h 2140469"/>
              <a:gd name="connsiteX29" fmla="*/ 1014855 w 3871389"/>
              <a:gd name="connsiteY29" fmla="*/ 641368 h 2140469"/>
              <a:gd name="connsiteX30" fmla="*/ 1076674 w 3871389"/>
              <a:gd name="connsiteY30" fmla="*/ 680005 h 2140469"/>
              <a:gd name="connsiteX31" fmla="*/ 1112735 w 3871389"/>
              <a:gd name="connsiteY31" fmla="*/ 654247 h 2140469"/>
              <a:gd name="connsiteX32" fmla="*/ 1138492 w 3871389"/>
              <a:gd name="connsiteY32" fmla="*/ 667126 h 2140469"/>
              <a:gd name="connsiteX33" fmla="*/ 1151371 w 3871389"/>
              <a:gd name="connsiteY33" fmla="*/ 680005 h 2140469"/>
              <a:gd name="connsiteX34" fmla="*/ 1192584 w 3871389"/>
              <a:gd name="connsiteY34" fmla="*/ 651671 h 2140469"/>
              <a:gd name="connsiteX35" fmla="*/ 1215766 w 3871389"/>
              <a:gd name="connsiteY35" fmla="*/ 628489 h 2140469"/>
              <a:gd name="connsiteX36" fmla="*/ 1251826 w 3871389"/>
              <a:gd name="connsiteY36" fmla="*/ 628489 h 2140469"/>
              <a:gd name="connsiteX37" fmla="*/ 1290463 w 3871389"/>
              <a:gd name="connsiteY37" fmla="*/ 664550 h 2140469"/>
              <a:gd name="connsiteX38" fmla="*/ 1293039 w 3871389"/>
              <a:gd name="connsiteY38" fmla="*/ 739247 h 2140469"/>
              <a:gd name="connsiteX39" fmla="*/ 1336827 w 3871389"/>
              <a:gd name="connsiteY39" fmla="*/ 770157 h 2140469"/>
              <a:gd name="connsiteX40" fmla="*/ 1408949 w 3871389"/>
              <a:gd name="connsiteY40" fmla="*/ 813945 h 2140469"/>
              <a:gd name="connsiteX41" fmla="*/ 1455313 w 3871389"/>
              <a:gd name="connsiteY41" fmla="*/ 826824 h 2140469"/>
              <a:gd name="connsiteX42" fmla="*/ 1483646 w 3871389"/>
              <a:gd name="connsiteY42" fmla="*/ 816521 h 2140469"/>
              <a:gd name="connsiteX43" fmla="*/ 1514555 w 3871389"/>
              <a:gd name="connsiteY43" fmla="*/ 834551 h 2140469"/>
              <a:gd name="connsiteX44" fmla="*/ 1555768 w 3871389"/>
              <a:gd name="connsiteY44" fmla="*/ 813945 h 2140469"/>
              <a:gd name="connsiteX45" fmla="*/ 1571223 w 3871389"/>
              <a:gd name="connsiteY45" fmla="*/ 790763 h 2140469"/>
              <a:gd name="connsiteX46" fmla="*/ 1602132 w 3871389"/>
              <a:gd name="connsiteY46" fmla="*/ 813945 h 2140469"/>
              <a:gd name="connsiteX47" fmla="*/ 1635617 w 3871389"/>
              <a:gd name="connsiteY47" fmla="*/ 793339 h 2140469"/>
              <a:gd name="connsiteX48" fmla="*/ 1645920 w 3871389"/>
              <a:gd name="connsiteY48" fmla="*/ 765005 h 2140469"/>
              <a:gd name="connsiteX49" fmla="*/ 1694860 w 3871389"/>
              <a:gd name="connsiteY49" fmla="*/ 785611 h 2140469"/>
              <a:gd name="connsiteX50" fmla="*/ 1748951 w 3871389"/>
              <a:gd name="connsiteY50" fmla="*/ 842278 h 2140469"/>
              <a:gd name="connsiteX51" fmla="*/ 1803042 w 3871389"/>
              <a:gd name="connsiteY51" fmla="*/ 847430 h 2140469"/>
              <a:gd name="connsiteX52" fmla="*/ 1823648 w 3871389"/>
              <a:gd name="connsiteY52" fmla="*/ 831975 h 2140469"/>
              <a:gd name="connsiteX53" fmla="*/ 1870012 w 3871389"/>
              <a:gd name="connsiteY53" fmla="*/ 834551 h 2140469"/>
              <a:gd name="connsiteX54" fmla="*/ 1906073 w 3871389"/>
              <a:gd name="connsiteY54" fmla="*/ 868036 h 2140469"/>
              <a:gd name="connsiteX55" fmla="*/ 1921528 w 3871389"/>
              <a:gd name="connsiteY55" fmla="*/ 927279 h 2140469"/>
              <a:gd name="connsiteX56" fmla="*/ 1962740 w 3871389"/>
              <a:gd name="connsiteY56" fmla="*/ 996825 h 2140469"/>
              <a:gd name="connsiteX57" fmla="*/ 1960164 w 3871389"/>
              <a:gd name="connsiteY57" fmla="*/ 1045765 h 2140469"/>
              <a:gd name="connsiteX58" fmla="*/ 1983346 w 3871389"/>
              <a:gd name="connsiteY58" fmla="*/ 1089553 h 2140469"/>
              <a:gd name="connsiteX59" fmla="*/ 2032286 w 3871389"/>
              <a:gd name="connsiteY59" fmla="*/ 1099856 h 2140469"/>
              <a:gd name="connsiteX60" fmla="*/ 2060620 w 3871389"/>
              <a:gd name="connsiteY60" fmla="*/ 1128189 h 2140469"/>
              <a:gd name="connsiteX61" fmla="*/ 2137893 w 3871389"/>
              <a:gd name="connsiteY61" fmla="*/ 1156523 h 2140469"/>
              <a:gd name="connsiteX62" fmla="*/ 2184257 w 3871389"/>
              <a:gd name="connsiteY62" fmla="*/ 1135917 h 2140469"/>
              <a:gd name="connsiteX63" fmla="*/ 2220318 w 3871389"/>
              <a:gd name="connsiteY63" fmla="*/ 1135917 h 2140469"/>
              <a:gd name="connsiteX64" fmla="*/ 2248651 w 3871389"/>
              <a:gd name="connsiteY64" fmla="*/ 1190008 h 2140469"/>
              <a:gd name="connsiteX65" fmla="*/ 2269257 w 3871389"/>
              <a:gd name="connsiteY65" fmla="*/ 1231220 h 2140469"/>
              <a:gd name="connsiteX66" fmla="*/ 2305318 w 3871389"/>
              <a:gd name="connsiteY66" fmla="*/ 1254402 h 2140469"/>
              <a:gd name="connsiteX67" fmla="*/ 2346531 w 3871389"/>
              <a:gd name="connsiteY67" fmla="*/ 1251826 h 2140469"/>
              <a:gd name="connsiteX68" fmla="*/ 2390319 w 3871389"/>
              <a:gd name="connsiteY68" fmla="*/ 1287887 h 2140469"/>
              <a:gd name="connsiteX69" fmla="*/ 2457289 w 3871389"/>
              <a:gd name="connsiteY69" fmla="*/ 1311069 h 2140469"/>
              <a:gd name="connsiteX70" fmla="*/ 2529411 w 3871389"/>
              <a:gd name="connsiteY70" fmla="*/ 1303342 h 2140469"/>
              <a:gd name="connsiteX71" fmla="*/ 2557744 w 3871389"/>
              <a:gd name="connsiteY71" fmla="*/ 1285312 h 2140469"/>
              <a:gd name="connsiteX72" fmla="*/ 2573199 w 3871389"/>
              <a:gd name="connsiteY72" fmla="*/ 1303342 h 2140469"/>
              <a:gd name="connsiteX73" fmla="*/ 2580926 w 3871389"/>
              <a:gd name="connsiteY73" fmla="*/ 1339403 h 2140469"/>
              <a:gd name="connsiteX74" fmla="*/ 2629866 w 3871389"/>
              <a:gd name="connsiteY74" fmla="*/ 1352282 h 2140469"/>
              <a:gd name="connsiteX75" fmla="*/ 2650472 w 3871389"/>
              <a:gd name="connsiteY75" fmla="*/ 1380615 h 2140469"/>
              <a:gd name="connsiteX76" fmla="*/ 2681381 w 3871389"/>
              <a:gd name="connsiteY76" fmla="*/ 1426979 h 2140469"/>
              <a:gd name="connsiteX77" fmla="*/ 2743200 w 3871389"/>
              <a:gd name="connsiteY77" fmla="*/ 1442434 h 2140469"/>
              <a:gd name="connsiteX78" fmla="*/ 2812746 w 3871389"/>
              <a:gd name="connsiteY78" fmla="*/ 1473343 h 2140469"/>
              <a:gd name="connsiteX79" fmla="*/ 2843655 w 3871389"/>
              <a:gd name="connsiteY79" fmla="*/ 1468192 h 2140469"/>
              <a:gd name="connsiteX80" fmla="*/ 2877140 w 3871389"/>
              <a:gd name="connsiteY80" fmla="*/ 1496525 h 2140469"/>
              <a:gd name="connsiteX81" fmla="*/ 2923504 w 3871389"/>
              <a:gd name="connsiteY81" fmla="*/ 1504252 h 2140469"/>
              <a:gd name="connsiteX82" fmla="*/ 2946686 w 3871389"/>
              <a:gd name="connsiteY82" fmla="*/ 1540313 h 2140469"/>
              <a:gd name="connsiteX83" fmla="*/ 2990474 w 3871389"/>
              <a:gd name="connsiteY83" fmla="*/ 1576374 h 2140469"/>
              <a:gd name="connsiteX84" fmla="*/ 3052293 w 3871389"/>
              <a:gd name="connsiteY84" fmla="*/ 1581526 h 2140469"/>
              <a:gd name="connsiteX85" fmla="*/ 3052293 w 3871389"/>
              <a:gd name="connsiteY85" fmla="*/ 1581526 h 2140469"/>
              <a:gd name="connsiteX86" fmla="*/ 3072899 w 3871389"/>
              <a:gd name="connsiteY86" fmla="*/ 1560919 h 2140469"/>
              <a:gd name="connsiteX87" fmla="*/ 3090930 w 3871389"/>
              <a:gd name="connsiteY87" fmla="*/ 1581526 h 2140469"/>
              <a:gd name="connsiteX88" fmla="*/ 3090930 w 3871389"/>
              <a:gd name="connsiteY88" fmla="*/ 1622738 h 2140469"/>
              <a:gd name="connsiteX89" fmla="*/ 3124415 w 3871389"/>
              <a:gd name="connsiteY89" fmla="*/ 1643344 h 2140469"/>
              <a:gd name="connsiteX90" fmla="*/ 3163051 w 3871389"/>
              <a:gd name="connsiteY90" fmla="*/ 1643344 h 2140469"/>
              <a:gd name="connsiteX91" fmla="*/ 3204264 w 3871389"/>
              <a:gd name="connsiteY91" fmla="*/ 1669102 h 2140469"/>
              <a:gd name="connsiteX92" fmla="*/ 3211991 w 3871389"/>
              <a:gd name="connsiteY92" fmla="*/ 1720617 h 2140469"/>
              <a:gd name="connsiteX93" fmla="*/ 3240324 w 3871389"/>
              <a:gd name="connsiteY93" fmla="*/ 1746375 h 2140469"/>
              <a:gd name="connsiteX94" fmla="*/ 3240324 w 3871389"/>
              <a:gd name="connsiteY94" fmla="*/ 1769557 h 2140469"/>
              <a:gd name="connsiteX95" fmla="*/ 3284113 w 3871389"/>
              <a:gd name="connsiteY95" fmla="*/ 1797891 h 2140469"/>
              <a:gd name="connsiteX96" fmla="*/ 3278961 w 3871389"/>
              <a:gd name="connsiteY96" fmla="*/ 1846830 h 2140469"/>
              <a:gd name="connsiteX97" fmla="*/ 3317598 w 3871389"/>
              <a:gd name="connsiteY97" fmla="*/ 1882891 h 2140469"/>
              <a:gd name="connsiteX98" fmla="*/ 3363962 w 3871389"/>
              <a:gd name="connsiteY98" fmla="*/ 1918952 h 2140469"/>
              <a:gd name="connsiteX99" fmla="*/ 3407750 w 3871389"/>
              <a:gd name="connsiteY99" fmla="*/ 1906073 h 2140469"/>
              <a:gd name="connsiteX100" fmla="*/ 3461841 w 3871389"/>
              <a:gd name="connsiteY100" fmla="*/ 1936983 h 2140469"/>
              <a:gd name="connsiteX101" fmla="*/ 3492750 w 3871389"/>
              <a:gd name="connsiteY101" fmla="*/ 1913801 h 2140469"/>
              <a:gd name="connsiteX102" fmla="*/ 3544266 w 3871389"/>
              <a:gd name="connsiteY102" fmla="*/ 1939558 h 2140469"/>
              <a:gd name="connsiteX103" fmla="*/ 3588054 w 3871389"/>
              <a:gd name="connsiteY103" fmla="*/ 1985922 h 2140469"/>
              <a:gd name="connsiteX104" fmla="*/ 3626691 w 3871389"/>
              <a:gd name="connsiteY104" fmla="*/ 2058044 h 2140469"/>
              <a:gd name="connsiteX105" fmla="*/ 3647297 w 3871389"/>
              <a:gd name="connsiteY105" fmla="*/ 2070923 h 2140469"/>
              <a:gd name="connsiteX106" fmla="*/ 3665327 w 3871389"/>
              <a:gd name="connsiteY106" fmla="*/ 2101832 h 2140469"/>
              <a:gd name="connsiteX107" fmla="*/ 3688509 w 3871389"/>
              <a:gd name="connsiteY107" fmla="*/ 2140469 h 2140469"/>
              <a:gd name="connsiteX108" fmla="*/ 3716843 w 3871389"/>
              <a:gd name="connsiteY108" fmla="*/ 2140469 h 2140469"/>
              <a:gd name="connsiteX109" fmla="*/ 3740025 w 3871389"/>
              <a:gd name="connsiteY109" fmla="*/ 2112135 h 2140469"/>
              <a:gd name="connsiteX110" fmla="*/ 3776086 w 3871389"/>
              <a:gd name="connsiteY110" fmla="*/ 2076074 h 2140469"/>
              <a:gd name="connsiteX111" fmla="*/ 3773510 w 3871389"/>
              <a:gd name="connsiteY111" fmla="*/ 2034862 h 2140469"/>
              <a:gd name="connsiteX112" fmla="*/ 3788964 w 3871389"/>
              <a:gd name="connsiteY112" fmla="*/ 2011680 h 2140469"/>
              <a:gd name="connsiteX113" fmla="*/ 3786389 w 3871389"/>
              <a:gd name="connsiteY113" fmla="*/ 1939558 h 2140469"/>
              <a:gd name="connsiteX114" fmla="*/ 3812146 w 3871389"/>
              <a:gd name="connsiteY114" fmla="*/ 1898346 h 2140469"/>
              <a:gd name="connsiteX115" fmla="*/ 3791540 w 3871389"/>
              <a:gd name="connsiteY115" fmla="*/ 1864861 h 2140469"/>
              <a:gd name="connsiteX116" fmla="*/ 3819874 w 3871389"/>
              <a:gd name="connsiteY116" fmla="*/ 1826224 h 2140469"/>
              <a:gd name="connsiteX117" fmla="*/ 3827601 w 3871389"/>
              <a:gd name="connsiteY117" fmla="*/ 1792739 h 2140469"/>
              <a:gd name="connsiteX118" fmla="*/ 3791540 w 3871389"/>
              <a:gd name="connsiteY118" fmla="*/ 1741224 h 2140469"/>
              <a:gd name="connsiteX119" fmla="*/ 3729722 w 3871389"/>
              <a:gd name="connsiteY119" fmla="*/ 1692284 h 2140469"/>
              <a:gd name="connsiteX120" fmla="*/ 3716843 w 3871389"/>
              <a:gd name="connsiteY120" fmla="*/ 1643344 h 2140469"/>
              <a:gd name="connsiteX121" fmla="*/ 3706540 w 3871389"/>
              <a:gd name="connsiteY121" fmla="*/ 1586677 h 2140469"/>
              <a:gd name="connsiteX122" fmla="*/ 3685933 w 3871389"/>
              <a:gd name="connsiteY122" fmla="*/ 1550616 h 2140469"/>
              <a:gd name="connsiteX123" fmla="*/ 3698812 w 3871389"/>
              <a:gd name="connsiteY123" fmla="*/ 1511980 h 2140469"/>
              <a:gd name="connsiteX124" fmla="*/ 3649873 w 3871389"/>
              <a:gd name="connsiteY124" fmla="*/ 1390918 h 2140469"/>
              <a:gd name="connsiteX125" fmla="*/ 3649873 w 3871389"/>
              <a:gd name="connsiteY125" fmla="*/ 1347130 h 2140469"/>
              <a:gd name="connsiteX126" fmla="*/ 3624115 w 3871389"/>
              <a:gd name="connsiteY126" fmla="*/ 1282736 h 2140469"/>
              <a:gd name="connsiteX127" fmla="*/ 3621539 w 3871389"/>
              <a:gd name="connsiteY127" fmla="*/ 1246675 h 2140469"/>
              <a:gd name="connsiteX128" fmla="*/ 3600933 w 3871389"/>
              <a:gd name="connsiteY128" fmla="*/ 1208038 h 2140469"/>
              <a:gd name="connsiteX129" fmla="*/ 3521084 w 3871389"/>
              <a:gd name="connsiteY129" fmla="*/ 1161674 h 2140469"/>
              <a:gd name="connsiteX130" fmla="*/ 3518508 w 3871389"/>
              <a:gd name="connsiteY130" fmla="*/ 1125614 h 2140469"/>
              <a:gd name="connsiteX131" fmla="*/ 3487599 w 3871389"/>
              <a:gd name="connsiteY131" fmla="*/ 1102432 h 2140469"/>
              <a:gd name="connsiteX132" fmla="*/ 3464417 w 3871389"/>
              <a:gd name="connsiteY132" fmla="*/ 1102432 h 2140469"/>
              <a:gd name="connsiteX133" fmla="*/ 3420629 w 3871389"/>
              <a:gd name="connsiteY133" fmla="*/ 1105007 h 2140469"/>
              <a:gd name="connsiteX134" fmla="*/ 3351083 w 3871389"/>
              <a:gd name="connsiteY134" fmla="*/ 1066371 h 2140469"/>
              <a:gd name="connsiteX135" fmla="*/ 3299567 w 3871389"/>
              <a:gd name="connsiteY135" fmla="*/ 1001976 h 2140469"/>
              <a:gd name="connsiteX136" fmla="*/ 3255779 w 3871389"/>
              <a:gd name="connsiteY136" fmla="*/ 978794 h 2140469"/>
              <a:gd name="connsiteX137" fmla="*/ 3250628 w 3871389"/>
              <a:gd name="connsiteY137" fmla="*/ 942734 h 2140469"/>
              <a:gd name="connsiteX138" fmla="*/ 3227446 w 3871389"/>
              <a:gd name="connsiteY138" fmla="*/ 893794 h 2140469"/>
              <a:gd name="connsiteX139" fmla="*/ 3186233 w 3871389"/>
              <a:gd name="connsiteY139" fmla="*/ 862885 h 2140469"/>
              <a:gd name="connsiteX140" fmla="*/ 3191385 w 3871389"/>
              <a:gd name="connsiteY140" fmla="*/ 819096 h 2140469"/>
              <a:gd name="connsiteX141" fmla="*/ 3227446 w 3871389"/>
              <a:gd name="connsiteY141" fmla="*/ 762429 h 2140469"/>
              <a:gd name="connsiteX142" fmla="*/ 3232597 w 3871389"/>
              <a:gd name="connsiteY142" fmla="*/ 698035 h 2140469"/>
              <a:gd name="connsiteX143" fmla="*/ 3260931 w 3871389"/>
              <a:gd name="connsiteY143" fmla="*/ 661974 h 2140469"/>
              <a:gd name="connsiteX144" fmla="*/ 3307295 w 3871389"/>
              <a:gd name="connsiteY144" fmla="*/ 638792 h 2140469"/>
              <a:gd name="connsiteX145" fmla="*/ 3330477 w 3871389"/>
              <a:gd name="connsiteY145" fmla="*/ 595004 h 2140469"/>
              <a:gd name="connsiteX146" fmla="*/ 3379416 w 3871389"/>
              <a:gd name="connsiteY146" fmla="*/ 592428 h 2140469"/>
              <a:gd name="connsiteX147" fmla="*/ 3410326 w 3871389"/>
              <a:gd name="connsiteY147" fmla="*/ 607883 h 2140469"/>
              <a:gd name="connsiteX148" fmla="*/ 3485023 w 3871389"/>
              <a:gd name="connsiteY148" fmla="*/ 592428 h 2140469"/>
              <a:gd name="connsiteX149" fmla="*/ 3521084 w 3871389"/>
              <a:gd name="connsiteY149" fmla="*/ 618186 h 2140469"/>
              <a:gd name="connsiteX150" fmla="*/ 3570024 w 3871389"/>
              <a:gd name="connsiteY150" fmla="*/ 610459 h 2140469"/>
              <a:gd name="connsiteX151" fmla="*/ 3621539 w 3871389"/>
              <a:gd name="connsiteY151" fmla="*/ 628489 h 2140469"/>
              <a:gd name="connsiteX152" fmla="*/ 3701388 w 3871389"/>
              <a:gd name="connsiteY152" fmla="*/ 667126 h 2140469"/>
              <a:gd name="connsiteX153" fmla="*/ 3825025 w 3871389"/>
              <a:gd name="connsiteY153" fmla="*/ 677429 h 2140469"/>
              <a:gd name="connsiteX154" fmla="*/ 3871389 w 3871389"/>
              <a:gd name="connsiteY154" fmla="*/ 667126 h 2140469"/>
              <a:gd name="connsiteX155" fmla="*/ 3853359 w 3871389"/>
              <a:gd name="connsiteY155" fmla="*/ 641368 h 2140469"/>
              <a:gd name="connsiteX156" fmla="*/ 3850783 w 3871389"/>
              <a:gd name="connsiteY156" fmla="*/ 610459 h 2140469"/>
              <a:gd name="connsiteX0" fmla="*/ 0 w 3871389"/>
              <a:gd name="connsiteY0" fmla="*/ 54091 h 2140469"/>
              <a:gd name="connsiteX1" fmla="*/ 30909 w 3871389"/>
              <a:gd name="connsiteY1" fmla="*/ 7727 h 2140469"/>
              <a:gd name="connsiteX2" fmla="*/ 66970 w 3871389"/>
              <a:gd name="connsiteY2" fmla="*/ 18030 h 2140469"/>
              <a:gd name="connsiteX3" fmla="*/ 92728 w 3871389"/>
              <a:gd name="connsiteY3" fmla="*/ 0 h 2140469"/>
              <a:gd name="connsiteX4" fmla="*/ 121061 w 3871389"/>
              <a:gd name="connsiteY4" fmla="*/ 12879 h 2140469"/>
              <a:gd name="connsiteX5" fmla="*/ 108183 w 3871389"/>
              <a:gd name="connsiteY5" fmla="*/ 66970 h 2140469"/>
              <a:gd name="connsiteX6" fmla="*/ 133940 w 3871389"/>
              <a:gd name="connsiteY6" fmla="*/ 100455 h 2140469"/>
              <a:gd name="connsiteX7" fmla="*/ 115910 w 3871389"/>
              <a:gd name="connsiteY7" fmla="*/ 136516 h 2140469"/>
              <a:gd name="connsiteX8" fmla="*/ 126213 w 3871389"/>
              <a:gd name="connsiteY8" fmla="*/ 162274 h 2140469"/>
              <a:gd name="connsiteX9" fmla="*/ 188032 w 3871389"/>
              <a:gd name="connsiteY9" fmla="*/ 159698 h 2140469"/>
              <a:gd name="connsiteX10" fmla="*/ 255002 w 3871389"/>
              <a:gd name="connsiteY10" fmla="*/ 167425 h 2140469"/>
              <a:gd name="connsiteX11" fmla="*/ 303941 w 3871389"/>
              <a:gd name="connsiteY11" fmla="*/ 193183 h 2140469"/>
              <a:gd name="connsiteX12" fmla="*/ 337426 w 3871389"/>
              <a:gd name="connsiteY12" fmla="*/ 244699 h 2140469"/>
              <a:gd name="connsiteX13" fmla="*/ 399245 w 3871389"/>
              <a:gd name="connsiteY13" fmla="*/ 265305 h 2140469"/>
              <a:gd name="connsiteX14" fmla="*/ 443033 w 3871389"/>
              <a:gd name="connsiteY14" fmla="*/ 265305 h 2140469"/>
              <a:gd name="connsiteX15" fmla="*/ 481670 w 3871389"/>
              <a:gd name="connsiteY15" fmla="*/ 314245 h 2140469"/>
              <a:gd name="connsiteX16" fmla="*/ 522882 w 3871389"/>
              <a:gd name="connsiteY16" fmla="*/ 301366 h 2140469"/>
              <a:gd name="connsiteX17" fmla="*/ 569246 w 3871389"/>
              <a:gd name="connsiteY17" fmla="*/ 319396 h 2140469"/>
              <a:gd name="connsiteX18" fmla="*/ 613034 w 3871389"/>
              <a:gd name="connsiteY18" fmla="*/ 309093 h 2140469"/>
              <a:gd name="connsiteX19" fmla="*/ 680004 w 3871389"/>
              <a:gd name="connsiteY19" fmla="*/ 324548 h 2140469"/>
              <a:gd name="connsiteX20" fmla="*/ 721217 w 3871389"/>
              <a:gd name="connsiteY20" fmla="*/ 314245 h 2140469"/>
              <a:gd name="connsiteX21" fmla="*/ 746975 w 3871389"/>
              <a:gd name="connsiteY21" fmla="*/ 342578 h 2140469"/>
              <a:gd name="connsiteX22" fmla="*/ 754702 w 3871389"/>
              <a:gd name="connsiteY22" fmla="*/ 412124 h 2140469"/>
              <a:gd name="connsiteX23" fmla="*/ 777884 w 3871389"/>
              <a:gd name="connsiteY23" fmla="*/ 466215 h 2140469"/>
              <a:gd name="connsiteX24" fmla="*/ 821672 w 3871389"/>
              <a:gd name="connsiteY24" fmla="*/ 468791 h 2140469"/>
              <a:gd name="connsiteX25" fmla="*/ 873188 w 3871389"/>
              <a:gd name="connsiteY25" fmla="*/ 499700 h 2140469"/>
              <a:gd name="connsiteX26" fmla="*/ 901521 w 3871389"/>
              <a:gd name="connsiteY26" fmla="*/ 553792 h 2140469"/>
              <a:gd name="connsiteX27" fmla="*/ 945309 w 3871389"/>
              <a:gd name="connsiteY27" fmla="*/ 574398 h 2140469"/>
              <a:gd name="connsiteX28" fmla="*/ 1014855 w 3871389"/>
              <a:gd name="connsiteY28" fmla="*/ 641368 h 2140469"/>
              <a:gd name="connsiteX29" fmla="*/ 1076674 w 3871389"/>
              <a:gd name="connsiteY29" fmla="*/ 680005 h 2140469"/>
              <a:gd name="connsiteX30" fmla="*/ 1112735 w 3871389"/>
              <a:gd name="connsiteY30" fmla="*/ 654247 h 2140469"/>
              <a:gd name="connsiteX31" fmla="*/ 1138492 w 3871389"/>
              <a:gd name="connsiteY31" fmla="*/ 667126 h 2140469"/>
              <a:gd name="connsiteX32" fmla="*/ 1151371 w 3871389"/>
              <a:gd name="connsiteY32" fmla="*/ 680005 h 2140469"/>
              <a:gd name="connsiteX33" fmla="*/ 1192584 w 3871389"/>
              <a:gd name="connsiteY33" fmla="*/ 651671 h 2140469"/>
              <a:gd name="connsiteX34" fmla="*/ 1215766 w 3871389"/>
              <a:gd name="connsiteY34" fmla="*/ 628489 h 2140469"/>
              <a:gd name="connsiteX35" fmla="*/ 1251826 w 3871389"/>
              <a:gd name="connsiteY35" fmla="*/ 628489 h 2140469"/>
              <a:gd name="connsiteX36" fmla="*/ 1290463 w 3871389"/>
              <a:gd name="connsiteY36" fmla="*/ 664550 h 2140469"/>
              <a:gd name="connsiteX37" fmla="*/ 1293039 w 3871389"/>
              <a:gd name="connsiteY37" fmla="*/ 739247 h 2140469"/>
              <a:gd name="connsiteX38" fmla="*/ 1336827 w 3871389"/>
              <a:gd name="connsiteY38" fmla="*/ 770157 h 2140469"/>
              <a:gd name="connsiteX39" fmla="*/ 1408949 w 3871389"/>
              <a:gd name="connsiteY39" fmla="*/ 813945 h 2140469"/>
              <a:gd name="connsiteX40" fmla="*/ 1455313 w 3871389"/>
              <a:gd name="connsiteY40" fmla="*/ 826824 h 2140469"/>
              <a:gd name="connsiteX41" fmla="*/ 1483646 w 3871389"/>
              <a:gd name="connsiteY41" fmla="*/ 816521 h 2140469"/>
              <a:gd name="connsiteX42" fmla="*/ 1514555 w 3871389"/>
              <a:gd name="connsiteY42" fmla="*/ 834551 h 2140469"/>
              <a:gd name="connsiteX43" fmla="*/ 1555768 w 3871389"/>
              <a:gd name="connsiteY43" fmla="*/ 813945 h 2140469"/>
              <a:gd name="connsiteX44" fmla="*/ 1571223 w 3871389"/>
              <a:gd name="connsiteY44" fmla="*/ 790763 h 2140469"/>
              <a:gd name="connsiteX45" fmla="*/ 1602132 w 3871389"/>
              <a:gd name="connsiteY45" fmla="*/ 813945 h 2140469"/>
              <a:gd name="connsiteX46" fmla="*/ 1635617 w 3871389"/>
              <a:gd name="connsiteY46" fmla="*/ 793339 h 2140469"/>
              <a:gd name="connsiteX47" fmla="*/ 1645920 w 3871389"/>
              <a:gd name="connsiteY47" fmla="*/ 765005 h 2140469"/>
              <a:gd name="connsiteX48" fmla="*/ 1694860 w 3871389"/>
              <a:gd name="connsiteY48" fmla="*/ 785611 h 2140469"/>
              <a:gd name="connsiteX49" fmla="*/ 1748951 w 3871389"/>
              <a:gd name="connsiteY49" fmla="*/ 842278 h 2140469"/>
              <a:gd name="connsiteX50" fmla="*/ 1803042 w 3871389"/>
              <a:gd name="connsiteY50" fmla="*/ 847430 h 2140469"/>
              <a:gd name="connsiteX51" fmla="*/ 1823648 w 3871389"/>
              <a:gd name="connsiteY51" fmla="*/ 831975 h 2140469"/>
              <a:gd name="connsiteX52" fmla="*/ 1870012 w 3871389"/>
              <a:gd name="connsiteY52" fmla="*/ 834551 h 2140469"/>
              <a:gd name="connsiteX53" fmla="*/ 1906073 w 3871389"/>
              <a:gd name="connsiteY53" fmla="*/ 868036 h 2140469"/>
              <a:gd name="connsiteX54" fmla="*/ 1921528 w 3871389"/>
              <a:gd name="connsiteY54" fmla="*/ 927279 h 2140469"/>
              <a:gd name="connsiteX55" fmla="*/ 1962740 w 3871389"/>
              <a:gd name="connsiteY55" fmla="*/ 996825 h 2140469"/>
              <a:gd name="connsiteX56" fmla="*/ 1960164 w 3871389"/>
              <a:gd name="connsiteY56" fmla="*/ 1045765 h 2140469"/>
              <a:gd name="connsiteX57" fmla="*/ 1983346 w 3871389"/>
              <a:gd name="connsiteY57" fmla="*/ 1089553 h 2140469"/>
              <a:gd name="connsiteX58" fmla="*/ 2032286 w 3871389"/>
              <a:gd name="connsiteY58" fmla="*/ 1099856 h 2140469"/>
              <a:gd name="connsiteX59" fmla="*/ 2060620 w 3871389"/>
              <a:gd name="connsiteY59" fmla="*/ 1128189 h 2140469"/>
              <a:gd name="connsiteX60" fmla="*/ 2137893 w 3871389"/>
              <a:gd name="connsiteY60" fmla="*/ 1156523 h 2140469"/>
              <a:gd name="connsiteX61" fmla="*/ 2184257 w 3871389"/>
              <a:gd name="connsiteY61" fmla="*/ 1135917 h 2140469"/>
              <a:gd name="connsiteX62" fmla="*/ 2220318 w 3871389"/>
              <a:gd name="connsiteY62" fmla="*/ 1135917 h 2140469"/>
              <a:gd name="connsiteX63" fmla="*/ 2248651 w 3871389"/>
              <a:gd name="connsiteY63" fmla="*/ 1190008 h 2140469"/>
              <a:gd name="connsiteX64" fmla="*/ 2269257 w 3871389"/>
              <a:gd name="connsiteY64" fmla="*/ 1231220 h 2140469"/>
              <a:gd name="connsiteX65" fmla="*/ 2305318 w 3871389"/>
              <a:gd name="connsiteY65" fmla="*/ 1254402 h 2140469"/>
              <a:gd name="connsiteX66" fmla="*/ 2346531 w 3871389"/>
              <a:gd name="connsiteY66" fmla="*/ 1251826 h 2140469"/>
              <a:gd name="connsiteX67" fmla="*/ 2390319 w 3871389"/>
              <a:gd name="connsiteY67" fmla="*/ 1287887 h 2140469"/>
              <a:gd name="connsiteX68" fmla="*/ 2457289 w 3871389"/>
              <a:gd name="connsiteY68" fmla="*/ 1311069 h 2140469"/>
              <a:gd name="connsiteX69" fmla="*/ 2529411 w 3871389"/>
              <a:gd name="connsiteY69" fmla="*/ 1303342 h 2140469"/>
              <a:gd name="connsiteX70" fmla="*/ 2557744 w 3871389"/>
              <a:gd name="connsiteY70" fmla="*/ 1285312 h 2140469"/>
              <a:gd name="connsiteX71" fmla="*/ 2573199 w 3871389"/>
              <a:gd name="connsiteY71" fmla="*/ 1303342 h 2140469"/>
              <a:gd name="connsiteX72" fmla="*/ 2580926 w 3871389"/>
              <a:gd name="connsiteY72" fmla="*/ 1339403 h 2140469"/>
              <a:gd name="connsiteX73" fmla="*/ 2629866 w 3871389"/>
              <a:gd name="connsiteY73" fmla="*/ 1352282 h 2140469"/>
              <a:gd name="connsiteX74" fmla="*/ 2650472 w 3871389"/>
              <a:gd name="connsiteY74" fmla="*/ 1380615 h 2140469"/>
              <a:gd name="connsiteX75" fmla="*/ 2681381 w 3871389"/>
              <a:gd name="connsiteY75" fmla="*/ 1426979 h 2140469"/>
              <a:gd name="connsiteX76" fmla="*/ 2743200 w 3871389"/>
              <a:gd name="connsiteY76" fmla="*/ 1442434 h 2140469"/>
              <a:gd name="connsiteX77" fmla="*/ 2812746 w 3871389"/>
              <a:gd name="connsiteY77" fmla="*/ 1473343 h 2140469"/>
              <a:gd name="connsiteX78" fmla="*/ 2843655 w 3871389"/>
              <a:gd name="connsiteY78" fmla="*/ 1468192 h 2140469"/>
              <a:gd name="connsiteX79" fmla="*/ 2877140 w 3871389"/>
              <a:gd name="connsiteY79" fmla="*/ 1496525 h 2140469"/>
              <a:gd name="connsiteX80" fmla="*/ 2923504 w 3871389"/>
              <a:gd name="connsiteY80" fmla="*/ 1504252 h 2140469"/>
              <a:gd name="connsiteX81" fmla="*/ 2946686 w 3871389"/>
              <a:gd name="connsiteY81" fmla="*/ 1540313 h 2140469"/>
              <a:gd name="connsiteX82" fmla="*/ 2990474 w 3871389"/>
              <a:gd name="connsiteY82" fmla="*/ 1576374 h 2140469"/>
              <a:gd name="connsiteX83" fmla="*/ 3052293 w 3871389"/>
              <a:gd name="connsiteY83" fmla="*/ 1581526 h 2140469"/>
              <a:gd name="connsiteX84" fmla="*/ 3052293 w 3871389"/>
              <a:gd name="connsiteY84" fmla="*/ 1581526 h 2140469"/>
              <a:gd name="connsiteX85" fmla="*/ 3072899 w 3871389"/>
              <a:gd name="connsiteY85" fmla="*/ 1560919 h 2140469"/>
              <a:gd name="connsiteX86" fmla="*/ 3090930 w 3871389"/>
              <a:gd name="connsiteY86" fmla="*/ 1581526 h 2140469"/>
              <a:gd name="connsiteX87" fmla="*/ 3090930 w 3871389"/>
              <a:gd name="connsiteY87" fmla="*/ 1622738 h 2140469"/>
              <a:gd name="connsiteX88" fmla="*/ 3124415 w 3871389"/>
              <a:gd name="connsiteY88" fmla="*/ 1643344 h 2140469"/>
              <a:gd name="connsiteX89" fmla="*/ 3163051 w 3871389"/>
              <a:gd name="connsiteY89" fmla="*/ 1643344 h 2140469"/>
              <a:gd name="connsiteX90" fmla="*/ 3204264 w 3871389"/>
              <a:gd name="connsiteY90" fmla="*/ 1669102 h 2140469"/>
              <a:gd name="connsiteX91" fmla="*/ 3211991 w 3871389"/>
              <a:gd name="connsiteY91" fmla="*/ 1720617 h 2140469"/>
              <a:gd name="connsiteX92" fmla="*/ 3240324 w 3871389"/>
              <a:gd name="connsiteY92" fmla="*/ 1746375 h 2140469"/>
              <a:gd name="connsiteX93" fmla="*/ 3240324 w 3871389"/>
              <a:gd name="connsiteY93" fmla="*/ 1769557 h 2140469"/>
              <a:gd name="connsiteX94" fmla="*/ 3284113 w 3871389"/>
              <a:gd name="connsiteY94" fmla="*/ 1797891 h 2140469"/>
              <a:gd name="connsiteX95" fmla="*/ 3278961 w 3871389"/>
              <a:gd name="connsiteY95" fmla="*/ 1846830 h 2140469"/>
              <a:gd name="connsiteX96" fmla="*/ 3317598 w 3871389"/>
              <a:gd name="connsiteY96" fmla="*/ 1882891 h 2140469"/>
              <a:gd name="connsiteX97" fmla="*/ 3363962 w 3871389"/>
              <a:gd name="connsiteY97" fmla="*/ 1918952 h 2140469"/>
              <a:gd name="connsiteX98" fmla="*/ 3407750 w 3871389"/>
              <a:gd name="connsiteY98" fmla="*/ 1906073 h 2140469"/>
              <a:gd name="connsiteX99" fmla="*/ 3461841 w 3871389"/>
              <a:gd name="connsiteY99" fmla="*/ 1936983 h 2140469"/>
              <a:gd name="connsiteX100" fmla="*/ 3492750 w 3871389"/>
              <a:gd name="connsiteY100" fmla="*/ 1913801 h 2140469"/>
              <a:gd name="connsiteX101" fmla="*/ 3544266 w 3871389"/>
              <a:gd name="connsiteY101" fmla="*/ 1939558 h 2140469"/>
              <a:gd name="connsiteX102" fmla="*/ 3588054 w 3871389"/>
              <a:gd name="connsiteY102" fmla="*/ 1985922 h 2140469"/>
              <a:gd name="connsiteX103" fmla="*/ 3626691 w 3871389"/>
              <a:gd name="connsiteY103" fmla="*/ 2058044 h 2140469"/>
              <a:gd name="connsiteX104" fmla="*/ 3647297 w 3871389"/>
              <a:gd name="connsiteY104" fmla="*/ 2070923 h 2140469"/>
              <a:gd name="connsiteX105" fmla="*/ 3665327 w 3871389"/>
              <a:gd name="connsiteY105" fmla="*/ 2101832 h 2140469"/>
              <a:gd name="connsiteX106" fmla="*/ 3688509 w 3871389"/>
              <a:gd name="connsiteY106" fmla="*/ 2140469 h 2140469"/>
              <a:gd name="connsiteX107" fmla="*/ 3716843 w 3871389"/>
              <a:gd name="connsiteY107" fmla="*/ 2140469 h 2140469"/>
              <a:gd name="connsiteX108" fmla="*/ 3740025 w 3871389"/>
              <a:gd name="connsiteY108" fmla="*/ 2112135 h 2140469"/>
              <a:gd name="connsiteX109" fmla="*/ 3776086 w 3871389"/>
              <a:gd name="connsiteY109" fmla="*/ 2076074 h 2140469"/>
              <a:gd name="connsiteX110" fmla="*/ 3773510 w 3871389"/>
              <a:gd name="connsiteY110" fmla="*/ 2034862 h 2140469"/>
              <a:gd name="connsiteX111" fmla="*/ 3788964 w 3871389"/>
              <a:gd name="connsiteY111" fmla="*/ 2011680 h 2140469"/>
              <a:gd name="connsiteX112" fmla="*/ 3786389 w 3871389"/>
              <a:gd name="connsiteY112" fmla="*/ 1939558 h 2140469"/>
              <a:gd name="connsiteX113" fmla="*/ 3812146 w 3871389"/>
              <a:gd name="connsiteY113" fmla="*/ 1898346 h 2140469"/>
              <a:gd name="connsiteX114" fmla="*/ 3791540 w 3871389"/>
              <a:gd name="connsiteY114" fmla="*/ 1864861 h 2140469"/>
              <a:gd name="connsiteX115" fmla="*/ 3819874 w 3871389"/>
              <a:gd name="connsiteY115" fmla="*/ 1826224 h 2140469"/>
              <a:gd name="connsiteX116" fmla="*/ 3827601 w 3871389"/>
              <a:gd name="connsiteY116" fmla="*/ 1792739 h 2140469"/>
              <a:gd name="connsiteX117" fmla="*/ 3791540 w 3871389"/>
              <a:gd name="connsiteY117" fmla="*/ 1741224 h 2140469"/>
              <a:gd name="connsiteX118" fmla="*/ 3729722 w 3871389"/>
              <a:gd name="connsiteY118" fmla="*/ 1692284 h 2140469"/>
              <a:gd name="connsiteX119" fmla="*/ 3716843 w 3871389"/>
              <a:gd name="connsiteY119" fmla="*/ 1643344 h 2140469"/>
              <a:gd name="connsiteX120" fmla="*/ 3706540 w 3871389"/>
              <a:gd name="connsiteY120" fmla="*/ 1586677 h 2140469"/>
              <a:gd name="connsiteX121" fmla="*/ 3685933 w 3871389"/>
              <a:gd name="connsiteY121" fmla="*/ 1550616 h 2140469"/>
              <a:gd name="connsiteX122" fmla="*/ 3698812 w 3871389"/>
              <a:gd name="connsiteY122" fmla="*/ 1511980 h 2140469"/>
              <a:gd name="connsiteX123" fmla="*/ 3649873 w 3871389"/>
              <a:gd name="connsiteY123" fmla="*/ 1390918 h 2140469"/>
              <a:gd name="connsiteX124" fmla="*/ 3649873 w 3871389"/>
              <a:gd name="connsiteY124" fmla="*/ 1347130 h 2140469"/>
              <a:gd name="connsiteX125" fmla="*/ 3624115 w 3871389"/>
              <a:gd name="connsiteY125" fmla="*/ 1282736 h 2140469"/>
              <a:gd name="connsiteX126" fmla="*/ 3621539 w 3871389"/>
              <a:gd name="connsiteY126" fmla="*/ 1246675 h 2140469"/>
              <a:gd name="connsiteX127" fmla="*/ 3600933 w 3871389"/>
              <a:gd name="connsiteY127" fmla="*/ 1208038 h 2140469"/>
              <a:gd name="connsiteX128" fmla="*/ 3521084 w 3871389"/>
              <a:gd name="connsiteY128" fmla="*/ 1161674 h 2140469"/>
              <a:gd name="connsiteX129" fmla="*/ 3518508 w 3871389"/>
              <a:gd name="connsiteY129" fmla="*/ 1125614 h 2140469"/>
              <a:gd name="connsiteX130" fmla="*/ 3487599 w 3871389"/>
              <a:gd name="connsiteY130" fmla="*/ 1102432 h 2140469"/>
              <a:gd name="connsiteX131" fmla="*/ 3464417 w 3871389"/>
              <a:gd name="connsiteY131" fmla="*/ 1102432 h 2140469"/>
              <a:gd name="connsiteX132" fmla="*/ 3420629 w 3871389"/>
              <a:gd name="connsiteY132" fmla="*/ 1105007 h 2140469"/>
              <a:gd name="connsiteX133" fmla="*/ 3351083 w 3871389"/>
              <a:gd name="connsiteY133" fmla="*/ 1066371 h 2140469"/>
              <a:gd name="connsiteX134" fmla="*/ 3299567 w 3871389"/>
              <a:gd name="connsiteY134" fmla="*/ 1001976 h 2140469"/>
              <a:gd name="connsiteX135" fmla="*/ 3255779 w 3871389"/>
              <a:gd name="connsiteY135" fmla="*/ 978794 h 2140469"/>
              <a:gd name="connsiteX136" fmla="*/ 3250628 w 3871389"/>
              <a:gd name="connsiteY136" fmla="*/ 942734 h 2140469"/>
              <a:gd name="connsiteX137" fmla="*/ 3227446 w 3871389"/>
              <a:gd name="connsiteY137" fmla="*/ 893794 h 2140469"/>
              <a:gd name="connsiteX138" fmla="*/ 3186233 w 3871389"/>
              <a:gd name="connsiteY138" fmla="*/ 862885 h 2140469"/>
              <a:gd name="connsiteX139" fmla="*/ 3191385 w 3871389"/>
              <a:gd name="connsiteY139" fmla="*/ 819096 h 2140469"/>
              <a:gd name="connsiteX140" fmla="*/ 3227446 w 3871389"/>
              <a:gd name="connsiteY140" fmla="*/ 762429 h 2140469"/>
              <a:gd name="connsiteX141" fmla="*/ 3232597 w 3871389"/>
              <a:gd name="connsiteY141" fmla="*/ 698035 h 2140469"/>
              <a:gd name="connsiteX142" fmla="*/ 3260931 w 3871389"/>
              <a:gd name="connsiteY142" fmla="*/ 661974 h 2140469"/>
              <a:gd name="connsiteX143" fmla="*/ 3307295 w 3871389"/>
              <a:gd name="connsiteY143" fmla="*/ 638792 h 2140469"/>
              <a:gd name="connsiteX144" fmla="*/ 3330477 w 3871389"/>
              <a:gd name="connsiteY144" fmla="*/ 595004 h 2140469"/>
              <a:gd name="connsiteX145" fmla="*/ 3379416 w 3871389"/>
              <a:gd name="connsiteY145" fmla="*/ 592428 h 2140469"/>
              <a:gd name="connsiteX146" fmla="*/ 3410326 w 3871389"/>
              <a:gd name="connsiteY146" fmla="*/ 607883 h 2140469"/>
              <a:gd name="connsiteX147" fmla="*/ 3485023 w 3871389"/>
              <a:gd name="connsiteY147" fmla="*/ 592428 h 2140469"/>
              <a:gd name="connsiteX148" fmla="*/ 3521084 w 3871389"/>
              <a:gd name="connsiteY148" fmla="*/ 618186 h 2140469"/>
              <a:gd name="connsiteX149" fmla="*/ 3570024 w 3871389"/>
              <a:gd name="connsiteY149" fmla="*/ 610459 h 2140469"/>
              <a:gd name="connsiteX150" fmla="*/ 3621539 w 3871389"/>
              <a:gd name="connsiteY150" fmla="*/ 628489 h 2140469"/>
              <a:gd name="connsiteX151" fmla="*/ 3701388 w 3871389"/>
              <a:gd name="connsiteY151" fmla="*/ 667126 h 2140469"/>
              <a:gd name="connsiteX152" fmla="*/ 3825025 w 3871389"/>
              <a:gd name="connsiteY152" fmla="*/ 677429 h 2140469"/>
              <a:gd name="connsiteX153" fmla="*/ 3871389 w 3871389"/>
              <a:gd name="connsiteY153" fmla="*/ 667126 h 2140469"/>
              <a:gd name="connsiteX154" fmla="*/ 3853359 w 3871389"/>
              <a:gd name="connsiteY154" fmla="*/ 641368 h 2140469"/>
              <a:gd name="connsiteX155" fmla="*/ 3850783 w 3871389"/>
              <a:gd name="connsiteY155" fmla="*/ 610459 h 2140469"/>
              <a:gd name="connsiteX0" fmla="*/ 0 w 3840480"/>
              <a:gd name="connsiteY0" fmla="*/ 7727 h 2140469"/>
              <a:gd name="connsiteX1" fmla="*/ 36061 w 3840480"/>
              <a:gd name="connsiteY1" fmla="*/ 18030 h 2140469"/>
              <a:gd name="connsiteX2" fmla="*/ 61819 w 3840480"/>
              <a:gd name="connsiteY2" fmla="*/ 0 h 2140469"/>
              <a:gd name="connsiteX3" fmla="*/ 90152 w 3840480"/>
              <a:gd name="connsiteY3" fmla="*/ 12879 h 2140469"/>
              <a:gd name="connsiteX4" fmla="*/ 77274 w 3840480"/>
              <a:gd name="connsiteY4" fmla="*/ 66970 h 2140469"/>
              <a:gd name="connsiteX5" fmla="*/ 103031 w 3840480"/>
              <a:gd name="connsiteY5" fmla="*/ 100455 h 2140469"/>
              <a:gd name="connsiteX6" fmla="*/ 85001 w 3840480"/>
              <a:gd name="connsiteY6" fmla="*/ 136516 h 2140469"/>
              <a:gd name="connsiteX7" fmla="*/ 95304 w 3840480"/>
              <a:gd name="connsiteY7" fmla="*/ 162274 h 2140469"/>
              <a:gd name="connsiteX8" fmla="*/ 157123 w 3840480"/>
              <a:gd name="connsiteY8" fmla="*/ 159698 h 2140469"/>
              <a:gd name="connsiteX9" fmla="*/ 224093 w 3840480"/>
              <a:gd name="connsiteY9" fmla="*/ 167425 h 2140469"/>
              <a:gd name="connsiteX10" fmla="*/ 273032 w 3840480"/>
              <a:gd name="connsiteY10" fmla="*/ 193183 h 2140469"/>
              <a:gd name="connsiteX11" fmla="*/ 306517 w 3840480"/>
              <a:gd name="connsiteY11" fmla="*/ 244699 h 2140469"/>
              <a:gd name="connsiteX12" fmla="*/ 368336 w 3840480"/>
              <a:gd name="connsiteY12" fmla="*/ 265305 h 2140469"/>
              <a:gd name="connsiteX13" fmla="*/ 412124 w 3840480"/>
              <a:gd name="connsiteY13" fmla="*/ 265305 h 2140469"/>
              <a:gd name="connsiteX14" fmla="*/ 450761 w 3840480"/>
              <a:gd name="connsiteY14" fmla="*/ 314245 h 2140469"/>
              <a:gd name="connsiteX15" fmla="*/ 491973 w 3840480"/>
              <a:gd name="connsiteY15" fmla="*/ 301366 h 2140469"/>
              <a:gd name="connsiteX16" fmla="*/ 538337 w 3840480"/>
              <a:gd name="connsiteY16" fmla="*/ 319396 h 2140469"/>
              <a:gd name="connsiteX17" fmla="*/ 582125 w 3840480"/>
              <a:gd name="connsiteY17" fmla="*/ 309093 h 2140469"/>
              <a:gd name="connsiteX18" fmla="*/ 649095 w 3840480"/>
              <a:gd name="connsiteY18" fmla="*/ 324548 h 2140469"/>
              <a:gd name="connsiteX19" fmla="*/ 690308 w 3840480"/>
              <a:gd name="connsiteY19" fmla="*/ 314245 h 2140469"/>
              <a:gd name="connsiteX20" fmla="*/ 716066 w 3840480"/>
              <a:gd name="connsiteY20" fmla="*/ 342578 h 2140469"/>
              <a:gd name="connsiteX21" fmla="*/ 723793 w 3840480"/>
              <a:gd name="connsiteY21" fmla="*/ 412124 h 2140469"/>
              <a:gd name="connsiteX22" fmla="*/ 746975 w 3840480"/>
              <a:gd name="connsiteY22" fmla="*/ 466215 h 2140469"/>
              <a:gd name="connsiteX23" fmla="*/ 790763 w 3840480"/>
              <a:gd name="connsiteY23" fmla="*/ 468791 h 2140469"/>
              <a:gd name="connsiteX24" fmla="*/ 842279 w 3840480"/>
              <a:gd name="connsiteY24" fmla="*/ 499700 h 2140469"/>
              <a:gd name="connsiteX25" fmla="*/ 870612 w 3840480"/>
              <a:gd name="connsiteY25" fmla="*/ 553792 h 2140469"/>
              <a:gd name="connsiteX26" fmla="*/ 914400 w 3840480"/>
              <a:gd name="connsiteY26" fmla="*/ 574398 h 2140469"/>
              <a:gd name="connsiteX27" fmla="*/ 983946 w 3840480"/>
              <a:gd name="connsiteY27" fmla="*/ 641368 h 2140469"/>
              <a:gd name="connsiteX28" fmla="*/ 1045765 w 3840480"/>
              <a:gd name="connsiteY28" fmla="*/ 680005 h 2140469"/>
              <a:gd name="connsiteX29" fmla="*/ 1081826 w 3840480"/>
              <a:gd name="connsiteY29" fmla="*/ 654247 h 2140469"/>
              <a:gd name="connsiteX30" fmla="*/ 1107583 w 3840480"/>
              <a:gd name="connsiteY30" fmla="*/ 667126 h 2140469"/>
              <a:gd name="connsiteX31" fmla="*/ 1120462 w 3840480"/>
              <a:gd name="connsiteY31" fmla="*/ 680005 h 2140469"/>
              <a:gd name="connsiteX32" fmla="*/ 1161675 w 3840480"/>
              <a:gd name="connsiteY32" fmla="*/ 651671 h 2140469"/>
              <a:gd name="connsiteX33" fmla="*/ 1184857 w 3840480"/>
              <a:gd name="connsiteY33" fmla="*/ 628489 h 2140469"/>
              <a:gd name="connsiteX34" fmla="*/ 1220917 w 3840480"/>
              <a:gd name="connsiteY34" fmla="*/ 628489 h 2140469"/>
              <a:gd name="connsiteX35" fmla="*/ 1259554 w 3840480"/>
              <a:gd name="connsiteY35" fmla="*/ 664550 h 2140469"/>
              <a:gd name="connsiteX36" fmla="*/ 1262130 w 3840480"/>
              <a:gd name="connsiteY36" fmla="*/ 739247 h 2140469"/>
              <a:gd name="connsiteX37" fmla="*/ 1305918 w 3840480"/>
              <a:gd name="connsiteY37" fmla="*/ 770157 h 2140469"/>
              <a:gd name="connsiteX38" fmla="*/ 1378040 w 3840480"/>
              <a:gd name="connsiteY38" fmla="*/ 813945 h 2140469"/>
              <a:gd name="connsiteX39" fmla="*/ 1424404 w 3840480"/>
              <a:gd name="connsiteY39" fmla="*/ 826824 h 2140469"/>
              <a:gd name="connsiteX40" fmla="*/ 1452737 w 3840480"/>
              <a:gd name="connsiteY40" fmla="*/ 816521 h 2140469"/>
              <a:gd name="connsiteX41" fmla="*/ 1483646 w 3840480"/>
              <a:gd name="connsiteY41" fmla="*/ 834551 h 2140469"/>
              <a:gd name="connsiteX42" fmla="*/ 1524859 w 3840480"/>
              <a:gd name="connsiteY42" fmla="*/ 813945 h 2140469"/>
              <a:gd name="connsiteX43" fmla="*/ 1540314 w 3840480"/>
              <a:gd name="connsiteY43" fmla="*/ 790763 h 2140469"/>
              <a:gd name="connsiteX44" fmla="*/ 1571223 w 3840480"/>
              <a:gd name="connsiteY44" fmla="*/ 813945 h 2140469"/>
              <a:gd name="connsiteX45" fmla="*/ 1604708 w 3840480"/>
              <a:gd name="connsiteY45" fmla="*/ 793339 h 2140469"/>
              <a:gd name="connsiteX46" fmla="*/ 1615011 w 3840480"/>
              <a:gd name="connsiteY46" fmla="*/ 765005 h 2140469"/>
              <a:gd name="connsiteX47" fmla="*/ 1663951 w 3840480"/>
              <a:gd name="connsiteY47" fmla="*/ 785611 h 2140469"/>
              <a:gd name="connsiteX48" fmla="*/ 1718042 w 3840480"/>
              <a:gd name="connsiteY48" fmla="*/ 842278 h 2140469"/>
              <a:gd name="connsiteX49" fmla="*/ 1772133 w 3840480"/>
              <a:gd name="connsiteY49" fmla="*/ 847430 h 2140469"/>
              <a:gd name="connsiteX50" fmla="*/ 1792739 w 3840480"/>
              <a:gd name="connsiteY50" fmla="*/ 831975 h 2140469"/>
              <a:gd name="connsiteX51" fmla="*/ 1839103 w 3840480"/>
              <a:gd name="connsiteY51" fmla="*/ 834551 h 2140469"/>
              <a:gd name="connsiteX52" fmla="*/ 1875164 w 3840480"/>
              <a:gd name="connsiteY52" fmla="*/ 868036 h 2140469"/>
              <a:gd name="connsiteX53" fmla="*/ 1890619 w 3840480"/>
              <a:gd name="connsiteY53" fmla="*/ 927279 h 2140469"/>
              <a:gd name="connsiteX54" fmla="*/ 1931831 w 3840480"/>
              <a:gd name="connsiteY54" fmla="*/ 996825 h 2140469"/>
              <a:gd name="connsiteX55" fmla="*/ 1929255 w 3840480"/>
              <a:gd name="connsiteY55" fmla="*/ 1045765 h 2140469"/>
              <a:gd name="connsiteX56" fmla="*/ 1952437 w 3840480"/>
              <a:gd name="connsiteY56" fmla="*/ 1089553 h 2140469"/>
              <a:gd name="connsiteX57" fmla="*/ 2001377 w 3840480"/>
              <a:gd name="connsiteY57" fmla="*/ 1099856 h 2140469"/>
              <a:gd name="connsiteX58" fmla="*/ 2029711 w 3840480"/>
              <a:gd name="connsiteY58" fmla="*/ 1128189 h 2140469"/>
              <a:gd name="connsiteX59" fmla="*/ 2106984 w 3840480"/>
              <a:gd name="connsiteY59" fmla="*/ 1156523 h 2140469"/>
              <a:gd name="connsiteX60" fmla="*/ 2153348 w 3840480"/>
              <a:gd name="connsiteY60" fmla="*/ 1135917 h 2140469"/>
              <a:gd name="connsiteX61" fmla="*/ 2189409 w 3840480"/>
              <a:gd name="connsiteY61" fmla="*/ 1135917 h 2140469"/>
              <a:gd name="connsiteX62" fmla="*/ 2217742 w 3840480"/>
              <a:gd name="connsiteY62" fmla="*/ 1190008 h 2140469"/>
              <a:gd name="connsiteX63" fmla="*/ 2238348 w 3840480"/>
              <a:gd name="connsiteY63" fmla="*/ 1231220 h 2140469"/>
              <a:gd name="connsiteX64" fmla="*/ 2274409 w 3840480"/>
              <a:gd name="connsiteY64" fmla="*/ 1254402 h 2140469"/>
              <a:gd name="connsiteX65" fmla="*/ 2315622 w 3840480"/>
              <a:gd name="connsiteY65" fmla="*/ 1251826 h 2140469"/>
              <a:gd name="connsiteX66" fmla="*/ 2359410 w 3840480"/>
              <a:gd name="connsiteY66" fmla="*/ 1287887 h 2140469"/>
              <a:gd name="connsiteX67" fmla="*/ 2426380 w 3840480"/>
              <a:gd name="connsiteY67" fmla="*/ 1311069 h 2140469"/>
              <a:gd name="connsiteX68" fmla="*/ 2498502 w 3840480"/>
              <a:gd name="connsiteY68" fmla="*/ 1303342 h 2140469"/>
              <a:gd name="connsiteX69" fmla="*/ 2526835 w 3840480"/>
              <a:gd name="connsiteY69" fmla="*/ 1285312 h 2140469"/>
              <a:gd name="connsiteX70" fmla="*/ 2542290 w 3840480"/>
              <a:gd name="connsiteY70" fmla="*/ 1303342 h 2140469"/>
              <a:gd name="connsiteX71" fmla="*/ 2550017 w 3840480"/>
              <a:gd name="connsiteY71" fmla="*/ 1339403 h 2140469"/>
              <a:gd name="connsiteX72" fmla="*/ 2598957 w 3840480"/>
              <a:gd name="connsiteY72" fmla="*/ 1352282 h 2140469"/>
              <a:gd name="connsiteX73" fmla="*/ 2619563 w 3840480"/>
              <a:gd name="connsiteY73" fmla="*/ 1380615 h 2140469"/>
              <a:gd name="connsiteX74" fmla="*/ 2650472 w 3840480"/>
              <a:gd name="connsiteY74" fmla="*/ 1426979 h 2140469"/>
              <a:gd name="connsiteX75" fmla="*/ 2712291 w 3840480"/>
              <a:gd name="connsiteY75" fmla="*/ 1442434 h 2140469"/>
              <a:gd name="connsiteX76" fmla="*/ 2781837 w 3840480"/>
              <a:gd name="connsiteY76" fmla="*/ 1473343 h 2140469"/>
              <a:gd name="connsiteX77" fmla="*/ 2812746 w 3840480"/>
              <a:gd name="connsiteY77" fmla="*/ 1468192 h 2140469"/>
              <a:gd name="connsiteX78" fmla="*/ 2846231 w 3840480"/>
              <a:gd name="connsiteY78" fmla="*/ 1496525 h 2140469"/>
              <a:gd name="connsiteX79" fmla="*/ 2892595 w 3840480"/>
              <a:gd name="connsiteY79" fmla="*/ 1504252 h 2140469"/>
              <a:gd name="connsiteX80" fmla="*/ 2915777 w 3840480"/>
              <a:gd name="connsiteY80" fmla="*/ 1540313 h 2140469"/>
              <a:gd name="connsiteX81" fmla="*/ 2959565 w 3840480"/>
              <a:gd name="connsiteY81" fmla="*/ 1576374 h 2140469"/>
              <a:gd name="connsiteX82" fmla="*/ 3021384 w 3840480"/>
              <a:gd name="connsiteY82" fmla="*/ 1581526 h 2140469"/>
              <a:gd name="connsiteX83" fmla="*/ 3021384 w 3840480"/>
              <a:gd name="connsiteY83" fmla="*/ 1581526 h 2140469"/>
              <a:gd name="connsiteX84" fmla="*/ 3041990 w 3840480"/>
              <a:gd name="connsiteY84" fmla="*/ 1560919 h 2140469"/>
              <a:gd name="connsiteX85" fmla="*/ 3060021 w 3840480"/>
              <a:gd name="connsiteY85" fmla="*/ 1581526 h 2140469"/>
              <a:gd name="connsiteX86" fmla="*/ 3060021 w 3840480"/>
              <a:gd name="connsiteY86" fmla="*/ 1622738 h 2140469"/>
              <a:gd name="connsiteX87" fmla="*/ 3093506 w 3840480"/>
              <a:gd name="connsiteY87" fmla="*/ 1643344 h 2140469"/>
              <a:gd name="connsiteX88" fmla="*/ 3132142 w 3840480"/>
              <a:gd name="connsiteY88" fmla="*/ 1643344 h 2140469"/>
              <a:gd name="connsiteX89" fmla="*/ 3173355 w 3840480"/>
              <a:gd name="connsiteY89" fmla="*/ 1669102 h 2140469"/>
              <a:gd name="connsiteX90" fmla="*/ 3181082 w 3840480"/>
              <a:gd name="connsiteY90" fmla="*/ 1720617 h 2140469"/>
              <a:gd name="connsiteX91" fmla="*/ 3209415 w 3840480"/>
              <a:gd name="connsiteY91" fmla="*/ 1746375 h 2140469"/>
              <a:gd name="connsiteX92" fmla="*/ 3209415 w 3840480"/>
              <a:gd name="connsiteY92" fmla="*/ 1769557 h 2140469"/>
              <a:gd name="connsiteX93" fmla="*/ 3253204 w 3840480"/>
              <a:gd name="connsiteY93" fmla="*/ 1797891 h 2140469"/>
              <a:gd name="connsiteX94" fmla="*/ 3248052 w 3840480"/>
              <a:gd name="connsiteY94" fmla="*/ 1846830 h 2140469"/>
              <a:gd name="connsiteX95" fmla="*/ 3286689 w 3840480"/>
              <a:gd name="connsiteY95" fmla="*/ 1882891 h 2140469"/>
              <a:gd name="connsiteX96" fmla="*/ 3333053 w 3840480"/>
              <a:gd name="connsiteY96" fmla="*/ 1918952 h 2140469"/>
              <a:gd name="connsiteX97" fmla="*/ 3376841 w 3840480"/>
              <a:gd name="connsiteY97" fmla="*/ 1906073 h 2140469"/>
              <a:gd name="connsiteX98" fmla="*/ 3430932 w 3840480"/>
              <a:gd name="connsiteY98" fmla="*/ 1936983 h 2140469"/>
              <a:gd name="connsiteX99" fmla="*/ 3461841 w 3840480"/>
              <a:gd name="connsiteY99" fmla="*/ 1913801 h 2140469"/>
              <a:gd name="connsiteX100" fmla="*/ 3513357 w 3840480"/>
              <a:gd name="connsiteY100" fmla="*/ 1939558 h 2140469"/>
              <a:gd name="connsiteX101" fmla="*/ 3557145 w 3840480"/>
              <a:gd name="connsiteY101" fmla="*/ 1985922 h 2140469"/>
              <a:gd name="connsiteX102" fmla="*/ 3595782 w 3840480"/>
              <a:gd name="connsiteY102" fmla="*/ 2058044 h 2140469"/>
              <a:gd name="connsiteX103" fmla="*/ 3616388 w 3840480"/>
              <a:gd name="connsiteY103" fmla="*/ 2070923 h 2140469"/>
              <a:gd name="connsiteX104" fmla="*/ 3634418 w 3840480"/>
              <a:gd name="connsiteY104" fmla="*/ 2101832 h 2140469"/>
              <a:gd name="connsiteX105" fmla="*/ 3657600 w 3840480"/>
              <a:gd name="connsiteY105" fmla="*/ 2140469 h 2140469"/>
              <a:gd name="connsiteX106" fmla="*/ 3685934 w 3840480"/>
              <a:gd name="connsiteY106" fmla="*/ 2140469 h 2140469"/>
              <a:gd name="connsiteX107" fmla="*/ 3709116 w 3840480"/>
              <a:gd name="connsiteY107" fmla="*/ 2112135 h 2140469"/>
              <a:gd name="connsiteX108" fmla="*/ 3745177 w 3840480"/>
              <a:gd name="connsiteY108" fmla="*/ 2076074 h 2140469"/>
              <a:gd name="connsiteX109" fmla="*/ 3742601 w 3840480"/>
              <a:gd name="connsiteY109" fmla="*/ 2034862 h 2140469"/>
              <a:gd name="connsiteX110" fmla="*/ 3758055 w 3840480"/>
              <a:gd name="connsiteY110" fmla="*/ 2011680 h 2140469"/>
              <a:gd name="connsiteX111" fmla="*/ 3755480 w 3840480"/>
              <a:gd name="connsiteY111" fmla="*/ 1939558 h 2140469"/>
              <a:gd name="connsiteX112" fmla="*/ 3781237 w 3840480"/>
              <a:gd name="connsiteY112" fmla="*/ 1898346 h 2140469"/>
              <a:gd name="connsiteX113" fmla="*/ 3760631 w 3840480"/>
              <a:gd name="connsiteY113" fmla="*/ 1864861 h 2140469"/>
              <a:gd name="connsiteX114" fmla="*/ 3788965 w 3840480"/>
              <a:gd name="connsiteY114" fmla="*/ 1826224 h 2140469"/>
              <a:gd name="connsiteX115" fmla="*/ 3796692 w 3840480"/>
              <a:gd name="connsiteY115" fmla="*/ 1792739 h 2140469"/>
              <a:gd name="connsiteX116" fmla="*/ 3760631 w 3840480"/>
              <a:gd name="connsiteY116" fmla="*/ 1741224 h 2140469"/>
              <a:gd name="connsiteX117" fmla="*/ 3698813 w 3840480"/>
              <a:gd name="connsiteY117" fmla="*/ 1692284 h 2140469"/>
              <a:gd name="connsiteX118" fmla="*/ 3685934 w 3840480"/>
              <a:gd name="connsiteY118" fmla="*/ 1643344 h 2140469"/>
              <a:gd name="connsiteX119" fmla="*/ 3675631 w 3840480"/>
              <a:gd name="connsiteY119" fmla="*/ 1586677 h 2140469"/>
              <a:gd name="connsiteX120" fmla="*/ 3655024 w 3840480"/>
              <a:gd name="connsiteY120" fmla="*/ 1550616 h 2140469"/>
              <a:gd name="connsiteX121" fmla="*/ 3667903 w 3840480"/>
              <a:gd name="connsiteY121" fmla="*/ 1511980 h 2140469"/>
              <a:gd name="connsiteX122" fmla="*/ 3618964 w 3840480"/>
              <a:gd name="connsiteY122" fmla="*/ 1390918 h 2140469"/>
              <a:gd name="connsiteX123" fmla="*/ 3618964 w 3840480"/>
              <a:gd name="connsiteY123" fmla="*/ 1347130 h 2140469"/>
              <a:gd name="connsiteX124" fmla="*/ 3593206 w 3840480"/>
              <a:gd name="connsiteY124" fmla="*/ 1282736 h 2140469"/>
              <a:gd name="connsiteX125" fmla="*/ 3590630 w 3840480"/>
              <a:gd name="connsiteY125" fmla="*/ 1246675 h 2140469"/>
              <a:gd name="connsiteX126" fmla="*/ 3570024 w 3840480"/>
              <a:gd name="connsiteY126" fmla="*/ 1208038 h 2140469"/>
              <a:gd name="connsiteX127" fmla="*/ 3490175 w 3840480"/>
              <a:gd name="connsiteY127" fmla="*/ 1161674 h 2140469"/>
              <a:gd name="connsiteX128" fmla="*/ 3487599 w 3840480"/>
              <a:gd name="connsiteY128" fmla="*/ 1125614 h 2140469"/>
              <a:gd name="connsiteX129" fmla="*/ 3456690 w 3840480"/>
              <a:gd name="connsiteY129" fmla="*/ 1102432 h 2140469"/>
              <a:gd name="connsiteX130" fmla="*/ 3433508 w 3840480"/>
              <a:gd name="connsiteY130" fmla="*/ 1102432 h 2140469"/>
              <a:gd name="connsiteX131" fmla="*/ 3389720 w 3840480"/>
              <a:gd name="connsiteY131" fmla="*/ 1105007 h 2140469"/>
              <a:gd name="connsiteX132" fmla="*/ 3320174 w 3840480"/>
              <a:gd name="connsiteY132" fmla="*/ 1066371 h 2140469"/>
              <a:gd name="connsiteX133" fmla="*/ 3268658 w 3840480"/>
              <a:gd name="connsiteY133" fmla="*/ 1001976 h 2140469"/>
              <a:gd name="connsiteX134" fmla="*/ 3224870 w 3840480"/>
              <a:gd name="connsiteY134" fmla="*/ 978794 h 2140469"/>
              <a:gd name="connsiteX135" fmla="*/ 3219719 w 3840480"/>
              <a:gd name="connsiteY135" fmla="*/ 942734 h 2140469"/>
              <a:gd name="connsiteX136" fmla="*/ 3196537 w 3840480"/>
              <a:gd name="connsiteY136" fmla="*/ 893794 h 2140469"/>
              <a:gd name="connsiteX137" fmla="*/ 3155324 w 3840480"/>
              <a:gd name="connsiteY137" fmla="*/ 862885 h 2140469"/>
              <a:gd name="connsiteX138" fmla="*/ 3160476 w 3840480"/>
              <a:gd name="connsiteY138" fmla="*/ 819096 h 2140469"/>
              <a:gd name="connsiteX139" fmla="*/ 3196537 w 3840480"/>
              <a:gd name="connsiteY139" fmla="*/ 762429 h 2140469"/>
              <a:gd name="connsiteX140" fmla="*/ 3201688 w 3840480"/>
              <a:gd name="connsiteY140" fmla="*/ 698035 h 2140469"/>
              <a:gd name="connsiteX141" fmla="*/ 3230022 w 3840480"/>
              <a:gd name="connsiteY141" fmla="*/ 661974 h 2140469"/>
              <a:gd name="connsiteX142" fmla="*/ 3276386 w 3840480"/>
              <a:gd name="connsiteY142" fmla="*/ 638792 h 2140469"/>
              <a:gd name="connsiteX143" fmla="*/ 3299568 w 3840480"/>
              <a:gd name="connsiteY143" fmla="*/ 595004 h 2140469"/>
              <a:gd name="connsiteX144" fmla="*/ 3348507 w 3840480"/>
              <a:gd name="connsiteY144" fmla="*/ 592428 h 2140469"/>
              <a:gd name="connsiteX145" fmla="*/ 3379417 w 3840480"/>
              <a:gd name="connsiteY145" fmla="*/ 607883 h 2140469"/>
              <a:gd name="connsiteX146" fmla="*/ 3454114 w 3840480"/>
              <a:gd name="connsiteY146" fmla="*/ 592428 h 2140469"/>
              <a:gd name="connsiteX147" fmla="*/ 3490175 w 3840480"/>
              <a:gd name="connsiteY147" fmla="*/ 618186 h 2140469"/>
              <a:gd name="connsiteX148" fmla="*/ 3539115 w 3840480"/>
              <a:gd name="connsiteY148" fmla="*/ 610459 h 2140469"/>
              <a:gd name="connsiteX149" fmla="*/ 3590630 w 3840480"/>
              <a:gd name="connsiteY149" fmla="*/ 628489 h 2140469"/>
              <a:gd name="connsiteX150" fmla="*/ 3670479 w 3840480"/>
              <a:gd name="connsiteY150" fmla="*/ 667126 h 2140469"/>
              <a:gd name="connsiteX151" fmla="*/ 3794116 w 3840480"/>
              <a:gd name="connsiteY151" fmla="*/ 677429 h 2140469"/>
              <a:gd name="connsiteX152" fmla="*/ 3840480 w 3840480"/>
              <a:gd name="connsiteY152" fmla="*/ 667126 h 2140469"/>
              <a:gd name="connsiteX153" fmla="*/ 3822450 w 3840480"/>
              <a:gd name="connsiteY153" fmla="*/ 641368 h 2140469"/>
              <a:gd name="connsiteX154" fmla="*/ 3819874 w 3840480"/>
              <a:gd name="connsiteY154" fmla="*/ 610459 h 2140469"/>
              <a:gd name="connsiteX0" fmla="*/ 0 w 3804419"/>
              <a:gd name="connsiteY0" fmla="*/ 18030 h 2140469"/>
              <a:gd name="connsiteX1" fmla="*/ 25758 w 3804419"/>
              <a:gd name="connsiteY1" fmla="*/ 0 h 2140469"/>
              <a:gd name="connsiteX2" fmla="*/ 54091 w 3804419"/>
              <a:gd name="connsiteY2" fmla="*/ 12879 h 2140469"/>
              <a:gd name="connsiteX3" fmla="*/ 41213 w 3804419"/>
              <a:gd name="connsiteY3" fmla="*/ 66970 h 2140469"/>
              <a:gd name="connsiteX4" fmla="*/ 66970 w 3804419"/>
              <a:gd name="connsiteY4" fmla="*/ 100455 h 2140469"/>
              <a:gd name="connsiteX5" fmla="*/ 48940 w 3804419"/>
              <a:gd name="connsiteY5" fmla="*/ 136516 h 2140469"/>
              <a:gd name="connsiteX6" fmla="*/ 59243 w 3804419"/>
              <a:gd name="connsiteY6" fmla="*/ 162274 h 2140469"/>
              <a:gd name="connsiteX7" fmla="*/ 121062 w 3804419"/>
              <a:gd name="connsiteY7" fmla="*/ 159698 h 2140469"/>
              <a:gd name="connsiteX8" fmla="*/ 188032 w 3804419"/>
              <a:gd name="connsiteY8" fmla="*/ 167425 h 2140469"/>
              <a:gd name="connsiteX9" fmla="*/ 236971 w 3804419"/>
              <a:gd name="connsiteY9" fmla="*/ 193183 h 2140469"/>
              <a:gd name="connsiteX10" fmla="*/ 270456 w 3804419"/>
              <a:gd name="connsiteY10" fmla="*/ 244699 h 2140469"/>
              <a:gd name="connsiteX11" fmla="*/ 332275 w 3804419"/>
              <a:gd name="connsiteY11" fmla="*/ 265305 h 2140469"/>
              <a:gd name="connsiteX12" fmla="*/ 376063 w 3804419"/>
              <a:gd name="connsiteY12" fmla="*/ 265305 h 2140469"/>
              <a:gd name="connsiteX13" fmla="*/ 414700 w 3804419"/>
              <a:gd name="connsiteY13" fmla="*/ 314245 h 2140469"/>
              <a:gd name="connsiteX14" fmla="*/ 455912 w 3804419"/>
              <a:gd name="connsiteY14" fmla="*/ 301366 h 2140469"/>
              <a:gd name="connsiteX15" fmla="*/ 502276 w 3804419"/>
              <a:gd name="connsiteY15" fmla="*/ 319396 h 2140469"/>
              <a:gd name="connsiteX16" fmla="*/ 546064 w 3804419"/>
              <a:gd name="connsiteY16" fmla="*/ 309093 h 2140469"/>
              <a:gd name="connsiteX17" fmla="*/ 613034 w 3804419"/>
              <a:gd name="connsiteY17" fmla="*/ 324548 h 2140469"/>
              <a:gd name="connsiteX18" fmla="*/ 654247 w 3804419"/>
              <a:gd name="connsiteY18" fmla="*/ 314245 h 2140469"/>
              <a:gd name="connsiteX19" fmla="*/ 680005 w 3804419"/>
              <a:gd name="connsiteY19" fmla="*/ 342578 h 2140469"/>
              <a:gd name="connsiteX20" fmla="*/ 687732 w 3804419"/>
              <a:gd name="connsiteY20" fmla="*/ 412124 h 2140469"/>
              <a:gd name="connsiteX21" fmla="*/ 710914 w 3804419"/>
              <a:gd name="connsiteY21" fmla="*/ 466215 h 2140469"/>
              <a:gd name="connsiteX22" fmla="*/ 754702 w 3804419"/>
              <a:gd name="connsiteY22" fmla="*/ 468791 h 2140469"/>
              <a:gd name="connsiteX23" fmla="*/ 806218 w 3804419"/>
              <a:gd name="connsiteY23" fmla="*/ 499700 h 2140469"/>
              <a:gd name="connsiteX24" fmla="*/ 834551 w 3804419"/>
              <a:gd name="connsiteY24" fmla="*/ 553792 h 2140469"/>
              <a:gd name="connsiteX25" fmla="*/ 878339 w 3804419"/>
              <a:gd name="connsiteY25" fmla="*/ 574398 h 2140469"/>
              <a:gd name="connsiteX26" fmla="*/ 947885 w 3804419"/>
              <a:gd name="connsiteY26" fmla="*/ 641368 h 2140469"/>
              <a:gd name="connsiteX27" fmla="*/ 1009704 w 3804419"/>
              <a:gd name="connsiteY27" fmla="*/ 680005 h 2140469"/>
              <a:gd name="connsiteX28" fmla="*/ 1045765 w 3804419"/>
              <a:gd name="connsiteY28" fmla="*/ 654247 h 2140469"/>
              <a:gd name="connsiteX29" fmla="*/ 1071522 w 3804419"/>
              <a:gd name="connsiteY29" fmla="*/ 667126 h 2140469"/>
              <a:gd name="connsiteX30" fmla="*/ 1084401 w 3804419"/>
              <a:gd name="connsiteY30" fmla="*/ 680005 h 2140469"/>
              <a:gd name="connsiteX31" fmla="*/ 1125614 w 3804419"/>
              <a:gd name="connsiteY31" fmla="*/ 651671 h 2140469"/>
              <a:gd name="connsiteX32" fmla="*/ 1148796 w 3804419"/>
              <a:gd name="connsiteY32" fmla="*/ 628489 h 2140469"/>
              <a:gd name="connsiteX33" fmla="*/ 1184856 w 3804419"/>
              <a:gd name="connsiteY33" fmla="*/ 628489 h 2140469"/>
              <a:gd name="connsiteX34" fmla="*/ 1223493 w 3804419"/>
              <a:gd name="connsiteY34" fmla="*/ 664550 h 2140469"/>
              <a:gd name="connsiteX35" fmla="*/ 1226069 w 3804419"/>
              <a:gd name="connsiteY35" fmla="*/ 739247 h 2140469"/>
              <a:gd name="connsiteX36" fmla="*/ 1269857 w 3804419"/>
              <a:gd name="connsiteY36" fmla="*/ 770157 h 2140469"/>
              <a:gd name="connsiteX37" fmla="*/ 1341979 w 3804419"/>
              <a:gd name="connsiteY37" fmla="*/ 813945 h 2140469"/>
              <a:gd name="connsiteX38" fmla="*/ 1388343 w 3804419"/>
              <a:gd name="connsiteY38" fmla="*/ 826824 h 2140469"/>
              <a:gd name="connsiteX39" fmla="*/ 1416676 w 3804419"/>
              <a:gd name="connsiteY39" fmla="*/ 816521 h 2140469"/>
              <a:gd name="connsiteX40" fmla="*/ 1447585 w 3804419"/>
              <a:gd name="connsiteY40" fmla="*/ 834551 h 2140469"/>
              <a:gd name="connsiteX41" fmla="*/ 1488798 w 3804419"/>
              <a:gd name="connsiteY41" fmla="*/ 813945 h 2140469"/>
              <a:gd name="connsiteX42" fmla="*/ 1504253 w 3804419"/>
              <a:gd name="connsiteY42" fmla="*/ 790763 h 2140469"/>
              <a:gd name="connsiteX43" fmla="*/ 1535162 w 3804419"/>
              <a:gd name="connsiteY43" fmla="*/ 813945 h 2140469"/>
              <a:gd name="connsiteX44" fmla="*/ 1568647 w 3804419"/>
              <a:gd name="connsiteY44" fmla="*/ 793339 h 2140469"/>
              <a:gd name="connsiteX45" fmla="*/ 1578950 w 3804419"/>
              <a:gd name="connsiteY45" fmla="*/ 765005 h 2140469"/>
              <a:gd name="connsiteX46" fmla="*/ 1627890 w 3804419"/>
              <a:gd name="connsiteY46" fmla="*/ 785611 h 2140469"/>
              <a:gd name="connsiteX47" fmla="*/ 1681981 w 3804419"/>
              <a:gd name="connsiteY47" fmla="*/ 842278 h 2140469"/>
              <a:gd name="connsiteX48" fmla="*/ 1736072 w 3804419"/>
              <a:gd name="connsiteY48" fmla="*/ 847430 h 2140469"/>
              <a:gd name="connsiteX49" fmla="*/ 1756678 w 3804419"/>
              <a:gd name="connsiteY49" fmla="*/ 831975 h 2140469"/>
              <a:gd name="connsiteX50" fmla="*/ 1803042 w 3804419"/>
              <a:gd name="connsiteY50" fmla="*/ 834551 h 2140469"/>
              <a:gd name="connsiteX51" fmla="*/ 1839103 w 3804419"/>
              <a:gd name="connsiteY51" fmla="*/ 868036 h 2140469"/>
              <a:gd name="connsiteX52" fmla="*/ 1854558 w 3804419"/>
              <a:gd name="connsiteY52" fmla="*/ 927279 h 2140469"/>
              <a:gd name="connsiteX53" fmla="*/ 1895770 w 3804419"/>
              <a:gd name="connsiteY53" fmla="*/ 996825 h 2140469"/>
              <a:gd name="connsiteX54" fmla="*/ 1893194 w 3804419"/>
              <a:gd name="connsiteY54" fmla="*/ 1045765 h 2140469"/>
              <a:gd name="connsiteX55" fmla="*/ 1916376 w 3804419"/>
              <a:gd name="connsiteY55" fmla="*/ 1089553 h 2140469"/>
              <a:gd name="connsiteX56" fmla="*/ 1965316 w 3804419"/>
              <a:gd name="connsiteY56" fmla="*/ 1099856 h 2140469"/>
              <a:gd name="connsiteX57" fmla="*/ 1993650 w 3804419"/>
              <a:gd name="connsiteY57" fmla="*/ 1128189 h 2140469"/>
              <a:gd name="connsiteX58" fmla="*/ 2070923 w 3804419"/>
              <a:gd name="connsiteY58" fmla="*/ 1156523 h 2140469"/>
              <a:gd name="connsiteX59" fmla="*/ 2117287 w 3804419"/>
              <a:gd name="connsiteY59" fmla="*/ 1135917 h 2140469"/>
              <a:gd name="connsiteX60" fmla="*/ 2153348 w 3804419"/>
              <a:gd name="connsiteY60" fmla="*/ 1135917 h 2140469"/>
              <a:gd name="connsiteX61" fmla="*/ 2181681 w 3804419"/>
              <a:gd name="connsiteY61" fmla="*/ 1190008 h 2140469"/>
              <a:gd name="connsiteX62" fmla="*/ 2202287 w 3804419"/>
              <a:gd name="connsiteY62" fmla="*/ 1231220 h 2140469"/>
              <a:gd name="connsiteX63" fmla="*/ 2238348 w 3804419"/>
              <a:gd name="connsiteY63" fmla="*/ 1254402 h 2140469"/>
              <a:gd name="connsiteX64" fmla="*/ 2279561 w 3804419"/>
              <a:gd name="connsiteY64" fmla="*/ 1251826 h 2140469"/>
              <a:gd name="connsiteX65" fmla="*/ 2323349 w 3804419"/>
              <a:gd name="connsiteY65" fmla="*/ 1287887 h 2140469"/>
              <a:gd name="connsiteX66" fmla="*/ 2390319 w 3804419"/>
              <a:gd name="connsiteY66" fmla="*/ 1311069 h 2140469"/>
              <a:gd name="connsiteX67" fmla="*/ 2462441 w 3804419"/>
              <a:gd name="connsiteY67" fmla="*/ 1303342 h 2140469"/>
              <a:gd name="connsiteX68" fmla="*/ 2490774 w 3804419"/>
              <a:gd name="connsiteY68" fmla="*/ 1285312 h 2140469"/>
              <a:gd name="connsiteX69" fmla="*/ 2506229 w 3804419"/>
              <a:gd name="connsiteY69" fmla="*/ 1303342 h 2140469"/>
              <a:gd name="connsiteX70" fmla="*/ 2513956 w 3804419"/>
              <a:gd name="connsiteY70" fmla="*/ 1339403 h 2140469"/>
              <a:gd name="connsiteX71" fmla="*/ 2562896 w 3804419"/>
              <a:gd name="connsiteY71" fmla="*/ 1352282 h 2140469"/>
              <a:gd name="connsiteX72" fmla="*/ 2583502 w 3804419"/>
              <a:gd name="connsiteY72" fmla="*/ 1380615 h 2140469"/>
              <a:gd name="connsiteX73" fmla="*/ 2614411 w 3804419"/>
              <a:gd name="connsiteY73" fmla="*/ 1426979 h 2140469"/>
              <a:gd name="connsiteX74" fmla="*/ 2676230 w 3804419"/>
              <a:gd name="connsiteY74" fmla="*/ 1442434 h 2140469"/>
              <a:gd name="connsiteX75" fmla="*/ 2745776 w 3804419"/>
              <a:gd name="connsiteY75" fmla="*/ 1473343 h 2140469"/>
              <a:gd name="connsiteX76" fmla="*/ 2776685 w 3804419"/>
              <a:gd name="connsiteY76" fmla="*/ 1468192 h 2140469"/>
              <a:gd name="connsiteX77" fmla="*/ 2810170 w 3804419"/>
              <a:gd name="connsiteY77" fmla="*/ 1496525 h 2140469"/>
              <a:gd name="connsiteX78" fmla="*/ 2856534 w 3804419"/>
              <a:gd name="connsiteY78" fmla="*/ 1504252 h 2140469"/>
              <a:gd name="connsiteX79" fmla="*/ 2879716 w 3804419"/>
              <a:gd name="connsiteY79" fmla="*/ 1540313 h 2140469"/>
              <a:gd name="connsiteX80" fmla="*/ 2923504 w 3804419"/>
              <a:gd name="connsiteY80" fmla="*/ 1576374 h 2140469"/>
              <a:gd name="connsiteX81" fmla="*/ 2985323 w 3804419"/>
              <a:gd name="connsiteY81" fmla="*/ 1581526 h 2140469"/>
              <a:gd name="connsiteX82" fmla="*/ 2985323 w 3804419"/>
              <a:gd name="connsiteY82" fmla="*/ 1581526 h 2140469"/>
              <a:gd name="connsiteX83" fmla="*/ 3005929 w 3804419"/>
              <a:gd name="connsiteY83" fmla="*/ 1560919 h 2140469"/>
              <a:gd name="connsiteX84" fmla="*/ 3023960 w 3804419"/>
              <a:gd name="connsiteY84" fmla="*/ 1581526 h 2140469"/>
              <a:gd name="connsiteX85" fmla="*/ 3023960 w 3804419"/>
              <a:gd name="connsiteY85" fmla="*/ 1622738 h 2140469"/>
              <a:gd name="connsiteX86" fmla="*/ 3057445 w 3804419"/>
              <a:gd name="connsiteY86" fmla="*/ 1643344 h 2140469"/>
              <a:gd name="connsiteX87" fmla="*/ 3096081 w 3804419"/>
              <a:gd name="connsiteY87" fmla="*/ 1643344 h 2140469"/>
              <a:gd name="connsiteX88" fmla="*/ 3137294 w 3804419"/>
              <a:gd name="connsiteY88" fmla="*/ 1669102 h 2140469"/>
              <a:gd name="connsiteX89" fmla="*/ 3145021 w 3804419"/>
              <a:gd name="connsiteY89" fmla="*/ 1720617 h 2140469"/>
              <a:gd name="connsiteX90" fmla="*/ 3173354 w 3804419"/>
              <a:gd name="connsiteY90" fmla="*/ 1746375 h 2140469"/>
              <a:gd name="connsiteX91" fmla="*/ 3173354 w 3804419"/>
              <a:gd name="connsiteY91" fmla="*/ 1769557 h 2140469"/>
              <a:gd name="connsiteX92" fmla="*/ 3217143 w 3804419"/>
              <a:gd name="connsiteY92" fmla="*/ 1797891 h 2140469"/>
              <a:gd name="connsiteX93" fmla="*/ 3211991 w 3804419"/>
              <a:gd name="connsiteY93" fmla="*/ 1846830 h 2140469"/>
              <a:gd name="connsiteX94" fmla="*/ 3250628 w 3804419"/>
              <a:gd name="connsiteY94" fmla="*/ 1882891 h 2140469"/>
              <a:gd name="connsiteX95" fmla="*/ 3296992 w 3804419"/>
              <a:gd name="connsiteY95" fmla="*/ 1918952 h 2140469"/>
              <a:gd name="connsiteX96" fmla="*/ 3340780 w 3804419"/>
              <a:gd name="connsiteY96" fmla="*/ 1906073 h 2140469"/>
              <a:gd name="connsiteX97" fmla="*/ 3394871 w 3804419"/>
              <a:gd name="connsiteY97" fmla="*/ 1936983 h 2140469"/>
              <a:gd name="connsiteX98" fmla="*/ 3425780 w 3804419"/>
              <a:gd name="connsiteY98" fmla="*/ 1913801 h 2140469"/>
              <a:gd name="connsiteX99" fmla="*/ 3477296 w 3804419"/>
              <a:gd name="connsiteY99" fmla="*/ 1939558 h 2140469"/>
              <a:gd name="connsiteX100" fmla="*/ 3521084 w 3804419"/>
              <a:gd name="connsiteY100" fmla="*/ 1985922 h 2140469"/>
              <a:gd name="connsiteX101" fmla="*/ 3559721 w 3804419"/>
              <a:gd name="connsiteY101" fmla="*/ 2058044 h 2140469"/>
              <a:gd name="connsiteX102" fmla="*/ 3580327 w 3804419"/>
              <a:gd name="connsiteY102" fmla="*/ 2070923 h 2140469"/>
              <a:gd name="connsiteX103" fmla="*/ 3598357 w 3804419"/>
              <a:gd name="connsiteY103" fmla="*/ 2101832 h 2140469"/>
              <a:gd name="connsiteX104" fmla="*/ 3621539 w 3804419"/>
              <a:gd name="connsiteY104" fmla="*/ 2140469 h 2140469"/>
              <a:gd name="connsiteX105" fmla="*/ 3649873 w 3804419"/>
              <a:gd name="connsiteY105" fmla="*/ 2140469 h 2140469"/>
              <a:gd name="connsiteX106" fmla="*/ 3673055 w 3804419"/>
              <a:gd name="connsiteY106" fmla="*/ 2112135 h 2140469"/>
              <a:gd name="connsiteX107" fmla="*/ 3709116 w 3804419"/>
              <a:gd name="connsiteY107" fmla="*/ 2076074 h 2140469"/>
              <a:gd name="connsiteX108" fmla="*/ 3706540 w 3804419"/>
              <a:gd name="connsiteY108" fmla="*/ 2034862 h 2140469"/>
              <a:gd name="connsiteX109" fmla="*/ 3721994 w 3804419"/>
              <a:gd name="connsiteY109" fmla="*/ 2011680 h 2140469"/>
              <a:gd name="connsiteX110" fmla="*/ 3719419 w 3804419"/>
              <a:gd name="connsiteY110" fmla="*/ 1939558 h 2140469"/>
              <a:gd name="connsiteX111" fmla="*/ 3745176 w 3804419"/>
              <a:gd name="connsiteY111" fmla="*/ 1898346 h 2140469"/>
              <a:gd name="connsiteX112" fmla="*/ 3724570 w 3804419"/>
              <a:gd name="connsiteY112" fmla="*/ 1864861 h 2140469"/>
              <a:gd name="connsiteX113" fmla="*/ 3752904 w 3804419"/>
              <a:gd name="connsiteY113" fmla="*/ 1826224 h 2140469"/>
              <a:gd name="connsiteX114" fmla="*/ 3760631 w 3804419"/>
              <a:gd name="connsiteY114" fmla="*/ 1792739 h 2140469"/>
              <a:gd name="connsiteX115" fmla="*/ 3724570 w 3804419"/>
              <a:gd name="connsiteY115" fmla="*/ 1741224 h 2140469"/>
              <a:gd name="connsiteX116" fmla="*/ 3662752 w 3804419"/>
              <a:gd name="connsiteY116" fmla="*/ 1692284 h 2140469"/>
              <a:gd name="connsiteX117" fmla="*/ 3649873 w 3804419"/>
              <a:gd name="connsiteY117" fmla="*/ 1643344 h 2140469"/>
              <a:gd name="connsiteX118" fmla="*/ 3639570 w 3804419"/>
              <a:gd name="connsiteY118" fmla="*/ 1586677 h 2140469"/>
              <a:gd name="connsiteX119" fmla="*/ 3618963 w 3804419"/>
              <a:gd name="connsiteY119" fmla="*/ 1550616 h 2140469"/>
              <a:gd name="connsiteX120" fmla="*/ 3631842 w 3804419"/>
              <a:gd name="connsiteY120" fmla="*/ 1511980 h 2140469"/>
              <a:gd name="connsiteX121" fmla="*/ 3582903 w 3804419"/>
              <a:gd name="connsiteY121" fmla="*/ 1390918 h 2140469"/>
              <a:gd name="connsiteX122" fmla="*/ 3582903 w 3804419"/>
              <a:gd name="connsiteY122" fmla="*/ 1347130 h 2140469"/>
              <a:gd name="connsiteX123" fmla="*/ 3557145 w 3804419"/>
              <a:gd name="connsiteY123" fmla="*/ 1282736 h 2140469"/>
              <a:gd name="connsiteX124" fmla="*/ 3554569 w 3804419"/>
              <a:gd name="connsiteY124" fmla="*/ 1246675 h 2140469"/>
              <a:gd name="connsiteX125" fmla="*/ 3533963 w 3804419"/>
              <a:gd name="connsiteY125" fmla="*/ 1208038 h 2140469"/>
              <a:gd name="connsiteX126" fmla="*/ 3454114 w 3804419"/>
              <a:gd name="connsiteY126" fmla="*/ 1161674 h 2140469"/>
              <a:gd name="connsiteX127" fmla="*/ 3451538 w 3804419"/>
              <a:gd name="connsiteY127" fmla="*/ 1125614 h 2140469"/>
              <a:gd name="connsiteX128" fmla="*/ 3420629 w 3804419"/>
              <a:gd name="connsiteY128" fmla="*/ 1102432 h 2140469"/>
              <a:gd name="connsiteX129" fmla="*/ 3397447 w 3804419"/>
              <a:gd name="connsiteY129" fmla="*/ 1102432 h 2140469"/>
              <a:gd name="connsiteX130" fmla="*/ 3353659 w 3804419"/>
              <a:gd name="connsiteY130" fmla="*/ 1105007 h 2140469"/>
              <a:gd name="connsiteX131" fmla="*/ 3284113 w 3804419"/>
              <a:gd name="connsiteY131" fmla="*/ 1066371 h 2140469"/>
              <a:gd name="connsiteX132" fmla="*/ 3232597 w 3804419"/>
              <a:gd name="connsiteY132" fmla="*/ 1001976 h 2140469"/>
              <a:gd name="connsiteX133" fmla="*/ 3188809 w 3804419"/>
              <a:gd name="connsiteY133" fmla="*/ 978794 h 2140469"/>
              <a:gd name="connsiteX134" fmla="*/ 3183658 w 3804419"/>
              <a:gd name="connsiteY134" fmla="*/ 942734 h 2140469"/>
              <a:gd name="connsiteX135" fmla="*/ 3160476 w 3804419"/>
              <a:gd name="connsiteY135" fmla="*/ 893794 h 2140469"/>
              <a:gd name="connsiteX136" fmla="*/ 3119263 w 3804419"/>
              <a:gd name="connsiteY136" fmla="*/ 862885 h 2140469"/>
              <a:gd name="connsiteX137" fmla="*/ 3124415 w 3804419"/>
              <a:gd name="connsiteY137" fmla="*/ 819096 h 2140469"/>
              <a:gd name="connsiteX138" fmla="*/ 3160476 w 3804419"/>
              <a:gd name="connsiteY138" fmla="*/ 762429 h 2140469"/>
              <a:gd name="connsiteX139" fmla="*/ 3165627 w 3804419"/>
              <a:gd name="connsiteY139" fmla="*/ 698035 h 2140469"/>
              <a:gd name="connsiteX140" fmla="*/ 3193961 w 3804419"/>
              <a:gd name="connsiteY140" fmla="*/ 661974 h 2140469"/>
              <a:gd name="connsiteX141" fmla="*/ 3240325 w 3804419"/>
              <a:gd name="connsiteY141" fmla="*/ 638792 h 2140469"/>
              <a:gd name="connsiteX142" fmla="*/ 3263507 w 3804419"/>
              <a:gd name="connsiteY142" fmla="*/ 595004 h 2140469"/>
              <a:gd name="connsiteX143" fmla="*/ 3312446 w 3804419"/>
              <a:gd name="connsiteY143" fmla="*/ 592428 h 2140469"/>
              <a:gd name="connsiteX144" fmla="*/ 3343356 w 3804419"/>
              <a:gd name="connsiteY144" fmla="*/ 607883 h 2140469"/>
              <a:gd name="connsiteX145" fmla="*/ 3418053 w 3804419"/>
              <a:gd name="connsiteY145" fmla="*/ 592428 h 2140469"/>
              <a:gd name="connsiteX146" fmla="*/ 3454114 w 3804419"/>
              <a:gd name="connsiteY146" fmla="*/ 618186 h 2140469"/>
              <a:gd name="connsiteX147" fmla="*/ 3503054 w 3804419"/>
              <a:gd name="connsiteY147" fmla="*/ 610459 h 2140469"/>
              <a:gd name="connsiteX148" fmla="*/ 3554569 w 3804419"/>
              <a:gd name="connsiteY148" fmla="*/ 628489 h 2140469"/>
              <a:gd name="connsiteX149" fmla="*/ 3634418 w 3804419"/>
              <a:gd name="connsiteY149" fmla="*/ 667126 h 2140469"/>
              <a:gd name="connsiteX150" fmla="*/ 3758055 w 3804419"/>
              <a:gd name="connsiteY150" fmla="*/ 677429 h 2140469"/>
              <a:gd name="connsiteX151" fmla="*/ 3804419 w 3804419"/>
              <a:gd name="connsiteY151" fmla="*/ 667126 h 2140469"/>
              <a:gd name="connsiteX152" fmla="*/ 3786389 w 3804419"/>
              <a:gd name="connsiteY152" fmla="*/ 641368 h 2140469"/>
              <a:gd name="connsiteX153" fmla="*/ 3783813 w 3804419"/>
              <a:gd name="connsiteY153" fmla="*/ 610459 h 2140469"/>
              <a:gd name="connsiteX0" fmla="*/ 0 w 3778661"/>
              <a:gd name="connsiteY0" fmla="*/ 0 h 2140469"/>
              <a:gd name="connsiteX1" fmla="*/ 28333 w 3778661"/>
              <a:gd name="connsiteY1" fmla="*/ 12879 h 2140469"/>
              <a:gd name="connsiteX2" fmla="*/ 15455 w 3778661"/>
              <a:gd name="connsiteY2" fmla="*/ 66970 h 2140469"/>
              <a:gd name="connsiteX3" fmla="*/ 41212 w 3778661"/>
              <a:gd name="connsiteY3" fmla="*/ 100455 h 2140469"/>
              <a:gd name="connsiteX4" fmla="*/ 23182 w 3778661"/>
              <a:gd name="connsiteY4" fmla="*/ 136516 h 2140469"/>
              <a:gd name="connsiteX5" fmla="*/ 33485 w 3778661"/>
              <a:gd name="connsiteY5" fmla="*/ 162274 h 2140469"/>
              <a:gd name="connsiteX6" fmla="*/ 95304 w 3778661"/>
              <a:gd name="connsiteY6" fmla="*/ 159698 h 2140469"/>
              <a:gd name="connsiteX7" fmla="*/ 162274 w 3778661"/>
              <a:gd name="connsiteY7" fmla="*/ 167425 h 2140469"/>
              <a:gd name="connsiteX8" fmla="*/ 211213 w 3778661"/>
              <a:gd name="connsiteY8" fmla="*/ 193183 h 2140469"/>
              <a:gd name="connsiteX9" fmla="*/ 244698 w 3778661"/>
              <a:gd name="connsiteY9" fmla="*/ 244699 h 2140469"/>
              <a:gd name="connsiteX10" fmla="*/ 306517 w 3778661"/>
              <a:gd name="connsiteY10" fmla="*/ 265305 h 2140469"/>
              <a:gd name="connsiteX11" fmla="*/ 350305 w 3778661"/>
              <a:gd name="connsiteY11" fmla="*/ 265305 h 2140469"/>
              <a:gd name="connsiteX12" fmla="*/ 388942 w 3778661"/>
              <a:gd name="connsiteY12" fmla="*/ 314245 h 2140469"/>
              <a:gd name="connsiteX13" fmla="*/ 430154 w 3778661"/>
              <a:gd name="connsiteY13" fmla="*/ 301366 h 2140469"/>
              <a:gd name="connsiteX14" fmla="*/ 476518 w 3778661"/>
              <a:gd name="connsiteY14" fmla="*/ 319396 h 2140469"/>
              <a:gd name="connsiteX15" fmla="*/ 520306 w 3778661"/>
              <a:gd name="connsiteY15" fmla="*/ 309093 h 2140469"/>
              <a:gd name="connsiteX16" fmla="*/ 587276 w 3778661"/>
              <a:gd name="connsiteY16" fmla="*/ 324548 h 2140469"/>
              <a:gd name="connsiteX17" fmla="*/ 628489 w 3778661"/>
              <a:gd name="connsiteY17" fmla="*/ 314245 h 2140469"/>
              <a:gd name="connsiteX18" fmla="*/ 654247 w 3778661"/>
              <a:gd name="connsiteY18" fmla="*/ 342578 h 2140469"/>
              <a:gd name="connsiteX19" fmla="*/ 661974 w 3778661"/>
              <a:gd name="connsiteY19" fmla="*/ 412124 h 2140469"/>
              <a:gd name="connsiteX20" fmla="*/ 685156 w 3778661"/>
              <a:gd name="connsiteY20" fmla="*/ 466215 h 2140469"/>
              <a:gd name="connsiteX21" fmla="*/ 728944 w 3778661"/>
              <a:gd name="connsiteY21" fmla="*/ 468791 h 2140469"/>
              <a:gd name="connsiteX22" fmla="*/ 780460 w 3778661"/>
              <a:gd name="connsiteY22" fmla="*/ 499700 h 2140469"/>
              <a:gd name="connsiteX23" fmla="*/ 808793 w 3778661"/>
              <a:gd name="connsiteY23" fmla="*/ 553792 h 2140469"/>
              <a:gd name="connsiteX24" fmla="*/ 852581 w 3778661"/>
              <a:gd name="connsiteY24" fmla="*/ 574398 h 2140469"/>
              <a:gd name="connsiteX25" fmla="*/ 922127 w 3778661"/>
              <a:gd name="connsiteY25" fmla="*/ 641368 h 2140469"/>
              <a:gd name="connsiteX26" fmla="*/ 983946 w 3778661"/>
              <a:gd name="connsiteY26" fmla="*/ 680005 h 2140469"/>
              <a:gd name="connsiteX27" fmla="*/ 1020007 w 3778661"/>
              <a:gd name="connsiteY27" fmla="*/ 654247 h 2140469"/>
              <a:gd name="connsiteX28" fmla="*/ 1045764 w 3778661"/>
              <a:gd name="connsiteY28" fmla="*/ 667126 h 2140469"/>
              <a:gd name="connsiteX29" fmla="*/ 1058643 w 3778661"/>
              <a:gd name="connsiteY29" fmla="*/ 680005 h 2140469"/>
              <a:gd name="connsiteX30" fmla="*/ 1099856 w 3778661"/>
              <a:gd name="connsiteY30" fmla="*/ 651671 h 2140469"/>
              <a:gd name="connsiteX31" fmla="*/ 1123038 w 3778661"/>
              <a:gd name="connsiteY31" fmla="*/ 628489 h 2140469"/>
              <a:gd name="connsiteX32" fmla="*/ 1159098 w 3778661"/>
              <a:gd name="connsiteY32" fmla="*/ 628489 h 2140469"/>
              <a:gd name="connsiteX33" fmla="*/ 1197735 w 3778661"/>
              <a:gd name="connsiteY33" fmla="*/ 664550 h 2140469"/>
              <a:gd name="connsiteX34" fmla="*/ 1200311 w 3778661"/>
              <a:gd name="connsiteY34" fmla="*/ 739247 h 2140469"/>
              <a:gd name="connsiteX35" fmla="*/ 1244099 w 3778661"/>
              <a:gd name="connsiteY35" fmla="*/ 770157 h 2140469"/>
              <a:gd name="connsiteX36" fmla="*/ 1316221 w 3778661"/>
              <a:gd name="connsiteY36" fmla="*/ 813945 h 2140469"/>
              <a:gd name="connsiteX37" fmla="*/ 1362585 w 3778661"/>
              <a:gd name="connsiteY37" fmla="*/ 826824 h 2140469"/>
              <a:gd name="connsiteX38" fmla="*/ 1390918 w 3778661"/>
              <a:gd name="connsiteY38" fmla="*/ 816521 h 2140469"/>
              <a:gd name="connsiteX39" fmla="*/ 1421827 w 3778661"/>
              <a:gd name="connsiteY39" fmla="*/ 834551 h 2140469"/>
              <a:gd name="connsiteX40" fmla="*/ 1463040 w 3778661"/>
              <a:gd name="connsiteY40" fmla="*/ 813945 h 2140469"/>
              <a:gd name="connsiteX41" fmla="*/ 1478495 w 3778661"/>
              <a:gd name="connsiteY41" fmla="*/ 790763 h 2140469"/>
              <a:gd name="connsiteX42" fmla="*/ 1509404 w 3778661"/>
              <a:gd name="connsiteY42" fmla="*/ 813945 h 2140469"/>
              <a:gd name="connsiteX43" fmla="*/ 1542889 w 3778661"/>
              <a:gd name="connsiteY43" fmla="*/ 793339 h 2140469"/>
              <a:gd name="connsiteX44" fmla="*/ 1553192 w 3778661"/>
              <a:gd name="connsiteY44" fmla="*/ 765005 h 2140469"/>
              <a:gd name="connsiteX45" fmla="*/ 1602132 w 3778661"/>
              <a:gd name="connsiteY45" fmla="*/ 785611 h 2140469"/>
              <a:gd name="connsiteX46" fmla="*/ 1656223 w 3778661"/>
              <a:gd name="connsiteY46" fmla="*/ 842278 h 2140469"/>
              <a:gd name="connsiteX47" fmla="*/ 1710314 w 3778661"/>
              <a:gd name="connsiteY47" fmla="*/ 847430 h 2140469"/>
              <a:gd name="connsiteX48" fmla="*/ 1730920 w 3778661"/>
              <a:gd name="connsiteY48" fmla="*/ 831975 h 2140469"/>
              <a:gd name="connsiteX49" fmla="*/ 1777284 w 3778661"/>
              <a:gd name="connsiteY49" fmla="*/ 834551 h 2140469"/>
              <a:gd name="connsiteX50" fmla="*/ 1813345 w 3778661"/>
              <a:gd name="connsiteY50" fmla="*/ 868036 h 2140469"/>
              <a:gd name="connsiteX51" fmla="*/ 1828800 w 3778661"/>
              <a:gd name="connsiteY51" fmla="*/ 927279 h 2140469"/>
              <a:gd name="connsiteX52" fmla="*/ 1870012 w 3778661"/>
              <a:gd name="connsiteY52" fmla="*/ 996825 h 2140469"/>
              <a:gd name="connsiteX53" fmla="*/ 1867436 w 3778661"/>
              <a:gd name="connsiteY53" fmla="*/ 1045765 h 2140469"/>
              <a:gd name="connsiteX54" fmla="*/ 1890618 w 3778661"/>
              <a:gd name="connsiteY54" fmla="*/ 1089553 h 2140469"/>
              <a:gd name="connsiteX55" fmla="*/ 1939558 w 3778661"/>
              <a:gd name="connsiteY55" fmla="*/ 1099856 h 2140469"/>
              <a:gd name="connsiteX56" fmla="*/ 1967892 w 3778661"/>
              <a:gd name="connsiteY56" fmla="*/ 1128189 h 2140469"/>
              <a:gd name="connsiteX57" fmla="*/ 2045165 w 3778661"/>
              <a:gd name="connsiteY57" fmla="*/ 1156523 h 2140469"/>
              <a:gd name="connsiteX58" fmla="*/ 2091529 w 3778661"/>
              <a:gd name="connsiteY58" fmla="*/ 1135917 h 2140469"/>
              <a:gd name="connsiteX59" fmla="*/ 2127590 w 3778661"/>
              <a:gd name="connsiteY59" fmla="*/ 1135917 h 2140469"/>
              <a:gd name="connsiteX60" fmla="*/ 2155923 w 3778661"/>
              <a:gd name="connsiteY60" fmla="*/ 1190008 h 2140469"/>
              <a:gd name="connsiteX61" fmla="*/ 2176529 w 3778661"/>
              <a:gd name="connsiteY61" fmla="*/ 1231220 h 2140469"/>
              <a:gd name="connsiteX62" fmla="*/ 2212590 w 3778661"/>
              <a:gd name="connsiteY62" fmla="*/ 1254402 h 2140469"/>
              <a:gd name="connsiteX63" fmla="*/ 2253803 w 3778661"/>
              <a:gd name="connsiteY63" fmla="*/ 1251826 h 2140469"/>
              <a:gd name="connsiteX64" fmla="*/ 2297591 w 3778661"/>
              <a:gd name="connsiteY64" fmla="*/ 1287887 h 2140469"/>
              <a:gd name="connsiteX65" fmla="*/ 2364561 w 3778661"/>
              <a:gd name="connsiteY65" fmla="*/ 1311069 h 2140469"/>
              <a:gd name="connsiteX66" fmla="*/ 2436683 w 3778661"/>
              <a:gd name="connsiteY66" fmla="*/ 1303342 h 2140469"/>
              <a:gd name="connsiteX67" fmla="*/ 2465016 w 3778661"/>
              <a:gd name="connsiteY67" fmla="*/ 1285312 h 2140469"/>
              <a:gd name="connsiteX68" fmla="*/ 2480471 w 3778661"/>
              <a:gd name="connsiteY68" fmla="*/ 1303342 h 2140469"/>
              <a:gd name="connsiteX69" fmla="*/ 2488198 w 3778661"/>
              <a:gd name="connsiteY69" fmla="*/ 1339403 h 2140469"/>
              <a:gd name="connsiteX70" fmla="*/ 2537138 w 3778661"/>
              <a:gd name="connsiteY70" fmla="*/ 1352282 h 2140469"/>
              <a:gd name="connsiteX71" fmla="*/ 2557744 w 3778661"/>
              <a:gd name="connsiteY71" fmla="*/ 1380615 h 2140469"/>
              <a:gd name="connsiteX72" fmla="*/ 2588653 w 3778661"/>
              <a:gd name="connsiteY72" fmla="*/ 1426979 h 2140469"/>
              <a:gd name="connsiteX73" fmla="*/ 2650472 w 3778661"/>
              <a:gd name="connsiteY73" fmla="*/ 1442434 h 2140469"/>
              <a:gd name="connsiteX74" fmla="*/ 2720018 w 3778661"/>
              <a:gd name="connsiteY74" fmla="*/ 1473343 h 2140469"/>
              <a:gd name="connsiteX75" fmla="*/ 2750927 w 3778661"/>
              <a:gd name="connsiteY75" fmla="*/ 1468192 h 2140469"/>
              <a:gd name="connsiteX76" fmla="*/ 2784412 w 3778661"/>
              <a:gd name="connsiteY76" fmla="*/ 1496525 h 2140469"/>
              <a:gd name="connsiteX77" fmla="*/ 2830776 w 3778661"/>
              <a:gd name="connsiteY77" fmla="*/ 1504252 h 2140469"/>
              <a:gd name="connsiteX78" fmla="*/ 2853958 w 3778661"/>
              <a:gd name="connsiteY78" fmla="*/ 1540313 h 2140469"/>
              <a:gd name="connsiteX79" fmla="*/ 2897746 w 3778661"/>
              <a:gd name="connsiteY79" fmla="*/ 1576374 h 2140469"/>
              <a:gd name="connsiteX80" fmla="*/ 2959565 w 3778661"/>
              <a:gd name="connsiteY80" fmla="*/ 1581526 h 2140469"/>
              <a:gd name="connsiteX81" fmla="*/ 2959565 w 3778661"/>
              <a:gd name="connsiteY81" fmla="*/ 1581526 h 2140469"/>
              <a:gd name="connsiteX82" fmla="*/ 2980171 w 3778661"/>
              <a:gd name="connsiteY82" fmla="*/ 1560919 h 2140469"/>
              <a:gd name="connsiteX83" fmla="*/ 2998202 w 3778661"/>
              <a:gd name="connsiteY83" fmla="*/ 1581526 h 2140469"/>
              <a:gd name="connsiteX84" fmla="*/ 2998202 w 3778661"/>
              <a:gd name="connsiteY84" fmla="*/ 1622738 h 2140469"/>
              <a:gd name="connsiteX85" fmla="*/ 3031687 w 3778661"/>
              <a:gd name="connsiteY85" fmla="*/ 1643344 h 2140469"/>
              <a:gd name="connsiteX86" fmla="*/ 3070323 w 3778661"/>
              <a:gd name="connsiteY86" fmla="*/ 1643344 h 2140469"/>
              <a:gd name="connsiteX87" fmla="*/ 3111536 w 3778661"/>
              <a:gd name="connsiteY87" fmla="*/ 1669102 h 2140469"/>
              <a:gd name="connsiteX88" fmla="*/ 3119263 w 3778661"/>
              <a:gd name="connsiteY88" fmla="*/ 1720617 h 2140469"/>
              <a:gd name="connsiteX89" fmla="*/ 3147596 w 3778661"/>
              <a:gd name="connsiteY89" fmla="*/ 1746375 h 2140469"/>
              <a:gd name="connsiteX90" fmla="*/ 3147596 w 3778661"/>
              <a:gd name="connsiteY90" fmla="*/ 1769557 h 2140469"/>
              <a:gd name="connsiteX91" fmla="*/ 3191385 w 3778661"/>
              <a:gd name="connsiteY91" fmla="*/ 1797891 h 2140469"/>
              <a:gd name="connsiteX92" fmla="*/ 3186233 w 3778661"/>
              <a:gd name="connsiteY92" fmla="*/ 1846830 h 2140469"/>
              <a:gd name="connsiteX93" fmla="*/ 3224870 w 3778661"/>
              <a:gd name="connsiteY93" fmla="*/ 1882891 h 2140469"/>
              <a:gd name="connsiteX94" fmla="*/ 3271234 w 3778661"/>
              <a:gd name="connsiteY94" fmla="*/ 1918952 h 2140469"/>
              <a:gd name="connsiteX95" fmla="*/ 3315022 w 3778661"/>
              <a:gd name="connsiteY95" fmla="*/ 1906073 h 2140469"/>
              <a:gd name="connsiteX96" fmla="*/ 3369113 w 3778661"/>
              <a:gd name="connsiteY96" fmla="*/ 1936983 h 2140469"/>
              <a:gd name="connsiteX97" fmla="*/ 3400022 w 3778661"/>
              <a:gd name="connsiteY97" fmla="*/ 1913801 h 2140469"/>
              <a:gd name="connsiteX98" fmla="*/ 3451538 w 3778661"/>
              <a:gd name="connsiteY98" fmla="*/ 1939558 h 2140469"/>
              <a:gd name="connsiteX99" fmla="*/ 3495326 w 3778661"/>
              <a:gd name="connsiteY99" fmla="*/ 1985922 h 2140469"/>
              <a:gd name="connsiteX100" fmla="*/ 3533963 w 3778661"/>
              <a:gd name="connsiteY100" fmla="*/ 2058044 h 2140469"/>
              <a:gd name="connsiteX101" fmla="*/ 3554569 w 3778661"/>
              <a:gd name="connsiteY101" fmla="*/ 2070923 h 2140469"/>
              <a:gd name="connsiteX102" fmla="*/ 3572599 w 3778661"/>
              <a:gd name="connsiteY102" fmla="*/ 2101832 h 2140469"/>
              <a:gd name="connsiteX103" fmla="*/ 3595781 w 3778661"/>
              <a:gd name="connsiteY103" fmla="*/ 2140469 h 2140469"/>
              <a:gd name="connsiteX104" fmla="*/ 3624115 w 3778661"/>
              <a:gd name="connsiteY104" fmla="*/ 2140469 h 2140469"/>
              <a:gd name="connsiteX105" fmla="*/ 3647297 w 3778661"/>
              <a:gd name="connsiteY105" fmla="*/ 2112135 h 2140469"/>
              <a:gd name="connsiteX106" fmla="*/ 3683358 w 3778661"/>
              <a:gd name="connsiteY106" fmla="*/ 2076074 h 2140469"/>
              <a:gd name="connsiteX107" fmla="*/ 3680782 w 3778661"/>
              <a:gd name="connsiteY107" fmla="*/ 2034862 h 2140469"/>
              <a:gd name="connsiteX108" fmla="*/ 3696236 w 3778661"/>
              <a:gd name="connsiteY108" fmla="*/ 2011680 h 2140469"/>
              <a:gd name="connsiteX109" fmla="*/ 3693661 w 3778661"/>
              <a:gd name="connsiteY109" fmla="*/ 1939558 h 2140469"/>
              <a:gd name="connsiteX110" fmla="*/ 3719418 w 3778661"/>
              <a:gd name="connsiteY110" fmla="*/ 1898346 h 2140469"/>
              <a:gd name="connsiteX111" fmla="*/ 3698812 w 3778661"/>
              <a:gd name="connsiteY111" fmla="*/ 1864861 h 2140469"/>
              <a:gd name="connsiteX112" fmla="*/ 3727146 w 3778661"/>
              <a:gd name="connsiteY112" fmla="*/ 1826224 h 2140469"/>
              <a:gd name="connsiteX113" fmla="*/ 3734873 w 3778661"/>
              <a:gd name="connsiteY113" fmla="*/ 1792739 h 2140469"/>
              <a:gd name="connsiteX114" fmla="*/ 3698812 w 3778661"/>
              <a:gd name="connsiteY114" fmla="*/ 1741224 h 2140469"/>
              <a:gd name="connsiteX115" fmla="*/ 3636994 w 3778661"/>
              <a:gd name="connsiteY115" fmla="*/ 1692284 h 2140469"/>
              <a:gd name="connsiteX116" fmla="*/ 3624115 w 3778661"/>
              <a:gd name="connsiteY116" fmla="*/ 1643344 h 2140469"/>
              <a:gd name="connsiteX117" fmla="*/ 3613812 w 3778661"/>
              <a:gd name="connsiteY117" fmla="*/ 1586677 h 2140469"/>
              <a:gd name="connsiteX118" fmla="*/ 3593205 w 3778661"/>
              <a:gd name="connsiteY118" fmla="*/ 1550616 h 2140469"/>
              <a:gd name="connsiteX119" fmla="*/ 3606084 w 3778661"/>
              <a:gd name="connsiteY119" fmla="*/ 1511980 h 2140469"/>
              <a:gd name="connsiteX120" fmla="*/ 3557145 w 3778661"/>
              <a:gd name="connsiteY120" fmla="*/ 1390918 h 2140469"/>
              <a:gd name="connsiteX121" fmla="*/ 3557145 w 3778661"/>
              <a:gd name="connsiteY121" fmla="*/ 1347130 h 2140469"/>
              <a:gd name="connsiteX122" fmla="*/ 3531387 w 3778661"/>
              <a:gd name="connsiteY122" fmla="*/ 1282736 h 2140469"/>
              <a:gd name="connsiteX123" fmla="*/ 3528811 w 3778661"/>
              <a:gd name="connsiteY123" fmla="*/ 1246675 h 2140469"/>
              <a:gd name="connsiteX124" fmla="*/ 3508205 w 3778661"/>
              <a:gd name="connsiteY124" fmla="*/ 1208038 h 2140469"/>
              <a:gd name="connsiteX125" fmla="*/ 3428356 w 3778661"/>
              <a:gd name="connsiteY125" fmla="*/ 1161674 h 2140469"/>
              <a:gd name="connsiteX126" fmla="*/ 3425780 w 3778661"/>
              <a:gd name="connsiteY126" fmla="*/ 1125614 h 2140469"/>
              <a:gd name="connsiteX127" fmla="*/ 3394871 w 3778661"/>
              <a:gd name="connsiteY127" fmla="*/ 1102432 h 2140469"/>
              <a:gd name="connsiteX128" fmla="*/ 3371689 w 3778661"/>
              <a:gd name="connsiteY128" fmla="*/ 1102432 h 2140469"/>
              <a:gd name="connsiteX129" fmla="*/ 3327901 w 3778661"/>
              <a:gd name="connsiteY129" fmla="*/ 1105007 h 2140469"/>
              <a:gd name="connsiteX130" fmla="*/ 3258355 w 3778661"/>
              <a:gd name="connsiteY130" fmla="*/ 1066371 h 2140469"/>
              <a:gd name="connsiteX131" fmla="*/ 3206839 w 3778661"/>
              <a:gd name="connsiteY131" fmla="*/ 1001976 h 2140469"/>
              <a:gd name="connsiteX132" fmla="*/ 3163051 w 3778661"/>
              <a:gd name="connsiteY132" fmla="*/ 978794 h 2140469"/>
              <a:gd name="connsiteX133" fmla="*/ 3157900 w 3778661"/>
              <a:gd name="connsiteY133" fmla="*/ 942734 h 2140469"/>
              <a:gd name="connsiteX134" fmla="*/ 3134718 w 3778661"/>
              <a:gd name="connsiteY134" fmla="*/ 893794 h 2140469"/>
              <a:gd name="connsiteX135" fmla="*/ 3093505 w 3778661"/>
              <a:gd name="connsiteY135" fmla="*/ 862885 h 2140469"/>
              <a:gd name="connsiteX136" fmla="*/ 3098657 w 3778661"/>
              <a:gd name="connsiteY136" fmla="*/ 819096 h 2140469"/>
              <a:gd name="connsiteX137" fmla="*/ 3134718 w 3778661"/>
              <a:gd name="connsiteY137" fmla="*/ 762429 h 2140469"/>
              <a:gd name="connsiteX138" fmla="*/ 3139869 w 3778661"/>
              <a:gd name="connsiteY138" fmla="*/ 698035 h 2140469"/>
              <a:gd name="connsiteX139" fmla="*/ 3168203 w 3778661"/>
              <a:gd name="connsiteY139" fmla="*/ 661974 h 2140469"/>
              <a:gd name="connsiteX140" fmla="*/ 3214567 w 3778661"/>
              <a:gd name="connsiteY140" fmla="*/ 638792 h 2140469"/>
              <a:gd name="connsiteX141" fmla="*/ 3237749 w 3778661"/>
              <a:gd name="connsiteY141" fmla="*/ 595004 h 2140469"/>
              <a:gd name="connsiteX142" fmla="*/ 3286688 w 3778661"/>
              <a:gd name="connsiteY142" fmla="*/ 592428 h 2140469"/>
              <a:gd name="connsiteX143" fmla="*/ 3317598 w 3778661"/>
              <a:gd name="connsiteY143" fmla="*/ 607883 h 2140469"/>
              <a:gd name="connsiteX144" fmla="*/ 3392295 w 3778661"/>
              <a:gd name="connsiteY144" fmla="*/ 592428 h 2140469"/>
              <a:gd name="connsiteX145" fmla="*/ 3428356 w 3778661"/>
              <a:gd name="connsiteY145" fmla="*/ 618186 h 2140469"/>
              <a:gd name="connsiteX146" fmla="*/ 3477296 w 3778661"/>
              <a:gd name="connsiteY146" fmla="*/ 610459 h 2140469"/>
              <a:gd name="connsiteX147" fmla="*/ 3528811 w 3778661"/>
              <a:gd name="connsiteY147" fmla="*/ 628489 h 2140469"/>
              <a:gd name="connsiteX148" fmla="*/ 3608660 w 3778661"/>
              <a:gd name="connsiteY148" fmla="*/ 667126 h 2140469"/>
              <a:gd name="connsiteX149" fmla="*/ 3732297 w 3778661"/>
              <a:gd name="connsiteY149" fmla="*/ 677429 h 2140469"/>
              <a:gd name="connsiteX150" fmla="*/ 3778661 w 3778661"/>
              <a:gd name="connsiteY150" fmla="*/ 667126 h 2140469"/>
              <a:gd name="connsiteX151" fmla="*/ 3760631 w 3778661"/>
              <a:gd name="connsiteY151" fmla="*/ 641368 h 2140469"/>
              <a:gd name="connsiteX152" fmla="*/ 3758055 w 3778661"/>
              <a:gd name="connsiteY152" fmla="*/ 610459 h 2140469"/>
              <a:gd name="connsiteX0" fmla="*/ 12878 w 3763206"/>
              <a:gd name="connsiteY0" fmla="*/ 0 h 2127590"/>
              <a:gd name="connsiteX1" fmla="*/ 0 w 3763206"/>
              <a:gd name="connsiteY1" fmla="*/ 54091 h 2127590"/>
              <a:gd name="connsiteX2" fmla="*/ 25757 w 3763206"/>
              <a:gd name="connsiteY2" fmla="*/ 87576 h 2127590"/>
              <a:gd name="connsiteX3" fmla="*/ 7727 w 3763206"/>
              <a:gd name="connsiteY3" fmla="*/ 123637 h 2127590"/>
              <a:gd name="connsiteX4" fmla="*/ 18030 w 3763206"/>
              <a:gd name="connsiteY4" fmla="*/ 149395 h 2127590"/>
              <a:gd name="connsiteX5" fmla="*/ 79849 w 3763206"/>
              <a:gd name="connsiteY5" fmla="*/ 146819 h 2127590"/>
              <a:gd name="connsiteX6" fmla="*/ 146819 w 3763206"/>
              <a:gd name="connsiteY6" fmla="*/ 154546 h 2127590"/>
              <a:gd name="connsiteX7" fmla="*/ 195758 w 3763206"/>
              <a:gd name="connsiteY7" fmla="*/ 180304 h 2127590"/>
              <a:gd name="connsiteX8" fmla="*/ 229243 w 3763206"/>
              <a:gd name="connsiteY8" fmla="*/ 231820 h 2127590"/>
              <a:gd name="connsiteX9" fmla="*/ 291062 w 3763206"/>
              <a:gd name="connsiteY9" fmla="*/ 252426 h 2127590"/>
              <a:gd name="connsiteX10" fmla="*/ 334850 w 3763206"/>
              <a:gd name="connsiteY10" fmla="*/ 252426 h 2127590"/>
              <a:gd name="connsiteX11" fmla="*/ 373487 w 3763206"/>
              <a:gd name="connsiteY11" fmla="*/ 301366 h 2127590"/>
              <a:gd name="connsiteX12" fmla="*/ 414699 w 3763206"/>
              <a:gd name="connsiteY12" fmla="*/ 288487 h 2127590"/>
              <a:gd name="connsiteX13" fmla="*/ 461063 w 3763206"/>
              <a:gd name="connsiteY13" fmla="*/ 306517 h 2127590"/>
              <a:gd name="connsiteX14" fmla="*/ 504851 w 3763206"/>
              <a:gd name="connsiteY14" fmla="*/ 296214 h 2127590"/>
              <a:gd name="connsiteX15" fmla="*/ 571821 w 3763206"/>
              <a:gd name="connsiteY15" fmla="*/ 311669 h 2127590"/>
              <a:gd name="connsiteX16" fmla="*/ 613034 w 3763206"/>
              <a:gd name="connsiteY16" fmla="*/ 301366 h 2127590"/>
              <a:gd name="connsiteX17" fmla="*/ 638792 w 3763206"/>
              <a:gd name="connsiteY17" fmla="*/ 329699 h 2127590"/>
              <a:gd name="connsiteX18" fmla="*/ 646519 w 3763206"/>
              <a:gd name="connsiteY18" fmla="*/ 399245 h 2127590"/>
              <a:gd name="connsiteX19" fmla="*/ 669701 w 3763206"/>
              <a:gd name="connsiteY19" fmla="*/ 453336 h 2127590"/>
              <a:gd name="connsiteX20" fmla="*/ 713489 w 3763206"/>
              <a:gd name="connsiteY20" fmla="*/ 455912 h 2127590"/>
              <a:gd name="connsiteX21" fmla="*/ 765005 w 3763206"/>
              <a:gd name="connsiteY21" fmla="*/ 486821 h 2127590"/>
              <a:gd name="connsiteX22" fmla="*/ 793338 w 3763206"/>
              <a:gd name="connsiteY22" fmla="*/ 540913 h 2127590"/>
              <a:gd name="connsiteX23" fmla="*/ 837126 w 3763206"/>
              <a:gd name="connsiteY23" fmla="*/ 561519 h 2127590"/>
              <a:gd name="connsiteX24" fmla="*/ 906672 w 3763206"/>
              <a:gd name="connsiteY24" fmla="*/ 628489 h 2127590"/>
              <a:gd name="connsiteX25" fmla="*/ 968491 w 3763206"/>
              <a:gd name="connsiteY25" fmla="*/ 667126 h 2127590"/>
              <a:gd name="connsiteX26" fmla="*/ 1004552 w 3763206"/>
              <a:gd name="connsiteY26" fmla="*/ 641368 h 2127590"/>
              <a:gd name="connsiteX27" fmla="*/ 1030309 w 3763206"/>
              <a:gd name="connsiteY27" fmla="*/ 654247 h 2127590"/>
              <a:gd name="connsiteX28" fmla="*/ 1043188 w 3763206"/>
              <a:gd name="connsiteY28" fmla="*/ 667126 h 2127590"/>
              <a:gd name="connsiteX29" fmla="*/ 1084401 w 3763206"/>
              <a:gd name="connsiteY29" fmla="*/ 638792 h 2127590"/>
              <a:gd name="connsiteX30" fmla="*/ 1107583 w 3763206"/>
              <a:gd name="connsiteY30" fmla="*/ 615610 h 2127590"/>
              <a:gd name="connsiteX31" fmla="*/ 1143643 w 3763206"/>
              <a:gd name="connsiteY31" fmla="*/ 615610 h 2127590"/>
              <a:gd name="connsiteX32" fmla="*/ 1182280 w 3763206"/>
              <a:gd name="connsiteY32" fmla="*/ 651671 h 2127590"/>
              <a:gd name="connsiteX33" fmla="*/ 1184856 w 3763206"/>
              <a:gd name="connsiteY33" fmla="*/ 726368 h 2127590"/>
              <a:gd name="connsiteX34" fmla="*/ 1228644 w 3763206"/>
              <a:gd name="connsiteY34" fmla="*/ 757278 h 2127590"/>
              <a:gd name="connsiteX35" fmla="*/ 1300766 w 3763206"/>
              <a:gd name="connsiteY35" fmla="*/ 801066 h 2127590"/>
              <a:gd name="connsiteX36" fmla="*/ 1347130 w 3763206"/>
              <a:gd name="connsiteY36" fmla="*/ 813945 h 2127590"/>
              <a:gd name="connsiteX37" fmla="*/ 1375463 w 3763206"/>
              <a:gd name="connsiteY37" fmla="*/ 803642 h 2127590"/>
              <a:gd name="connsiteX38" fmla="*/ 1406372 w 3763206"/>
              <a:gd name="connsiteY38" fmla="*/ 821672 h 2127590"/>
              <a:gd name="connsiteX39" fmla="*/ 1447585 w 3763206"/>
              <a:gd name="connsiteY39" fmla="*/ 801066 h 2127590"/>
              <a:gd name="connsiteX40" fmla="*/ 1463040 w 3763206"/>
              <a:gd name="connsiteY40" fmla="*/ 777884 h 2127590"/>
              <a:gd name="connsiteX41" fmla="*/ 1493949 w 3763206"/>
              <a:gd name="connsiteY41" fmla="*/ 801066 h 2127590"/>
              <a:gd name="connsiteX42" fmla="*/ 1527434 w 3763206"/>
              <a:gd name="connsiteY42" fmla="*/ 780460 h 2127590"/>
              <a:gd name="connsiteX43" fmla="*/ 1537737 w 3763206"/>
              <a:gd name="connsiteY43" fmla="*/ 752126 h 2127590"/>
              <a:gd name="connsiteX44" fmla="*/ 1586677 w 3763206"/>
              <a:gd name="connsiteY44" fmla="*/ 772732 h 2127590"/>
              <a:gd name="connsiteX45" fmla="*/ 1640768 w 3763206"/>
              <a:gd name="connsiteY45" fmla="*/ 829399 h 2127590"/>
              <a:gd name="connsiteX46" fmla="*/ 1694859 w 3763206"/>
              <a:gd name="connsiteY46" fmla="*/ 834551 h 2127590"/>
              <a:gd name="connsiteX47" fmla="*/ 1715465 w 3763206"/>
              <a:gd name="connsiteY47" fmla="*/ 819096 h 2127590"/>
              <a:gd name="connsiteX48" fmla="*/ 1761829 w 3763206"/>
              <a:gd name="connsiteY48" fmla="*/ 821672 h 2127590"/>
              <a:gd name="connsiteX49" fmla="*/ 1797890 w 3763206"/>
              <a:gd name="connsiteY49" fmla="*/ 855157 h 2127590"/>
              <a:gd name="connsiteX50" fmla="*/ 1813345 w 3763206"/>
              <a:gd name="connsiteY50" fmla="*/ 914400 h 2127590"/>
              <a:gd name="connsiteX51" fmla="*/ 1854557 w 3763206"/>
              <a:gd name="connsiteY51" fmla="*/ 983946 h 2127590"/>
              <a:gd name="connsiteX52" fmla="*/ 1851981 w 3763206"/>
              <a:gd name="connsiteY52" fmla="*/ 1032886 h 2127590"/>
              <a:gd name="connsiteX53" fmla="*/ 1875163 w 3763206"/>
              <a:gd name="connsiteY53" fmla="*/ 1076674 h 2127590"/>
              <a:gd name="connsiteX54" fmla="*/ 1924103 w 3763206"/>
              <a:gd name="connsiteY54" fmla="*/ 1086977 h 2127590"/>
              <a:gd name="connsiteX55" fmla="*/ 1952437 w 3763206"/>
              <a:gd name="connsiteY55" fmla="*/ 1115310 h 2127590"/>
              <a:gd name="connsiteX56" fmla="*/ 2029710 w 3763206"/>
              <a:gd name="connsiteY56" fmla="*/ 1143644 h 2127590"/>
              <a:gd name="connsiteX57" fmla="*/ 2076074 w 3763206"/>
              <a:gd name="connsiteY57" fmla="*/ 1123038 h 2127590"/>
              <a:gd name="connsiteX58" fmla="*/ 2112135 w 3763206"/>
              <a:gd name="connsiteY58" fmla="*/ 1123038 h 2127590"/>
              <a:gd name="connsiteX59" fmla="*/ 2140468 w 3763206"/>
              <a:gd name="connsiteY59" fmla="*/ 1177129 h 2127590"/>
              <a:gd name="connsiteX60" fmla="*/ 2161074 w 3763206"/>
              <a:gd name="connsiteY60" fmla="*/ 1218341 h 2127590"/>
              <a:gd name="connsiteX61" fmla="*/ 2197135 w 3763206"/>
              <a:gd name="connsiteY61" fmla="*/ 1241523 h 2127590"/>
              <a:gd name="connsiteX62" fmla="*/ 2238348 w 3763206"/>
              <a:gd name="connsiteY62" fmla="*/ 1238947 h 2127590"/>
              <a:gd name="connsiteX63" fmla="*/ 2282136 w 3763206"/>
              <a:gd name="connsiteY63" fmla="*/ 1275008 h 2127590"/>
              <a:gd name="connsiteX64" fmla="*/ 2349106 w 3763206"/>
              <a:gd name="connsiteY64" fmla="*/ 1298190 h 2127590"/>
              <a:gd name="connsiteX65" fmla="*/ 2421228 w 3763206"/>
              <a:gd name="connsiteY65" fmla="*/ 1290463 h 2127590"/>
              <a:gd name="connsiteX66" fmla="*/ 2449561 w 3763206"/>
              <a:gd name="connsiteY66" fmla="*/ 1272433 h 2127590"/>
              <a:gd name="connsiteX67" fmla="*/ 2465016 w 3763206"/>
              <a:gd name="connsiteY67" fmla="*/ 1290463 h 2127590"/>
              <a:gd name="connsiteX68" fmla="*/ 2472743 w 3763206"/>
              <a:gd name="connsiteY68" fmla="*/ 1326524 h 2127590"/>
              <a:gd name="connsiteX69" fmla="*/ 2521683 w 3763206"/>
              <a:gd name="connsiteY69" fmla="*/ 1339403 h 2127590"/>
              <a:gd name="connsiteX70" fmla="*/ 2542289 w 3763206"/>
              <a:gd name="connsiteY70" fmla="*/ 1367736 h 2127590"/>
              <a:gd name="connsiteX71" fmla="*/ 2573198 w 3763206"/>
              <a:gd name="connsiteY71" fmla="*/ 1414100 h 2127590"/>
              <a:gd name="connsiteX72" fmla="*/ 2635017 w 3763206"/>
              <a:gd name="connsiteY72" fmla="*/ 1429555 h 2127590"/>
              <a:gd name="connsiteX73" fmla="*/ 2704563 w 3763206"/>
              <a:gd name="connsiteY73" fmla="*/ 1460464 h 2127590"/>
              <a:gd name="connsiteX74" fmla="*/ 2735472 w 3763206"/>
              <a:gd name="connsiteY74" fmla="*/ 1455313 h 2127590"/>
              <a:gd name="connsiteX75" fmla="*/ 2768957 w 3763206"/>
              <a:gd name="connsiteY75" fmla="*/ 1483646 h 2127590"/>
              <a:gd name="connsiteX76" fmla="*/ 2815321 w 3763206"/>
              <a:gd name="connsiteY76" fmla="*/ 1491373 h 2127590"/>
              <a:gd name="connsiteX77" fmla="*/ 2838503 w 3763206"/>
              <a:gd name="connsiteY77" fmla="*/ 1527434 h 2127590"/>
              <a:gd name="connsiteX78" fmla="*/ 2882291 w 3763206"/>
              <a:gd name="connsiteY78" fmla="*/ 1563495 h 2127590"/>
              <a:gd name="connsiteX79" fmla="*/ 2944110 w 3763206"/>
              <a:gd name="connsiteY79" fmla="*/ 1568647 h 2127590"/>
              <a:gd name="connsiteX80" fmla="*/ 2944110 w 3763206"/>
              <a:gd name="connsiteY80" fmla="*/ 1568647 h 2127590"/>
              <a:gd name="connsiteX81" fmla="*/ 2964716 w 3763206"/>
              <a:gd name="connsiteY81" fmla="*/ 1548040 h 2127590"/>
              <a:gd name="connsiteX82" fmla="*/ 2982747 w 3763206"/>
              <a:gd name="connsiteY82" fmla="*/ 1568647 h 2127590"/>
              <a:gd name="connsiteX83" fmla="*/ 2982747 w 3763206"/>
              <a:gd name="connsiteY83" fmla="*/ 1609859 h 2127590"/>
              <a:gd name="connsiteX84" fmla="*/ 3016232 w 3763206"/>
              <a:gd name="connsiteY84" fmla="*/ 1630465 h 2127590"/>
              <a:gd name="connsiteX85" fmla="*/ 3054868 w 3763206"/>
              <a:gd name="connsiteY85" fmla="*/ 1630465 h 2127590"/>
              <a:gd name="connsiteX86" fmla="*/ 3096081 w 3763206"/>
              <a:gd name="connsiteY86" fmla="*/ 1656223 h 2127590"/>
              <a:gd name="connsiteX87" fmla="*/ 3103808 w 3763206"/>
              <a:gd name="connsiteY87" fmla="*/ 1707738 h 2127590"/>
              <a:gd name="connsiteX88" fmla="*/ 3132141 w 3763206"/>
              <a:gd name="connsiteY88" fmla="*/ 1733496 h 2127590"/>
              <a:gd name="connsiteX89" fmla="*/ 3132141 w 3763206"/>
              <a:gd name="connsiteY89" fmla="*/ 1756678 h 2127590"/>
              <a:gd name="connsiteX90" fmla="*/ 3175930 w 3763206"/>
              <a:gd name="connsiteY90" fmla="*/ 1785012 h 2127590"/>
              <a:gd name="connsiteX91" fmla="*/ 3170778 w 3763206"/>
              <a:gd name="connsiteY91" fmla="*/ 1833951 h 2127590"/>
              <a:gd name="connsiteX92" fmla="*/ 3209415 w 3763206"/>
              <a:gd name="connsiteY92" fmla="*/ 1870012 h 2127590"/>
              <a:gd name="connsiteX93" fmla="*/ 3255779 w 3763206"/>
              <a:gd name="connsiteY93" fmla="*/ 1906073 h 2127590"/>
              <a:gd name="connsiteX94" fmla="*/ 3299567 w 3763206"/>
              <a:gd name="connsiteY94" fmla="*/ 1893194 h 2127590"/>
              <a:gd name="connsiteX95" fmla="*/ 3353658 w 3763206"/>
              <a:gd name="connsiteY95" fmla="*/ 1924104 h 2127590"/>
              <a:gd name="connsiteX96" fmla="*/ 3384567 w 3763206"/>
              <a:gd name="connsiteY96" fmla="*/ 1900922 h 2127590"/>
              <a:gd name="connsiteX97" fmla="*/ 3436083 w 3763206"/>
              <a:gd name="connsiteY97" fmla="*/ 1926679 h 2127590"/>
              <a:gd name="connsiteX98" fmla="*/ 3479871 w 3763206"/>
              <a:gd name="connsiteY98" fmla="*/ 1973043 h 2127590"/>
              <a:gd name="connsiteX99" fmla="*/ 3518508 w 3763206"/>
              <a:gd name="connsiteY99" fmla="*/ 2045165 h 2127590"/>
              <a:gd name="connsiteX100" fmla="*/ 3539114 w 3763206"/>
              <a:gd name="connsiteY100" fmla="*/ 2058044 h 2127590"/>
              <a:gd name="connsiteX101" fmla="*/ 3557144 w 3763206"/>
              <a:gd name="connsiteY101" fmla="*/ 2088953 h 2127590"/>
              <a:gd name="connsiteX102" fmla="*/ 3580326 w 3763206"/>
              <a:gd name="connsiteY102" fmla="*/ 2127590 h 2127590"/>
              <a:gd name="connsiteX103" fmla="*/ 3608660 w 3763206"/>
              <a:gd name="connsiteY103" fmla="*/ 2127590 h 2127590"/>
              <a:gd name="connsiteX104" fmla="*/ 3631842 w 3763206"/>
              <a:gd name="connsiteY104" fmla="*/ 2099256 h 2127590"/>
              <a:gd name="connsiteX105" fmla="*/ 3667903 w 3763206"/>
              <a:gd name="connsiteY105" fmla="*/ 2063195 h 2127590"/>
              <a:gd name="connsiteX106" fmla="*/ 3665327 w 3763206"/>
              <a:gd name="connsiteY106" fmla="*/ 2021983 h 2127590"/>
              <a:gd name="connsiteX107" fmla="*/ 3680781 w 3763206"/>
              <a:gd name="connsiteY107" fmla="*/ 1998801 h 2127590"/>
              <a:gd name="connsiteX108" fmla="*/ 3678206 w 3763206"/>
              <a:gd name="connsiteY108" fmla="*/ 1926679 h 2127590"/>
              <a:gd name="connsiteX109" fmla="*/ 3703963 w 3763206"/>
              <a:gd name="connsiteY109" fmla="*/ 1885467 h 2127590"/>
              <a:gd name="connsiteX110" fmla="*/ 3683357 w 3763206"/>
              <a:gd name="connsiteY110" fmla="*/ 1851982 h 2127590"/>
              <a:gd name="connsiteX111" fmla="*/ 3711691 w 3763206"/>
              <a:gd name="connsiteY111" fmla="*/ 1813345 h 2127590"/>
              <a:gd name="connsiteX112" fmla="*/ 3719418 w 3763206"/>
              <a:gd name="connsiteY112" fmla="*/ 1779860 h 2127590"/>
              <a:gd name="connsiteX113" fmla="*/ 3683357 w 3763206"/>
              <a:gd name="connsiteY113" fmla="*/ 1728345 h 2127590"/>
              <a:gd name="connsiteX114" fmla="*/ 3621539 w 3763206"/>
              <a:gd name="connsiteY114" fmla="*/ 1679405 h 2127590"/>
              <a:gd name="connsiteX115" fmla="*/ 3608660 w 3763206"/>
              <a:gd name="connsiteY115" fmla="*/ 1630465 h 2127590"/>
              <a:gd name="connsiteX116" fmla="*/ 3598357 w 3763206"/>
              <a:gd name="connsiteY116" fmla="*/ 1573798 h 2127590"/>
              <a:gd name="connsiteX117" fmla="*/ 3577750 w 3763206"/>
              <a:gd name="connsiteY117" fmla="*/ 1537737 h 2127590"/>
              <a:gd name="connsiteX118" fmla="*/ 3590629 w 3763206"/>
              <a:gd name="connsiteY118" fmla="*/ 1499101 h 2127590"/>
              <a:gd name="connsiteX119" fmla="*/ 3541690 w 3763206"/>
              <a:gd name="connsiteY119" fmla="*/ 1378039 h 2127590"/>
              <a:gd name="connsiteX120" fmla="*/ 3541690 w 3763206"/>
              <a:gd name="connsiteY120" fmla="*/ 1334251 h 2127590"/>
              <a:gd name="connsiteX121" fmla="*/ 3515932 w 3763206"/>
              <a:gd name="connsiteY121" fmla="*/ 1269857 h 2127590"/>
              <a:gd name="connsiteX122" fmla="*/ 3513356 w 3763206"/>
              <a:gd name="connsiteY122" fmla="*/ 1233796 h 2127590"/>
              <a:gd name="connsiteX123" fmla="*/ 3492750 w 3763206"/>
              <a:gd name="connsiteY123" fmla="*/ 1195159 h 2127590"/>
              <a:gd name="connsiteX124" fmla="*/ 3412901 w 3763206"/>
              <a:gd name="connsiteY124" fmla="*/ 1148795 h 2127590"/>
              <a:gd name="connsiteX125" fmla="*/ 3410325 w 3763206"/>
              <a:gd name="connsiteY125" fmla="*/ 1112735 h 2127590"/>
              <a:gd name="connsiteX126" fmla="*/ 3379416 w 3763206"/>
              <a:gd name="connsiteY126" fmla="*/ 1089553 h 2127590"/>
              <a:gd name="connsiteX127" fmla="*/ 3356234 w 3763206"/>
              <a:gd name="connsiteY127" fmla="*/ 1089553 h 2127590"/>
              <a:gd name="connsiteX128" fmla="*/ 3312446 w 3763206"/>
              <a:gd name="connsiteY128" fmla="*/ 1092128 h 2127590"/>
              <a:gd name="connsiteX129" fmla="*/ 3242900 w 3763206"/>
              <a:gd name="connsiteY129" fmla="*/ 1053492 h 2127590"/>
              <a:gd name="connsiteX130" fmla="*/ 3191384 w 3763206"/>
              <a:gd name="connsiteY130" fmla="*/ 989097 h 2127590"/>
              <a:gd name="connsiteX131" fmla="*/ 3147596 w 3763206"/>
              <a:gd name="connsiteY131" fmla="*/ 965915 h 2127590"/>
              <a:gd name="connsiteX132" fmla="*/ 3142445 w 3763206"/>
              <a:gd name="connsiteY132" fmla="*/ 929855 h 2127590"/>
              <a:gd name="connsiteX133" fmla="*/ 3119263 w 3763206"/>
              <a:gd name="connsiteY133" fmla="*/ 880915 h 2127590"/>
              <a:gd name="connsiteX134" fmla="*/ 3078050 w 3763206"/>
              <a:gd name="connsiteY134" fmla="*/ 850006 h 2127590"/>
              <a:gd name="connsiteX135" fmla="*/ 3083202 w 3763206"/>
              <a:gd name="connsiteY135" fmla="*/ 806217 h 2127590"/>
              <a:gd name="connsiteX136" fmla="*/ 3119263 w 3763206"/>
              <a:gd name="connsiteY136" fmla="*/ 749550 h 2127590"/>
              <a:gd name="connsiteX137" fmla="*/ 3124414 w 3763206"/>
              <a:gd name="connsiteY137" fmla="*/ 685156 h 2127590"/>
              <a:gd name="connsiteX138" fmla="*/ 3152748 w 3763206"/>
              <a:gd name="connsiteY138" fmla="*/ 649095 h 2127590"/>
              <a:gd name="connsiteX139" fmla="*/ 3199112 w 3763206"/>
              <a:gd name="connsiteY139" fmla="*/ 625913 h 2127590"/>
              <a:gd name="connsiteX140" fmla="*/ 3222294 w 3763206"/>
              <a:gd name="connsiteY140" fmla="*/ 582125 h 2127590"/>
              <a:gd name="connsiteX141" fmla="*/ 3271233 w 3763206"/>
              <a:gd name="connsiteY141" fmla="*/ 579549 h 2127590"/>
              <a:gd name="connsiteX142" fmla="*/ 3302143 w 3763206"/>
              <a:gd name="connsiteY142" fmla="*/ 595004 h 2127590"/>
              <a:gd name="connsiteX143" fmla="*/ 3376840 w 3763206"/>
              <a:gd name="connsiteY143" fmla="*/ 579549 h 2127590"/>
              <a:gd name="connsiteX144" fmla="*/ 3412901 w 3763206"/>
              <a:gd name="connsiteY144" fmla="*/ 605307 h 2127590"/>
              <a:gd name="connsiteX145" fmla="*/ 3461841 w 3763206"/>
              <a:gd name="connsiteY145" fmla="*/ 597580 h 2127590"/>
              <a:gd name="connsiteX146" fmla="*/ 3513356 w 3763206"/>
              <a:gd name="connsiteY146" fmla="*/ 615610 h 2127590"/>
              <a:gd name="connsiteX147" fmla="*/ 3593205 w 3763206"/>
              <a:gd name="connsiteY147" fmla="*/ 654247 h 2127590"/>
              <a:gd name="connsiteX148" fmla="*/ 3716842 w 3763206"/>
              <a:gd name="connsiteY148" fmla="*/ 664550 h 2127590"/>
              <a:gd name="connsiteX149" fmla="*/ 3763206 w 3763206"/>
              <a:gd name="connsiteY149" fmla="*/ 654247 h 2127590"/>
              <a:gd name="connsiteX150" fmla="*/ 3745176 w 3763206"/>
              <a:gd name="connsiteY150" fmla="*/ 628489 h 2127590"/>
              <a:gd name="connsiteX151" fmla="*/ 3742600 w 3763206"/>
              <a:gd name="connsiteY151" fmla="*/ 597580 h 2127590"/>
              <a:gd name="connsiteX0" fmla="*/ 0 w 3763206"/>
              <a:gd name="connsiteY0" fmla="*/ 0 h 2073499"/>
              <a:gd name="connsiteX1" fmla="*/ 25757 w 3763206"/>
              <a:gd name="connsiteY1" fmla="*/ 33485 h 2073499"/>
              <a:gd name="connsiteX2" fmla="*/ 7727 w 3763206"/>
              <a:gd name="connsiteY2" fmla="*/ 69546 h 2073499"/>
              <a:gd name="connsiteX3" fmla="*/ 18030 w 3763206"/>
              <a:gd name="connsiteY3" fmla="*/ 95304 h 2073499"/>
              <a:gd name="connsiteX4" fmla="*/ 79849 w 3763206"/>
              <a:gd name="connsiteY4" fmla="*/ 92728 h 2073499"/>
              <a:gd name="connsiteX5" fmla="*/ 146819 w 3763206"/>
              <a:gd name="connsiteY5" fmla="*/ 100455 h 2073499"/>
              <a:gd name="connsiteX6" fmla="*/ 195758 w 3763206"/>
              <a:gd name="connsiteY6" fmla="*/ 126213 h 2073499"/>
              <a:gd name="connsiteX7" fmla="*/ 229243 w 3763206"/>
              <a:gd name="connsiteY7" fmla="*/ 177729 h 2073499"/>
              <a:gd name="connsiteX8" fmla="*/ 291062 w 3763206"/>
              <a:gd name="connsiteY8" fmla="*/ 198335 h 2073499"/>
              <a:gd name="connsiteX9" fmla="*/ 334850 w 3763206"/>
              <a:gd name="connsiteY9" fmla="*/ 198335 h 2073499"/>
              <a:gd name="connsiteX10" fmla="*/ 373487 w 3763206"/>
              <a:gd name="connsiteY10" fmla="*/ 247275 h 2073499"/>
              <a:gd name="connsiteX11" fmla="*/ 414699 w 3763206"/>
              <a:gd name="connsiteY11" fmla="*/ 234396 h 2073499"/>
              <a:gd name="connsiteX12" fmla="*/ 461063 w 3763206"/>
              <a:gd name="connsiteY12" fmla="*/ 252426 h 2073499"/>
              <a:gd name="connsiteX13" fmla="*/ 504851 w 3763206"/>
              <a:gd name="connsiteY13" fmla="*/ 242123 h 2073499"/>
              <a:gd name="connsiteX14" fmla="*/ 571821 w 3763206"/>
              <a:gd name="connsiteY14" fmla="*/ 257578 h 2073499"/>
              <a:gd name="connsiteX15" fmla="*/ 613034 w 3763206"/>
              <a:gd name="connsiteY15" fmla="*/ 247275 h 2073499"/>
              <a:gd name="connsiteX16" fmla="*/ 638792 w 3763206"/>
              <a:gd name="connsiteY16" fmla="*/ 275608 h 2073499"/>
              <a:gd name="connsiteX17" fmla="*/ 646519 w 3763206"/>
              <a:gd name="connsiteY17" fmla="*/ 345154 h 2073499"/>
              <a:gd name="connsiteX18" fmla="*/ 669701 w 3763206"/>
              <a:gd name="connsiteY18" fmla="*/ 399245 h 2073499"/>
              <a:gd name="connsiteX19" fmla="*/ 713489 w 3763206"/>
              <a:gd name="connsiteY19" fmla="*/ 401821 h 2073499"/>
              <a:gd name="connsiteX20" fmla="*/ 765005 w 3763206"/>
              <a:gd name="connsiteY20" fmla="*/ 432730 h 2073499"/>
              <a:gd name="connsiteX21" fmla="*/ 793338 w 3763206"/>
              <a:gd name="connsiteY21" fmla="*/ 486822 h 2073499"/>
              <a:gd name="connsiteX22" fmla="*/ 837126 w 3763206"/>
              <a:gd name="connsiteY22" fmla="*/ 507428 h 2073499"/>
              <a:gd name="connsiteX23" fmla="*/ 906672 w 3763206"/>
              <a:gd name="connsiteY23" fmla="*/ 574398 h 2073499"/>
              <a:gd name="connsiteX24" fmla="*/ 968491 w 3763206"/>
              <a:gd name="connsiteY24" fmla="*/ 613035 h 2073499"/>
              <a:gd name="connsiteX25" fmla="*/ 1004552 w 3763206"/>
              <a:gd name="connsiteY25" fmla="*/ 587277 h 2073499"/>
              <a:gd name="connsiteX26" fmla="*/ 1030309 w 3763206"/>
              <a:gd name="connsiteY26" fmla="*/ 600156 h 2073499"/>
              <a:gd name="connsiteX27" fmla="*/ 1043188 w 3763206"/>
              <a:gd name="connsiteY27" fmla="*/ 613035 h 2073499"/>
              <a:gd name="connsiteX28" fmla="*/ 1084401 w 3763206"/>
              <a:gd name="connsiteY28" fmla="*/ 584701 h 2073499"/>
              <a:gd name="connsiteX29" fmla="*/ 1107583 w 3763206"/>
              <a:gd name="connsiteY29" fmla="*/ 561519 h 2073499"/>
              <a:gd name="connsiteX30" fmla="*/ 1143643 w 3763206"/>
              <a:gd name="connsiteY30" fmla="*/ 561519 h 2073499"/>
              <a:gd name="connsiteX31" fmla="*/ 1182280 w 3763206"/>
              <a:gd name="connsiteY31" fmla="*/ 597580 h 2073499"/>
              <a:gd name="connsiteX32" fmla="*/ 1184856 w 3763206"/>
              <a:gd name="connsiteY32" fmla="*/ 672277 h 2073499"/>
              <a:gd name="connsiteX33" fmla="*/ 1228644 w 3763206"/>
              <a:gd name="connsiteY33" fmla="*/ 703187 h 2073499"/>
              <a:gd name="connsiteX34" fmla="*/ 1300766 w 3763206"/>
              <a:gd name="connsiteY34" fmla="*/ 746975 h 2073499"/>
              <a:gd name="connsiteX35" fmla="*/ 1347130 w 3763206"/>
              <a:gd name="connsiteY35" fmla="*/ 759854 h 2073499"/>
              <a:gd name="connsiteX36" fmla="*/ 1375463 w 3763206"/>
              <a:gd name="connsiteY36" fmla="*/ 749551 h 2073499"/>
              <a:gd name="connsiteX37" fmla="*/ 1406372 w 3763206"/>
              <a:gd name="connsiteY37" fmla="*/ 767581 h 2073499"/>
              <a:gd name="connsiteX38" fmla="*/ 1447585 w 3763206"/>
              <a:gd name="connsiteY38" fmla="*/ 746975 h 2073499"/>
              <a:gd name="connsiteX39" fmla="*/ 1463040 w 3763206"/>
              <a:gd name="connsiteY39" fmla="*/ 723793 h 2073499"/>
              <a:gd name="connsiteX40" fmla="*/ 1493949 w 3763206"/>
              <a:gd name="connsiteY40" fmla="*/ 746975 h 2073499"/>
              <a:gd name="connsiteX41" fmla="*/ 1527434 w 3763206"/>
              <a:gd name="connsiteY41" fmla="*/ 726369 h 2073499"/>
              <a:gd name="connsiteX42" fmla="*/ 1537737 w 3763206"/>
              <a:gd name="connsiteY42" fmla="*/ 698035 h 2073499"/>
              <a:gd name="connsiteX43" fmla="*/ 1586677 w 3763206"/>
              <a:gd name="connsiteY43" fmla="*/ 718641 h 2073499"/>
              <a:gd name="connsiteX44" fmla="*/ 1640768 w 3763206"/>
              <a:gd name="connsiteY44" fmla="*/ 775308 h 2073499"/>
              <a:gd name="connsiteX45" fmla="*/ 1694859 w 3763206"/>
              <a:gd name="connsiteY45" fmla="*/ 780460 h 2073499"/>
              <a:gd name="connsiteX46" fmla="*/ 1715465 w 3763206"/>
              <a:gd name="connsiteY46" fmla="*/ 765005 h 2073499"/>
              <a:gd name="connsiteX47" fmla="*/ 1761829 w 3763206"/>
              <a:gd name="connsiteY47" fmla="*/ 767581 h 2073499"/>
              <a:gd name="connsiteX48" fmla="*/ 1797890 w 3763206"/>
              <a:gd name="connsiteY48" fmla="*/ 801066 h 2073499"/>
              <a:gd name="connsiteX49" fmla="*/ 1813345 w 3763206"/>
              <a:gd name="connsiteY49" fmla="*/ 860309 h 2073499"/>
              <a:gd name="connsiteX50" fmla="*/ 1854557 w 3763206"/>
              <a:gd name="connsiteY50" fmla="*/ 929855 h 2073499"/>
              <a:gd name="connsiteX51" fmla="*/ 1851981 w 3763206"/>
              <a:gd name="connsiteY51" fmla="*/ 978795 h 2073499"/>
              <a:gd name="connsiteX52" fmla="*/ 1875163 w 3763206"/>
              <a:gd name="connsiteY52" fmla="*/ 1022583 h 2073499"/>
              <a:gd name="connsiteX53" fmla="*/ 1924103 w 3763206"/>
              <a:gd name="connsiteY53" fmla="*/ 1032886 h 2073499"/>
              <a:gd name="connsiteX54" fmla="*/ 1952437 w 3763206"/>
              <a:gd name="connsiteY54" fmla="*/ 1061219 h 2073499"/>
              <a:gd name="connsiteX55" fmla="*/ 2029710 w 3763206"/>
              <a:gd name="connsiteY55" fmla="*/ 1089553 h 2073499"/>
              <a:gd name="connsiteX56" fmla="*/ 2076074 w 3763206"/>
              <a:gd name="connsiteY56" fmla="*/ 1068947 h 2073499"/>
              <a:gd name="connsiteX57" fmla="*/ 2112135 w 3763206"/>
              <a:gd name="connsiteY57" fmla="*/ 1068947 h 2073499"/>
              <a:gd name="connsiteX58" fmla="*/ 2140468 w 3763206"/>
              <a:gd name="connsiteY58" fmla="*/ 1123038 h 2073499"/>
              <a:gd name="connsiteX59" fmla="*/ 2161074 w 3763206"/>
              <a:gd name="connsiteY59" fmla="*/ 1164250 h 2073499"/>
              <a:gd name="connsiteX60" fmla="*/ 2197135 w 3763206"/>
              <a:gd name="connsiteY60" fmla="*/ 1187432 h 2073499"/>
              <a:gd name="connsiteX61" fmla="*/ 2238348 w 3763206"/>
              <a:gd name="connsiteY61" fmla="*/ 1184856 h 2073499"/>
              <a:gd name="connsiteX62" fmla="*/ 2282136 w 3763206"/>
              <a:gd name="connsiteY62" fmla="*/ 1220917 h 2073499"/>
              <a:gd name="connsiteX63" fmla="*/ 2349106 w 3763206"/>
              <a:gd name="connsiteY63" fmla="*/ 1244099 h 2073499"/>
              <a:gd name="connsiteX64" fmla="*/ 2421228 w 3763206"/>
              <a:gd name="connsiteY64" fmla="*/ 1236372 h 2073499"/>
              <a:gd name="connsiteX65" fmla="*/ 2449561 w 3763206"/>
              <a:gd name="connsiteY65" fmla="*/ 1218342 h 2073499"/>
              <a:gd name="connsiteX66" fmla="*/ 2465016 w 3763206"/>
              <a:gd name="connsiteY66" fmla="*/ 1236372 h 2073499"/>
              <a:gd name="connsiteX67" fmla="*/ 2472743 w 3763206"/>
              <a:gd name="connsiteY67" fmla="*/ 1272433 h 2073499"/>
              <a:gd name="connsiteX68" fmla="*/ 2521683 w 3763206"/>
              <a:gd name="connsiteY68" fmla="*/ 1285312 h 2073499"/>
              <a:gd name="connsiteX69" fmla="*/ 2542289 w 3763206"/>
              <a:gd name="connsiteY69" fmla="*/ 1313645 h 2073499"/>
              <a:gd name="connsiteX70" fmla="*/ 2573198 w 3763206"/>
              <a:gd name="connsiteY70" fmla="*/ 1360009 h 2073499"/>
              <a:gd name="connsiteX71" fmla="*/ 2635017 w 3763206"/>
              <a:gd name="connsiteY71" fmla="*/ 1375464 h 2073499"/>
              <a:gd name="connsiteX72" fmla="*/ 2704563 w 3763206"/>
              <a:gd name="connsiteY72" fmla="*/ 1406373 h 2073499"/>
              <a:gd name="connsiteX73" fmla="*/ 2735472 w 3763206"/>
              <a:gd name="connsiteY73" fmla="*/ 1401222 h 2073499"/>
              <a:gd name="connsiteX74" fmla="*/ 2768957 w 3763206"/>
              <a:gd name="connsiteY74" fmla="*/ 1429555 h 2073499"/>
              <a:gd name="connsiteX75" fmla="*/ 2815321 w 3763206"/>
              <a:gd name="connsiteY75" fmla="*/ 1437282 h 2073499"/>
              <a:gd name="connsiteX76" fmla="*/ 2838503 w 3763206"/>
              <a:gd name="connsiteY76" fmla="*/ 1473343 h 2073499"/>
              <a:gd name="connsiteX77" fmla="*/ 2882291 w 3763206"/>
              <a:gd name="connsiteY77" fmla="*/ 1509404 h 2073499"/>
              <a:gd name="connsiteX78" fmla="*/ 2944110 w 3763206"/>
              <a:gd name="connsiteY78" fmla="*/ 1514556 h 2073499"/>
              <a:gd name="connsiteX79" fmla="*/ 2944110 w 3763206"/>
              <a:gd name="connsiteY79" fmla="*/ 1514556 h 2073499"/>
              <a:gd name="connsiteX80" fmla="*/ 2964716 w 3763206"/>
              <a:gd name="connsiteY80" fmla="*/ 1493949 h 2073499"/>
              <a:gd name="connsiteX81" fmla="*/ 2982747 w 3763206"/>
              <a:gd name="connsiteY81" fmla="*/ 1514556 h 2073499"/>
              <a:gd name="connsiteX82" fmla="*/ 2982747 w 3763206"/>
              <a:gd name="connsiteY82" fmla="*/ 1555768 h 2073499"/>
              <a:gd name="connsiteX83" fmla="*/ 3016232 w 3763206"/>
              <a:gd name="connsiteY83" fmla="*/ 1576374 h 2073499"/>
              <a:gd name="connsiteX84" fmla="*/ 3054868 w 3763206"/>
              <a:gd name="connsiteY84" fmla="*/ 1576374 h 2073499"/>
              <a:gd name="connsiteX85" fmla="*/ 3096081 w 3763206"/>
              <a:gd name="connsiteY85" fmla="*/ 1602132 h 2073499"/>
              <a:gd name="connsiteX86" fmla="*/ 3103808 w 3763206"/>
              <a:gd name="connsiteY86" fmla="*/ 1653647 h 2073499"/>
              <a:gd name="connsiteX87" fmla="*/ 3132141 w 3763206"/>
              <a:gd name="connsiteY87" fmla="*/ 1679405 h 2073499"/>
              <a:gd name="connsiteX88" fmla="*/ 3132141 w 3763206"/>
              <a:gd name="connsiteY88" fmla="*/ 1702587 h 2073499"/>
              <a:gd name="connsiteX89" fmla="*/ 3175930 w 3763206"/>
              <a:gd name="connsiteY89" fmla="*/ 1730921 h 2073499"/>
              <a:gd name="connsiteX90" fmla="*/ 3170778 w 3763206"/>
              <a:gd name="connsiteY90" fmla="*/ 1779860 h 2073499"/>
              <a:gd name="connsiteX91" fmla="*/ 3209415 w 3763206"/>
              <a:gd name="connsiteY91" fmla="*/ 1815921 h 2073499"/>
              <a:gd name="connsiteX92" fmla="*/ 3255779 w 3763206"/>
              <a:gd name="connsiteY92" fmla="*/ 1851982 h 2073499"/>
              <a:gd name="connsiteX93" fmla="*/ 3299567 w 3763206"/>
              <a:gd name="connsiteY93" fmla="*/ 1839103 h 2073499"/>
              <a:gd name="connsiteX94" fmla="*/ 3353658 w 3763206"/>
              <a:gd name="connsiteY94" fmla="*/ 1870013 h 2073499"/>
              <a:gd name="connsiteX95" fmla="*/ 3384567 w 3763206"/>
              <a:gd name="connsiteY95" fmla="*/ 1846831 h 2073499"/>
              <a:gd name="connsiteX96" fmla="*/ 3436083 w 3763206"/>
              <a:gd name="connsiteY96" fmla="*/ 1872588 h 2073499"/>
              <a:gd name="connsiteX97" fmla="*/ 3479871 w 3763206"/>
              <a:gd name="connsiteY97" fmla="*/ 1918952 h 2073499"/>
              <a:gd name="connsiteX98" fmla="*/ 3518508 w 3763206"/>
              <a:gd name="connsiteY98" fmla="*/ 1991074 h 2073499"/>
              <a:gd name="connsiteX99" fmla="*/ 3539114 w 3763206"/>
              <a:gd name="connsiteY99" fmla="*/ 2003953 h 2073499"/>
              <a:gd name="connsiteX100" fmla="*/ 3557144 w 3763206"/>
              <a:gd name="connsiteY100" fmla="*/ 2034862 h 2073499"/>
              <a:gd name="connsiteX101" fmla="*/ 3580326 w 3763206"/>
              <a:gd name="connsiteY101" fmla="*/ 2073499 h 2073499"/>
              <a:gd name="connsiteX102" fmla="*/ 3608660 w 3763206"/>
              <a:gd name="connsiteY102" fmla="*/ 2073499 h 2073499"/>
              <a:gd name="connsiteX103" fmla="*/ 3631842 w 3763206"/>
              <a:gd name="connsiteY103" fmla="*/ 2045165 h 2073499"/>
              <a:gd name="connsiteX104" fmla="*/ 3667903 w 3763206"/>
              <a:gd name="connsiteY104" fmla="*/ 2009104 h 2073499"/>
              <a:gd name="connsiteX105" fmla="*/ 3665327 w 3763206"/>
              <a:gd name="connsiteY105" fmla="*/ 1967892 h 2073499"/>
              <a:gd name="connsiteX106" fmla="*/ 3680781 w 3763206"/>
              <a:gd name="connsiteY106" fmla="*/ 1944710 h 2073499"/>
              <a:gd name="connsiteX107" fmla="*/ 3678206 w 3763206"/>
              <a:gd name="connsiteY107" fmla="*/ 1872588 h 2073499"/>
              <a:gd name="connsiteX108" fmla="*/ 3703963 w 3763206"/>
              <a:gd name="connsiteY108" fmla="*/ 1831376 h 2073499"/>
              <a:gd name="connsiteX109" fmla="*/ 3683357 w 3763206"/>
              <a:gd name="connsiteY109" fmla="*/ 1797891 h 2073499"/>
              <a:gd name="connsiteX110" fmla="*/ 3711691 w 3763206"/>
              <a:gd name="connsiteY110" fmla="*/ 1759254 h 2073499"/>
              <a:gd name="connsiteX111" fmla="*/ 3719418 w 3763206"/>
              <a:gd name="connsiteY111" fmla="*/ 1725769 h 2073499"/>
              <a:gd name="connsiteX112" fmla="*/ 3683357 w 3763206"/>
              <a:gd name="connsiteY112" fmla="*/ 1674254 h 2073499"/>
              <a:gd name="connsiteX113" fmla="*/ 3621539 w 3763206"/>
              <a:gd name="connsiteY113" fmla="*/ 1625314 h 2073499"/>
              <a:gd name="connsiteX114" fmla="*/ 3608660 w 3763206"/>
              <a:gd name="connsiteY114" fmla="*/ 1576374 h 2073499"/>
              <a:gd name="connsiteX115" fmla="*/ 3598357 w 3763206"/>
              <a:gd name="connsiteY115" fmla="*/ 1519707 h 2073499"/>
              <a:gd name="connsiteX116" fmla="*/ 3577750 w 3763206"/>
              <a:gd name="connsiteY116" fmla="*/ 1483646 h 2073499"/>
              <a:gd name="connsiteX117" fmla="*/ 3590629 w 3763206"/>
              <a:gd name="connsiteY117" fmla="*/ 1445010 h 2073499"/>
              <a:gd name="connsiteX118" fmla="*/ 3541690 w 3763206"/>
              <a:gd name="connsiteY118" fmla="*/ 1323948 h 2073499"/>
              <a:gd name="connsiteX119" fmla="*/ 3541690 w 3763206"/>
              <a:gd name="connsiteY119" fmla="*/ 1280160 h 2073499"/>
              <a:gd name="connsiteX120" fmla="*/ 3515932 w 3763206"/>
              <a:gd name="connsiteY120" fmla="*/ 1215766 h 2073499"/>
              <a:gd name="connsiteX121" fmla="*/ 3513356 w 3763206"/>
              <a:gd name="connsiteY121" fmla="*/ 1179705 h 2073499"/>
              <a:gd name="connsiteX122" fmla="*/ 3492750 w 3763206"/>
              <a:gd name="connsiteY122" fmla="*/ 1141068 h 2073499"/>
              <a:gd name="connsiteX123" fmla="*/ 3412901 w 3763206"/>
              <a:gd name="connsiteY123" fmla="*/ 1094704 h 2073499"/>
              <a:gd name="connsiteX124" fmla="*/ 3410325 w 3763206"/>
              <a:gd name="connsiteY124" fmla="*/ 1058644 h 2073499"/>
              <a:gd name="connsiteX125" fmla="*/ 3379416 w 3763206"/>
              <a:gd name="connsiteY125" fmla="*/ 1035462 h 2073499"/>
              <a:gd name="connsiteX126" fmla="*/ 3356234 w 3763206"/>
              <a:gd name="connsiteY126" fmla="*/ 1035462 h 2073499"/>
              <a:gd name="connsiteX127" fmla="*/ 3312446 w 3763206"/>
              <a:gd name="connsiteY127" fmla="*/ 1038037 h 2073499"/>
              <a:gd name="connsiteX128" fmla="*/ 3242900 w 3763206"/>
              <a:gd name="connsiteY128" fmla="*/ 999401 h 2073499"/>
              <a:gd name="connsiteX129" fmla="*/ 3191384 w 3763206"/>
              <a:gd name="connsiteY129" fmla="*/ 935006 h 2073499"/>
              <a:gd name="connsiteX130" fmla="*/ 3147596 w 3763206"/>
              <a:gd name="connsiteY130" fmla="*/ 911824 h 2073499"/>
              <a:gd name="connsiteX131" fmla="*/ 3142445 w 3763206"/>
              <a:gd name="connsiteY131" fmla="*/ 875764 h 2073499"/>
              <a:gd name="connsiteX132" fmla="*/ 3119263 w 3763206"/>
              <a:gd name="connsiteY132" fmla="*/ 826824 h 2073499"/>
              <a:gd name="connsiteX133" fmla="*/ 3078050 w 3763206"/>
              <a:gd name="connsiteY133" fmla="*/ 795915 h 2073499"/>
              <a:gd name="connsiteX134" fmla="*/ 3083202 w 3763206"/>
              <a:gd name="connsiteY134" fmla="*/ 752126 h 2073499"/>
              <a:gd name="connsiteX135" fmla="*/ 3119263 w 3763206"/>
              <a:gd name="connsiteY135" fmla="*/ 695459 h 2073499"/>
              <a:gd name="connsiteX136" fmla="*/ 3124414 w 3763206"/>
              <a:gd name="connsiteY136" fmla="*/ 631065 h 2073499"/>
              <a:gd name="connsiteX137" fmla="*/ 3152748 w 3763206"/>
              <a:gd name="connsiteY137" fmla="*/ 595004 h 2073499"/>
              <a:gd name="connsiteX138" fmla="*/ 3199112 w 3763206"/>
              <a:gd name="connsiteY138" fmla="*/ 571822 h 2073499"/>
              <a:gd name="connsiteX139" fmla="*/ 3222294 w 3763206"/>
              <a:gd name="connsiteY139" fmla="*/ 528034 h 2073499"/>
              <a:gd name="connsiteX140" fmla="*/ 3271233 w 3763206"/>
              <a:gd name="connsiteY140" fmla="*/ 525458 h 2073499"/>
              <a:gd name="connsiteX141" fmla="*/ 3302143 w 3763206"/>
              <a:gd name="connsiteY141" fmla="*/ 540913 h 2073499"/>
              <a:gd name="connsiteX142" fmla="*/ 3376840 w 3763206"/>
              <a:gd name="connsiteY142" fmla="*/ 525458 h 2073499"/>
              <a:gd name="connsiteX143" fmla="*/ 3412901 w 3763206"/>
              <a:gd name="connsiteY143" fmla="*/ 551216 h 2073499"/>
              <a:gd name="connsiteX144" fmla="*/ 3461841 w 3763206"/>
              <a:gd name="connsiteY144" fmla="*/ 543489 h 2073499"/>
              <a:gd name="connsiteX145" fmla="*/ 3513356 w 3763206"/>
              <a:gd name="connsiteY145" fmla="*/ 561519 h 2073499"/>
              <a:gd name="connsiteX146" fmla="*/ 3593205 w 3763206"/>
              <a:gd name="connsiteY146" fmla="*/ 600156 h 2073499"/>
              <a:gd name="connsiteX147" fmla="*/ 3716842 w 3763206"/>
              <a:gd name="connsiteY147" fmla="*/ 610459 h 2073499"/>
              <a:gd name="connsiteX148" fmla="*/ 3763206 w 3763206"/>
              <a:gd name="connsiteY148" fmla="*/ 600156 h 2073499"/>
              <a:gd name="connsiteX149" fmla="*/ 3745176 w 3763206"/>
              <a:gd name="connsiteY149" fmla="*/ 574398 h 2073499"/>
              <a:gd name="connsiteX150" fmla="*/ 3742600 w 3763206"/>
              <a:gd name="connsiteY150" fmla="*/ 543489 h 2073499"/>
              <a:gd name="connsiteX0" fmla="*/ 18030 w 3755479"/>
              <a:gd name="connsiteY0" fmla="*/ 0 h 2040014"/>
              <a:gd name="connsiteX1" fmla="*/ 0 w 3755479"/>
              <a:gd name="connsiteY1" fmla="*/ 36061 h 2040014"/>
              <a:gd name="connsiteX2" fmla="*/ 10303 w 3755479"/>
              <a:gd name="connsiteY2" fmla="*/ 61819 h 2040014"/>
              <a:gd name="connsiteX3" fmla="*/ 72122 w 3755479"/>
              <a:gd name="connsiteY3" fmla="*/ 59243 h 2040014"/>
              <a:gd name="connsiteX4" fmla="*/ 139092 w 3755479"/>
              <a:gd name="connsiteY4" fmla="*/ 66970 h 2040014"/>
              <a:gd name="connsiteX5" fmla="*/ 188031 w 3755479"/>
              <a:gd name="connsiteY5" fmla="*/ 92728 h 2040014"/>
              <a:gd name="connsiteX6" fmla="*/ 221516 w 3755479"/>
              <a:gd name="connsiteY6" fmla="*/ 144244 h 2040014"/>
              <a:gd name="connsiteX7" fmla="*/ 283335 w 3755479"/>
              <a:gd name="connsiteY7" fmla="*/ 164850 h 2040014"/>
              <a:gd name="connsiteX8" fmla="*/ 327123 w 3755479"/>
              <a:gd name="connsiteY8" fmla="*/ 164850 h 2040014"/>
              <a:gd name="connsiteX9" fmla="*/ 365760 w 3755479"/>
              <a:gd name="connsiteY9" fmla="*/ 213790 h 2040014"/>
              <a:gd name="connsiteX10" fmla="*/ 406972 w 3755479"/>
              <a:gd name="connsiteY10" fmla="*/ 200911 h 2040014"/>
              <a:gd name="connsiteX11" fmla="*/ 453336 w 3755479"/>
              <a:gd name="connsiteY11" fmla="*/ 218941 h 2040014"/>
              <a:gd name="connsiteX12" fmla="*/ 497124 w 3755479"/>
              <a:gd name="connsiteY12" fmla="*/ 208638 h 2040014"/>
              <a:gd name="connsiteX13" fmla="*/ 564094 w 3755479"/>
              <a:gd name="connsiteY13" fmla="*/ 224093 h 2040014"/>
              <a:gd name="connsiteX14" fmla="*/ 605307 w 3755479"/>
              <a:gd name="connsiteY14" fmla="*/ 213790 h 2040014"/>
              <a:gd name="connsiteX15" fmla="*/ 631065 w 3755479"/>
              <a:gd name="connsiteY15" fmla="*/ 242123 h 2040014"/>
              <a:gd name="connsiteX16" fmla="*/ 638792 w 3755479"/>
              <a:gd name="connsiteY16" fmla="*/ 311669 h 2040014"/>
              <a:gd name="connsiteX17" fmla="*/ 661974 w 3755479"/>
              <a:gd name="connsiteY17" fmla="*/ 365760 h 2040014"/>
              <a:gd name="connsiteX18" fmla="*/ 705762 w 3755479"/>
              <a:gd name="connsiteY18" fmla="*/ 368336 h 2040014"/>
              <a:gd name="connsiteX19" fmla="*/ 757278 w 3755479"/>
              <a:gd name="connsiteY19" fmla="*/ 399245 h 2040014"/>
              <a:gd name="connsiteX20" fmla="*/ 785611 w 3755479"/>
              <a:gd name="connsiteY20" fmla="*/ 453337 h 2040014"/>
              <a:gd name="connsiteX21" fmla="*/ 829399 w 3755479"/>
              <a:gd name="connsiteY21" fmla="*/ 473943 h 2040014"/>
              <a:gd name="connsiteX22" fmla="*/ 898945 w 3755479"/>
              <a:gd name="connsiteY22" fmla="*/ 540913 h 2040014"/>
              <a:gd name="connsiteX23" fmla="*/ 960764 w 3755479"/>
              <a:gd name="connsiteY23" fmla="*/ 579550 h 2040014"/>
              <a:gd name="connsiteX24" fmla="*/ 996825 w 3755479"/>
              <a:gd name="connsiteY24" fmla="*/ 553792 h 2040014"/>
              <a:gd name="connsiteX25" fmla="*/ 1022582 w 3755479"/>
              <a:gd name="connsiteY25" fmla="*/ 566671 h 2040014"/>
              <a:gd name="connsiteX26" fmla="*/ 1035461 w 3755479"/>
              <a:gd name="connsiteY26" fmla="*/ 579550 h 2040014"/>
              <a:gd name="connsiteX27" fmla="*/ 1076674 w 3755479"/>
              <a:gd name="connsiteY27" fmla="*/ 551216 h 2040014"/>
              <a:gd name="connsiteX28" fmla="*/ 1099856 w 3755479"/>
              <a:gd name="connsiteY28" fmla="*/ 528034 h 2040014"/>
              <a:gd name="connsiteX29" fmla="*/ 1135916 w 3755479"/>
              <a:gd name="connsiteY29" fmla="*/ 528034 h 2040014"/>
              <a:gd name="connsiteX30" fmla="*/ 1174553 w 3755479"/>
              <a:gd name="connsiteY30" fmla="*/ 564095 h 2040014"/>
              <a:gd name="connsiteX31" fmla="*/ 1177129 w 3755479"/>
              <a:gd name="connsiteY31" fmla="*/ 638792 h 2040014"/>
              <a:gd name="connsiteX32" fmla="*/ 1220917 w 3755479"/>
              <a:gd name="connsiteY32" fmla="*/ 669702 h 2040014"/>
              <a:gd name="connsiteX33" fmla="*/ 1293039 w 3755479"/>
              <a:gd name="connsiteY33" fmla="*/ 713490 h 2040014"/>
              <a:gd name="connsiteX34" fmla="*/ 1339403 w 3755479"/>
              <a:gd name="connsiteY34" fmla="*/ 726369 h 2040014"/>
              <a:gd name="connsiteX35" fmla="*/ 1367736 w 3755479"/>
              <a:gd name="connsiteY35" fmla="*/ 716066 h 2040014"/>
              <a:gd name="connsiteX36" fmla="*/ 1398645 w 3755479"/>
              <a:gd name="connsiteY36" fmla="*/ 734096 h 2040014"/>
              <a:gd name="connsiteX37" fmla="*/ 1439858 w 3755479"/>
              <a:gd name="connsiteY37" fmla="*/ 713490 h 2040014"/>
              <a:gd name="connsiteX38" fmla="*/ 1455313 w 3755479"/>
              <a:gd name="connsiteY38" fmla="*/ 690308 h 2040014"/>
              <a:gd name="connsiteX39" fmla="*/ 1486222 w 3755479"/>
              <a:gd name="connsiteY39" fmla="*/ 713490 h 2040014"/>
              <a:gd name="connsiteX40" fmla="*/ 1519707 w 3755479"/>
              <a:gd name="connsiteY40" fmla="*/ 692884 h 2040014"/>
              <a:gd name="connsiteX41" fmla="*/ 1530010 w 3755479"/>
              <a:gd name="connsiteY41" fmla="*/ 664550 h 2040014"/>
              <a:gd name="connsiteX42" fmla="*/ 1578950 w 3755479"/>
              <a:gd name="connsiteY42" fmla="*/ 685156 h 2040014"/>
              <a:gd name="connsiteX43" fmla="*/ 1633041 w 3755479"/>
              <a:gd name="connsiteY43" fmla="*/ 741823 h 2040014"/>
              <a:gd name="connsiteX44" fmla="*/ 1687132 w 3755479"/>
              <a:gd name="connsiteY44" fmla="*/ 746975 h 2040014"/>
              <a:gd name="connsiteX45" fmla="*/ 1707738 w 3755479"/>
              <a:gd name="connsiteY45" fmla="*/ 731520 h 2040014"/>
              <a:gd name="connsiteX46" fmla="*/ 1754102 w 3755479"/>
              <a:gd name="connsiteY46" fmla="*/ 734096 h 2040014"/>
              <a:gd name="connsiteX47" fmla="*/ 1790163 w 3755479"/>
              <a:gd name="connsiteY47" fmla="*/ 767581 h 2040014"/>
              <a:gd name="connsiteX48" fmla="*/ 1805618 w 3755479"/>
              <a:gd name="connsiteY48" fmla="*/ 826824 h 2040014"/>
              <a:gd name="connsiteX49" fmla="*/ 1846830 w 3755479"/>
              <a:gd name="connsiteY49" fmla="*/ 896370 h 2040014"/>
              <a:gd name="connsiteX50" fmla="*/ 1844254 w 3755479"/>
              <a:gd name="connsiteY50" fmla="*/ 945310 h 2040014"/>
              <a:gd name="connsiteX51" fmla="*/ 1867436 w 3755479"/>
              <a:gd name="connsiteY51" fmla="*/ 989098 h 2040014"/>
              <a:gd name="connsiteX52" fmla="*/ 1916376 w 3755479"/>
              <a:gd name="connsiteY52" fmla="*/ 999401 h 2040014"/>
              <a:gd name="connsiteX53" fmla="*/ 1944710 w 3755479"/>
              <a:gd name="connsiteY53" fmla="*/ 1027734 h 2040014"/>
              <a:gd name="connsiteX54" fmla="*/ 2021983 w 3755479"/>
              <a:gd name="connsiteY54" fmla="*/ 1056068 h 2040014"/>
              <a:gd name="connsiteX55" fmla="*/ 2068347 w 3755479"/>
              <a:gd name="connsiteY55" fmla="*/ 1035462 h 2040014"/>
              <a:gd name="connsiteX56" fmla="*/ 2104408 w 3755479"/>
              <a:gd name="connsiteY56" fmla="*/ 1035462 h 2040014"/>
              <a:gd name="connsiteX57" fmla="*/ 2132741 w 3755479"/>
              <a:gd name="connsiteY57" fmla="*/ 1089553 h 2040014"/>
              <a:gd name="connsiteX58" fmla="*/ 2153347 w 3755479"/>
              <a:gd name="connsiteY58" fmla="*/ 1130765 h 2040014"/>
              <a:gd name="connsiteX59" fmla="*/ 2189408 w 3755479"/>
              <a:gd name="connsiteY59" fmla="*/ 1153947 h 2040014"/>
              <a:gd name="connsiteX60" fmla="*/ 2230621 w 3755479"/>
              <a:gd name="connsiteY60" fmla="*/ 1151371 h 2040014"/>
              <a:gd name="connsiteX61" fmla="*/ 2274409 w 3755479"/>
              <a:gd name="connsiteY61" fmla="*/ 1187432 h 2040014"/>
              <a:gd name="connsiteX62" fmla="*/ 2341379 w 3755479"/>
              <a:gd name="connsiteY62" fmla="*/ 1210614 h 2040014"/>
              <a:gd name="connsiteX63" fmla="*/ 2413501 w 3755479"/>
              <a:gd name="connsiteY63" fmla="*/ 1202887 h 2040014"/>
              <a:gd name="connsiteX64" fmla="*/ 2441834 w 3755479"/>
              <a:gd name="connsiteY64" fmla="*/ 1184857 h 2040014"/>
              <a:gd name="connsiteX65" fmla="*/ 2457289 w 3755479"/>
              <a:gd name="connsiteY65" fmla="*/ 1202887 h 2040014"/>
              <a:gd name="connsiteX66" fmla="*/ 2465016 w 3755479"/>
              <a:gd name="connsiteY66" fmla="*/ 1238948 h 2040014"/>
              <a:gd name="connsiteX67" fmla="*/ 2513956 w 3755479"/>
              <a:gd name="connsiteY67" fmla="*/ 1251827 h 2040014"/>
              <a:gd name="connsiteX68" fmla="*/ 2534562 w 3755479"/>
              <a:gd name="connsiteY68" fmla="*/ 1280160 h 2040014"/>
              <a:gd name="connsiteX69" fmla="*/ 2565471 w 3755479"/>
              <a:gd name="connsiteY69" fmla="*/ 1326524 h 2040014"/>
              <a:gd name="connsiteX70" fmla="*/ 2627290 w 3755479"/>
              <a:gd name="connsiteY70" fmla="*/ 1341979 h 2040014"/>
              <a:gd name="connsiteX71" fmla="*/ 2696836 w 3755479"/>
              <a:gd name="connsiteY71" fmla="*/ 1372888 h 2040014"/>
              <a:gd name="connsiteX72" fmla="*/ 2727745 w 3755479"/>
              <a:gd name="connsiteY72" fmla="*/ 1367737 h 2040014"/>
              <a:gd name="connsiteX73" fmla="*/ 2761230 w 3755479"/>
              <a:gd name="connsiteY73" fmla="*/ 1396070 h 2040014"/>
              <a:gd name="connsiteX74" fmla="*/ 2807594 w 3755479"/>
              <a:gd name="connsiteY74" fmla="*/ 1403797 h 2040014"/>
              <a:gd name="connsiteX75" fmla="*/ 2830776 w 3755479"/>
              <a:gd name="connsiteY75" fmla="*/ 1439858 h 2040014"/>
              <a:gd name="connsiteX76" fmla="*/ 2874564 w 3755479"/>
              <a:gd name="connsiteY76" fmla="*/ 1475919 h 2040014"/>
              <a:gd name="connsiteX77" fmla="*/ 2936383 w 3755479"/>
              <a:gd name="connsiteY77" fmla="*/ 1481071 h 2040014"/>
              <a:gd name="connsiteX78" fmla="*/ 2936383 w 3755479"/>
              <a:gd name="connsiteY78" fmla="*/ 1481071 h 2040014"/>
              <a:gd name="connsiteX79" fmla="*/ 2956989 w 3755479"/>
              <a:gd name="connsiteY79" fmla="*/ 1460464 h 2040014"/>
              <a:gd name="connsiteX80" fmla="*/ 2975020 w 3755479"/>
              <a:gd name="connsiteY80" fmla="*/ 1481071 h 2040014"/>
              <a:gd name="connsiteX81" fmla="*/ 2975020 w 3755479"/>
              <a:gd name="connsiteY81" fmla="*/ 1522283 h 2040014"/>
              <a:gd name="connsiteX82" fmla="*/ 3008505 w 3755479"/>
              <a:gd name="connsiteY82" fmla="*/ 1542889 h 2040014"/>
              <a:gd name="connsiteX83" fmla="*/ 3047141 w 3755479"/>
              <a:gd name="connsiteY83" fmla="*/ 1542889 h 2040014"/>
              <a:gd name="connsiteX84" fmla="*/ 3088354 w 3755479"/>
              <a:gd name="connsiteY84" fmla="*/ 1568647 h 2040014"/>
              <a:gd name="connsiteX85" fmla="*/ 3096081 w 3755479"/>
              <a:gd name="connsiteY85" fmla="*/ 1620162 h 2040014"/>
              <a:gd name="connsiteX86" fmla="*/ 3124414 w 3755479"/>
              <a:gd name="connsiteY86" fmla="*/ 1645920 h 2040014"/>
              <a:gd name="connsiteX87" fmla="*/ 3124414 w 3755479"/>
              <a:gd name="connsiteY87" fmla="*/ 1669102 h 2040014"/>
              <a:gd name="connsiteX88" fmla="*/ 3168203 w 3755479"/>
              <a:gd name="connsiteY88" fmla="*/ 1697436 h 2040014"/>
              <a:gd name="connsiteX89" fmla="*/ 3163051 w 3755479"/>
              <a:gd name="connsiteY89" fmla="*/ 1746375 h 2040014"/>
              <a:gd name="connsiteX90" fmla="*/ 3201688 w 3755479"/>
              <a:gd name="connsiteY90" fmla="*/ 1782436 h 2040014"/>
              <a:gd name="connsiteX91" fmla="*/ 3248052 w 3755479"/>
              <a:gd name="connsiteY91" fmla="*/ 1818497 h 2040014"/>
              <a:gd name="connsiteX92" fmla="*/ 3291840 w 3755479"/>
              <a:gd name="connsiteY92" fmla="*/ 1805618 h 2040014"/>
              <a:gd name="connsiteX93" fmla="*/ 3345931 w 3755479"/>
              <a:gd name="connsiteY93" fmla="*/ 1836528 h 2040014"/>
              <a:gd name="connsiteX94" fmla="*/ 3376840 w 3755479"/>
              <a:gd name="connsiteY94" fmla="*/ 1813346 h 2040014"/>
              <a:gd name="connsiteX95" fmla="*/ 3428356 w 3755479"/>
              <a:gd name="connsiteY95" fmla="*/ 1839103 h 2040014"/>
              <a:gd name="connsiteX96" fmla="*/ 3472144 w 3755479"/>
              <a:gd name="connsiteY96" fmla="*/ 1885467 h 2040014"/>
              <a:gd name="connsiteX97" fmla="*/ 3510781 w 3755479"/>
              <a:gd name="connsiteY97" fmla="*/ 1957589 h 2040014"/>
              <a:gd name="connsiteX98" fmla="*/ 3531387 w 3755479"/>
              <a:gd name="connsiteY98" fmla="*/ 1970468 h 2040014"/>
              <a:gd name="connsiteX99" fmla="*/ 3549417 w 3755479"/>
              <a:gd name="connsiteY99" fmla="*/ 2001377 h 2040014"/>
              <a:gd name="connsiteX100" fmla="*/ 3572599 w 3755479"/>
              <a:gd name="connsiteY100" fmla="*/ 2040014 h 2040014"/>
              <a:gd name="connsiteX101" fmla="*/ 3600933 w 3755479"/>
              <a:gd name="connsiteY101" fmla="*/ 2040014 h 2040014"/>
              <a:gd name="connsiteX102" fmla="*/ 3624115 w 3755479"/>
              <a:gd name="connsiteY102" fmla="*/ 2011680 h 2040014"/>
              <a:gd name="connsiteX103" fmla="*/ 3660176 w 3755479"/>
              <a:gd name="connsiteY103" fmla="*/ 1975619 h 2040014"/>
              <a:gd name="connsiteX104" fmla="*/ 3657600 w 3755479"/>
              <a:gd name="connsiteY104" fmla="*/ 1934407 h 2040014"/>
              <a:gd name="connsiteX105" fmla="*/ 3673054 w 3755479"/>
              <a:gd name="connsiteY105" fmla="*/ 1911225 h 2040014"/>
              <a:gd name="connsiteX106" fmla="*/ 3670479 w 3755479"/>
              <a:gd name="connsiteY106" fmla="*/ 1839103 h 2040014"/>
              <a:gd name="connsiteX107" fmla="*/ 3696236 w 3755479"/>
              <a:gd name="connsiteY107" fmla="*/ 1797891 h 2040014"/>
              <a:gd name="connsiteX108" fmla="*/ 3675630 w 3755479"/>
              <a:gd name="connsiteY108" fmla="*/ 1764406 h 2040014"/>
              <a:gd name="connsiteX109" fmla="*/ 3703964 w 3755479"/>
              <a:gd name="connsiteY109" fmla="*/ 1725769 h 2040014"/>
              <a:gd name="connsiteX110" fmla="*/ 3711691 w 3755479"/>
              <a:gd name="connsiteY110" fmla="*/ 1692284 h 2040014"/>
              <a:gd name="connsiteX111" fmla="*/ 3675630 w 3755479"/>
              <a:gd name="connsiteY111" fmla="*/ 1640769 h 2040014"/>
              <a:gd name="connsiteX112" fmla="*/ 3613812 w 3755479"/>
              <a:gd name="connsiteY112" fmla="*/ 1591829 h 2040014"/>
              <a:gd name="connsiteX113" fmla="*/ 3600933 w 3755479"/>
              <a:gd name="connsiteY113" fmla="*/ 1542889 h 2040014"/>
              <a:gd name="connsiteX114" fmla="*/ 3590630 w 3755479"/>
              <a:gd name="connsiteY114" fmla="*/ 1486222 h 2040014"/>
              <a:gd name="connsiteX115" fmla="*/ 3570023 w 3755479"/>
              <a:gd name="connsiteY115" fmla="*/ 1450161 h 2040014"/>
              <a:gd name="connsiteX116" fmla="*/ 3582902 w 3755479"/>
              <a:gd name="connsiteY116" fmla="*/ 1411525 h 2040014"/>
              <a:gd name="connsiteX117" fmla="*/ 3533963 w 3755479"/>
              <a:gd name="connsiteY117" fmla="*/ 1290463 h 2040014"/>
              <a:gd name="connsiteX118" fmla="*/ 3533963 w 3755479"/>
              <a:gd name="connsiteY118" fmla="*/ 1246675 h 2040014"/>
              <a:gd name="connsiteX119" fmla="*/ 3508205 w 3755479"/>
              <a:gd name="connsiteY119" fmla="*/ 1182281 h 2040014"/>
              <a:gd name="connsiteX120" fmla="*/ 3505629 w 3755479"/>
              <a:gd name="connsiteY120" fmla="*/ 1146220 h 2040014"/>
              <a:gd name="connsiteX121" fmla="*/ 3485023 w 3755479"/>
              <a:gd name="connsiteY121" fmla="*/ 1107583 h 2040014"/>
              <a:gd name="connsiteX122" fmla="*/ 3405174 w 3755479"/>
              <a:gd name="connsiteY122" fmla="*/ 1061219 h 2040014"/>
              <a:gd name="connsiteX123" fmla="*/ 3402598 w 3755479"/>
              <a:gd name="connsiteY123" fmla="*/ 1025159 h 2040014"/>
              <a:gd name="connsiteX124" fmla="*/ 3371689 w 3755479"/>
              <a:gd name="connsiteY124" fmla="*/ 1001977 h 2040014"/>
              <a:gd name="connsiteX125" fmla="*/ 3348507 w 3755479"/>
              <a:gd name="connsiteY125" fmla="*/ 1001977 h 2040014"/>
              <a:gd name="connsiteX126" fmla="*/ 3304719 w 3755479"/>
              <a:gd name="connsiteY126" fmla="*/ 1004552 h 2040014"/>
              <a:gd name="connsiteX127" fmla="*/ 3235173 w 3755479"/>
              <a:gd name="connsiteY127" fmla="*/ 965916 h 2040014"/>
              <a:gd name="connsiteX128" fmla="*/ 3183657 w 3755479"/>
              <a:gd name="connsiteY128" fmla="*/ 901521 h 2040014"/>
              <a:gd name="connsiteX129" fmla="*/ 3139869 w 3755479"/>
              <a:gd name="connsiteY129" fmla="*/ 878339 h 2040014"/>
              <a:gd name="connsiteX130" fmla="*/ 3134718 w 3755479"/>
              <a:gd name="connsiteY130" fmla="*/ 842279 h 2040014"/>
              <a:gd name="connsiteX131" fmla="*/ 3111536 w 3755479"/>
              <a:gd name="connsiteY131" fmla="*/ 793339 h 2040014"/>
              <a:gd name="connsiteX132" fmla="*/ 3070323 w 3755479"/>
              <a:gd name="connsiteY132" fmla="*/ 762430 h 2040014"/>
              <a:gd name="connsiteX133" fmla="*/ 3075475 w 3755479"/>
              <a:gd name="connsiteY133" fmla="*/ 718641 h 2040014"/>
              <a:gd name="connsiteX134" fmla="*/ 3111536 w 3755479"/>
              <a:gd name="connsiteY134" fmla="*/ 661974 h 2040014"/>
              <a:gd name="connsiteX135" fmla="*/ 3116687 w 3755479"/>
              <a:gd name="connsiteY135" fmla="*/ 597580 h 2040014"/>
              <a:gd name="connsiteX136" fmla="*/ 3145021 w 3755479"/>
              <a:gd name="connsiteY136" fmla="*/ 561519 h 2040014"/>
              <a:gd name="connsiteX137" fmla="*/ 3191385 w 3755479"/>
              <a:gd name="connsiteY137" fmla="*/ 538337 h 2040014"/>
              <a:gd name="connsiteX138" fmla="*/ 3214567 w 3755479"/>
              <a:gd name="connsiteY138" fmla="*/ 494549 h 2040014"/>
              <a:gd name="connsiteX139" fmla="*/ 3263506 w 3755479"/>
              <a:gd name="connsiteY139" fmla="*/ 491973 h 2040014"/>
              <a:gd name="connsiteX140" fmla="*/ 3294416 w 3755479"/>
              <a:gd name="connsiteY140" fmla="*/ 507428 h 2040014"/>
              <a:gd name="connsiteX141" fmla="*/ 3369113 w 3755479"/>
              <a:gd name="connsiteY141" fmla="*/ 491973 h 2040014"/>
              <a:gd name="connsiteX142" fmla="*/ 3405174 w 3755479"/>
              <a:gd name="connsiteY142" fmla="*/ 517731 h 2040014"/>
              <a:gd name="connsiteX143" fmla="*/ 3454114 w 3755479"/>
              <a:gd name="connsiteY143" fmla="*/ 510004 h 2040014"/>
              <a:gd name="connsiteX144" fmla="*/ 3505629 w 3755479"/>
              <a:gd name="connsiteY144" fmla="*/ 528034 h 2040014"/>
              <a:gd name="connsiteX145" fmla="*/ 3585478 w 3755479"/>
              <a:gd name="connsiteY145" fmla="*/ 566671 h 2040014"/>
              <a:gd name="connsiteX146" fmla="*/ 3709115 w 3755479"/>
              <a:gd name="connsiteY146" fmla="*/ 576974 h 2040014"/>
              <a:gd name="connsiteX147" fmla="*/ 3755479 w 3755479"/>
              <a:gd name="connsiteY147" fmla="*/ 566671 h 2040014"/>
              <a:gd name="connsiteX148" fmla="*/ 3737449 w 3755479"/>
              <a:gd name="connsiteY148" fmla="*/ 540913 h 2040014"/>
              <a:gd name="connsiteX149" fmla="*/ 3734873 w 3755479"/>
              <a:gd name="connsiteY149" fmla="*/ 510004 h 2040014"/>
              <a:gd name="connsiteX0" fmla="*/ 0 w 3755479"/>
              <a:gd name="connsiteY0" fmla="*/ 0 h 2003953"/>
              <a:gd name="connsiteX1" fmla="*/ 10303 w 3755479"/>
              <a:gd name="connsiteY1" fmla="*/ 25758 h 2003953"/>
              <a:gd name="connsiteX2" fmla="*/ 72122 w 3755479"/>
              <a:gd name="connsiteY2" fmla="*/ 23182 h 2003953"/>
              <a:gd name="connsiteX3" fmla="*/ 139092 w 3755479"/>
              <a:gd name="connsiteY3" fmla="*/ 30909 h 2003953"/>
              <a:gd name="connsiteX4" fmla="*/ 188031 w 3755479"/>
              <a:gd name="connsiteY4" fmla="*/ 56667 h 2003953"/>
              <a:gd name="connsiteX5" fmla="*/ 221516 w 3755479"/>
              <a:gd name="connsiteY5" fmla="*/ 108183 h 2003953"/>
              <a:gd name="connsiteX6" fmla="*/ 283335 w 3755479"/>
              <a:gd name="connsiteY6" fmla="*/ 128789 h 2003953"/>
              <a:gd name="connsiteX7" fmla="*/ 327123 w 3755479"/>
              <a:gd name="connsiteY7" fmla="*/ 128789 h 2003953"/>
              <a:gd name="connsiteX8" fmla="*/ 365760 w 3755479"/>
              <a:gd name="connsiteY8" fmla="*/ 177729 h 2003953"/>
              <a:gd name="connsiteX9" fmla="*/ 406972 w 3755479"/>
              <a:gd name="connsiteY9" fmla="*/ 164850 h 2003953"/>
              <a:gd name="connsiteX10" fmla="*/ 453336 w 3755479"/>
              <a:gd name="connsiteY10" fmla="*/ 182880 h 2003953"/>
              <a:gd name="connsiteX11" fmla="*/ 497124 w 3755479"/>
              <a:gd name="connsiteY11" fmla="*/ 172577 h 2003953"/>
              <a:gd name="connsiteX12" fmla="*/ 564094 w 3755479"/>
              <a:gd name="connsiteY12" fmla="*/ 188032 h 2003953"/>
              <a:gd name="connsiteX13" fmla="*/ 605307 w 3755479"/>
              <a:gd name="connsiteY13" fmla="*/ 177729 h 2003953"/>
              <a:gd name="connsiteX14" fmla="*/ 631065 w 3755479"/>
              <a:gd name="connsiteY14" fmla="*/ 206062 h 2003953"/>
              <a:gd name="connsiteX15" fmla="*/ 638792 w 3755479"/>
              <a:gd name="connsiteY15" fmla="*/ 275608 h 2003953"/>
              <a:gd name="connsiteX16" fmla="*/ 661974 w 3755479"/>
              <a:gd name="connsiteY16" fmla="*/ 329699 h 2003953"/>
              <a:gd name="connsiteX17" fmla="*/ 705762 w 3755479"/>
              <a:gd name="connsiteY17" fmla="*/ 332275 h 2003953"/>
              <a:gd name="connsiteX18" fmla="*/ 757278 w 3755479"/>
              <a:gd name="connsiteY18" fmla="*/ 363184 h 2003953"/>
              <a:gd name="connsiteX19" fmla="*/ 785611 w 3755479"/>
              <a:gd name="connsiteY19" fmla="*/ 417276 h 2003953"/>
              <a:gd name="connsiteX20" fmla="*/ 829399 w 3755479"/>
              <a:gd name="connsiteY20" fmla="*/ 437882 h 2003953"/>
              <a:gd name="connsiteX21" fmla="*/ 898945 w 3755479"/>
              <a:gd name="connsiteY21" fmla="*/ 504852 h 2003953"/>
              <a:gd name="connsiteX22" fmla="*/ 960764 w 3755479"/>
              <a:gd name="connsiteY22" fmla="*/ 543489 h 2003953"/>
              <a:gd name="connsiteX23" fmla="*/ 996825 w 3755479"/>
              <a:gd name="connsiteY23" fmla="*/ 517731 h 2003953"/>
              <a:gd name="connsiteX24" fmla="*/ 1022582 w 3755479"/>
              <a:gd name="connsiteY24" fmla="*/ 530610 h 2003953"/>
              <a:gd name="connsiteX25" fmla="*/ 1035461 w 3755479"/>
              <a:gd name="connsiteY25" fmla="*/ 543489 h 2003953"/>
              <a:gd name="connsiteX26" fmla="*/ 1076674 w 3755479"/>
              <a:gd name="connsiteY26" fmla="*/ 515155 h 2003953"/>
              <a:gd name="connsiteX27" fmla="*/ 1099856 w 3755479"/>
              <a:gd name="connsiteY27" fmla="*/ 491973 h 2003953"/>
              <a:gd name="connsiteX28" fmla="*/ 1135916 w 3755479"/>
              <a:gd name="connsiteY28" fmla="*/ 491973 h 2003953"/>
              <a:gd name="connsiteX29" fmla="*/ 1174553 w 3755479"/>
              <a:gd name="connsiteY29" fmla="*/ 528034 h 2003953"/>
              <a:gd name="connsiteX30" fmla="*/ 1177129 w 3755479"/>
              <a:gd name="connsiteY30" fmla="*/ 602731 h 2003953"/>
              <a:gd name="connsiteX31" fmla="*/ 1220917 w 3755479"/>
              <a:gd name="connsiteY31" fmla="*/ 633641 h 2003953"/>
              <a:gd name="connsiteX32" fmla="*/ 1293039 w 3755479"/>
              <a:gd name="connsiteY32" fmla="*/ 677429 h 2003953"/>
              <a:gd name="connsiteX33" fmla="*/ 1339403 w 3755479"/>
              <a:gd name="connsiteY33" fmla="*/ 690308 h 2003953"/>
              <a:gd name="connsiteX34" fmla="*/ 1367736 w 3755479"/>
              <a:gd name="connsiteY34" fmla="*/ 680005 h 2003953"/>
              <a:gd name="connsiteX35" fmla="*/ 1398645 w 3755479"/>
              <a:gd name="connsiteY35" fmla="*/ 698035 h 2003953"/>
              <a:gd name="connsiteX36" fmla="*/ 1439858 w 3755479"/>
              <a:gd name="connsiteY36" fmla="*/ 677429 h 2003953"/>
              <a:gd name="connsiteX37" fmla="*/ 1455313 w 3755479"/>
              <a:gd name="connsiteY37" fmla="*/ 654247 h 2003953"/>
              <a:gd name="connsiteX38" fmla="*/ 1486222 w 3755479"/>
              <a:gd name="connsiteY38" fmla="*/ 677429 h 2003953"/>
              <a:gd name="connsiteX39" fmla="*/ 1519707 w 3755479"/>
              <a:gd name="connsiteY39" fmla="*/ 656823 h 2003953"/>
              <a:gd name="connsiteX40" fmla="*/ 1530010 w 3755479"/>
              <a:gd name="connsiteY40" fmla="*/ 628489 h 2003953"/>
              <a:gd name="connsiteX41" fmla="*/ 1578950 w 3755479"/>
              <a:gd name="connsiteY41" fmla="*/ 649095 h 2003953"/>
              <a:gd name="connsiteX42" fmla="*/ 1633041 w 3755479"/>
              <a:gd name="connsiteY42" fmla="*/ 705762 h 2003953"/>
              <a:gd name="connsiteX43" fmla="*/ 1687132 w 3755479"/>
              <a:gd name="connsiteY43" fmla="*/ 710914 h 2003953"/>
              <a:gd name="connsiteX44" fmla="*/ 1707738 w 3755479"/>
              <a:gd name="connsiteY44" fmla="*/ 695459 h 2003953"/>
              <a:gd name="connsiteX45" fmla="*/ 1754102 w 3755479"/>
              <a:gd name="connsiteY45" fmla="*/ 698035 h 2003953"/>
              <a:gd name="connsiteX46" fmla="*/ 1790163 w 3755479"/>
              <a:gd name="connsiteY46" fmla="*/ 731520 h 2003953"/>
              <a:gd name="connsiteX47" fmla="*/ 1805618 w 3755479"/>
              <a:gd name="connsiteY47" fmla="*/ 790763 h 2003953"/>
              <a:gd name="connsiteX48" fmla="*/ 1846830 w 3755479"/>
              <a:gd name="connsiteY48" fmla="*/ 860309 h 2003953"/>
              <a:gd name="connsiteX49" fmla="*/ 1844254 w 3755479"/>
              <a:gd name="connsiteY49" fmla="*/ 909249 h 2003953"/>
              <a:gd name="connsiteX50" fmla="*/ 1867436 w 3755479"/>
              <a:gd name="connsiteY50" fmla="*/ 953037 h 2003953"/>
              <a:gd name="connsiteX51" fmla="*/ 1916376 w 3755479"/>
              <a:gd name="connsiteY51" fmla="*/ 963340 h 2003953"/>
              <a:gd name="connsiteX52" fmla="*/ 1944710 w 3755479"/>
              <a:gd name="connsiteY52" fmla="*/ 991673 h 2003953"/>
              <a:gd name="connsiteX53" fmla="*/ 2021983 w 3755479"/>
              <a:gd name="connsiteY53" fmla="*/ 1020007 h 2003953"/>
              <a:gd name="connsiteX54" fmla="*/ 2068347 w 3755479"/>
              <a:gd name="connsiteY54" fmla="*/ 999401 h 2003953"/>
              <a:gd name="connsiteX55" fmla="*/ 2104408 w 3755479"/>
              <a:gd name="connsiteY55" fmla="*/ 999401 h 2003953"/>
              <a:gd name="connsiteX56" fmla="*/ 2132741 w 3755479"/>
              <a:gd name="connsiteY56" fmla="*/ 1053492 h 2003953"/>
              <a:gd name="connsiteX57" fmla="*/ 2153347 w 3755479"/>
              <a:gd name="connsiteY57" fmla="*/ 1094704 h 2003953"/>
              <a:gd name="connsiteX58" fmla="*/ 2189408 w 3755479"/>
              <a:gd name="connsiteY58" fmla="*/ 1117886 h 2003953"/>
              <a:gd name="connsiteX59" fmla="*/ 2230621 w 3755479"/>
              <a:gd name="connsiteY59" fmla="*/ 1115310 h 2003953"/>
              <a:gd name="connsiteX60" fmla="*/ 2274409 w 3755479"/>
              <a:gd name="connsiteY60" fmla="*/ 1151371 h 2003953"/>
              <a:gd name="connsiteX61" fmla="*/ 2341379 w 3755479"/>
              <a:gd name="connsiteY61" fmla="*/ 1174553 h 2003953"/>
              <a:gd name="connsiteX62" fmla="*/ 2413501 w 3755479"/>
              <a:gd name="connsiteY62" fmla="*/ 1166826 h 2003953"/>
              <a:gd name="connsiteX63" fmla="*/ 2441834 w 3755479"/>
              <a:gd name="connsiteY63" fmla="*/ 1148796 h 2003953"/>
              <a:gd name="connsiteX64" fmla="*/ 2457289 w 3755479"/>
              <a:gd name="connsiteY64" fmla="*/ 1166826 h 2003953"/>
              <a:gd name="connsiteX65" fmla="*/ 2465016 w 3755479"/>
              <a:gd name="connsiteY65" fmla="*/ 1202887 h 2003953"/>
              <a:gd name="connsiteX66" fmla="*/ 2513956 w 3755479"/>
              <a:gd name="connsiteY66" fmla="*/ 1215766 h 2003953"/>
              <a:gd name="connsiteX67" fmla="*/ 2534562 w 3755479"/>
              <a:gd name="connsiteY67" fmla="*/ 1244099 h 2003953"/>
              <a:gd name="connsiteX68" fmla="*/ 2565471 w 3755479"/>
              <a:gd name="connsiteY68" fmla="*/ 1290463 h 2003953"/>
              <a:gd name="connsiteX69" fmla="*/ 2627290 w 3755479"/>
              <a:gd name="connsiteY69" fmla="*/ 1305918 h 2003953"/>
              <a:gd name="connsiteX70" fmla="*/ 2696836 w 3755479"/>
              <a:gd name="connsiteY70" fmla="*/ 1336827 h 2003953"/>
              <a:gd name="connsiteX71" fmla="*/ 2727745 w 3755479"/>
              <a:gd name="connsiteY71" fmla="*/ 1331676 h 2003953"/>
              <a:gd name="connsiteX72" fmla="*/ 2761230 w 3755479"/>
              <a:gd name="connsiteY72" fmla="*/ 1360009 h 2003953"/>
              <a:gd name="connsiteX73" fmla="*/ 2807594 w 3755479"/>
              <a:gd name="connsiteY73" fmla="*/ 1367736 h 2003953"/>
              <a:gd name="connsiteX74" fmla="*/ 2830776 w 3755479"/>
              <a:gd name="connsiteY74" fmla="*/ 1403797 h 2003953"/>
              <a:gd name="connsiteX75" fmla="*/ 2874564 w 3755479"/>
              <a:gd name="connsiteY75" fmla="*/ 1439858 h 2003953"/>
              <a:gd name="connsiteX76" fmla="*/ 2936383 w 3755479"/>
              <a:gd name="connsiteY76" fmla="*/ 1445010 h 2003953"/>
              <a:gd name="connsiteX77" fmla="*/ 2936383 w 3755479"/>
              <a:gd name="connsiteY77" fmla="*/ 1445010 h 2003953"/>
              <a:gd name="connsiteX78" fmla="*/ 2956989 w 3755479"/>
              <a:gd name="connsiteY78" fmla="*/ 1424403 h 2003953"/>
              <a:gd name="connsiteX79" fmla="*/ 2975020 w 3755479"/>
              <a:gd name="connsiteY79" fmla="*/ 1445010 h 2003953"/>
              <a:gd name="connsiteX80" fmla="*/ 2975020 w 3755479"/>
              <a:gd name="connsiteY80" fmla="*/ 1486222 h 2003953"/>
              <a:gd name="connsiteX81" fmla="*/ 3008505 w 3755479"/>
              <a:gd name="connsiteY81" fmla="*/ 1506828 h 2003953"/>
              <a:gd name="connsiteX82" fmla="*/ 3047141 w 3755479"/>
              <a:gd name="connsiteY82" fmla="*/ 1506828 h 2003953"/>
              <a:gd name="connsiteX83" fmla="*/ 3088354 w 3755479"/>
              <a:gd name="connsiteY83" fmla="*/ 1532586 h 2003953"/>
              <a:gd name="connsiteX84" fmla="*/ 3096081 w 3755479"/>
              <a:gd name="connsiteY84" fmla="*/ 1584101 h 2003953"/>
              <a:gd name="connsiteX85" fmla="*/ 3124414 w 3755479"/>
              <a:gd name="connsiteY85" fmla="*/ 1609859 h 2003953"/>
              <a:gd name="connsiteX86" fmla="*/ 3124414 w 3755479"/>
              <a:gd name="connsiteY86" fmla="*/ 1633041 h 2003953"/>
              <a:gd name="connsiteX87" fmla="*/ 3168203 w 3755479"/>
              <a:gd name="connsiteY87" fmla="*/ 1661375 h 2003953"/>
              <a:gd name="connsiteX88" fmla="*/ 3163051 w 3755479"/>
              <a:gd name="connsiteY88" fmla="*/ 1710314 h 2003953"/>
              <a:gd name="connsiteX89" fmla="*/ 3201688 w 3755479"/>
              <a:gd name="connsiteY89" fmla="*/ 1746375 h 2003953"/>
              <a:gd name="connsiteX90" fmla="*/ 3248052 w 3755479"/>
              <a:gd name="connsiteY90" fmla="*/ 1782436 h 2003953"/>
              <a:gd name="connsiteX91" fmla="*/ 3291840 w 3755479"/>
              <a:gd name="connsiteY91" fmla="*/ 1769557 h 2003953"/>
              <a:gd name="connsiteX92" fmla="*/ 3345931 w 3755479"/>
              <a:gd name="connsiteY92" fmla="*/ 1800467 h 2003953"/>
              <a:gd name="connsiteX93" fmla="*/ 3376840 w 3755479"/>
              <a:gd name="connsiteY93" fmla="*/ 1777285 h 2003953"/>
              <a:gd name="connsiteX94" fmla="*/ 3428356 w 3755479"/>
              <a:gd name="connsiteY94" fmla="*/ 1803042 h 2003953"/>
              <a:gd name="connsiteX95" fmla="*/ 3472144 w 3755479"/>
              <a:gd name="connsiteY95" fmla="*/ 1849406 h 2003953"/>
              <a:gd name="connsiteX96" fmla="*/ 3510781 w 3755479"/>
              <a:gd name="connsiteY96" fmla="*/ 1921528 h 2003953"/>
              <a:gd name="connsiteX97" fmla="*/ 3531387 w 3755479"/>
              <a:gd name="connsiteY97" fmla="*/ 1934407 h 2003953"/>
              <a:gd name="connsiteX98" fmla="*/ 3549417 w 3755479"/>
              <a:gd name="connsiteY98" fmla="*/ 1965316 h 2003953"/>
              <a:gd name="connsiteX99" fmla="*/ 3572599 w 3755479"/>
              <a:gd name="connsiteY99" fmla="*/ 2003953 h 2003953"/>
              <a:gd name="connsiteX100" fmla="*/ 3600933 w 3755479"/>
              <a:gd name="connsiteY100" fmla="*/ 2003953 h 2003953"/>
              <a:gd name="connsiteX101" fmla="*/ 3624115 w 3755479"/>
              <a:gd name="connsiteY101" fmla="*/ 1975619 h 2003953"/>
              <a:gd name="connsiteX102" fmla="*/ 3660176 w 3755479"/>
              <a:gd name="connsiteY102" fmla="*/ 1939558 h 2003953"/>
              <a:gd name="connsiteX103" fmla="*/ 3657600 w 3755479"/>
              <a:gd name="connsiteY103" fmla="*/ 1898346 h 2003953"/>
              <a:gd name="connsiteX104" fmla="*/ 3673054 w 3755479"/>
              <a:gd name="connsiteY104" fmla="*/ 1875164 h 2003953"/>
              <a:gd name="connsiteX105" fmla="*/ 3670479 w 3755479"/>
              <a:gd name="connsiteY105" fmla="*/ 1803042 h 2003953"/>
              <a:gd name="connsiteX106" fmla="*/ 3696236 w 3755479"/>
              <a:gd name="connsiteY106" fmla="*/ 1761830 h 2003953"/>
              <a:gd name="connsiteX107" fmla="*/ 3675630 w 3755479"/>
              <a:gd name="connsiteY107" fmla="*/ 1728345 h 2003953"/>
              <a:gd name="connsiteX108" fmla="*/ 3703964 w 3755479"/>
              <a:gd name="connsiteY108" fmla="*/ 1689708 h 2003953"/>
              <a:gd name="connsiteX109" fmla="*/ 3711691 w 3755479"/>
              <a:gd name="connsiteY109" fmla="*/ 1656223 h 2003953"/>
              <a:gd name="connsiteX110" fmla="*/ 3675630 w 3755479"/>
              <a:gd name="connsiteY110" fmla="*/ 1604708 h 2003953"/>
              <a:gd name="connsiteX111" fmla="*/ 3613812 w 3755479"/>
              <a:gd name="connsiteY111" fmla="*/ 1555768 h 2003953"/>
              <a:gd name="connsiteX112" fmla="*/ 3600933 w 3755479"/>
              <a:gd name="connsiteY112" fmla="*/ 1506828 h 2003953"/>
              <a:gd name="connsiteX113" fmla="*/ 3590630 w 3755479"/>
              <a:gd name="connsiteY113" fmla="*/ 1450161 h 2003953"/>
              <a:gd name="connsiteX114" fmla="*/ 3570023 w 3755479"/>
              <a:gd name="connsiteY114" fmla="*/ 1414100 h 2003953"/>
              <a:gd name="connsiteX115" fmla="*/ 3582902 w 3755479"/>
              <a:gd name="connsiteY115" fmla="*/ 1375464 h 2003953"/>
              <a:gd name="connsiteX116" fmla="*/ 3533963 w 3755479"/>
              <a:gd name="connsiteY116" fmla="*/ 1254402 h 2003953"/>
              <a:gd name="connsiteX117" fmla="*/ 3533963 w 3755479"/>
              <a:gd name="connsiteY117" fmla="*/ 1210614 h 2003953"/>
              <a:gd name="connsiteX118" fmla="*/ 3508205 w 3755479"/>
              <a:gd name="connsiteY118" fmla="*/ 1146220 h 2003953"/>
              <a:gd name="connsiteX119" fmla="*/ 3505629 w 3755479"/>
              <a:gd name="connsiteY119" fmla="*/ 1110159 h 2003953"/>
              <a:gd name="connsiteX120" fmla="*/ 3485023 w 3755479"/>
              <a:gd name="connsiteY120" fmla="*/ 1071522 h 2003953"/>
              <a:gd name="connsiteX121" fmla="*/ 3405174 w 3755479"/>
              <a:gd name="connsiteY121" fmla="*/ 1025158 h 2003953"/>
              <a:gd name="connsiteX122" fmla="*/ 3402598 w 3755479"/>
              <a:gd name="connsiteY122" fmla="*/ 989098 h 2003953"/>
              <a:gd name="connsiteX123" fmla="*/ 3371689 w 3755479"/>
              <a:gd name="connsiteY123" fmla="*/ 965916 h 2003953"/>
              <a:gd name="connsiteX124" fmla="*/ 3348507 w 3755479"/>
              <a:gd name="connsiteY124" fmla="*/ 965916 h 2003953"/>
              <a:gd name="connsiteX125" fmla="*/ 3304719 w 3755479"/>
              <a:gd name="connsiteY125" fmla="*/ 968491 h 2003953"/>
              <a:gd name="connsiteX126" fmla="*/ 3235173 w 3755479"/>
              <a:gd name="connsiteY126" fmla="*/ 929855 h 2003953"/>
              <a:gd name="connsiteX127" fmla="*/ 3183657 w 3755479"/>
              <a:gd name="connsiteY127" fmla="*/ 865460 h 2003953"/>
              <a:gd name="connsiteX128" fmla="*/ 3139869 w 3755479"/>
              <a:gd name="connsiteY128" fmla="*/ 842278 h 2003953"/>
              <a:gd name="connsiteX129" fmla="*/ 3134718 w 3755479"/>
              <a:gd name="connsiteY129" fmla="*/ 806218 h 2003953"/>
              <a:gd name="connsiteX130" fmla="*/ 3111536 w 3755479"/>
              <a:gd name="connsiteY130" fmla="*/ 757278 h 2003953"/>
              <a:gd name="connsiteX131" fmla="*/ 3070323 w 3755479"/>
              <a:gd name="connsiteY131" fmla="*/ 726369 h 2003953"/>
              <a:gd name="connsiteX132" fmla="*/ 3075475 w 3755479"/>
              <a:gd name="connsiteY132" fmla="*/ 682580 h 2003953"/>
              <a:gd name="connsiteX133" fmla="*/ 3111536 w 3755479"/>
              <a:gd name="connsiteY133" fmla="*/ 625913 h 2003953"/>
              <a:gd name="connsiteX134" fmla="*/ 3116687 w 3755479"/>
              <a:gd name="connsiteY134" fmla="*/ 561519 h 2003953"/>
              <a:gd name="connsiteX135" fmla="*/ 3145021 w 3755479"/>
              <a:gd name="connsiteY135" fmla="*/ 525458 h 2003953"/>
              <a:gd name="connsiteX136" fmla="*/ 3191385 w 3755479"/>
              <a:gd name="connsiteY136" fmla="*/ 502276 h 2003953"/>
              <a:gd name="connsiteX137" fmla="*/ 3214567 w 3755479"/>
              <a:gd name="connsiteY137" fmla="*/ 458488 h 2003953"/>
              <a:gd name="connsiteX138" fmla="*/ 3263506 w 3755479"/>
              <a:gd name="connsiteY138" fmla="*/ 455912 h 2003953"/>
              <a:gd name="connsiteX139" fmla="*/ 3294416 w 3755479"/>
              <a:gd name="connsiteY139" fmla="*/ 471367 h 2003953"/>
              <a:gd name="connsiteX140" fmla="*/ 3369113 w 3755479"/>
              <a:gd name="connsiteY140" fmla="*/ 455912 h 2003953"/>
              <a:gd name="connsiteX141" fmla="*/ 3405174 w 3755479"/>
              <a:gd name="connsiteY141" fmla="*/ 481670 h 2003953"/>
              <a:gd name="connsiteX142" fmla="*/ 3454114 w 3755479"/>
              <a:gd name="connsiteY142" fmla="*/ 473943 h 2003953"/>
              <a:gd name="connsiteX143" fmla="*/ 3505629 w 3755479"/>
              <a:gd name="connsiteY143" fmla="*/ 491973 h 2003953"/>
              <a:gd name="connsiteX144" fmla="*/ 3585478 w 3755479"/>
              <a:gd name="connsiteY144" fmla="*/ 530610 h 2003953"/>
              <a:gd name="connsiteX145" fmla="*/ 3709115 w 3755479"/>
              <a:gd name="connsiteY145" fmla="*/ 540913 h 2003953"/>
              <a:gd name="connsiteX146" fmla="*/ 3755479 w 3755479"/>
              <a:gd name="connsiteY146" fmla="*/ 530610 h 2003953"/>
              <a:gd name="connsiteX147" fmla="*/ 3737449 w 3755479"/>
              <a:gd name="connsiteY147" fmla="*/ 504852 h 2003953"/>
              <a:gd name="connsiteX148" fmla="*/ 3734873 w 3755479"/>
              <a:gd name="connsiteY148" fmla="*/ 473943 h 2003953"/>
              <a:gd name="connsiteX0" fmla="*/ 0 w 3745176"/>
              <a:gd name="connsiteY0" fmla="*/ 2576 h 1980771"/>
              <a:gd name="connsiteX1" fmla="*/ 61819 w 3745176"/>
              <a:gd name="connsiteY1" fmla="*/ 0 h 1980771"/>
              <a:gd name="connsiteX2" fmla="*/ 128789 w 3745176"/>
              <a:gd name="connsiteY2" fmla="*/ 7727 h 1980771"/>
              <a:gd name="connsiteX3" fmla="*/ 177728 w 3745176"/>
              <a:gd name="connsiteY3" fmla="*/ 33485 h 1980771"/>
              <a:gd name="connsiteX4" fmla="*/ 211213 w 3745176"/>
              <a:gd name="connsiteY4" fmla="*/ 85001 h 1980771"/>
              <a:gd name="connsiteX5" fmla="*/ 273032 w 3745176"/>
              <a:gd name="connsiteY5" fmla="*/ 105607 h 1980771"/>
              <a:gd name="connsiteX6" fmla="*/ 316820 w 3745176"/>
              <a:gd name="connsiteY6" fmla="*/ 105607 h 1980771"/>
              <a:gd name="connsiteX7" fmla="*/ 355457 w 3745176"/>
              <a:gd name="connsiteY7" fmla="*/ 154547 h 1980771"/>
              <a:gd name="connsiteX8" fmla="*/ 396669 w 3745176"/>
              <a:gd name="connsiteY8" fmla="*/ 141668 h 1980771"/>
              <a:gd name="connsiteX9" fmla="*/ 443033 w 3745176"/>
              <a:gd name="connsiteY9" fmla="*/ 159698 h 1980771"/>
              <a:gd name="connsiteX10" fmla="*/ 486821 w 3745176"/>
              <a:gd name="connsiteY10" fmla="*/ 149395 h 1980771"/>
              <a:gd name="connsiteX11" fmla="*/ 553791 w 3745176"/>
              <a:gd name="connsiteY11" fmla="*/ 164850 h 1980771"/>
              <a:gd name="connsiteX12" fmla="*/ 595004 w 3745176"/>
              <a:gd name="connsiteY12" fmla="*/ 154547 h 1980771"/>
              <a:gd name="connsiteX13" fmla="*/ 620762 w 3745176"/>
              <a:gd name="connsiteY13" fmla="*/ 182880 h 1980771"/>
              <a:gd name="connsiteX14" fmla="*/ 628489 w 3745176"/>
              <a:gd name="connsiteY14" fmla="*/ 252426 h 1980771"/>
              <a:gd name="connsiteX15" fmla="*/ 651671 w 3745176"/>
              <a:gd name="connsiteY15" fmla="*/ 306517 h 1980771"/>
              <a:gd name="connsiteX16" fmla="*/ 695459 w 3745176"/>
              <a:gd name="connsiteY16" fmla="*/ 309093 h 1980771"/>
              <a:gd name="connsiteX17" fmla="*/ 746975 w 3745176"/>
              <a:gd name="connsiteY17" fmla="*/ 340002 h 1980771"/>
              <a:gd name="connsiteX18" fmla="*/ 775308 w 3745176"/>
              <a:gd name="connsiteY18" fmla="*/ 394094 h 1980771"/>
              <a:gd name="connsiteX19" fmla="*/ 819096 w 3745176"/>
              <a:gd name="connsiteY19" fmla="*/ 414700 h 1980771"/>
              <a:gd name="connsiteX20" fmla="*/ 888642 w 3745176"/>
              <a:gd name="connsiteY20" fmla="*/ 481670 h 1980771"/>
              <a:gd name="connsiteX21" fmla="*/ 950461 w 3745176"/>
              <a:gd name="connsiteY21" fmla="*/ 520307 h 1980771"/>
              <a:gd name="connsiteX22" fmla="*/ 986522 w 3745176"/>
              <a:gd name="connsiteY22" fmla="*/ 494549 h 1980771"/>
              <a:gd name="connsiteX23" fmla="*/ 1012279 w 3745176"/>
              <a:gd name="connsiteY23" fmla="*/ 507428 h 1980771"/>
              <a:gd name="connsiteX24" fmla="*/ 1025158 w 3745176"/>
              <a:gd name="connsiteY24" fmla="*/ 520307 h 1980771"/>
              <a:gd name="connsiteX25" fmla="*/ 1066371 w 3745176"/>
              <a:gd name="connsiteY25" fmla="*/ 491973 h 1980771"/>
              <a:gd name="connsiteX26" fmla="*/ 1089553 w 3745176"/>
              <a:gd name="connsiteY26" fmla="*/ 468791 h 1980771"/>
              <a:gd name="connsiteX27" fmla="*/ 1125613 w 3745176"/>
              <a:gd name="connsiteY27" fmla="*/ 468791 h 1980771"/>
              <a:gd name="connsiteX28" fmla="*/ 1164250 w 3745176"/>
              <a:gd name="connsiteY28" fmla="*/ 504852 h 1980771"/>
              <a:gd name="connsiteX29" fmla="*/ 1166826 w 3745176"/>
              <a:gd name="connsiteY29" fmla="*/ 579549 h 1980771"/>
              <a:gd name="connsiteX30" fmla="*/ 1210614 w 3745176"/>
              <a:gd name="connsiteY30" fmla="*/ 610459 h 1980771"/>
              <a:gd name="connsiteX31" fmla="*/ 1282736 w 3745176"/>
              <a:gd name="connsiteY31" fmla="*/ 654247 h 1980771"/>
              <a:gd name="connsiteX32" fmla="*/ 1329100 w 3745176"/>
              <a:gd name="connsiteY32" fmla="*/ 667126 h 1980771"/>
              <a:gd name="connsiteX33" fmla="*/ 1357433 w 3745176"/>
              <a:gd name="connsiteY33" fmla="*/ 656823 h 1980771"/>
              <a:gd name="connsiteX34" fmla="*/ 1388342 w 3745176"/>
              <a:gd name="connsiteY34" fmla="*/ 674853 h 1980771"/>
              <a:gd name="connsiteX35" fmla="*/ 1429555 w 3745176"/>
              <a:gd name="connsiteY35" fmla="*/ 654247 h 1980771"/>
              <a:gd name="connsiteX36" fmla="*/ 1445010 w 3745176"/>
              <a:gd name="connsiteY36" fmla="*/ 631065 h 1980771"/>
              <a:gd name="connsiteX37" fmla="*/ 1475919 w 3745176"/>
              <a:gd name="connsiteY37" fmla="*/ 654247 h 1980771"/>
              <a:gd name="connsiteX38" fmla="*/ 1509404 w 3745176"/>
              <a:gd name="connsiteY38" fmla="*/ 633641 h 1980771"/>
              <a:gd name="connsiteX39" fmla="*/ 1519707 w 3745176"/>
              <a:gd name="connsiteY39" fmla="*/ 605307 h 1980771"/>
              <a:gd name="connsiteX40" fmla="*/ 1568647 w 3745176"/>
              <a:gd name="connsiteY40" fmla="*/ 625913 h 1980771"/>
              <a:gd name="connsiteX41" fmla="*/ 1622738 w 3745176"/>
              <a:gd name="connsiteY41" fmla="*/ 682580 h 1980771"/>
              <a:gd name="connsiteX42" fmla="*/ 1676829 w 3745176"/>
              <a:gd name="connsiteY42" fmla="*/ 687732 h 1980771"/>
              <a:gd name="connsiteX43" fmla="*/ 1697435 w 3745176"/>
              <a:gd name="connsiteY43" fmla="*/ 672277 h 1980771"/>
              <a:gd name="connsiteX44" fmla="*/ 1743799 w 3745176"/>
              <a:gd name="connsiteY44" fmla="*/ 674853 h 1980771"/>
              <a:gd name="connsiteX45" fmla="*/ 1779860 w 3745176"/>
              <a:gd name="connsiteY45" fmla="*/ 708338 h 1980771"/>
              <a:gd name="connsiteX46" fmla="*/ 1795315 w 3745176"/>
              <a:gd name="connsiteY46" fmla="*/ 767581 h 1980771"/>
              <a:gd name="connsiteX47" fmla="*/ 1836527 w 3745176"/>
              <a:gd name="connsiteY47" fmla="*/ 837127 h 1980771"/>
              <a:gd name="connsiteX48" fmla="*/ 1833951 w 3745176"/>
              <a:gd name="connsiteY48" fmla="*/ 886067 h 1980771"/>
              <a:gd name="connsiteX49" fmla="*/ 1857133 w 3745176"/>
              <a:gd name="connsiteY49" fmla="*/ 929855 h 1980771"/>
              <a:gd name="connsiteX50" fmla="*/ 1906073 w 3745176"/>
              <a:gd name="connsiteY50" fmla="*/ 940158 h 1980771"/>
              <a:gd name="connsiteX51" fmla="*/ 1934407 w 3745176"/>
              <a:gd name="connsiteY51" fmla="*/ 968491 h 1980771"/>
              <a:gd name="connsiteX52" fmla="*/ 2011680 w 3745176"/>
              <a:gd name="connsiteY52" fmla="*/ 996825 h 1980771"/>
              <a:gd name="connsiteX53" fmla="*/ 2058044 w 3745176"/>
              <a:gd name="connsiteY53" fmla="*/ 976219 h 1980771"/>
              <a:gd name="connsiteX54" fmla="*/ 2094105 w 3745176"/>
              <a:gd name="connsiteY54" fmla="*/ 976219 h 1980771"/>
              <a:gd name="connsiteX55" fmla="*/ 2122438 w 3745176"/>
              <a:gd name="connsiteY55" fmla="*/ 1030310 h 1980771"/>
              <a:gd name="connsiteX56" fmla="*/ 2143044 w 3745176"/>
              <a:gd name="connsiteY56" fmla="*/ 1071522 h 1980771"/>
              <a:gd name="connsiteX57" fmla="*/ 2179105 w 3745176"/>
              <a:gd name="connsiteY57" fmla="*/ 1094704 h 1980771"/>
              <a:gd name="connsiteX58" fmla="*/ 2220318 w 3745176"/>
              <a:gd name="connsiteY58" fmla="*/ 1092128 h 1980771"/>
              <a:gd name="connsiteX59" fmla="*/ 2264106 w 3745176"/>
              <a:gd name="connsiteY59" fmla="*/ 1128189 h 1980771"/>
              <a:gd name="connsiteX60" fmla="*/ 2331076 w 3745176"/>
              <a:gd name="connsiteY60" fmla="*/ 1151371 h 1980771"/>
              <a:gd name="connsiteX61" fmla="*/ 2403198 w 3745176"/>
              <a:gd name="connsiteY61" fmla="*/ 1143644 h 1980771"/>
              <a:gd name="connsiteX62" fmla="*/ 2431531 w 3745176"/>
              <a:gd name="connsiteY62" fmla="*/ 1125614 h 1980771"/>
              <a:gd name="connsiteX63" fmla="*/ 2446986 w 3745176"/>
              <a:gd name="connsiteY63" fmla="*/ 1143644 h 1980771"/>
              <a:gd name="connsiteX64" fmla="*/ 2454713 w 3745176"/>
              <a:gd name="connsiteY64" fmla="*/ 1179705 h 1980771"/>
              <a:gd name="connsiteX65" fmla="*/ 2503653 w 3745176"/>
              <a:gd name="connsiteY65" fmla="*/ 1192584 h 1980771"/>
              <a:gd name="connsiteX66" fmla="*/ 2524259 w 3745176"/>
              <a:gd name="connsiteY66" fmla="*/ 1220917 h 1980771"/>
              <a:gd name="connsiteX67" fmla="*/ 2555168 w 3745176"/>
              <a:gd name="connsiteY67" fmla="*/ 1267281 h 1980771"/>
              <a:gd name="connsiteX68" fmla="*/ 2616987 w 3745176"/>
              <a:gd name="connsiteY68" fmla="*/ 1282736 h 1980771"/>
              <a:gd name="connsiteX69" fmla="*/ 2686533 w 3745176"/>
              <a:gd name="connsiteY69" fmla="*/ 1313645 h 1980771"/>
              <a:gd name="connsiteX70" fmla="*/ 2717442 w 3745176"/>
              <a:gd name="connsiteY70" fmla="*/ 1308494 h 1980771"/>
              <a:gd name="connsiteX71" fmla="*/ 2750927 w 3745176"/>
              <a:gd name="connsiteY71" fmla="*/ 1336827 h 1980771"/>
              <a:gd name="connsiteX72" fmla="*/ 2797291 w 3745176"/>
              <a:gd name="connsiteY72" fmla="*/ 1344554 h 1980771"/>
              <a:gd name="connsiteX73" fmla="*/ 2820473 w 3745176"/>
              <a:gd name="connsiteY73" fmla="*/ 1380615 h 1980771"/>
              <a:gd name="connsiteX74" fmla="*/ 2864261 w 3745176"/>
              <a:gd name="connsiteY74" fmla="*/ 1416676 h 1980771"/>
              <a:gd name="connsiteX75" fmla="*/ 2926080 w 3745176"/>
              <a:gd name="connsiteY75" fmla="*/ 1421828 h 1980771"/>
              <a:gd name="connsiteX76" fmla="*/ 2926080 w 3745176"/>
              <a:gd name="connsiteY76" fmla="*/ 1421828 h 1980771"/>
              <a:gd name="connsiteX77" fmla="*/ 2946686 w 3745176"/>
              <a:gd name="connsiteY77" fmla="*/ 1401221 h 1980771"/>
              <a:gd name="connsiteX78" fmla="*/ 2964717 w 3745176"/>
              <a:gd name="connsiteY78" fmla="*/ 1421828 h 1980771"/>
              <a:gd name="connsiteX79" fmla="*/ 2964717 w 3745176"/>
              <a:gd name="connsiteY79" fmla="*/ 1463040 h 1980771"/>
              <a:gd name="connsiteX80" fmla="*/ 2998202 w 3745176"/>
              <a:gd name="connsiteY80" fmla="*/ 1483646 h 1980771"/>
              <a:gd name="connsiteX81" fmla="*/ 3036838 w 3745176"/>
              <a:gd name="connsiteY81" fmla="*/ 1483646 h 1980771"/>
              <a:gd name="connsiteX82" fmla="*/ 3078051 w 3745176"/>
              <a:gd name="connsiteY82" fmla="*/ 1509404 h 1980771"/>
              <a:gd name="connsiteX83" fmla="*/ 3085778 w 3745176"/>
              <a:gd name="connsiteY83" fmla="*/ 1560919 h 1980771"/>
              <a:gd name="connsiteX84" fmla="*/ 3114111 w 3745176"/>
              <a:gd name="connsiteY84" fmla="*/ 1586677 h 1980771"/>
              <a:gd name="connsiteX85" fmla="*/ 3114111 w 3745176"/>
              <a:gd name="connsiteY85" fmla="*/ 1609859 h 1980771"/>
              <a:gd name="connsiteX86" fmla="*/ 3157900 w 3745176"/>
              <a:gd name="connsiteY86" fmla="*/ 1638193 h 1980771"/>
              <a:gd name="connsiteX87" fmla="*/ 3152748 w 3745176"/>
              <a:gd name="connsiteY87" fmla="*/ 1687132 h 1980771"/>
              <a:gd name="connsiteX88" fmla="*/ 3191385 w 3745176"/>
              <a:gd name="connsiteY88" fmla="*/ 1723193 h 1980771"/>
              <a:gd name="connsiteX89" fmla="*/ 3237749 w 3745176"/>
              <a:gd name="connsiteY89" fmla="*/ 1759254 h 1980771"/>
              <a:gd name="connsiteX90" fmla="*/ 3281537 w 3745176"/>
              <a:gd name="connsiteY90" fmla="*/ 1746375 h 1980771"/>
              <a:gd name="connsiteX91" fmla="*/ 3335628 w 3745176"/>
              <a:gd name="connsiteY91" fmla="*/ 1777285 h 1980771"/>
              <a:gd name="connsiteX92" fmla="*/ 3366537 w 3745176"/>
              <a:gd name="connsiteY92" fmla="*/ 1754103 h 1980771"/>
              <a:gd name="connsiteX93" fmla="*/ 3418053 w 3745176"/>
              <a:gd name="connsiteY93" fmla="*/ 1779860 h 1980771"/>
              <a:gd name="connsiteX94" fmla="*/ 3461841 w 3745176"/>
              <a:gd name="connsiteY94" fmla="*/ 1826224 h 1980771"/>
              <a:gd name="connsiteX95" fmla="*/ 3500478 w 3745176"/>
              <a:gd name="connsiteY95" fmla="*/ 1898346 h 1980771"/>
              <a:gd name="connsiteX96" fmla="*/ 3521084 w 3745176"/>
              <a:gd name="connsiteY96" fmla="*/ 1911225 h 1980771"/>
              <a:gd name="connsiteX97" fmla="*/ 3539114 w 3745176"/>
              <a:gd name="connsiteY97" fmla="*/ 1942134 h 1980771"/>
              <a:gd name="connsiteX98" fmla="*/ 3562296 w 3745176"/>
              <a:gd name="connsiteY98" fmla="*/ 1980771 h 1980771"/>
              <a:gd name="connsiteX99" fmla="*/ 3590630 w 3745176"/>
              <a:gd name="connsiteY99" fmla="*/ 1980771 h 1980771"/>
              <a:gd name="connsiteX100" fmla="*/ 3613812 w 3745176"/>
              <a:gd name="connsiteY100" fmla="*/ 1952437 h 1980771"/>
              <a:gd name="connsiteX101" fmla="*/ 3649873 w 3745176"/>
              <a:gd name="connsiteY101" fmla="*/ 1916376 h 1980771"/>
              <a:gd name="connsiteX102" fmla="*/ 3647297 w 3745176"/>
              <a:gd name="connsiteY102" fmla="*/ 1875164 h 1980771"/>
              <a:gd name="connsiteX103" fmla="*/ 3662751 w 3745176"/>
              <a:gd name="connsiteY103" fmla="*/ 1851982 h 1980771"/>
              <a:gd name="connsiteX104" fmla="*/ 3660176 w 3745176"/>
              <a:gd name="connsiteY104" fmla="*/ 1779860 h 1980771"/>
              <a:gd name="connsiteX105" fmla="*/ 3685933 w 3745176"/>
              <a:gd name="connsiteY105" fmla="*/ 1738648 h 1980771"/>
              <a:gd name="connsiteX106" fmla="*/ 3665327 w 3745176"/>
              <a:gd name="connsiteY106" fmla="*/ 1705163 h 1980771"/>
              <a:gd name="connsiteX107" fmla="*/ 3693661 w 3745176"/>
              <a:gd name="connsiteY107" fmla="*/ 1666526 h 1980771"/>
              <a:gd name="connsiteX108" fmla="*/ 3701388 w 3745176"/>
              <a:gd name="connsiteY108" fmla="*/ 1633041 h 1980771"/>
              <a:gd name="connsiteX109" fmla="*/ 3665327 w 3745176"/>
              <a:gd name="connsiteY109" fmla="*/ 1581526 h 1980771"/>
              <a:gd name="connsiteX110" fmla="*/ 3603509 w 3745176"/>
              <a:gd name="connsiteY110" fmla="*/ 1532586 h 1980771"/>
              <a:gd name="connsiteX111" fmla="*/ 3590630 w 3745176"/>
              <a:gd name="connsiteY111" fmla="*/ 1483646 h 1980771"/>
              <a:gd name="connsiteX112" fmla="*/ 3580327 w 3745176"/>
              <a:gd name="connsiteY112" fmla="*/ 1426979 h 1980771"/>
              <a:gd name="connsiteX113" fmla="*/ 3559720 w 3745176"/>
              <a:gd name="connsiteY113" fmla="*/ 1390918 h 1980771"/>
              <a:gd name="connsiteX114" fmla="*/ 3572599 w 3745176"/>
              <a:gd name="connsiteY114" fmla="*/ 1352282 h 1980771"/>
              <a:gd name="connsiteX115" fmla="*/ 3523660 w 3745176"/>
              <a:gd name="connsiteY115" fmla="*/ 1231220 h 1980771"/>
              <a:gd name="connsiteX116" fmla="*/ 3523660 w 3745176"/>
              <a:gd name="connsiteY116" fmla="*/ 1187432 h 1980771"/>
              <a:gd name="connsiteX117" fmla="*/ 3497902 w 3745176"/>
              <a:gd name="connsiteY117" fmla="*/ 1123038 h 1980771"/>
              <a:gd name="connsiteX118" fmla="*/ 3495326 w 3745176"/>
              <a:gd name="connsiteY118" fmla="*/ 1086977 h 1980771"/>
              <a:gd name="connsiteX119" fmla="*/ 3474720 w 3745176"/>
              <a:gd name="connsiteY119" fmla="*/ 1048340 h 1980771"/>
              <a:gd name="connsiteX120" fmla="*/ 3394871 w 3745176"/>
              <a:gd name="connsiteY120" fmla="*/ 1001976 h 1980771"/>
              <a:gd name="connsiteX121" fmla="*/ 3392295 w 3745176"/>
              <a:gd name="connsiteY121" fmla="*/ 965916 h 1980771"/>
              <a:gd name="connsiteX122" fmla="*/ 3361386 w 3745176"/>
              <a:gd name="connsiteY122" fmla="*/ 942734 h 1980771"/>
              <a:gd name="connsiteX123" fmla="*/ 3338204 w 3745176"/>
              <a:gd name="connsiteY123" fmla="*/ 942734 h 1980771"/>
              <a:gd name="connsiteX124" fmla="*/ 3294416 w 3745176"/>
              <a:gd name="connsiteY124" fmla="*/ 945309 h 1980771"/>
              <a:gd name="connsiteX125" fmla="*/ 3224870 w 3745176"/>
              <a:gd name="connsiteY125" fmla="*/ 906673 h 1980771"/>
              <a:gd name="connsiteX126" fmla="*/ 3173354 w 3745176"/>
              <a:gd name="connsiteY126" fmla="*/ 842278 h 1980771"/>
              <a:gd name="connsiteX127" fmla="*/ 3129566 w 3745176"/>
              <a:gd name="connsiteY127" fmla="*/ 819096 h 1980771"/>
              <a:gd name="connsiteX128" fmla="*/ 3124415 w 3745176"/>
              <a:gd name="connsiteY128" fmla="*/ 783036 h 1980771"/>
              <a:gd name="connsiteX129" fmla="*/ 3101233 w 3745176"/>
              <a:gd name="connsiteY129" fmla="*/ 734096 h 1980771"/>
              <a:gd name="connsiteX130" fmla="*/ 3060020 w 3745176"/>
              <a:gd name="connsiteY130" fmla="*/ 703187 h 1980771"/>
              <a:gd name="connsiteX131" fmla="*/ 3065172 w 3745176"/>
              <a:gd name="connsiteY131" fmla="*/ 659398 h 1980771"/>
              <a:gd name="connsiteX132" fmla="*/ 3101233 w 3745176"/>
              <a:gd name="connsiteY132" fmla="*/ 602731 h 1980771"/>
              <a:gd name="connsiteX133" fmla="*/ 3106384 w 3745176"/>
              <a:gd name="connsiteY133" fmla="*/ 538337 h 1980771"/>
              <a:gd name="connsiteX134" fmla="*/ 3134718 w 3745176"/>
              <a:gd name="connsiteY134" fmla="*/ 502276 h 1980771"/>
              <a:gd name="connsiteX135" fmla="*/ 3181082 w 3745176"/>
              <a:gd name="connsiteY135" fmla="*/ 479094 h 1980771"/>
              <a:gd name="connsiteX136" fmla="*/ 3204264 w 3745176"/>
              <a:gd name="connsiteY136" fmla="*/ 435306 h 1980771"/>
              <a:gd name="connsiteX137" fmla="*/ 3253203 w 3745176"/>
              <a:gd name="connsiteY137" fmla="*/ 432730 h 1980771"/>
              <a:gd name="connsiteX138" fmla="*/ 3284113 w 3745176"/>
              <a:gd name="connsiteY138" fmla="*/ 448185 h 1980771"/>
              <a:gd name="connsiteX139" fmla="*/ 3358810 w 3745176"/>
              <a:gd name="connsiteY139" fmla="*/ 432730 h 1980771"/>
              <a:gd name="connsiteX140" fmla="*/ 3394871 w 3745176"/>
              <a:gd name="connsiteY140" fmla="*/ 458488 h 1980771"/>
              <a:gd name="connsiteX141" fmla="*/ 3443811 w 3745176"/>
              <a:gd name="connsiteY141" fmla="*/ 450761 h 1980771"/>
              <a:gd name="connsiteX142" fmla="*/ 3495326 w 3745176"/>
              <a:gd name="connsiteY142" fmla="*/ 468791 h 1980771"/>
              <a:gd name="connsiteX143" fmla="*/ 3575175 w 3745176"/>
              <a:gd name="connsiteY143" fmla="*/ 507428 h 1980771"/>
              <a:gd name="connsiteX144" fmla="*/ 3698812 w 3745176"/>
              <a:gd name="connsiteY144" fmla="*/ 517731 h 1980771"/>
              <a:gd name="connsiteX145" fmla="*/ 3745176 w 3745176"/>
              <a:gd name="connsiteY145" fmla="*/ 507428 h 1980771"/>
              <a:gd name="connsiteX146" fmla="*/ 3727146 w 3745176"/>
              <a:gd name="connsiteY146" fmla="*/ 481670 h 1980771"/>
              <a:gd name="connsiteX147" fmla="*/ 3724570 w 3745176"/>
              <a:gd name="connsiteY147" fmla="*/ 450761 h 1980771"/>
              <a:gd name="connsiteX0" fmla="*/ 0 w 3683357"/>
              <a:gd name="connsiteY0" fmla="*/ 0 h 1980771"/>
              <a:gd name="connsiteX1" fmla="*/ 66970 w 3683357"/>
              <a:gd name="connsiteY1" fmla="*/ 7727 h 1980771"/>
              <a:gd name="connsiteX2" fmla="*/ 115909 w 3683357"/>
              <a:gd name="connsiteY2" fmla="*/ 33485 h 1980771"/>
              <a:gd name="connsiteX3" fmla="*/ 149394 w 3683357"/>
              <a:gd name="connsiteY3" fmla="*/ 85001 h 1980771"/>
              <a:gd name="connsiteX4" fmla="*/ 211213 w 3683357"/>
              <a:gd name="connsiteY4" fmla="*/ 105607 h 1980771"/>
              <a:gd name="connsiteX5" fmla="*/ 255001 w 3683357"/>
              <a:gd name="connsiteY5" fmla="*/ 105607 h 1980771"/>
              <a:gd name="connsiteX6" fmla="*/ 293638 w 3683357"/>
              <a:gd name="connsiteY6" fmla="*/ 154547 h 1980771"/>
              <a:gd name="connsiteX7" fmla="*/ 334850 w 3683357"/>
              <a:gd name="connsiteY7" fmla="*/ 141668 h 1980771"/>
              <a:gd name="connsiteX8" fmla="*/ 381214 w 3683357"/>
              <a:gd name="connsiteY8" fmla="*/ 159698 h 1980771"/>
              <a:gd name="connsiteX9" fmla="*/ 425002 w 3683357"/>
              <a:gd name="connsiteY9" fmla="*/ 149395 h 1980771"/>
              <a:gd name="connsiteX10" fmla="*/ 491972 w 3683357"/>
              <a:gd name="connsiteY10" fmla="*/ 164850 h 1980771"/>
              <a:gd name="connsiteX11" fmla="*/ 533185 w 3683357"/>
              <a:gd name="connsiteY11" fmla="*/ 154547 h 1980771"/>
              <a:gd name="connsiteX12" fmla="*/ 558943 w 3683357"/>
              <a:gd name="connsiteY12" fmla="*/ 182880 h 1980771"/>
              <a:gd name="connsiteX13" fmla="*/ 566670 w 3683357"/>
              <a:gd name="connsiteY13" fmla="*/ 252426 h 1980771"/>
              <a:gd name="connsiteX14" fmla="*/ 589852 w 3683357"/>
              <a:gd name="connsiteY14" fmla="*/ 306517 h 1980771"/>
              <a:gd name="connsiteX15" fmla="*/ 633640 w 3683357"/>
              <a:gd name="connsiteY15" fmla="*/ 309093 h 1980771"/>
              <a:gd name="connsiteX16" fmla="*/ 685156 w 3683357"/>
              <a:gd name="connsiteY16" fmla="*/ 340002 h 1980771"/>
              <a:gd name="connsiteX17" fmla="*/ 713489 w 3683357"/>
              <a:gd name="connsiteY17" fmla="*/ 394094 h 1980771"/>
              <a:gd name="connsiteX18" fmla="*/ 757277 w 3683357"/>
              <a:gd name="connsiteY18" fmla="*/ 414700 h 1980771"/>
              <a:gd name="connsiteX19" fmla="*/ 826823 w 3683357"/>
              <a:gd name="connsiteY19" fmla="*/ 481670 h 1980771"/>
              <a:gd name="connsiteX20" fmla="*/ 888642 w 3683357"/>
              <a:gd name="connsiteY20" fmla="*/ 520307 h 1980771"/>
              <a:gd name="connsiteX21" fmla="*/ 924703 w 3683357"/>
              <a:gd name="connsiteY21" fmla="*/ 494549 h 1980771"/>
              <a:gd name="connsiteX22" fmla="*/ 950460 w 3683357"/>
              <a:gd name="connsiteY22" fmla="*/ 507428 h 1980771"/>
              <a:gd name="connsiteX23" fmla="*/ 963339 w 3683357"/>
              <a:gd name="connsiteY23" fmla="*/ 520307 h 1980771"/>
              <a:gd name="connsiteX24" fmla="*/ 1004552 w 3683357"/>
              <a:gd name="connsiteY24" fmla="*/ 491973 h 1980771"/>
              <a:gd name="connsiteX25" fmla="*/ 1027734 w 3683357"/>
              <a:gd name="connsiteY25" fmla="*/ 468791 h 1980771"/>
              <a:gd name="connsiteX26" fmla="*/ 1063794 w 3683357"/>
              <a:gd name="connsiteY26" fmla="*/ 468791 h 1980771"/>
              <a:gd name="connsiteX27" fmla="*/ 1102431 w 3683357"/>
              <a:gd name="connsiteY27" fmla="*/ 504852 h 1980771"/>
              <a:gd name="connsiteX28" fmla="*/ 1105007 w 3683357"/>
              <a:gd name="connsiteY28" fmla="*/ 579549 h 1980771"/>
              <a:gd name="connsiteX29" fmla="*/ 1148795 w 3683357"/>
              <a:gd name="connsiteY29" fmla="*/ 610459 h 1980771"/>
              <a:gd name="connsiteX30" fmla="*/ 1220917 w 3683357"/>
              <a:gd name="connsiteY30" fmla="*/ 654247 h 1980771"/>
              <a:gd name="connsiteX31" fmla="*/ 1267281 w 3683357"/>
              <a:gd name="connsiteY31" fmla="*/ 667126 h 1980771"/>
              <a:gd name="connsiteX32" fmla="*/ 1295614 w 3683357"/>
              <a:gd name="connsiteY32" fmla="*/ 656823 h 1980771"/>
              <a:gd name="connsiteX33" fmla="*/ 1326523 w 3683357"/>
              <a:gd name="connsiteY33" fmla="*/ 674853 h 1980771"/>
              <a:gd name="connsiteX34" fmla="*/ 1367736 w 3683357"/>
              <a:gd name="connsiteY34" fmla="*/ 654247 h 1980771"/>
              <a:gd name="connsiteX35" fmla="*/ 1383191 w 3683357"/>
              <a:gd name="connsiteY35" fmla="*/ 631065 h 1980771"/>
              <a:gd name="connsiteX36" fmla="*/ 1414100 w 3683357"/>
              <a:gd name="connsiteY36" fmla="*/ 654247 h 1980771"/>
              <a:gd name="connsiteX37" fmla="*/ 1447585 w 3683357"/>
              <a:gd name="connsiteY37" fmla="*/ 633641 h 1980771"/>
              <a:gd name="connsiteX38" fmla="*/ 1457888 w 3683357"/>
              <a:gd name="connsiteY38" fmla="*/ 605307 h 1980771"/>
              <a:gd name="connsiteX39" fmla="*/ 1506828 w 3683357"/>
              <a:gd name="connsiteY39" fmla="*/ 625913 h 1980771"/>
              <a:gd name="connsiteX40" fmla="*/ 1560919 w 3683357"/>
              <a:gd name="connsiteY40" fmla="*/ 682580 h 1980771"/>
              <a:gd name="connsiteX41" fmla="*/ 1615010 w 3683357"/>
              <a:gd name="connsiteY41" fmla="*/ 687732 h 1980771"/>
              <a:gd name="connsiteX42" fmla="*/ 1635616 w 3683357"/>
              <a:gd name="connsiteY42" fmla="*/ 672277 h 1980771"/>
              <a:gd name="connsiteX43" fmla="*/ 1681980 w 3683357"/>
              <a:gd name="connsiteY43" fmla="*/ 674853 h 1980771"/>
              <a:gd name="connsiteX44" fmla="*/ 1718041 w 3683357"/>
              <a:gd name="connsiteY44" fmla="*/ 708338 h 1980771"/>
              <a:gd name="connsiteX45" fmla="*/ 1733496 w 3683357"/>
              <a:gd name="connsiteY45" fmla="*/ 767581 h 1980771"/>
              <a:gd name="connsiteX46" fmla="*/ 1774708 w 3683357"/>
              <a:gd name="connsiteY46" fmla="*/ 837127 h 1980771"/>
              <a:gd name="connsiteX47" fmla="*/ 1772132 w 3683357"/>
              <a:gd name="connsiteY47" fmla="*/ 886067 h 1980771"/>
              <a:gd name="connsiteX48" fmla="*/ 1795314 w 3683357"/>
              <a:gd name="connsiteY48" fmla="*/ 929855 h 1980771"/>
              <a:gd name="connsiteX49" fmla="*/ 1844254 w 3683357"/>
              <a:gd name="connsiteY49" fmla="*/ 940158 h 1980771"/>
              <a:gd name="connsiteX50" fmla="*/ 1872588 w 3683357"/>
              <a:gd name="connsiteY50" fmla="*/ 968491 h 1980771"/>
              <a:gd name="connsiteX51" fmla="*/ 1949861 w 3683357"/>
              <a:gd name="connsiteY51" fmla="*/ 996825 h 1980771"/>
              <a:gd name="connsiteX52" fmla="*/ 1996225 w 3683357"/>
              <a:gd name="connsiteY52" fmla="*/ 976219 h 1980771"/>
              <a:gd name="connsiteX53" fmla="*/ 2032286 w 3683357"/>
              <a:gd name="connsiteY53" fmla="*/ 976219 h 1980771"/>
              <a:gd name="connsiteX54" fmla="*/ 2060619 w 3683357"/>
              <a:gd name="connsiteY54" fmla="*/ 1030310 h 1980771"/>
              <a:gd name="connsiteX55" fmla="*/ 2081225 w 3683357"/>
              <a:gd name="connsiteY55" fmla="*/ 1071522 h 1980771"/>
              <a:gd name="connsiteX56" fmla="*/ 2117286 w 3683357"/>
              <a:gd name="connsiteY56" fmla="*/ 1094704 h 1980771"/>
              <a:gd name="connsiteX57" fmla="*/ 2158499 w 3683357"/>
              <a:gd name="connsiteY57" fmla="*/ 1092128 h 1980771"/>
              <a:gd name="connsiteX58" fmla="*/ 2202287 w 3683357"/>
              <a:gd name="connsiteY58" fmla="*/ 1128189 h 1980771"/>
              <a:gd name="connsiteX59" fmla="*/ 2269257 w 3683357"/>
              <a:gd name="connsiteY59" fmla="*/ 1151371 h 1980771"/>
              <a:gd name="connsiteX60" fmla="*/ 2341379 w 3683357"/>
              <a:gd name="connsiteY60" fmla="*/ 1143644 h 1980771"/>
              <a:gd name="connsiteX61" fmla="*/ 2369712 w 3683357"/>
              <a:gd name="connsiteY61" fmla="*/ 1125614 h 1980771"/>
              <a:gd name="connsiteX62" fmla="*/ 2385167 w 3683357"/>
              <a:gd name="connsiteY62" fmla="*/ 1143644 h 1980771"/>
              <a:gd name="connsiteX63" fmla="*/ 2392894 w 3683357"/>
              <a:gd name="connsiteY63" fmla="*/ 1179705 h 1980771"/>
              <a:gd name="connsiteX64" fmla="*/ 2441834 w 3683357"/>
              <a:gd name="connsiteY64" fmla="*/ 1192584 h 1980771"/>
              <a:gd name="connsiteX65" fmla="*/ 2462440 w 3683357"/>
              <a:gd name="connsiteY65" fmla="*/ 1220917 h 1980771"/>
              <a:gd name="connsiteX66" fmla="*/ 2493349 w 3683357"/>
              <a:gd name="connsiteY66" fmla="*/ 1267281 h 1980771"/>
              <a:gd name="connsiteX67" fmla="*/ 2555168 w 3683357"/>
              <a:gd name="connsiteY67" fmla="*/ 1282736 h 1980771"/>
              <a:gd name="connsiteX68" fmla="*/ 2624714 w 3683357"/>
              <a:gd name="connsiteY68" fmla="*/ 1313645 h 1980771"/>
              <a:gd name="connsiteX69" fmla="*/ 2655623 w 3683357"/>
              <a:gd name="connsiteY69" fmla="*/ 1308494 h 1980771"/>
              <a:gd name="connsiteX70" fmla="*/ 2689108 w 3683357"/>
              <a:gd name="connsiteY70" fmla="*/ 1336827 h 1980771"/>
              <a:gd name="connsiteX71" fmla="*/ 2735472 w 3683357"/>
              <a:gd name="connsiteY71" fmla="*/ 1344554 h 1980771"/>
              <a:gd name="connsiteX72" fmla="*/ 2758654 w 3683357"/>
              <a:gd name="connsiteY72" fmla="*/ 1380615 h 1980771"/>
              <a:gd name="connsiteX73" fmla="*/ 2802442 w 3683357"/>
              <a:gd name="connsiteY73" fmla="*/ 1416676 h 1980771"/>
              <a:gd name="connsiteX74" fmla="*/ 2864261 w 3683357"/>
              <a:gd name="connsiteY74" fmla="*/ 1421828 h 1980771"/>
              <a:gd name="connsiteX75" fmla="*/ 2864261 w 3683357"/>
              <a:gd name="connsiteY75" fmla="*/ 1421828 h 1980771"/>
              <a:gd name="connsiteX76" fmla="*/ 2884867 w 3683357"/>
              <a:gd name="connsiteY76" fmla="*/ 1401221 h 1980771"/>
              <a:gd name="connsiteX77" fmla="*/ 2902898 w 3683357"/>
              <a:gd name="connsiteY77" fmla="*/ 1421828 h 1980771"/>
              <a:gd name="connsiteX78" fmla="*/ 2902898 w 3683357"/>
              <a:gd name="connsiteY78" fmla="*/ 1463040 h 1980771"/>
              <a:gd name="connsiteX79" fmla="*/ 2936383 w 3683357"/>
              <a:gd name="connsiteY79" fmla="*/ 1483646 h 1980771"/>
              <a:gd name="connsiteX80" fmla="*/ 2975019 w 3683357"/>
              <a:gd name="connsiteY80" fmla="*/ 1483646 h 1980771"/>
              <a:gd name="connsiteX81" fmla="*/ 3016232 w 3683357"/>
              <a:gd name="connsiteY81" fmla="*/ 1509404 h 1980771"/>
              <a:gd name="connsiteX82" fmla="*/ 3023959 w 3683357"/>
              <a:gd name="connsiteY82" fmla="*/ 1560919 h 1980771"/>
              <a:gd name="connsiteX83" fmla="*/ 3052292 w 3683357"/>
              <a:gd name="connsiteY83" fmla="*/ 1586677 h 1980771"/>
              <a:gd name="connsiteX84" fmla="*/ 3052292 w 3683357"/>
              <a:gd name="connsiteY84" fmla="*/ 1609859 h 1980771"/>
              <a:gd name="connsiteX85" fmla="*/ 3096081 w 3683357"/>
              <a:gd name="connsiteY85" fmla="*/ 1638193 h 1980771"/>
              <a:gd name="connsiteX86" fmla="*/ 3090929 w 3683357"/>
              <a:gd name="connsiteY86" fmla="*/ 1687132 h 1980771"/>
              <a:gd name="connsiteX87" fmla="*/ 3129566 w 3683357"/>
              <a:gd name="connsiteY87" fmla="*/ 1723193 h 1980771"/>
              <a:gd name="connsiteX88" fmla="*/ 3175930 w 3683357"/>
              <a:gd name="connsiteY88" fmla="*/ 1759254 h 1980771"/>
              <a:gd name="connsiteX89" fmla="*/ 3219718 w 3683357"/>
              <a:gd name="connsiteY89" fmla="*/ 1746375 h 1980771"/>
              <a:gd name="connsiteX90" fmla="*/ 3273809 w 3683357"/>
              <a:gd name="connsiteY90" fmla="*/ 1777285 h 1980771"/>
              <a:gd name="connsiteX91" fmla="*/ 3304718 w 3683357"/>
              <a:gd name="connsiteY91" fmla="*/ 1754103 h 1980771"/>
              <a:gd name="connsiteX92" fmla="*/ 3356234 w 3683357"/>
              <a:gd name="connsiteY92" fmla="*/ 1779860 h 1980771"/>
              <a:gd name="connsiteX93" fmla="*/ 3400022 w 3683357"/>
              <a:gd name="connsiteY93" fmla="*/ 1826224 h 1980771"/>
              <a:gd name="connsiteX94" fmla="*/ 3438659 w 3683357"/>
              <a:gd name="connsiteY94" fmla="*/ 1898346 h 1980771"/>
              <a:gd name="connsiteX95" fmla="*/ 3459265 w 3683357"/>
              <a:gd name="connsiteY95" fmla="*/ 1911225 h 1980771"/>
              <a:gd name="connsiteX96" fmla="*/ 3477295 w 3683357"/>
              <a:gd name="connsiteY96" fmla="*/ 1942134 h 1980771"/>
              <a:gd name="connsiteX97" fmla="*/ 3500477 w 3683357"/>
              <a:gd name="connsiteY97" fmla="*/ 1980771 h 1980771"/>
              <a:gd name="connsiteX98" fmla="*/ 3528811 w 3683357"/>
              <a:gd name="connsiteY98" fmla="*/ 1980771 h 1980771"/>
              <a:gd name="connsiteX99" fmla="*/ 3551993 w 3683357"/>
              <a:gd name="connsiteY99" fmla="*/ 1952437 h 1980771"/>
              <a:gd name="connsiteX100" fmla="*/ 3588054 w 3683357"/>
              <a:gd name="connsiteY100" fmla="*/ 1916376 h 1980771"/>
              <a:gd name="connsiteX101" fmla="*/ 3585478 w 3683357"/>
              <a:gd name="connsiteY101" fmla="*/ 1875164 h 1980771"/>
              <a:gd name="connsiteX102" fmla="*/ 3600932 w 3683357"/>
              <a:gd name="connsiteY102" fmla="*/ 1851982 h 1980771"/>
              <a:gd name="connsiteX103" fmla="*/ 3598357 w 3683357"/>
              <a:gd name="connsiteY103" fmla="*/ 1779860 h 1980771"/>
              <a:gd name="connsiteX104" fmla="*/ 3624114 w 3683357"/>
              <a:gd name="connsiteY104" fmla="*/ 1738648 h 1980771"/>
              <a:gd name="connsiteX105" fmla="*/ 3603508 w 3683357"/>
              <a:gd name="connsiteY105" fmla="*/ 1705163 h 1980771"/>
              <a:gd name="connsiteX106" fmla="*/ 3631842 w 3683357"/>
              <a:gd name="connsiteY106" fmla="*/ 1666526 h 1980771"/>
              <a:gd name="connsiteX107" fmla="*/ 3639569 w 3683357"/>
              <a:gd name="connsiteY107" fmla="*/ 1633041 h 1980771"/>
              <a:gd name="connsiteX108" fmla="*/ 3603508 w 3683357"/>
              <a:gd name="connsiteY108" fmla="*/ 1581526 h 1980771"/>
              <a:gd name="connsiteX109" fmla="*/ 3541690 w 3683357"/>
              <a:gd name="connsiteY109" fmla="*/ 1532586 h 1980771"/>
              <a:gd name="connsiteX110" fmla="*/ 3528811 w 3683357"/>
              <a:gd name="connsiteY110" fmla="*/ 1483646 h 1980771"/>
              <a:gd name="connsiteX111" fmla="*/ 3518508 w 3683357"/>
              <a:gd name="connsiteY111" fmla="*/ 1426979 h 1980771"/>
              <a:gd name="connsiteX112" fmla="*/ 3497901 w 3683357"/>
              <a:gd name="connsiteY112" fmla="*/ 1390918 h 1980771"/>
              <a:gd name="connsiteX113" fmla="*/ 3510780 w 3683357"/>
              <a:gd name="connsiteY113" fmla="*/ 1352282 h 1980771"/>
              <a:gd name="connsiteX114" fmla="*/ 3461841 w 3683357"/>
              <a:gd name="connsiteY114" fmla="*/ 1231220 h 1980771"/>
              <a:gd name="connsiteX115" fmla="*/ 3461841 w 3683357"/>
              <a:gd name="connsiteY115" fmla="*/ 1187432 h 1980771"/>
              <a:gd name="connsiteX116" fmla="*/ 3436083 w 3683357"/>
              <a:gd name="connsiteY116" fmla="*/ 1123038 h 1980771"/>
              <a:gd name="connsiteX117" fmla="*/ 3433507 w 3683357"/>
              <a:gd name="connsiteY117" fmla="*/ 1086977 h 1980771"/>
              <a:gd name="connsiteX118" fmla="*/ 3412901 w 3683357"/>
              <a:gd name="connsiteY118" fmla="*/ 1048340 h 1980771"/>
              <a:gd name="connsiteX119" fmla="*/ 3333052 w 3683357"/>
              <a:gd name="connsiteY119" fmla="*/ 1001976 h 1980771"/>
              <a:gd name="connsiteX120" fmla="*/ 3330476 w 3683357"/>
              <a:gd name="connsiteY120" fmla="*/ 965916 h 1980771"/>
              <a:gd name="connsiteX121" fmla="*/ 3299567 w 3683357"/>
              <a:gd name="connsiteY121" fmla="*/ 942734 h 1980771"/>
              <a:gd name="connsiteX122" fmla="*/ 3276385 w 3683357"/>
              <a:gd name="connsiteY122" fmla="*/ 942734 h 1980771"/>
              <a:gd name="connsiteX123" fmla="*/ 3232597 w 3683357"/>
              <a:gd name="connsiteY123" fmla="*/ 945309 h 1980771"/>
              <a:gd name="connsiteX124" fmla="*/ 3163051 w 3683357"/>
              <a:gd name="connsiteY124" fmla="*/ 906673 h 1980771"/>
              <a:gd name="connsiteX125" fmla="*/ 3111535 w 3683357"/>
              <a:gd name="connsiteY125" fmla="*/ 842278 h 1980771"/>
              <a:gd name="connsiteX126" fmla="*/ 3067747 w 3683357"/>
              <a:gd name="connsiteY126" fmla="*/ 819096 h 1980771"/>
              <a:gd name="connsiteX127" fmla="*/ 3062596 w 3683357"/>
              <a:gd name="connsiteY127" fmla="*/ 783036 h 1980771"/>
              <a:gd name="connsiteX128" fmla="*/ 3039414 w 3683357"/>
              <a:gd name="connsiteY128" fmla="*/ 734096 h 1980771"/>
              <a:gd name="connsiteX129" fmla="*/ 2998201 w 3683357"/>
              <a:gd name="connsiteY129" fmla="*/ 703187 h 1980771"/>
              <a:gd name="connsiteX130" fmla="*/ 3003353 w 3683357"/>
              <a:gd name="connsiteY130" fmla="*/ 659398 h 1980771"/>
              <a:gd name="connsiteX131" fmla="*/ 3039414 w 3683357"/>
              <a:gd name="connsiteY131" fmla="*/ 602731 h 1980771"/>
              <a:gd name="connsiteX132" fmla="*/ 3044565 w 3683357"/>
              <a:gd name="connsiteY132" fmla="*/ 538337 h 1980771"/>
              <a:gd name="connsiteX133" fmla="*/ 3072899 w 3683357"/>
              <a:gd name="connsiteY133" fmla="*/ 502276 h 1980771"/>
              <a:gd name="connsiteX134" fmla="*/ 3119263 w 3683357"/>
              <a:gd name="connsiteY134" fmla="*/ 479094 h 1980771"/>
              <a:gd name="connsiteX135" fmla="*/ 3142445 w 3683357"/>
              <a:gd name="connsiteY135" fmla="*/ 435306 h 1980771"/>
              <a:gd name="connsiteX136" fmla="*/ 3191384 w 3683357"/>
              <a:gd name="connsiteY136" fmla="*/ 432730 h 1980771"/>
              <a:gd name="connsiteX137" fmla="*/ 3222294 w 3683357"/>
              <a:gd name="connsiteY137" fmla="*/ 448185 h 1980771"/>
              <a:gd name="connsiteX138" fmla="*/ 3296991 w 3683357"/>
              <a:gd name="connsiteY138" fmla="*/ 432730 h 1980771"/>
              <a:gd name="connsiteX139" fmla="*/ 3333052 w 3683357"/>
              <a:gd name="connsiteY139" fmla="*/ 458488 h 1980771"/>
              <a:gd name="connsiteX140" fmla="*/ 3381992 w 3683357"/>
              <a:gd name="connsiteY140" fmla="*/ 450761 h 1980771"/>
              <a:gd name="connsiteX141" fmla="*/ 3433507 w 3683357"/>
              <a:gd name="connsiteY141" fmla="*/ 468791 h 1980771"/>
              <a:gd name="connsiteX142" fmla="*/ 3513356 w 3683357"/>
              <a:gd name="connsiteY142" fmla="*/ 507428 h 1980771"/>
              <a:gd name="connsiteX143" fmla="*/ 3636993 w 3683357"/>
              <a:gd name="connsiteY143" fmla="*/ 517731 h 1980771"/>
              <a:gd name="connsiteX144" fmla="*/ 3683357 w 3683357"/>
              <a:gd name="connsiteY144" fmla="*/ 507428 h 1980771"/>
              <a:gd name="connsiteX145" fmla="*/ 3665327 w 3683357"/>
              <a:gd name="connsiteY145" fmla="*/ 481670 h 1980771"/>
              <a:gd name="connsiteX146" fmla="*/ 3662751 w 3683357"/>
              <a:gd name="connsiteY146" fmla="*/ 450761 h 1980771"/>
              <a:gd name="connsiteX0" fmla="*/ 0 w 3616387"/>
              <a:gd name="connsiteY0" fmla="*/ 0 h 1973044"/>
              <a:gd name="connsiteX1" fmla="*/ 48939 w 3616387"/>
              <a:gd name="connsiteY1" fmla="*/ 25758 h 1973044"/>
              <a:gd name="connsiteX2" fmla="*/ 82424 w 3616387"/>
              <a:gd name="connsiteY2" fmla="*/ 77274 h 1973044"/>
              <a:gd name="connsiteX3" fmla="*/ 144243 w 3616387"/>
              <a:gd name="connsiteY3" fmla="*/ 97880 h 1973044"/>
              <a:gd name="connsiteX4" fmla="*/ 188031 w 3616387"/>
              <a:gd name="connsiteY4" fmla="*/ 97880 h 1973044"/>
              <a:gd name="connsiteX5" fmla="*/ 226668 w 3616387"/>
              <a:gd name="connsiteY5" fmla="*/ 146820 h 1973044"/>
              <a:gd name="connsiteX6" fmla="*/ 267880 w 3616387"/>
              <a:gd name="connsiteY6" fmla="*/ 133941 h 1973044"/>
              <a:gd name="connsiteX7" fmla="*/ 314244 w 3616387"/>
              <a:gd name="connsiteY7" fmla="*/ 151971 h 1973044"/>
              <a:gd name="connsiteX8" fmla="*/ 358032 w 3616387"/>
              <a:gd name="connsiteY8" fmla="*/ 141668 h 1973044"/>
              <a:gd name="connsiteX9" fmla="*/ 425002 w 3616387"/>
              <a:gd name="connsiteY9" fmla="*/ 157123 h 1973044"/>
              <a:gd name="connsiteX10" fmla="*/ 466215 w 3616387"/>
              <a:gd name="connsiteY10" fmla="*/ 146820 h 1973044"/>
              <a:gd name="connsiteX11" fmla="*/ 491973 w 3616387"/>
              <a:gd name="connsiteY11" fmla="*/ 175153 h 1973044"/>
              <a:gd name="connsiteX12" fmla="*/ 499700 w 3616387"/>
              <a:gd name="connsiteY12" fmla="*/ 244699 h 1973044"/>
              <a:gd name="connsiteX13" fmla="*/ 522882 w 3616387"/>
              <a:gd name="connsiteY13" fmla="*/ 298790 h 1973044"/>
              <a:gd name="connsiteX14" fmla="*/ 566670 w 3616387"/>
              <a:gd name="connsiteY14" fmla="*/ 301366 h 1973044"/>
              <a:gd name="connsiteX15" fmla="*/ 618186 w 3616387"/>
              <a:gd name="connsiteY15" fmla="*/ 332275 h 1973044"/>
              <a:gd name="connsiteX16" fmla="*/ 646519 w 3616387"/>
              <a:gd name="connsiteY16" fmla="*/ 386367 h 1973044"/>
              <a:gd name="connsiteX17" fmla="*/ 690307 w 3616387"/>
              <a:gd name="connsiteY17" fmla="*/ 406973 h 1973044"/>
              <a:gd name="connsiteX18" fmla="*/ 759853 w 3616387"/>
              <a:gd name="connsiteY18" fmla="*/ 473943 h 1973044"/>
              <a:gd name="connsiteX19" fmla="*/ 821672 w 3616387"/>
              <a:gd name="connsiteY19" fmla="*/ 512580 h 1973044"/>
              <a:gd name="connsiteX20" fmla="*/ 857733 w 3616387"/>
              <a:gd name="connsiteY20" fmla="*/ 486822 h 1973044"/>
              <a:gd name="connsiteX21" fmla="*/ 883490 w 3616387"/>
              <a:gd name="connsiteY21" fmla="*/ 499701 h 1973044"/>
              <a:gd name="connsiteX22" fmla="*/ 896369 w 3616387"/>
              <a:gd name="connsiteY22" fmla="*/ 512580 h 1973044"/>
              <a:gd name="connsiteX23" fmla="*/ 937582 w 3616387"/>
              <a:gd name="connsiteY23" fmla="*/ 484246 h 1973044"/>
              <a:gd name="connsiteX24" fmla="*/ 960764 w 3616387"/>
              <a:gd name="connsiteY24" fmla="*/ 461064 h 1973044"/>
              <a:gd name="connsiteX25" fmla="*/ 996824 w 3616387"/>
              <a:gd name="connsiteY25" fmla="*/ 461064 h 1973044"/>
              <a:gd name="connsiteX26" fmla="*/ 1035461 w 3616387"/>
              <a:gd name="connsiteY26" fmla="*/ 497125 h 1973044"/>
              <a:gd name="connsiteX27" fmla="*/ 1038037 w 3616387"/>
              <a:gd name="connsiteY27" fmla="*/ 571822 h 1973044"/>
              <a:gd name="connsiteX28" fmla="*/ 1081825 w 3616387"/>
              <a:gd name="connsiteY28" fmla="*/ 602732 h 1973044"/>
              <a:gd name="connsiteX29" fmla="*/ 1153947 w 3616387"/>
              <a:gd name="connsiteY29" fmla="*/ 646520 h 1973044"/>
              <a:gd name="connsiteX30" fmla="*/ 1200311 w 3616387"/>
              <a:gd name="connsiteY30" fmla="*/ 659399 h 1973044"/>
              <a:gd name="connsiteX31" fmla="*/ 1228644 w 3616387"/>
              <a:gd name="connsiteY31" fmla="*/ 649096 h 1973044"/>
              <a:gd name="connsiteX32" fmla="*/ 1259553 w 3616387"/>
              <a:gd name="connsiteY32" fmla="*/ 667126 h 1973044"/>
              <a:gd name="connsiteX33" fmla="*/ 1300766 w 3616387"/>
              <a:gd name="connsiteY33" fmla="*/ 646520 h 1973044"/>
              <a:gd name="connsiteX34" fmla="*/ 1316221 w 3616387"/>
              <a:gd name="connsiteY34" fmla="*/ 623338 h 1973044"/>
              <a:gd name="connsiteX35" fmla="*/ 1347130 w 3616387"/>
              <a:gd name="connsiteY35" fmla="*/ 646520 h 1973044"/>
              <a:gd name="connsiteX36" fmla="*/ 1380615 w 3616387"/>
              <a:gd name="connsiteY36" fmla="*/ 625914 h 1973044"/>
              <a:gd name="connsiteX37" fmla="*/ 1390918 w 3616387"/>
              <a:gd name="connsiteY37" fmla="*/ 597580 h 1973044"/>
              <a:gd name="connsiteX38" fmla="*/ 1439858 w 3616387"/>
              <a:gd name="connsiteY38" fmla="*/ 618186 h 1973044"/>
              <a:gd name="connsiteX39" fmla="*/ 1493949 w 3616387"/>
              <a:gd name="connsiteY39" fmla="*/ 674853 h 1973044"/>
              <a:gd name="connsiteX40" fmla="*/ 1548040 w 3616387"/>
              <a:gd name="connsiteY40" fmla="*/ 680005 h 1973044"/>
              <a:gd name="connsiteX41" fmla="*/ 1568646 w 3616387"/>
              <a:gd name="connsiteY41" fmla="*/ 664550 h 1973044"/>
              <a:gd name="connsiteX42" fmla="*/ 1615010 w 3616387"/>
              <a:gd name="connsiteY42" fmla="*/ 667126 h 1973044"/>
              <a:gd name="connsiteX43" fmla="*/ 1651071 w 3616387"/>
              <a:gd name="connsiteY43" fmla="*/ 700611 h 1973044"/>
              <a:gd name="connsiteX44" fmla="*/ 1666526 w 3616387"/>
              <a:gd name="connsiteY44" fmla="*/ 759854 h 1973044"/>
              <a:gd name="connsiteX45" fmla="*/ 1707738 w 3616387"/>
              <a:gd name="connsiteY45" fmla="*/ 829400 h 1973044"/>
              <a:gd name="connsiteX46" fmla="*/ 1705162 w 3616387"/>
              <a:gd name="connsiteY46" fmla="*/ 878340 h 1973044"/>
              <a:gd name="connsiteX47" fmla="*/ 1728344 w 3616387"/>
              <a:gd name="connsiteY47" fmla="*/ 922128 h 1973044"/>
              <a:gd name="connsiteX48" fmla="*/ 1777284 w 3616387"/>
              <a:gd name="connsiteY48" fmla="*/ 932431 h 1973044"/>
              <a:gd name="connsiteX49" fmla="*/ 1805618 w 3616387"/>
              <a:gd name="connsiteY49" fmla="*/ 960764 h 1973044"/>
              <a:gd name="connsiteX50" fmla="*/ 1882891 w 3616387"/>
              <a:gd name="connsiteY50" fmla="*/ 989098 h 1973044"/>
              <a:gd name="connsiteX51" fmla="*/ 1929255 w 3616387"/>
              <a:gd name="connsiteY51" fmla="*/ 968492 h 1973044"/>
              <a:gd name="connsiteX52" fmla="*/ 1965316 w 3616387"/>
              <a:gd name="connsiteY52" fmla="*/ 968492 h 1973044"/>
              <a:gd name="connsiteX53" fmla="*/ 1993649 w 3616387"/>
              <a:gd name="connsiteY53" fmla="*/ 1022583 h 1973044"/>
              <a:gd name="connsiteX54" fmla="*/ 2014255 w 3616387"/>
              <a:gd name="connsiteY54" fmla="*/ 1063795 h 1973044"/>
              <a:gd name="connsiteX55" fmla="*/ 2050316 w 3616387"/>
              <a:gd name="connsiteY55" fmla="*/ 1086977 h 1973044"/>
              <a:gd name="connsiteX56" fmla="*/ 2091529 w 3616387"/>
              <a:gd name="connsiteY56" fmla="*/ 1084401 h 1973044"/>
              <a:gd name="connsiteX57" fmla="*/ 2135317 w 3616387"/>
              <a:gd name="connsiteY57" fmla="*/ 1120462 h 1973044"/>
              <a:gd name="connsiteX58" fmla="*/ 2202287 w 3616387"/>
              <a:gd name="connsiteY58" fmla="*/ 1143644 h 1973044"/>
              <a:gd name="connsiteX59" fmla="*/ 2274409 w 3616387"/>
              <a:gd name="connsiteY59" fmla="*/ 1135917 h 1973044"/>
              <a:gd name="connsiteX60" fmla="*/ 2302742 w 3616387"/>
              <a:gd name="connsiteY60" fmla="*/ 1117887 h 1973044"/>
              <a:gd name="connsiteX61" fmla="*/ 2318197 w 3616387"/>
              <a:gd name="connsiteY61" fmla="*/ 1135917 h 1973044"/>
              <a:gd name="connsiteX62" fmla="*/ 2325924 w 3616387"/>
              <a:gd name="connsiteY62" fmla="*/ 1171978 h 1973044"/>
              <a:gd name="connsiteX63" fmla="*/ 2374864 w 3616387"/>
              <a:gd name="connsiteY63" fmla="*/ 1184857 h 1973044"/>
              <a:gd name="connsiteX64" fmla="*/ 2395470 w 3616387"/>
              <a:gd name="connsiteY64" fmla="*/ 1213190 h 1973044"/>
              <a:gd name="connsiteX65" fmla="*/ 2426379 w 3616387"/>
              <a:gd name="connsiteY65" fmla="*/ 1259554 h 1973044"/>
              <a:gd name="connsiteX66" fmla="*/ 2488198 w 3616387"/>
              <a:gd name="connsiteY66" fmla="*/ 1275009 h 1973044"/>
              <a:gd name="connsiteX67" fmla="*/ 2557744 w 3616387"/>
              <a:gd name="connsiteY67" fmla="*/ 1305918 h 1973044"/>
              <a:gd name="connsiteX68" fmla="*/ 2588653 w 3616387"/>
              <a:gd name="connsiteY68" fmla="*/ 1300767 h 1973044"/>
              <a:gd name="connsiteX69" fmla="*/ 2622138 w 3616387"/>
              <a:gd name="connsiteY69" fmla="*/ 1329100 h 1973044"/>
              <a:gd name="connsiteX70" fmla="*/ 2668502 w 3616387"/>
              <a:gd name="connsiteY70" fmla="*/ 1336827 h 1973044"/>
              <a:gd name="connsiteX71" fmla="*/ 2691684 w 3616387"/>
              <a:gd name="connsiteY71" fmla="*/ 1372888 h 1973044"/>
              <a:gd name="connsiteX72" fmla="*/ 2735472 w 3616387"/>
              <a:gd name="connsiteY72" fmla="*/ 1408949 h 1973044"/>
              <a:gd name="connsiteX73" fmla="*/ 2797291 w 3616387"/>
              <a:gd name="connsiteY73" fmla="*/ 1414101 h 1973044"/>
              <a:gd name="connsiteX74" fmla="*/ 2797291 w 3616387"/>
              <a:gd name="connsiteY74" fmla="*/ 1414101 h 1973044"/>
              <a:gd name="connsiteX75" fmla="*/ 2817897 w 3616387"/>
              <a:gd name="connsiteY75" fmla="*/ 1393494 h 1973044"/>
              <a:gd name="connsiteX76" fmla="*/ 2835928 w 3616387"/>
              <a:gd name="connsiteY76" fmla="*/ 1414101 h 1973044"/>
              <a:gd name="connsiteX77" fmla="*/ 2835928 w 3616387"/>
              <a:gd name="connsiteY77" fmla="*/ 1455313 h 1973044"/>
              <a:gd name="connsiteX78" fmla="*/ 2869413 w 3616387"/>
              <a:gd name="connsiteY78" fmla="*/ 1475919 h 1973044"/>
              <a:gd name="connsiteX79" fmla="*/ 2908049 w 3616387"/>
              <a:gd name="connsiteY79" fmla="*/ 1475919 h 1973044"/>
              <a:gd name="connsiteX80" fmla="*/ 2949262 w 3616387"/>
              <a:gd name="connsiteY80" fmla="*/ 1501677 h 1973044"/>
              <a:gd name="connsiteX81" fmla="*/ 2956989 w 3616387"/>
              <a:gd name="connsiteY81" fmla="*/ 1553192 h 1973044"/>
              <a:gd name="connsiteX82" fmla="*/ 2985322 w 3616387"/>
              <a:gd name="connsiteY82" fmla="*/ 1578950 h 1973044"/>
              <a:gd name="connsiteX83" fmla="*/ 2985322 w 3616387"/>
              <a:gd name="connsiteY83" fmla="*/ 1602132 h 1973044"/>
              <a:gd name="connsiteX84" fmla="*/ 3029111 w 3616387"/>
              <a:gd name="connsiteY84" fmla="*/ 1630466 h 1973044"/>
              <a:gd name="connsiteX85" fmla="*/ 3023959 w 3616387"/>
              <a:gd name="connsiteY85" fmla="*/ 1679405 h 1973044"/>
              <a:gd name="connsiteX86" fmla="*/ 3062596 w 3616387"/>
              <a:gd name="connsiteY86" fmla="*/ 1715466 h 1973044"/>
              <a:gd name="connsiteX87" fmla="*/ 3108960 w 3616387"/>
              <a:gd name="connsiteY87" fmla="*/ 1751527 h 1973044"/>
              <a:gd name="connsiteX88" fmla="*/ 3152748 w 3616387"/>
              <a:gd name="connsiteY88" fmla="*/ 1738648 h 1973044"/>
              <a:gd name="connsiteX89" fmla="*/ 3206839 w 3616387"/>
              <a:gd name="connsiteY89" fmla="*/ 1769558 h 1973044"/>
              <a:gd name="connsiteX90" fmla="*/ 3237748 w 3616387"/>
              <a:gd name="connsiteY90" fmla="*/ 1746376 h 1973044"/>
              <a:gd name="connsiteX91" fmla="*/ 3289264 w 3616387"/>
              <a:gd name="connsiteY91" fmla="*/ 1772133 h 1973044"/>
              <a:gd name="connsiteX92" fmla="*/ 3333052 w 3616387"/>
              <a:gd name="connsiteY92" fmla="*/ 1818497 h 1973044"/>
              <a:gd name="connsiteX93" fmla="*/ 3371689 w 3616387"/>
              <a:gd name="connsiteY93" fmla="*/ 1890619 h 1973044"/>
              <a:gd name="connsiteX94" fmla="*/ 3392295 w 3616387"/>
              <a:gd name="connsiteY94" fmla="*/ 1903498 h 1973044"/>
              <a:gd name="connsiteX95" fmla="*/ 3410325 w 3616387"/>
              <a:gd name="connsiteY95" fmla="*/ 1934407 h 1973044"/>
              <a:gd name="connsiteX96" fmla="*/ 3433507 w 3616387"/>
              <a:gd name="connsiteY96" fmla="*/ 1973044 h 1973044"/>
              <a:gd name="connsiteX97" fmla="*/ 3461841 w 3616387"/>
              <a:gd name="connsiteY97" fmla="*/ 1973044 h 1973044"/>
              <a:gd name="connsiteX98" fmla="*/ 3485023 w 3616387"/>
              <a:gd name="connsiteY98" fmla="*/ 1944710 h 1973044"/>
              <a:gd name="connsiteX99" fmla="*/ 3521084 w 3616387"/>
              <a:gd name="connsiteY99" fmla="*/ 1908649 h 1973044"/>
              <a:gd name="connsiteX100" fmla="*/ 3518508 w 3616387"/>
              <a:gd name="connsiteY100" fmla="*/ 1867437 h 1973044"/>
              <a:gd name="connsiteX101" fmla="*/ 3533962 w 3616387"/>
              <a:gd name="connsiteY101" fmla="*/ 1844255 h 1973044"/>
              <a:gd name="connsiteX102" fmla="*/ 3531387 w 3616387"/>
              <a:gd name="connsiteY102" fmla="*/ 1772133 h 1973044"/>
              <a:gd name="connsiteX103" fmla="*/ 3557144 w 3616387"/>
              <a:gd name="connsiteY103" fmla="*/ 1730921 h 1973044"/>
              <a:gd name="connsiteX104" fmla="*/ 3536538 w 3616387"/>
              <a:gd name="connsiteY104" fmla="*/ 1697436 h 1973044"/>
              <a:gd name="connsiteX105" fmla="*/ 3564872 w 3616387"/>
              <a:gd name="connsiteY105" fmla="*/ 1658799 h 1973044"/>
              <a:gd name="connsiteX106" fmla="*/ 3572599 w 3616387"/>
              <a:gd name="connsiteY106" fmla="*/ 1625314 h 1973044"/>
              <a:gd name="connsiteX107" fmla="*/ 3536538 w 3616387"/>
              <a:gd name="connsiteY107" fmla="*/ 1573799 h 1973044"/>
              <a:gd name="connsiteX108" fmla="*/ 3474720 w 3616387"/>
              <a:gd name="connsiteY108" fmla="*/ 1524859 h 1973044"/>
              <a:gd name="connsiteX109" fmla="*/ 3461841 w 3616387"/>
              <a:gd name="connsiteY109" fmla="*/ 1475919 h 1973044"/>
              <a:gd name="connsiteX110" fmla="*/ 3451538 w 3616387"/>
              <a:gd name="connsiteY110" fmla="*/ 1419252 h 1973044"/>
              <a:gd name="connsiteX111" fmla="*/ 3430931 w 3616387"/>
              <a:gd name="connsiteY111" fmla="*/ 1383191 h 1973044"/>
              <a:gd name="connsiteX112" fmla="*/ 3443810 w 3616387"/>
              <a:gd name="connsiteY112" fmla="*/ 1344555 h 1973044"/>
              <a:gd name="connsiteX113" fmla="*/ 3394871 w 3616387"/>
              <a:gd name="connsiteY113" fmla="*/ 1223493 h 1973044"/>
              <a:gd name="connsiteX114" fmla="*/ 3394871 w 3616387"/>
              <a:gd name="connsiteY114" fmla="*/ 1179705 h 1973044"/>
              <a:gd name="connsiteX115" fmla="*/ 3369113 w 3616387"/>
              <a:gd name="connsiteY115" fmla="*/ 1115311 h 1973044"/>
              <a:gd name="connsiteX116" fmla="*/ 3366537 w 3616387"/>
              <a:gd name="connsiteY116" fmla="*/ 1079250 h 1973044"/>
              <a:gd name="connsiteX117" fmla="*/ 3345931 w 3616387"/>
              <a:gd name="connsiteY117" fmla="*/ 1040613 h 1973044"/>
              <a:gd name="connsiteX118" fmla="*/ 3266082 w 3616387"/>
              <a:gd name="connsiteY118" fmla="*/ 994249 h 1973044"/>
              <a:gd name="connsiteX119" fmla="*/ 3263506 w 3616387"/>
              <a:gd name="connsiteY119" fmla="*/ 958189 h 1973044"/>
              <a:gd name="connsiteX120" fmla="*/ 3232597 w 3616387"/>
              <a:gd name="connsiteY120" fmla="*/ 935007 h 1973044"/>
              <a:gd name="connsiteX121" fmla="*/ 3209415 w 3616387"/>
              <a:gd name="connsiteY121" fmla="*/ 935007 h 1973044"/>
              <a:gd name="connsiteX122" fmla="*/ 3165627 w 3616387"/>
              <a:gd name="connsiteY122" fmla="*/ 937582 h 1973044"/>
              <a:gd name="connsiteX123" fmla="*/ 3096081 w 3616387"/>
              <a:gd name="connsiteY123" fmla="*/ 898946 h 1973044"/>
              <a:gd name="connsiteX124" fmla="*/ 3044565 w 3616387"/>
              <a:gd name="connsiteY124" fmla="*/ 834551 h 1973044"/>
              <a:gd name="connsiteX125" fmla="*/ 3000777 w 3616387"/>
              <a:gd name="connsiteY125" fmla="*/ 811369 h 1973044"/>
              <a:gd name="connsiteX126" fmla="*/ 2995626 w 3616387"/>
              <a:gd name="connsiteY126" fmla="*/ 775309 h 1973044"/>
              <a:gd name="connsiteX127" fmla="*/ 2972444 w 3616387"/>
              <a:gd name="connsiteY127" fmla="*/ 726369 h 1973044"/>
              <a:gd name="connsiteX128" fmla="*/ 2931231 w 3616387"/>
              <a:gd name="connsiteY128" fmla="*/ 695460 h 1973044"/>
              <a:gd name="connsiteX129" fmla="*/ 2936383 w 3616387"/>
              <a:gd name="connsiteY129" fmla="*/ 651671 h 1973044"/>
              <a:gd name="connsiteX130" fmla="*/ 2972444 w 3616387"/>
              <a:gd name="connsiteY130" fmla="*/ 595004 h 1973044"/>
              <a:gd name="connsiteX131" fmla="*/ 2977595 w 3616387"/>
              <a:gd name="connsiteY131" fmla="*/ 530610 h 1973044"/>
              <a:gd name="connsiteX132" fmla="*/ 3005929 w 3616387"/>
              <a:gd name="connsiteY132" fmla="*/ 494549 h 1973044"/>
              <a:gd name="connsiteX133" fmla="*/ 3052293 w 3616387"/>
              <a:gd name="connsiteY133" fmla="*/ 471367 h 1973044"/>
              <a:gd name="connsiteX134" fmla="*/ 3075475 w 3616387"/>
              <a:gd name="connsiteY134" fmla="*/ 427579 h 1973044"/>
              <a:gd name="connsiteX135" fmla="*/ 3124414 w 3616387"/>
              <a:gd name="connsiteY135" fmla="*/ 425003 h 1973044"/>
              <a:gd name="connsiteX136" fmla="*/ 3155324 w 3616387"/>
              <a:gd name="connsiteY136" fmla="*/ 440458 h 1973044"/>
              <a:gd name="connsiteX137" fmla="*/ 3230021 w 3616387"/>
              <a:gd name="connsiteY137" fmla="*/ 425003 h 1973044"/>
              <a:gd name="connsiteX138" fmla="*/ 3266082 w 3616387"/>
              <a:gd name="connsiteY138" fmla="*/ 450761 h 1973044"/>
              <a:gd name="connsiteX139" fmla="*/ 3315022 w 3616387"/>
              <a:gd name="connsiteY139" fmla="*/ 443034 h 1973044"/>
              <a:gd name="connsiteX140" fmla="*/ 3366537 w 3616387"/>
              <a:gd name="connsiteY140" fmla="*/ 461064 h 1973044"/>
              <a:gd name="connsiteX141" fmla="*/ 3446386 w 3616387"/>
              <a:gd name="connsiteY141" fmla="*/ 499701 h 1973044"/>
              <a:gd name="connsiteX142" fmla="*/ 3570023 w 3616387"/>
              <a:gd name="connsiteY142" fmla="*/ 510004 h 1973044"/>
              <a:gd name="connsiteX143" fmla="*/ 3616387 w 3616387"/>
              <a:gd name="connsiteY143" fmla="*/ 499701 h 1973044"/>
              <a:gd name="connsiteX144" fmla="*/ 3598357 w 3616387"/>
              <a:gd name="connsiteY144" fmla="*/ 473943 h 1973044"/>
              <a:gd name="connsiteX145" fmla="*/ 3595781 w 3616387"/>
              <a:gd name="connsiteY145" fmla="*/ 443034 h 1973044"/>
              <a:gd name="connsiteX0" fmla="*/ 0 w 3567448"/>
              <a:gd name="connsiteY0" fmla="*/ 0 h 1947286"/>
              <a:gd name="connsiteX1" fmla="*/ 33485 w 3567448"/>
              <a:gd name="connsiteY1" fmla="*/ 51516 h 1947286"/>
              <a:gd name="connsiteX2" fmla="*/ 95304 w 3567448"/>
              <a:gd name="connsiteY2" fmla="*/ 72122 h 1947286"/>
              <a:gd name="connsiteX3" fmla="*/ 139092 w 3567448"/>
              <a:gd name="connsiteY3" fmla="*/ 72122 h 1947286"/>
              <a:gd name="connsiteX4" fmla="*/ 177729 w 3567448"/>
              <a:gd name="connsiteY4" fmla="*/ 121062 h 1947286"/>
              <a:gd name="connsiteX5" fmla="*/ 218941 w 3567448"/>
              <a:gd name="connsiteY5" fmla="*/ 108183 h 1947286"/>
              <a:gd name="connsiteX6" fmla="*/ 265305 w 3567448"/>
              <a:gd name="connsiteY6" fmla="*/ 126213 h 1947286"/>
              <a:gd name="connsiteX7" fmla="*/ 309093 w 3567448"/>
              <a:gd name="connsiteY7" fmla="*/ 115910 h 1947286"/>
              <a:gd name="connsiteX8" fmla="*/ 376063 w 3567448"/>
              <a:gd name="connsiteY8" fmla="*/ 131365 h 1947286"/>
              <a:gd name="connsiteX9" fmla="*/ 417276 w 3567448"/>
              <a:gd name="connsiteY9" fmla="*/ 121062 h 1947286"/>
              <a:gd name="connsiteX10" fmla="*/ 443034 w 3567448"/>
              <a:gd name="connsiteY10" fmla="*/ 149395 h 1947286"/>
              <a:gd name="connsiteX11" fmla="*/ 450761 w 3567448"/>
              <a:gd name="connsiteY11" fmla="*/ 218941 h 1947286"/>
              <a:gd name="connsiteX12" fmla="*/ 473943 w 3567448"/>
              <a:gd name="connsiteY12" fmla="*/ 273032 h 1947286"/>
              <a:gd name="connsiteX13" fmla="*/ 517731 w 3567448"/>
              <a:gd name="connsiteY13" fmla="*/ 275608 h 1947286"/>
              <a:gd name="connsiteX14" fmla="*/ 569247 w 3567448"/>
              <a:gd name="connsiteY14" fmla="*/ 306517 h 1947286"/>
              <a:gd name="connsiteX15" fmla="*/ 597580 w 3567448"/>
              <a:gd name="connsiteY15" fmla="*/ 360609 h 1947286"/>
              <a:gd name="connsiteX16" fmla="*/ 641368 w 3567448"/>
              <a:gd name="connsiteY16" fmla="*/ 381215 h 1947286"/>
              <a:gd name="connsiteX17" fmla="*/ 710914 w 3567448"/>
              <a:gd name="connsiteY17" fmla="*/ 448185 h 1947286"/>
              <a:gd name="connsiteX18" fmla="*/ 772733 w 3567448"/>
              <a:gd name="connsiteY18" fmla="*/ 486822 h 1947286"/>
              <a:gd name="connsiteX19" fmla="*/ 808794 w 3567448"/>
              <a:gd name="connsiteY19" fmla="*/ 461064 h 1947286"/>
              <a:gd name="connsiteX20" fmla="*/ 834551 w 3567448"/>
              <a:gd name="connsiteY20" fmla="*/ 473943 h 1947286"/>
              <a:gd name="connsiteX21" fmla="*/ 847430 w 3567448"/>
              <a:gd name="connsiteY21" fmla="*/ 486822 h 1947286"/>
              <a:gd name="connsiteX22" fmla="*/ 888643 w 3567448"/>
              <a:gd name="connsiteY22" fmla="*/ 458488 h 1947286"/>
              <a:gd name="connsiteX23" fmla="*/ 911825 w 3567448"/>
              <a:gd name="connsiteY23" fmla="*/ 435306 h 1947286"/>
              <a:gd name="connsiteX24" fmla="*/ 947885 w 3567448"/>
              <a:gd name="connsiteY24" fmla="*/ 435306 h 1947286"/>
              <a:gd name="connsiteX25" fmla="*/ 986522 w 3567448"/>
              <a:gd name="connsiteY25" fmla="*/ 471367 h 1947286"/>
              <a:gd name="connsiteX26" fmla="*/ 989098 w 3567448"/>
              <a:gd name="connsiteY26" fmla="*/ 546064 h 1947286"/>
              <a:gd name="connsiteX27" fmla="*/ 1032886 w 3567448"/>
              <a:gd name="connsiteY27" fmla="*/ 576974 h 1947286"/>
              <a:gd name="connsiteX28" fmla="*/ 1105008 w 3567448"/>
              <a:gd name="connsiteY28" fmla="*/ 620762 h 1947286"/>
              <a:gd name="connsiteX29" fmla="*/ 1151372 w 3567448"/>
              <a:gd name="connsiteY29" fmla="*/ 633641 h 1947286"/>
              <a:gd name="connsiteX30" fmla="*/ 1179705 w 3567448"/>
              <a:gd name="connsiteY30" fmla="*/ 623338 h 1947286"/>
              <a:gd name="connsiteX31" fmla="*/ 1210614 w 3567448"/>
              <a:gd name="connsiteY31" fmla="*/ 641368 h 1947286"/>
              <a:gd name="connsiteX32" fmla="*/ 1251827 w 3567448"/>
              <a:gd name="connsiteY32" fmla="*/ 620762 h 1947286"/>
              <a:gd name="connsiteX33" fmla="*/ 1267282 w 3567448"/>
              <a:gd name="connsiteY33" fmla="*/ 597580 h 1947286"/>
              <a:gd name="connsiteX34" fmla="*/ 1298191 w 3567448"/>
              <a:gd name="connsiteY34" fmla="*/ 620762 h 1947286"/>
              <a:gd name="connsiteX35" fmla="*/ 1331676 w 3567448"/>
              <a:gd name="connsiteY35" fmla="*/ 600156 h 1947286"/>
              <a:gd name="connsiteX36" fmla="*/ 1341979 w 3567448"/>
              <a:gd name="connsiteY36" fmla="*/ 571822 h 1947286"/>
              <a:gd name="connsiteX37" fmla="*/ 1390919 w 3567448"/>
              <a:gd name="connsiteY37" fmla="*/ 592428 h 1947286"/>
              <a:gd name="connsiteX38" fmla="*/ 1445010 w 3567448"/>
              <a:gd name="connsiteY38" fmla="*/ 649095 h 1947286"/>
              <a:gd name="connsiteX39" fmla="*/ 1499101 w 3567448"/>
              <a:gd name="connsiteY39" fmla="*/ 654247 h 1947286"/>
              <a:gd name="connsiteX40" fmla="*/ 1519707 w 3567448"/>
              <a:gd name="connsiteY40" fmla="*/ 638792 h 1947286"/>
              <a:gd name="connsiteX41" fmla="*/ 1566071 w 3567448"/>
              <a:gd name="connsiteY41" fmla="*/ 641368 h 1947286"/>
              <a:gd name="connsiteX42" fmla="*/ 1602132 w 3567448"/>
              <a:gd name="connsiteY42" fmla="*/ 674853 h 1947286"/>
              <a:gd name="connsiteX43" fmla="*/ 1617587 w 3567448"/>
              <a:gd name="connsiteY43" fmla="*/ 734096 h 1947286"/>
              <a:gd name="connsiteX44" fmla="*/ 1658799 w 3567448"/>
              <a:gd name="connsiteY44" fmla="*/ 803642 h 1947286"/>
              <a:gd name="connsiteX45" fmla="*/ 1656223 w 3567448"/>
              <a:gd name="connsiteY45" fmla="*/ 852582 h 1947286"/>
              <a:gd name="connsiteX46" fmla="*/ 1679405 w 3567448"/>
              <a:gd name="connsiteY46" fmla="*/ 896370 h 1947286"/>
              <a:gd name="connsiteX47" fmla="*/ 1728345 w 3567448"/>
              <a:gd name="connsiteY47" fmla="*/ 906673 h 1947286"/>
              <a:gd name="connsiteX48" fmla="*/ 1756679 w 3567448"/>
              <a:gd name="connsiteY48" fmla="*/ 935006 h 1947286"/>
              <a:gd name="connsiteX49" fmla="*/ 1833952 w 3567448"/>
              <a:gd name="connsiteY49" fmla="*/ 963340 h 1947286"/>
              <a:gd name="connsiteX50" fmla="*/ 1880316 w 3567448"/>
              <a:gd name="connsiteY50" fmla="*/ 942734 h 1947286"/>
              <a:gd name="connsiteX51" fmla="*/ 1916377 w 3567448"/>
              <a:gd name="connsiteY51" fmla="*/ 942734 h 1947286"/>
              <a:gd name="connsiteX52" fmla="*/ 1944710 w 3567448"/>
              <a:gd name="connsiteY52" fmla="*/ 996825 h 1947286"/>
              <a:gd name="connsiteX53" fmla="*/ 1965316 w 3567448"/>
              <a:gd name="connsiteY53" fmla="*/ 1038037 h 1947286"/>
              <a:gd name="connsiteX54" fmla="*/ 2001377 w 3567448"/>
              <a:gd name="connsiteY54" fmla="*/ 1061219 h 1947286"/>
              <a:gd name="connsiteX55" fmla="*/ 2042590 w 3567448"/>
              <a:gd name="connsiteY55" fmla="*/ 1058643 h 1947286"/>
              <a:gd name="connsiteX56" fmla="*/ 2086378 w 3567448"/>
              <a:gd name="connsiteY56" fmla="*/ 1094704 h 1947286"/>
              <a:gd name="connsiteX57" fmla="*/ 2153348 w 3567448"/>
              <a:gd name="connsiteY57" fmla="*/ 1117886 h 1947286"/>
              <a:gd name="connsiteX58" fmla="*/ 2225470 w 3567448"/>
              <a:gd name="connsiteY58" fmla="*/ 1110159 h 1947286"/>
              <a:gd name="connsiteX59" fmla="*/ 2253803 w 3567448"/>
              <a:gd name="connsiteY59" fmla="*/ 1092129 h 1947286"/>
              <a:gd name="connsiteX60" fmla="*/ 2269258 w 3567448"/>
              <a:gd name="connsiteY60" fmla="*/ 1110159 h 1947286"/>
              <a:gd name="connsiteX61" fmla="*/ 2276985 w 3567448"/>
              <a:gd name="connsiteY61" fmla="*/ 1146220 h 1947286"/>
              <a:gd name="connsiteX62" fmla="*/ 2325925 w 3567448"/>
              <a:gd name="connsiteY62" fmla="*/ 1159099 h 1947286"/>
              <a:gd name="connsiteX63" fmla="*/ 2346531 w 3567448"/>
              <a:gd name="connsiteY63" fmla="*/ 1187432 h 1947286"/>
              <a:gd name="connsiteX64" fmla="*/ 2377440 w 3567448"/>
              <a:gd name="connsiteY64" fmla="*/ 1233796 h 1947286"/>
              <a:gd name="connsiteX65" fmla="*/ 2439259 w 3567448"/>
              <a:gd name="connsiteY65" fmla="*/ 1249251 h 1947286"/>
              <a:gd name="connsiteX66" fmla="*/ 2508805 w 3567448"/>
              <a:gd name="connsiteY66" fmla="*/ 1280160 h 1947286"/>
              <a:gd name="connsiteX67" fmla="*/ 2539714 w 3567448"/>
              <a:gd name="connsiteY67" fmla="*/ 1275009 h 1947286"/>
              <a:gd name="connsiteX68" fmla="*/ 2573199 w 3567448"/>
              <a:gd name="connsiteY68" fmla="*/ 1303342 h 1947286"/>
              <a:gd name="connsiteX69" fmla="*/ 2619563 w 3567448"/>
              <a:gd name="connsiteY69" fmla="*/ 1311069 h 1947286"/>
              <a:gd name="connsiteX70" fmla="*/ 2642745 w 3567448"/>
              <a:gd name="connsiteY70" fmla="*/ 1347130 h 1947286"/>
              <a:gd name="connsiteX71" fmla="*/ 2686533 w 3567448"/>
              <a:gd name="connsiteY71" fmla="*/ 1383191 h 1947286"/>
              <a:gd name="connsiteX72" fmla="*/ 2748352 w 3567448"/>
              <a:gd name="connsiteY72" fmla="*/ 1388343 h 1947286"/>
              <a:gd name="connsiteX73" fmla="*/ 2748352 w 3567448"/>
              <a:gd name="connsiteY73" fmla="*/ 1388343 h 1947286"/>
              <a:gd name="connsiteX74" fmla="*/ 2768958 w 3567448"/>
              <a:gd name="connsiteY74" fmla="*/ 1367736 h 1947286"/>
              <a:gd name="connsiteX75" fmla="*/ 2786989 w 3567448"/>
              <a:gd name="connsiteY75" fmla="*/ 1388343 h 1947286"/>
              <a:gd name="connsiteX76" fmla="*/ 2786989 w 3567448"/>
              <a:gd name="connsiteY76" fmla="*/ 1429555 h 1947286"/>
              <a:gd name="connsiteX77" fmla="*/ 2820474 w 3567448"/>
              <a:gd name="connsiteY77" fmla="*/ 1450161 h 1947286"/>
              <a:gd name="connsiteX78" fmla="*/ 2859110 w 3567448"/>
              <a:gd name="connsiteY78" fmla="*/ 1450161 h 1947286"/>
              <a:gd name="connsiteX79" fmla="*/ 2900323 w 3567448"/>
              <a:gd name="connsiteY79" fmla="*/ 1475919 h 1947286"/>
              <a:gd name="connsiteX80" fmla="*/ 2908050 w 3567448"/>
              <a:gd name="connsiteY80" fmla="*/ 1527434 h 1947286"/>
              <a:gd name="connsiteX81" fmla="*/ 2936383 w 3567448"/>
              <a:gd name="connsiteY81" fmla="*/ 1553192 h 1947286"/>
              <a:gd name="connsiteX82" fmla="*/ 2936383 w 3567448"/>
              <a:gd name="connsiteY82" fmla="*/ 1576374 h 1947286"/>
              <a:gd name="connsiteX83" fmla="*/ 2980172 w 3567448"/>
              <a:gd name="connsiteY83" fmla="*/ 1604708 h 1947286"/>
              <a:gd name="connsiteX84" fmla="*/ 2975020 w 3567448"/>
              <a:gd name="connsiteY84" fmla="*/ 1653647 h 1947286"/>
              <a:gd name="connsiteX85" fmla="*/ 3013657 w 3567448"/>
              <a:gd name="connsiteY85" fmla="*/ 1689708 h 1947286"/>
              <a:gd name="connsiteX86" fmla="*/ 3060021 w 3567448"/>
              <a:gd name="connsiteY86" fmla="*/ 1725769 h 1947286"/>
              <a:gd name="connsiteX87" fmla="*/ 3103809 w 3567448"/>
              <a:gd name="connsiteY87" fmla="*/ 1712890 h 1947286"/>
              <a:gd name="connsiteX88" fmla="*/ 3157900 w 3567448"/>
              <a:gd name="connsiteY88" fmla="*/ 1743800 h 1947286"/>
              <a:gd name="connsiteX89" fmla="*/ 3188809 w 3567448"/>
              <a:gd name="connsiteY89" fmla="*/ 1720618 h 1947286"/>
              <a:gd name="connsiteX90" fmla="*/ 3240325 w 3567448"/>
              <a:gd name="connsiteY90" fmla="*/ 1746375 h 1947286"/>
              <a:gd name="connsiteX91" fmla="*/ 3284113 w 3567448"/>
              <a:gd name="connsiteY91" fmla="*/ 1792739 h 1947286"/>
              <a:gd name="connsiteX92" fmla="*/ 3322750 w 3567448"/>
              <a:gd name="connsiteY92" fmla="*/ 1864861 h 1947286"/>
              <a:gd name="connsiteX93" fmla="*/ 3343356 w 3567448"/>
              <a:gd name="connsiteY93" fmla="*/ 1877740 h 1947286"/>
              <a:gd name="connsiteX94" fmla="*/ 3361386 w 3567448"/>
              <a:gd name="connsiteY94" fmla="*/ 1908649 h 1947286"/>
              <a:gd name="connsiteX95" fmla="*/ 3384568 w 3567448"/>
              <a:gd name="connsiteY95" fmla="*/ 1947286 h 1947286"/>
              <a:gd name="connsiteX96" fmla="*/ 3412902 w 3567448"/>
              <a:gd name="connsiteY96" fmla="*/ 1947286 h 1947286"/>
              <a:gd name="connsiteX97" fmla="*/ 3436084 w 3567448"/>
              <a:gd name="connsiteY97" fmla="*/ 1918952 h 1947286"/>
              <a:gd name="connsiteX98" fmla="*/ 3472145 w 3567448"/>
              <a:gd name="connsiteY98" fmla="*/ 1882891 h 1947286"/>
              <a:gd name="connsiteX99" fmla="*/ 3469569 w 3567448"/>
              <a:gd name="connsiteY99" fmla="*/ 1841679 h 1947286"/>
              <a:gd name="connsiteX100" fmla="*/ 3485023 w 3567448"/>
              <a:gd name="connsiteY100" fmla="*/ 1818497 h 1947286"/>
              <a:gd name="connsiteX101" fmla="*/ 3482448 w 3567448"/>
              <a:gd name="connsiteY101" fmla="*/ 1746375 h 1947286"/>
              <a:gd name="connsiteX102" fmla="*/ 3508205 w 3567448"/>
              <a:gd name="connsiteY102" fmla="*/ 1705163 h 1947286"/>
              <a:gd name="connsiteX103" fmla="*/ 3487599 w 3567448"/>
              <a:gd name="connsiteY103" fmla="*/ 1671678 h 1947286"/>
              <a:gd name="connsiteX104" fmla="*/ 3515933 w 3567448"/>
              <a:gd name="connsiteY104" fmla="*/ 1633041 h 1947286"/>
              <a:gd name="connsiteX105" fmla="*/ 3523660 w 3567448"/>
              <a:gd name="connsiteY105" fmla="*/ 1599556 h 1947286"/>
              <a:gd name="connsiteX106" fmla="*/ 3487599 w 3567448"/>
              <a:gd name="connsiteY106" fmla="*/ 1548041 h 1947286"/>
              <a:gd name="connsiteX107" fmla="*/ 3425781 w 3567448"/>
              <a:gd name="connsiteY107" fmla="*/ 1499101 h 1947286"/>
              <a:gd name="connsiteX108" fmla="*/ 3412902 w 3567448"/>
              <a:gd name="connsiteY108" fmla="*/ 1450161 h 1947286"/>
              <a:gd name="connsiteX109" fmla="*/ 3402599 w 3567448"/>
              <a:gd name="connsiteY109" fmla="*/ 1393494 h 1947286"/>
              <a:gd name="connsiteX110" fmla="*/ 3381992 w 3567448"/>
              <a:gd name="connsiteY110" fmla="*/ 1357433 h 1947286"/>
              <a:gd name="connsiteX111" fmla="*/ 3394871 w 3567448"/>
              <a:gd name="connsiteY111" fmla="*/ 1318797 h 1947286"/>
              <a:gd name="connsiteX112" fmla="*/ 3345932 w 3567448"/>
              <a:gd name="connsiteY112" fmla="*/ 1197735 h 1947286"/>
              <a:gd name="connsiteX113" fmla="*/ 3345932 w 3567448"/>
              <a:gd name="connsiteY113" fmla="*/ 1153947 h 1947286"/>
              <a:gd name="connsiteX114" fmla="*/ 3320174 w 3567448"/>
              <a:gd name="connsiteY114" fmla="*/ 1089553 h 1947286"/>
              <a:gd name="connsiteX115" fmla="*/ 3317598 w 3567448"/>
              <a:gd name="connsiteY115" fmla="*/ 1053492 h 1947286"/>
              <a:gd name="connsiteX116" fmla="*/ 3296992 w 3567448"/>
              <a:gd name="connsiteY116" fmla="*/ 1014855 h 1947286"/>
              <a:gd name="connsiteX117" fmla="*/ 3217143 w 3567448"/>
              <a:gd name="connsiteY117" fmla="*/ 968491 h 1947286"/>
              <a:gd name="connsiteX118" fmla="*/ 3214567 w 3567448"/>
              <a:gd name="connsiteY118" fmla="*/ 932431 h 1947286"/>
              <a:gd name="connsiteX119" fmla="*/ 3183658 w 3567448"/>
              <a:gd name="connsiteY119" fmla="*/ 909249 h 1947286"/>
              <a:gd name="connsiteX120" fmla="*/ 3160476 w 3567448"/>
              <a:gd name="connsiteY120" fmla="*/ 909249 h 1947286"/>
              <a:gd name="connsiteX121" fmla="*/ 3116688 w 3567448"/>
              <a:gd name="connsiteY121" fmla="*/ 911824 h 1947286"/>
              <a:gd name="connsiteX122" fmla="*/ 3047142 w 3567448"/>
              <a:gd name="connsiteY122" fmla="*/ 873188 h 1947286"/>
              <a:gd name="connsiteX123" fmla="*/ 2995626 w 3567448"/>
              <a:gd name="connsiteY123" fmla="*/ 808793 h 1947286"/>
              <a:gd name="connsiteX124" fmla="*/ 2951838 w 3567448"/>
              <a:gd name="connsiteY124" fmla="*/ 785611 h 1947286"/>
              <a:gd name="connsiteX125" fmla="*/ 2946687 w 3567448"/>
              <a:gd name="connsiteY125" fmla="*/ 749551 h 1947286"/>
              <a:gd name="connsiteX126" fmla="*/ 2923505 w 3567448"/>
              <a:gd name="connsiteY126" fmla="*/ 700611 h 1947286"/>
              <a:gd name="connsiteX127" fmla="*/ 2882292 w 3567448"/>
              <a:gd name="connsiteY127" fmla="*/ 669702 h 1947286"/>
              <a:gd name="connsiteX128" fmla="*/ 2887444 w 3567448"/>
              <a:gd name="connsiteY128" fmla="*/ 625913 h 1947286"/>
              <a:gd name="connsiteX129" fmla="*/ 2923505 w 3567448"/>
              <a:gd name="connsiteY129" fmla="*/ 569246 h 1947286"/>
              <a:gd name="connsiteX130" fmla="*/ 2928656 w 3567448"/>
              <a:gd name="connsiteY130" fmla="*/ 504852 h 1947286"/>
              <a:gd name="connsiteX131" fmla="*/ 2956990 w 3567448"/>
              <a:gd name="connsiteY131" fmla="*/ 468791 h 1947286"/>
              <a:gd name="connsiteX132" fmla="*/ 3003354 w 3567448"/>
              <a:gd name="connsiteY132" fmla="*/ 445609 h 1947286"/>
              <a:gd name="connsiteX133" fmla="*/ 3026536 w 3567448"/>
              <a:gd name="connsiteY133" fmla="*/ 401821 h 1947286"/>
              <a:gd name="connsiteX134" fmla="*/ 3075475 w 3567448"/>
              <a:gd name="connsiteY134" fmla="*/ 399245 h 1947286"/>
              <a:gd name="connsiteX135" fmla="*/ 3106385 w 3567448"/>
              <a:gd name="connsiteY135" fmla="*/ 414700 h 1947286"/>
              <a:gd name="connsiteX136" fmla="*/ 3181082 w 3567448"/>
              <a:gd name="connsiteY136" fmla="*/ 399245 h 1947286"/>
              <a:gd name="connsiteX137" fmla="*/ 3217143 w 3567448"/>
              <a:gd name="connsiteY137" fmla="*/ 425003 h 1947286"/>
              <a:gd name="connsiteX138" fmla="*/ 3266083 w 3567448"/>
              <a:gd name="connsiteY138" fmla="*/ 417276 h 1947286"/>
              <a:gd name="connsiteX139" fmla="*/ 3317598 w 3567448"/>
              <a:gd name="connsiteY139" fmla="*/ 435306 h 1947286"/>
              <a:gd name="connsiteX140" fmla="*/ 3397447 w 3567448"/>
              <a:gd name="connsiteY140" fmla="*/ 473943 h 1947286"/>
              <a:gd name="connsiteX141" fmla="*/ 3521084 w 3567448"/>
              <a:gd name="connsiteY141" fmla="*/ 484246 h 1947286"/>
              <a:gd name="connsiteX142" fmla="*/ 3567448 w 3567448"/>
              <a:gd name="connsiteY142" fmla="*/ 473943 h 1947286"/>
              <a:gd name="connsiteX143" fmla="*/ 3549418 w 3567448"/>
              <a:gd name="connsiteY143" fmla="*/ 448185 h 1947286"/>
              <a:gd name="connsiteX144" fmla="*/ 3546842 w 3567448"/>
              <a:gd name="connsiteY144" fmla="*/ 417276 h 1947286"/>
              <a:gd name="connsiteX0" fmla="*/ 0 w 3533963"/>
              <a:gd name="connsiteY0" fmla="*/ 0 h 1895770"/>
              <a:gd name="connsiteX1" fmla="*/ 61819 w 3533963"/>
              <a:gd name="connsiteY1" fmla="*/ 20606 h 1895770"/>
              <a:gd name="connsiteX2" fmla="*/ 105607 w 3533963"/>
              <a:gd name="connsiteY2" fmla="*/ 20606 h 1895770"/>
              <a:gd name="connsiteX3" fmla="*/ 144244 w 3533963"/>
              <a:gd name="connsiteY3" fmla="*/ 69546 h 1895770"/>
              <a:gd name="connsiteX4" fmla="*/ 185456 w 3533963"/>
              <a:gd name="connsiteY4" fmla="*/ 56667 h 1895770"/>
              <a:gd name="connsiteX5" fmla="*/ 231820 w 3533963"/>
              <a:gd name="connsiteY5" fmla="*/ 74697 h 1895770"/>
              <a:gd name="connsiteX6" fmla="*/ 275608 w 3533963"/>
              <a:gd name="connsiteY6" fmla="*/ 64394 h 1895770"/>
              <a:gd name="connsiteX7" fmla="*/ 342578 w 3533963"/>
              <a:gd name="connsiteY7" fmla="*/ 79849 h 1895770"/>
              <a:gd name="connsiteX8" fmla="*/ 383791 w 3533963"/>
              <a:gd name="connsiteY8" fmla="*/ 69546 h 1895770"/>
              <a:gd name="connsiteX9" fmla="*/ 409549 w 3533963"/>
              <a:gd name="connsiteY9" fmla="*/ 97879 h 1895770"/>
              <a:gd name="connsiteX10" fmla="*/ 417276 w 3533963"/>
              <a:gd name="connsiteY10" fmla="*/ 167425 h 1895770"/>
              <a:gd name="connsiteX11" fmla="*/ 440458 w 3533963"/>
              <a:gd name="connsiteY11" fmla="*/ 221516 h 1895770"/>
              <a:gd name="connsiteX12" fmla="*/ 484246 w 3533963"/>
              <a:gd name="connsiteY12" fmla="*/ 224092 h 1895770"/>
              <a:gd name="connsiteX13" fmla="*/ 535762 w 3533963"/>
              <a:gd name="connsiteY13" fmla="*/ 255001 h 1895770"/>
              <a:gd name="connsiteX14" fmla="*/ 564095 w 3533963"/>
              <a:gd name="connsiteY14" fmla="*/ 309093 h 1895770"/>
              <a:gd name="connsiteX15" fmla="*/ 607883 w 3533963"/>
              <a:gd name="connsiteY15" fmla="*/ 329699 h 1895770"/>
              <a:gd name="connsiteX16" fmla="*/ 677429 w 3533963"/>
              <a:gd name="connsiteY16" fmla="*/ 396669 h 1895770"/>
              <a:gd name="connsiteX17" fmla="*/ 739248 w 3533963"/>
              <a:gd name="connsiteY17" fmla="*/ 435306 h 1895770"/>
              <a:gd name="connsiteX18" fmla="*/ 775309 w 3533963"/>
              <a:gd name="connsiteY18" fmla="*/ 409548 h 1895770"/>
              <a:gd name="connsiteX19" fmla="*/ 801066 w 3533963"/>
              <a:gd name="connsiteY19" fmla="*/ 422427 h 1895770"/>
              <a:gd name="connsiteX20" fmla="*/ 813945 w 3533963"/>
              <a:gd name="connsiteY20" fmla="*/ 435306 h 1895770"/>
              <a:gd name="connsiteX21" fmla="*/ 855158 w 3533963"/>
              <a:gd name="connsiteY21" fmla="*/ 406972 h 1895770"/>
              <a:gd name="connsiteX22" fmla="*/ 878340 w 3533963"/>
              <a:gd name="connsiteY22" fmla="*/ 383790 h 1895770"/>
              <a:gd name="connsiteX23" fmla="*/ 914400 w 3533963"/>
              <a:gd name="connsiteY23" fmla="*/ 383790 h 1895770"/>
              <a:gd name="connsiteX24" fmla="*/ 953037 w 3533963"/>
              <a:gd name="connsiteY24" fmla="*/ 419851 h 1895770"/>
              <a:gd name="connsiteX25" fmla="*/ 955613 w 3533963"/>
              <a:gd name="connsiteY25" fmla="*/ 494548 h 1895770"/>
              <a:gd name="connsiteX26" fmla="*/ 999401 w 3533963"/>
              <a:gd name="connsiteY26" fmla="*/ 525458 h 1895770"/>
              <a:gd name="connsiteX27" fmla="*/ 1071523 w 3533963"/>
              <a:gd name="connsiteY27" fmla="*/ 569246 h 1895770"/>
              <a:gd name="connsiteX28" fmla="*/ 1117887 w 3533963"/>
              <a:gd name="connsiteY28" fmla="*/ 582125 h 1895770"/>
              <a:gd name="connsiteX29" fmla="*/ 1146220 w 3533963"/>
              <a:gd name="connsiteY29" fmla="*/ 571822 h 1895770"/>
              <a:gd name="connsiteX30" fmla="*/ 1177129 w 3533963"/>
              <a:gd name="connsiteY30" fmla="*/ 589852 h 1895770"/>
              <a:gd name="connsiteX31" fmla="*/ 1218342 w 3533963"/>
              <a:gd name="connsiteY31" fmla="*/ 569246 h 1895770"/>
              <a:gd name="connsiteX32" fmla="*/ 1233797 w 3533963"/>
              <a:gd name="connsiteY32" fmla="*/ 546064 h 1895770"/>
              <a:gd name="connsiteX33" fmla="*/ 1264706 w 3533963"/>
              <a:gd name="connsiteY33" fmla="*/ 569246 h 1895770"/>
              <a:gd name="connsiteX34" fmla="*/ 1298191 w 3533963"/>
              <a:gd name="connsiteY34" fmla="*/ 548640 h 1895770"/>
              <a:gd name="connsiteX35" fmla="*/ 1308494 w 3533963"/>
              <a:gd name="connsiteY35" fmla="*/ 520306 h 1895770"/>
              <a:gd name="connsiteX36" fmla="*/ 1357434 w 3533963"/>
              <a:gd name="connsiteY36" fmla="*/ 540912 h 1895770"/>
              <a:gd name="connsiteX37" fmla="*/ 1411525 w 3533963"/>
              <a:gd name="connsiteY37" fmla="*/ 597579 h 1895770"/>
              <a:gd name="connsiteX38" fmla="*/ 1465616 w 3533963"/>
              <a:gd name="connsiteY38" fmla="*/ 602731 h 1895770"/>
              <a:gd name="connsiteX39" fmla="*/ 1486222 w 3533963"/>
              <a:gd name="connsiteY39" fmla="*/ 587276 h 1895770"/>
              <a:gd name="connsiteX40" fmla="*/ 1532586 w 3533963"/>
              <a:gd name="connsiteY40" fmla="*/ 589852 h 1895770"/>
              <a:gd name="connsiteX41" fmla="*/ 1568647 w 3533963"/>
              <a:gd name="connsiteY41" fmla="*/ 623337 h 1895770"/>
              <a:gd name="connsiteX42" fmla="*/ 1584102 w 3533963"/>
              <a:gd name="connsiteY42" fmla="*/ 682580 h 1895770"/>
              <a:gd name="connsiteX43" fmla="*/ 1625314 w 3533963"/>
              <a:gd name="connsiteY43" fmla="*/ 752126 h 1895770"/>
              <a:gd name="connsiteX44" fmla="*/ 1622738 w 3533963"/>
              <a:gd name="connsiteY44" fmla="*/ 801066 h 1895770"/>
              <a:gd name="connsiteX45" fmla="*/ 1645920 w 3533963"/>
              <a:gd name="connsiteY45" fmla="*/ 844854 h 1895770"/>
              <a:gd name="connsiteX46" fmla="*/ 1694860 w 3533963"/>
              <a:gd name="connsiteY46" fmla="*/ 855157 h 1895770"/>
              <a:gd name="connsiteX47" fmla="*/ 1723194 w 3533963"/>
              <a:gd name="connsiteY47" fmla="*/ 883490 h 1895770"/>
              <a:gd name="connsiteX48" fmla="*/ 1800467 w 3533963"/>
              <a:gd name="connsiteY48" fmla="*/ 911824 h 1895770"/>
              <a:gd name="connsiteX49" fmla="*/ 1846831 w 3533963"/>
              <a:gd name="connsiteY49" fmla="*/ 891218 h 1895770"/>
              <a:gd name="connsiteX50" fmla="*/ 1882892 w 3533963"/>
              <a:gd name="connsiteY50" fmla="*/ 891218 h 1895770"/>
              <a:gd name="connsiteX51" fmla="*/ 1911225 w 3533963"/>
              <a:gd name="connsiteY51" fmla="*/ 945309 h 1895770"/>
              <a:gd name="connsiteX52" fmla="*/ 1931831 w 3533963"/>
              <a:gd name="connsiteY52" fmla="*/ 986521 h 1895770"/>
              <a:gd name="connsiteX53" fmla="*/ 1967892 w 3533963"/>
              <a:gd name="connsiteY53" fmla="*/ 1009703 h 1895770"/>
              <a:gd name="connsiteX54" fmla="*/ 2009105 w 3533963"/>
              <a:gd name="connsiteY54" fmla="*/ 1007127 h 1895770"/>
              <a:gd name="connsiteX55" fmla="*/ 2052893 w 3533963"/>
              <a:gd name="connsiteY55" fmla="*/ 1043188 h 1895770"/>
              <a:gd name="connsiteX56" fmla="*/ 2119863 w 3533963"/>
              <a:gd name="connsiteY56" fmla="*/ 1066370 h 1895770"/>
              <a:gd name="connsiteX57" fmla="*/ 2191985 w 3533963"/>
              <a:gd name="connsiteY57" fmla="*/ 1058643 h 1895770"/>
              <a:gd name="connsiteX58" fmla="*/ 2220318 w 3533963"/>
              <a:gd name="connsiteY58" fmla="*/ 1040613 h 1895770"/>
              <a:gd name="connsiteX59" fmla="*/ 2235773 w 3533963"/>
              <a:gd name="connsiteY59" fmla="*/ 1058643 h 1895770"/>
              <a:gd name="connsiteX60" fmla="*/ 2243500 w 3533963"/>
              <a:gd name="connsiteY60" fmla="*/ 1094704 h 1895770"/>
              <a:gd name="connsiteX61" fmla="*/ 2292440 w 3533963"/>
              <a:gd name="connsiteY61" fmla="*/ 1107583 h 1895770"/>
              <a:gd name="connsiteX62" fmla="*/ 2313046 w 3533963"/>
              <a:gd name="connsiteY62" fmla="*/ 1135916 h 1895770"/>
              <a:gd name="connsiteX63" fmla="*/ 2343955 w 3533963"/>
              <a:gd name="connsiteY63" fmla="*/ 1182280 h 1895770"/>
              <a:gd name="connsiteX64" fmla="*/ 2405774 w 3533963"/>
              <a:gd name="connsiteY64" fmla="*/ 1197735 h 1895770"/>
              <a:gd name="connsiteX65" fmla="*/ 2475320 w 3533963"/>
              <a:gd name="connsiteY65" fmla="*/ 1228644 h 1895770"/>
              <a:gd name="connsiteX66" fmla="*/ 2506229 w 3533963"/>
              <a:gd name="connsiteY66" fmla="*/ 1223493 h 1895770"/>
              <a:gd name="connsiteX67" fmla="*/ 2539714 w 3533963"/>
              <a:gd name="connsiteY67" fmla="*/ 1251826 h 1895770"/>
              <a:gd name="connsiteX68" fmla="*/ 2586078 w 3533963"/>
              <a:gd name="connsiteY68" fmla="*/ 1259553 h 1895770"/>
              <a:gd name="connsiteX69" fmla="*/ 2609260 w 3533963"/>
              <a:gd name="connsiteY69" fmla="*/ 1295614 h 1895770"/>
              <a:gd name="connsiteX70" fmla="*/ 2653048 w 3533963"/>
              <a:gd name="connsiteY70" fmla="*/ 1331675 h 1895770"/>
              <a:gd name="connsiteX71" fmla="*/ 2714867 w 3533963"/>
              <a:gd name="connsiteY71" fmla="*/ 1336827 h 1895770"/>
              <a:gd name="connsiteX72" fmla="*/ 2714867 w 3533963"/>
              <a:gd name="connsiteY72" fmla="*/ 1336827 h 1895770"/>
              <a:gd name="connsiteX73" fmla="*/ 2735473 w 3533963"/>
              <a:gd name="connsiteY73" fmla="*/ 1316220 h 1895770"/>
              <a:gd name="connsiteX74" fmla="*/ 2753504 w 3533963"/>
              <a:gd name="connsiteY74" fmla="*/ 1336827 h 1895770"/>
              <a:gd name="connsiteX75" fmla="*/ 2753504 w 3533963"/>
              <a:gd name="connsiteY75" fmla="*/ 1378039 h 1895770"/>
              <a:gd name="connsiteX76" fmla="*/ 2786989 w 3533963"/>
              <a:gd name="connsiteY76" fmla="*/ 1398645 h 1895770"/>
              <a:gd name="connsiteX77" fmla="*/ 2825625 w 3533963"/>
              <a:gd name="connsiteY77" fmla="*/ 1398645 h 1895770"/>
              <a:gd name="connsiteX78" fmla="*/ 2866838 w 3533963"/>
              <a:gd name="connsiteY78" fmla="*/ 1424403 h 1895770"/>
              <a:gd name="connsiteX79" fmla="*/ 2874565 w 3533963"/>
              <a:gd name="connsiteY79" fmla="*/ 1475918 h 1895770"/>
              <a:gd name="connsiteX80" fmla="*/ 2902898 w 3533963"/>
              <a:gd name="connsiteY80" fmla="*/ 1501676 h 1895770"/>
              <a:gd name="connsiteX81" fmla="*/ 2902898 w 3533963"/>
              <a:gd name="connsiteY81" fmla="*/ 1524858 h 1895770"/>
              <a:gd name="connsiteX82" fmla="*/ 2946687 w 3533963"/>
              <a:gd name="connsiteY82" fmla="*/ 1553192 h 1895770"/>
              <a:gd name="connsiteX83" fmla="*/ 2941535 w 3533963"/>
              <a:gd name="connsiteY83" fmla="*/ 1602131 h 1895770"/>
              <a:gd name="connsiteX84" fmla="*/ 2980172 w 3533963"/>
              <a:gd name="connsiteY84" fmla="*/ 1638192 h 1895770"/>
              <a:gd name="connsiteX85" fmla="*/ 3026536 w 3533963"/>
              <a:gd name="connsiteY85" fmla="*/ 1674253 h 1895770"/>
              <a:gd name="connsiteX86" fmla="*/ 3070324 w 3533963"/>
              <a:gd name="connsiteY86" fmla="*/ 1661374 h 1895770"/>
              <a:gd name="connsiteX87" fmla="*/ 3124415 w 3533963"/>
              <a:gd name="connsiteY87" fmla="*/ 1692284 h 1895770"/>
              <a:gd name="connsiteX88" fmla="*/ 3155324 w 3533963"/>
              <a:gd name="connsiteY88" fmla="*/ 1669102 h 1895770"/>
              <a:gd name="connsiteX89" fmla="*/ 3206840 w 3533963"/>
              <a:gd name="connsiteY89" fmla="*/ 1694859 h 1895770"/>
              <a:gd name="connsiteX90" fmla="*/ 3250628 w 3533963"/>
              <a:gd name="connsiteY90" fmla="*/ 1741223 h 1895770"/>
              <a:gd name="connsiteX91" fmla="*/ 3289265 w 3533963"/>
              <a:gd name="connsiteY91" fmla="*/ 1813345 h 1895770"/>
              <a:gd name="connsiteX92" fmla="*/ 3309871 w 3533963"/>
              <a:gd name="connsiteY92" fmla="*/ 1826224 h 1895770"/>
              <a:gd name="connsiteX93" fmla="*/ 3327901 w 3533963"/>
              <a:gd name="connsiteY93" fmla="*/ 1857133 h 1895770"/>
              <a:gd name="connsiteX94" fmla="*/ 3351083 w 3533963"/>
              <a:gd name="connsiteY94" fmla="*/ 1895770 h 1895770"/>
              <a:gd name="connsiteX95" fmla="*/ 3379417 w 3533963"/>
              <a:gd name="connsiteY95" fmla="*/ 1895770 h 1895770"/>
              <a:gd name="connsiteX96" fmla="*/ 3402599 w 3533963"/>
              <a:gd name="connsiteY96" fmla="*/ 1867436 h 1895770"/>
              <a:gd name="connsiteX97" fmla="*/ 3438660 w 3533963"/>
              <a:gd name="connsiteY97" fmla="*/ 1831375 h 1895770"/>
              <a:gd name="connsiteX98" fmla="*/ 3436084 w 3533963"/>
              <a:gd name="connsiteY98" fmla="*/ 1790163 h 1895770"/>
              <a:gd name="connsiteX99" fmla="*/ 3451538 w 3533963"/>
              <a:gd name="connsiteY99" fmla="*/ 1766981 h 1895770"/>
              <a:gd name="connsiteX100" fmla="*/ 3448963 w 3533963"/>
              <a:gd name="connsiteY100" fmla="*/ 1694859 h 1895770"/>
              <a:gd name="connsiteX101" fmla="*/ 3474720 w 3533963"/>
              <a:gd name="connsiteY101" fmla="*/ 1653647 h 1895770"/>
              <a:gd name="connsiteX102" fmla="*/ 3454114 w 3533963"/>
              <a:gd name="connsiteY102" fmla="*/ 1620162 h 1895770"/>
              <a:gd name="connsiteX103" fmla="*/ 3482448 w 3533963"/>
              <a:gd name="connsiteY103" fmla="*/ 1581525 h 1895770"/>
              <a:gd name="connsiteX104" fmla="*/ 3490175 w 3533963"/>
              <a:gd name="connsiteY104" fmla="*/ 1548040 h 1895770"/>
              <a:gd name="connsiteX105" fmla="*/ 3454114 w 3533963"/>
              <a:gd name="connsiteY105" fmla="*/ 1496525 h 1895770"/>
              <a:gd name="connsiteX106" fmla="*/ 3392296 w 3533963"/>
              <a:gd name="connsiteY106" fmla="*/ 1447585 h 1895770"/>
              <a:gd name="connsiteX107" fmla="*/ 3379417 w 3533963"/>
              <a:gd name="connsiteY107" fmla="*/ 1398645 h 1895770"/>
              <a:gd name="connsiteX108" fmla="*/ 3369114 w 3533963"/>
              <a:gd name="connsiteY108" fmla="*/ 1341978 h 1895770"/>
              <a:gd name="connsiteX109" fmla="*/ 3348507 w 3533963"/>
              <a:gd name="connsiteY109" fmla="*/ 1305917 h 1895770"/>
              <a:gd name="connsiteX110" fmla="*/ 3361386 w 3533963"/>
              <a:gd name="connsiteY110" fmla="*/ 1267281 h 1895770"/>
              <a:gd name="connsiteX111" fmla="*/ 3312447 w 3533963"/>
              <a:gd name="connsiteY111" fmla="*/ 1146219 h 1895770"/>
              <a:gd name="connsiteX112" fmla="*/ 3312447 w 3533963"/>
              <a:gd name="connsiteY112" fmla="*/ 1102431 h 1895770"/>
              <a:gd name="connsiteX113" fmla="*/ 3286689 w 3533963"/>
              <a:gd name="connsiteY113" fmla="*/ 1038037 h 1895770"/>
              <a:gd name="connsiteX114" fmla="*/ 3284113 w 3533963"/>
              <a:gd name="connsiteY114" fmla="*/ 1001976 h 1895770"/>
              <a:gd name="connsiteX115" fmla="*/ 3263507 w 3533963"/>
              <a:gd name="connsiteY115" fmla="*/ 963339 h 1895770"/>
              <a:gd name="connsiteX116" fmla="*/ 3183658 w 3533963"/>
              <a:gd name="connsiteY116" fmla="*/ 916975 h 1895770"/>
              <a:gd name="connsiteX117" fmla="*/ 3181082 w 3533963"/>
              <a:gd name="connsiteY117" fmla="*/ 880915 h 1895770"/>
              <a:gd name="connsiteX118" fmla="*/ 3150173 w 3533963"/>
              <a:gd name="connsiteY118" fmla="*/ 857733 h 1895770"/>
              <a:gd name="connsiteX119" fmla="*/ 3126991 w 3533963"/>
              <a:gd name="connsiteY119" fmla="*/ 857733 h 1895770"/>
              <a:gd name="connsiteX120" fmla="*/ 3083203 w 3533963"/>
              <a:gd name="connsiteY120" fmla="*/ 860308 h 1895770"/>
              <a:gd name="connsiteX121" fmla="*/ 3013657 w 3533963"/>
              <a:gd name="connsiteY121" fmla="*/ 821672 h 1895770"/>
              <a:gd name="connsiteX122" fmla="*/ 2962141 w 3533963"/>
              <a:gd name="connsiteY122" fmla="*/ 757277 h 1895770"/>
              <a:gd name="connsiteX123" fmla="*/ 2918353 w 3533963"/>
              <a:gd name="connsiteY123" fmla="*/ 734095 h 1895770"/>
              <a:gd name="connsiteX124" fmla="*/ 2913202 w 3533963"/>
              <a:gd name="connsiteY124" fmla="*/ 698035 h 1895770"/>
              <a:gd name="connsiteX125" fmla="*/ 2890020 w 3533963"/>
              <a:gd name="connsiteY125" fmla="*/ 649095 h 1895770"/>
              <a:gd name="connsiteX126" fmla="*/ 2848807 w 3533963"/>
              <a:gd name="connsiteY126" fmla="*/ 618186 h 1895770"/>
              <a:gd name="connsiteX127" fmla="*/ 2853959 w 3533963"/>
              <a:gd name="connsiteY127" fmla="*/ 574397 h 1895770"/>
              <a:gd name="connsiteX128" fmla="*/ 2890020 w 3533963"/>
              <a:gd name="connsiteY128" fmla="*/ 517730 h 1895770"/>
              <a:gd name="connsiteX129" fmla="*/ 2895171 w 3533963"/>
              <a:gd name="connsiteY129" fmla="*/ 453336 h 1895770"/>
              <a:gd name="connsiteX130" fmla="*/ 2923505 w 3533963"/>
              <a:gd name="connsiteY130" fmla="*/ 417275 h 1895770"/>
              <a:gd name="connsiteX131" fmla="*/ 2969869 w 3533963"/>
              <a:gd name="connsiteY131" fmla="*/ 394093 h 1895770"/>
              <a:gd name="connsiteX132" fmla="*/ 2993051 w 3533963"/>
              <a:gd name="connsiteY132" fmla="*/ 350305 h 1895770"/>
              <a:gd name="connsiteX133" fmla="*/ 3041990 w 3533963"/>
              <a:gd name="connsiteY133" fmla="*/ 347729 h 1895770"/>
              <a:gd name="connsiteX134" fmla="*/ 3072900 w 3533963"/>
              <a:gd name="connsiteY134" fmla="*/ 363184 h 1895770"/>
              <a:gd name="connsiteX135" fmla="*/ 3147597 w 3533963"/>
              <a:gd name="connsiteY135" fmla="*/ 347729 h 1895770"/>
              <a:gd name="connsiteX136" fmla="*/ 3183658 w 3533963"/>
              <a:gd name="connsiteY136" fmla="*/ 373487 h 1895770"/>
              <a:gd name="connsiteX137" fmla="*/ 3232598 w 3533963"/>
              <a:gd name="connsiteY137" fmla="*/ 365760 h 1895770"/>
              <a:gd name="connsiteX138" fmla="*/ 3284113 w 3533963"/>
              <a:gd name="connsiteY138" fmla="*/ 383790 h 1895770"/>
              <a:gd name="connsiteX139" fmla="*/ 3363962 w 3533963"/>
              <a:gd name="connsiteY139" fmla="*/ 422427 h 1895770"/>
              <a:gd name="connsiteX140" fmla="*/ 3487599 w 3533963"/>
              <a:gd name="connsiteY140" fmla="*/ 432730 h 1895770"/>
              <a:gd name="connsiteX141" fmla="*/ 3533963 w 3533963"/>
              <a:gd name="connsiteY141" fmla="*/ 422427 h 1895770"/>
              <a:gd name="connsiteX142" fmla="*/ 3515933 w 3533963"/>
              <a:gd name="connsiteY142" fmla="*/ 396669 h 1895770"/>
              <a:gd name="connsiteX143" fmla="*/ 3513357 w 3533963"/>
              <a:gd name="connsiteY143" fmla="*/ 365760 h 1895770"/>
              <a:gd name="connsiteX0" fmla="*/ 0 w 3472144"/>
              <a:gd name="connsiteY0" fmla="*/ 0 h 1875164"/>
              <a:gd name="connsiteX1" fmla="*/ 43788 w 3472144"/>
              <a:gd name="connsiteY1" fmla="*/ 0 h 1875164"/>
              <a:gd name="connsiteX2" fmla="*/ 82425 w 3472144"/>
              <a:gd name="connsiteY2" fmla="*/ 48940 h 1875164"/>
              <a:gd name="connsiteX3" fmla="*/ 123637 w 3472144"/>
              <a:gd name="connsiteY3" fmla="*/ 36061 h 1875164"/>
              <a:gd name="connsiteX4" fmla="*/ 170001 w 3472144"/>
              <a:gd name="connsiteY4" fmla="*/ 54091 h 1875164"/>
              <a:gd name="connsiteX5" fmla="*/ 213789 w 3472144"/>
              <a:gd name="connsiteY5" fmla="*/ 43788 h 1875164"/>
              <a:gd name="connsiteX6" fmla="*/ 280759 w 3472144"/>
              <a:gd name="connsiteY6" fmla="*/ 59243 h 1875164"/>
              <a:gd name="connsiteX7" fmla="*/ 321972 w 3472144"/>
              <a:gd name="connsiteY7" fmla="*/ 48940 h 1875164"/>
              <a:gd name="connsiteX8" fmla="*/ 347730 w 3472144"/>
              <a:gd name="connsiteY8" fmla="*/ 77273 h 1875164"/>
              <a:gd name="connsiteX9" fmla="*/ 355457 w 3472144"/>
              <a:gd name="connsiteY9" fmla="*/ 146819 h 1875164"/>
              <a:gd name="connsiteX10" fmla="*/ 378639 w 3472144"/>
              <a:gd name="connsiteY10" fmla="*/ 200910 h 1875164"/>
              <a:gd name="connsiteX11" fmla="*/ 422427 w 3472144"/>
              <a:gd name="connsiteY11" fmla="*/ 203486 h 1875164"/>
              <a:gd name="connsiteX12" fmla="*/ 473943 w 3472144"/>
              <a:gd name="connsiteY12" fmla="*/ 234395 h 1875164"/>
              <a:gd name="connsiteX13" fmla="*/ 502276 w 3472144"/>
              <a:gd name="connsiteY13" fmla="*/ 288487 h 1875164"/>
              <a:gd name="connsiteX14" fmla="*/ 546064 w 3472144"/>
              <a:gd name="connsiteY14" fmla="*/ 309093 h 1875164"/>
              <a:gd name="connsiteX15" fmla="*/ 615610 w 3472144"/>
              <a:gd name="connsiteY15" fmla="*/ 376063 h 1875164"/>
              <a:gd name="connsiteX16" fmla="*/ 677429 w 3472144"/>
              <a:gd name="connsiteY16" fmla="*/ 414700 h 1875164"/>
              <a:gd name="connsiteX17" fmla="*/ 713490 w 3472144"/>
              <a:gd name="connsiteY17" fmla="*/ 388942 h 1875164"/>
              <a:gd name="connsiteX18" fmla="*/ 739247 w 3472144"/>
              <a:gd name="connsiteY18" fmla="*/ 401821 h 1875164"/>
              <a:gd name="connsiteX19" fmla="*/ 752126 w 3472144"/>
              <a:gd name="connsiteY19" fmla="*/ 414700 h 1875164"/>
              <a:gd name="connsiteX20" fmla="*/ 793339 w 3472144"/>
              <a:gd name="connsiteY20" fmla="*/ 386366 h 1875164"/>
              <a:gd name="connsiteX21" fmla="*/ 816521 w 3472144"/>
              <a:gd name="connsiteY21" fmla="*/ 363184 h 1875164"/>
              <a:gd name="connsiteX22" fmla="*/ 852581 w 3472144"/>
              <a:gd name="connsiteY22" fmla="*/ 363184 h 1875164"/>
              <a:gd name="connsiteX23" fmla="*/ 891218 w 3472144"/>
              <a:gd name="connsiteY23" fmla="*/ 399245 h 1875164"/>
              <a:gd name="connsiteX24" fmla="*/ 893794 w 3472144"/>
              <a:gd name="connsiteY24" fmla="*/ 473942 h 1875164"/>
              <a:gd name="connsiteX25" fmla="*/ 937582 w 3472144"/>
              <a:gd name="connsiteY25" fmla="*/ 504852 h 1875164"/>
              <a:gd name="connsiteX26" fmla="*/ 1009704 w 3472144"/>
              <a:gd name="connsiteY26" fmla="*/ 548640 h 1875164"/>
              <a:gd name="connsiteX27" fmla="*/ 1056068 w 3472144"/>
              <a:gd name="connsiteY27" fmla="*/ 561519 h 1875164"/>
              <a:gd name="connsiteX28" fmla="*/ 1084401 w 3472144"/>
              <a:gd name="connsiteY28" fmla="*/ 551216 h 1875164"/>
              <a:gd name="connsiteX29" fmla="*/ 1115310 w 3472144"/>
              <a:gd name="connsiteY29" fmla="*/ 569246 h 1875164"/>
              <a:gd name="connsiteX30" fmla="*/ 1156523 w 3472144"/>
              <a:gd name="connsiteY30" fmla="*/ 548640 h 1875164"/>
              <a:gd name="connsiteX31" fmla="*/ 1171978 w 3472144"/>
              <a:gd name="connsiteY31" fmla="*/ 525458 h 1875164"/>
              <a:gd name="connsiteX32" fmla="*/ 1202887 w 3472144"/>
              <a:gd name="connsiteY32" fmla="*/ 548640 h 1875164"/>
              <a:gd name="connsiteX33" fmla="*/ 1236372 w 3472144"/>
              <a:gd name="connsiteY33" fmla="*/ 528034 h 1875164"/>
              <a:gd name="connsiteX34" fmla="*/ 1246675 w 3472144"/>
              <a:gd name="connsiteY34" fmla="*/ 499700 h 1875164"/>
              <a:gd name="connsiteX35" fmla="*/ 1295615 w 3472144"/>
              <a:gd name="connsiteY35" fmla="*/ 520306 h 1875164"/>
              <a:gd name="connsiteX36" fmla="*/ 1349706 w 3472144"/>
              <a:gd name="connsiteY36" fmla="*/ 576973 h 1875164"/>
              <a:gd name="connsiteX37" fmla="*/ 1403797 w 3472144"/>
              <a:gd name="connsiteY37" fmla="*/ 582125 h 1875164"/>
              <a:gd name="connsiteX38" fmla="*/ 1424403 w 3472144"/>
              <a:gd name="connsiteY38" fmla="*/ 566670 h 1875164"/>
              <a:gd name="connsiteX39" fmla="*/ 1470767 w 3472144"/>
              <a:gd name="connsiteY39" fmla="*/ 569246 h 1875164"/>
              <a:gd name="connsiteX40" fmla="*/ 1506828 w 3472144"/>
              <a:gd name="connsiteY40" fmla="*/ 602731 h 1875164"/>
              <a:gd name="connsiteX41" fmla="*/ 1522283 w 3472144"/>
              <a:gd name="connsiteY41" fmla="*/ 661974 h 1875164"/>
              <a:gd name="connsiteX42" fmla="*/ 1563495 w 3472144"/>
              <a:gd name="connsiteY42" fmla="*/ 731520 h 1875164"/>
              <a:gd name="connsiteX43" fmla="*/ 1560919 w 3472144"/>
              <a:gd name="connsiteY43" fmla="*/ 780460 h 1875164"/>
              <a:gd name="connsiteX44" fmla="*/ 1584101 w 3472144"/>
              <a:gd name="connsiteY44" fmla="*/ 824248 h 1875164"/>
              <a:gd name="connsiteX45" fmla="*/ 1633041 w 3472144"/>
              <a:gd name="connsiteY45" fmla="*/ 834551 h 1875164"/>
              <a:gd name="connsiteX46" fmla="*/ 1661375 w 3472144"/>
              <a:gd name="connsiteY46" fmla="*/ 862884 h 1875164"/>
              <a:gd name="connsiteX47" fmla="*/ 1738648 w 3472144"/>
              <a:gd name="connsiteY47" fmla="*/ 891218 h 1875164"/>
              <a:gd name="connsiteX48" fmla="*/ 1785012 w 3472144"/>
              <a:gd name="connsiteY48" fmla="*/ 870612 h 1875164"/>
              <a:gd name="connsiteX49" fmla="*/ 1821073 w 3472144"/>
              <a:gd name="connsiteY49" fmla="*/ 870612 h 1875164"/>
              <a:gd name="connsiteX50" fmla="*/ 1849406 w 3472144"/>
              <a:gd name="connsiteY50" fmla="*/ 924703 h 1875164"/>
              <a:gd name="connsiteX51" fmla="*/ 1870012 w 3472144"/>
              <a:gd name="connsiteY51" fmla="*/ 965915 h 1875164"/>
              <a:gd name="connsiteX52" fmla="*/ 1906073 w 3472144"/>
              <a:gd name="connsiteY52" fmla="*/ 989097 h 1875164"/>
              <a:gd name="connsiteX53" fmla="*/ 1947286 w 3472144"/>
              <a:gd name="connsiteY53" fmla="*/ 986521 h 1875164"/>
              <a:gd name="connsiteX54" fmla="*/ 1991074 w 3472144"/>
              <a:gd name="connsiteY54" fmla="*/ 1022582 h 1875164"/>
              <a:gd name="connsiteX55" fmla="*/ 2058044 w 3472144"/>
              <a:gd name="connsiteY55" fmla="*/ 1045764 h 1875164"/>
              <a:gd name="connsiteX56" fmla="*/ 2130166 w 3472144"/>
              <a:gd name="connsiteY56" fmla="*/ 1038037 h 1875164"/>
              <a:gd name="connsiteX57" fmla="*/ 2158499 w 3472144"/>
              <a:gd name="connsiteY57" fmla="*/ 1020007 h 1875164"/>
              <a:gd name="connsiteX58" fmla="*/ 2173954 w 3472144"/>
              <a:gd name="connsiteY58" fmla="*/ 1038037 h 1875164"/>
              <a:gd name="connsiteX59" fmla="*/ 2181681 w 3472144"/>
              <a:gd name="connsiteY59" fmla="*/ 1074098 h 1875164"/>
              <a:gd name="connsiteX60" fmla="*/ 2230621 w 3472144"/>
              <a:gd name="connsiteY60" fmla="*/ 1086977 h 1875164"/>
              <a:gd name="connsiteX61" fmla="*/ 2251227 w 3472144"/>
              <a:gd name="connsiteY61" fmla="*/ 1115310 h 1875164"/>
              <a:gd name="connsiteX62" fmla="*/ 2282136 w 3472144"/>
              <a:gd name="connsiteY62" fmla="*/ 1161674 h 1875164"/>
              <a:gd name="connsiteX63" fmla="*/ 2343955 w 3472144"/>
              <a:gd name="connsiteY63" fmla="*/ 1177129 h 1875164"/>
              <a:gd name="connsiteX64" fmla="*/ 2413501 w 3472144"/>
              <a:gd name="connsiteY64" fmla="*/ 1208038 h 1875164"/>
              <a:gd name="connsiteX65" fmla="*/ 2444410 w 3472144"/>
              <a:gd name="connsiteY65" fmla="*/ 1202887 h 1875164"/>
              <a:gd name="connsiteX66" fmla="*/ 2477895 w 3472144"/>
              <a:gd name="connsiteY66" fmla="*/ 1231220 h 1875164"/>
              <a:gd name="connsiteX67" fmla="*/ 2524259 w 3472144"/>
              <a:gd name="connsiteY67" fmla="*/ 1238947 h 1875164"/>
              <a:gd name="connsiteX68" fmla="*/ 2547441 w 3472144"/>
              <a:gd name="connsiteY68" fmla="*/ 1275008 h 1875164"/>
              <a:gd name="connsiteX69" fmla="*/ 2591229 w 3472144"/>
              <a:gd name="connsiteY69" fmla="*/ 1311069 h 1875164"/>
              <a:gd name="connsiteX70" fmla="*/ 2653048 w 3472144"/>
              <a:gd name="connsiteY70" fmla="*/ 1316221 h 1875164"/>
              <a:gd name="connsiteX71" fmla="*/ 2653048 w 3472144"/>
              <a:gd name="connsiteY71" fmla="*/ 1316221 h 1875164"/>
              <a:gd name="connsiteX72" fmla="*/ 2673654 w 3472144"/>
              <a:gd name="connsiteY72" fmla="*/ 1295614 h 1875164"/>
              <a:gd name="connsiteX73" fmla="*/ 2691685 w 3472144"/>
              <a:gd name="connsiteY73" fmla="*/ 1316221 h 1875164"/>
              <a:gd name="connsiteX74" fmla="*/ 2691685 w 3472144"/>
              <a:gd name="connsiteY74" fmla="*/ 1357433 h 1875164"/>
              <a:gd name="connsiteX75" fmla="*/ 2725170 w 3472144"/>
              <a:gd name="connsiteY75" fmla="*/ 1378039 h 1875164"/>
              <a:gd name="connsiteX76" fmla="*/ 2763806 w 3472144"/>
              <a:gd name="connsiteY76" fmla="*/ 1378039 h 1875164"/>
              <a:gd name="connsiteX77" fmla="*/ 2805019 w 3472144"/>
              <a:gd name="connsiteY77" fmla="*/ 1403797 h 1875164"/>
              <a:gd name="connsiteX78" fmla="*/ 2812746 w 3472144"/>
              <a:gd name="connsiteY78" fmla="*/ 1455312 h 1875164"/>
              <a:gd name="connsiteX79" fmla="*/ 2841079 w 3472144"/>
              <a:gd name="connsiteY79" fmla="*/ 1481070 h 1875164"/>
              <a:gd name="connsiteX80" fmla="*/ 2841079 w 3472144"/>
              <a:gd name="connsiteY80" fmla="*/ 1504252 h 1875164"/>
              <a:gd name="connsiteX81" fmla="*/ 2884868 w 3472144"/>
              <a:gd name="connsiteY81" fmla="*/ 1532586 h 1875164"/>
              <a:gd name="connsiteX82" fmla="*/ 2879716 w 3472144"/>
              <a:gd name="connsiteY82" fmla="*/ 1581525 h 1875164"/>
              <a:gd name="connsiteX83" fmla="*/ 2918353 w 3472144"/>
              <a:gd name="connsiteY83" fmla="*/ 1617586 h 1875164"/>
              <a:gd name="connsiteX84" fmla="*/ 2964717 w 3472144"/>
              <a:gd name="connsiteY84" fmla="*/ 1653647 h 1875164"/>
              <a:gd name="connsiteX85" fmla="*/ 3008505 w 3472144"/>
              <a:gd name="connsiteY85" fmla="*/ 1640768 h 1875164"/>
              <a:gd name="connsiteX86" fmla="*/ 3062596 w 3472144"/>
              <a:gd name="connsiteY86" fmla="*/ 1671678 h 1875164"/>
              <a:gd name="connsiteX87" fmla="*/ 3093505 w 3472144"/>
              <a:gd name="connsiteY87" fmla="*/ 1648496 h 1875164"/>
              <a:gd name="connsiteX88" fmla="*/ 3145021 w 3472144"/>
              <a:gd name="connsiteY88" fmla="*/ 1674253 h 1875164"/>
              <a:gd name="connsiteX89" fmla="*/ 3188809 w 3472144"/>
              <a:gd name="connsiteY89" fmla="*/ 1720617 h 1875164"/>
              <a:gd name="connsiteX90" fmla="*/ 3227446 w 3472144"/>
              <a:gd name="connsiteY90" fmla="*/ 1792739 h 1875164"/>
              <a:gd name="connsiteX91" fmla="*/ 3248052 w 3472144"/>
              <a:gd name="connsiteY91" fmla="*/ 1805618 h 1875164"/>
              <a:gd name="connsiteX92" fmla="*/ 3266082 w 3472144"/>
              <a:gd name="connsiteY92" fmla="*/ 1836527 h 1875164"/>
              <a:gd name="connsiteX93" fmla="*/ 3289264 w 3472144"/>
              <a:gd name="connsiteY93" fmla="*/ 1875164 h 1875164"/>
              <a:gd name="connsiteX94" fmla="*/ 3317598 w 3472144"/>
              <a:gd name="connsiteY94" fmla="*/ 1875164 h 1875164"/>
              <a:gd name="connsiteX95" fmla="*/ 3340780 w 3472144"/>
              <a:gd name="connsiteY95" fmla="*/ 1846830 h 1875164"/>
              <a:gd name="connsiteX96" fmla="*/ 3376841 w 3472144"/>
              <a:gd name="connsiteY96" fmla="*/ 1810769 h 1875164"/>
              <a:gd name="connsiteX97" fmla="*/ 3374265 w 3472144"/>
              <a:gd name="connsiteY97" fmla="*/ 1769557 h 1875164"/>
              <a:gd name="connsiteX98" fmla="*/ 3389719 w 3472144"/>
              <a:gd name="connsiteY98" fmla="*/ 1746375 h 1875164"/>
              <a:gd name="connsiteX99" fmla="*/ 3387144 w 3472144"/>
              <a:gd name="connsiteY99" fmla="*/ 1674253 h 1875164"/>
              <a:gd name="connsiteX100" fmla="*/ 3412901 w 3472144"/>
              <a:gd name="connsiteY100" fmla="*/ 1633041 h 1875164"/>
              <a:gd name="connsiteX101" fmla="*/ 3392295 w 3472144"/>
              <a:gd name="connsiteY101" fmla="*/ 1599556 h 1875164"/>
              <a:gd name="connsiteX102" fmla="*/ 3420629 w 3472144"/>
              <a:gd name="connsiteY102" fmla="*/ 1560919 h 1875164"/>
              <a:gd name="connsiteX103" fmla="*/ 3428356 w 3472144"/>
              <a:gd name="connsiteY103" fmla="*/ 1527434 h 1875164"/>
              <a:gd name="connsiteX104" fmla="*/ 3392295 w 3472144"/>
              <a:gd name="connsiteY104" fmla="*/ 1475919 h 1875164"/>
              <a:gd name="connsiteX105" fmla="*/ 3330477 w 3472144"/>
              <a:gd name="connsiteY105" fmla="*/ 1426979 h 1875164"/>
              <a:gd name="connsiteX106" fmla="*/ 3317598 w 3472144"/>
              <a:gd name="connsiteY106" fmla="*/ 1378039 h 1875164"/>
              <a:gd name="connsiteX107" fmla="*/ 3307295 w 3472144"/>
              <a:gd name="connsiteY107" fmla="*/ 1321372 h 1875164"/>
              <a:gd name="connsiteX108" fmla="*/ 3286688 w 3472144"/>
              <a:gd name="connsiteY108" fmla="*/ 1285311 h 1875164"/>
              <a:gd name="connsiteX109" fmla="*/ 3299567 w 3472144"/>
              <a:gd name="connsiteY109" fmla="*/ 1246675 h 1875164"/>
              <a:gd name="connsiteX110" fmla="*/ 3250628 w 3472144"/>
              <a:gd name="connsiteY110" fmla="*/ 1125613 h 1875164"/>
              <a:gd name="connsiteX111" fmla="*/ 3250628 w 3472144"/>
              <a:gd name="connsiteY111" fmla="*/ 1081825 h 1875164"/>
              <a:gd name="connsiteX112" fmla="*/ 3224870 w 3472144"/>
              <a:gd name="connsiteY112" fmla="*/ 1017431 h 1875164"/>
              <a:gd name="connsiteX113" fmla="*/ 3222294 w 3472144"/>
              <a:gd name="connsiteY113" fmla="*/ 981370 h 1875164"/>
              <a:gd name="connsiteX114" fmla="*/ 3201688 w 3472144"/>
              <a:gd name="connsiteY114" fmla="*/ 942733 h 1875164"/>
              <a:gd name="connsiteX115" fmla="*/ 3121839 w 3472144"/>
              <a:gd name="connsiteY115" fmla="*/ 896369 h 1875164"/>
              <a:gd name="connsiteX116" fmla="*/ 3119263 w 3472144"/>
              <a:gd name="connsiteY116" fmla="*/ 860309 h 1875164"/>
              <a:gd name="connsiteX117" fmla="*/ 3088354 w 3472144"/>
              <a:gd name="connsiteY117" fmla="*/ 837127 h 1875164"/>
              <a:gd name="connsiteX118" fmla="*/ 3065172 w 3472144"/>
              <a:gd name="connsiteY118" fmla="*/ 837127 h 1875164"/>
              <a:gd name="connsiteX119" fmla="*/ 3021384 w 3472144"/>
              <a:gd name="connsiteY119" fmla="*/ 839702 h 1875164"/>
              <a:gd name="connsiteX120" fmla="*/ 2951838 w 3472144"/>
              <a:gd name="connsiteY120" fmla="*/ 801066 h 1875164"/>
              <a:gd name="connsiteX121" fmla="*/ 2900322 w 3472144"/>
              <a:gd name="connsiteY121" fmla="*/ 736671 h 1875164"/>
              <a:gd name="connsiteX122" fmla="*/ 2856534 w 3472144"/>
              <a:gd name="connsiteY122" fmla="*/ 713489 h 1875164"/>
              <a:gd name="connsiteX123" fmla="*/ 2851383 w 3472144"/>
              <a:gd name="connsiteY123" fmla="*/ 677429 h 1875164"/>
              <a:gd name="connsiteX124" fmla="*/ 2828201 w 3472144"/>
              <a:gd name="connsiteY124" fmla="*/ 628489 h 1875164"/>
              <a:gd name="connsiteX125" fmla="*/ 2786988 w 3472144"/>
              <a:gd name="connsiteY125" fmla="*/ 597580 h 1875164"/>
              <a:gd name="connsiteX126" fmla="*/ 2792140 w 3472144"/>
              <a:gd name="connsiteY126" fmla="*/ 553791 h 1875164"/>
              <a:gd name="connsiteX127" fmla="*/ 2828201 w 3472144"/>
              <a:gd name="connsiteY127" fmla="*/ 497124 h 1875164"/>
              <a:gd name="connsiteX128" fmla="*/ 2833352 w 3472144"/>
              <a:gd name="connsiteY128" fmla="*/ 432730 h 1875164"/>
              <a:gd name="connsiteX129" fmla="*/ 2861686 w 3472144"/>
              <a:gd name="connsiteY129" fmla="*/ 396669 h 1875164"/>
              <a:gd name="connsiteX130" fmla="*/ 2908050 w 3472144"/>
              <a:gd name="connsiteY130" fmla="*/ 373487 h 1875164"/>
              <a:gd name="connsiteX131" fmla="*/ 2931232 w 3472144"/>
              <a:gd name="connsiteY131" fmla="*/ 329699 h 1875164"/>
              <a:gd name="connsiteX132" fmla="*/ 2980171 w 3472144"/>
              <a:gd name="connsiteY132" fmla="*/ 327123 h 1875164"/>
              <a:gd name="connsiteX133" fmla="*/ 3011081 w 3472144"/>
              <a:gd name="connsiteY133" fmla="*/ 342578 h 1875164"/>
              <a:gd name="connsiteX134" fmla="*/ 3085778 w 3472144"/>
              <a:gd name="connsiteY134" fmla="*/ 327123 h 1875164"/>
              <a:gd name="connsiteX135" fmla="*/ 3121839 w 3472144"/>
              <a:gd name="connsiteY135" fmla="*/ 352881 h 1875164"/>
              <a:gd name="connsiteX136" fmla="*/ 3170779 w 3472144"/>
              <a:gd name="connsiteY136" fmla="*/ 345154 h 1875164"/>
              <a:gd name="connsiteX137" fmla="*/ 3222294 w 3472144"/>
              <a:gd name="connsiteY137" fmla="*/ 363184 h 1875164"/>
              <a:gd name="connsiteX138" fmla="*/ 3302143 w 3472144"/>
              <a:gd name="connsiteY138" fmla="*/ 401821 h 1875164"/>
              <a:gd name="connsiteX139" fmla="*/ 3425780 w 3472144"/>
              <a:gd name="connsiteY139" fmla="*/ 412124 h 1875164"/>
              <a:gd name="connsiteX140" fmla="*/ 3472144 w 3472144"/>
              <a:gd name="connsiteY140" fmla="*/ 401821 h 1875164"/>
              <a:gd name="connsiteX141" fmla="*/ 3454114 w 3472144"/>
              <a:gd name="connsiteY141" fmla="*/ 376063 h 1875164"/>
              <a:gd name="connsiteX142" fmla="*/ 3451538 w 3472144"/>
              <a:gd name="connsiteY142" fmla="*/ 345154 h 1875164"/>
              <a:gd name="connsiteX0" fmla="*/ 0 w 3428356"/>
              <a:gd name="connsiteY0" fmla="*/ 0 h 1875164"/>
              <a:gd name="connsiteX1" fmla="*/ 38637 w 3428356"/>
              <a:gd name="connsiteY1" fmla="*/ 48940 h 1875164"/>
              <a:gd name="connsiteX2" fmla="*/ 79849 w 3428356"/>
              <a:gd name="connsiteY2" fmla="*/ 36061 h 1875164"/>
              <a:gd name="connsiteX3" fmla="*/ 126213 w 3428356"/>
              <a:gd name="connsiteY3" fmla="*/ 54091 h 1875164"/>
              <a:gd name="connsiteX4" fmla="*/ 170001 w 3428356"/>
              <a:gd name="connsiteY4" fmla="*/ 43788 h 1875164"/>
              <a:gd name="connsiteX5" fmla="*/ 236971 w 3428356"/>
              <a:gd name="connsiteY5" fmla="*/ 59243 h 1875164"/>
              <a:gd name="connsiteX6" fmla="*/ 278184 w 3428356"/>
              <a:gd name="connsiteY6" fmla="*/ 48940 h 1875164"/>
              <a:gd name="connsiteX7" fmla="*/ 303942 w 3428356"/>
              <a:gd name="connsiteY7" fmla="*/ 77273 h 1875164"/>
              <a:gd name="connsiteX8" fmla="*/ 311669 w 3428356"/>
              <a:gd name="connsiteY8" fmla="*/ 146819 h 1875164"/>
              <a:gd name="connsiteX9" fmla="*/ 334851 w 3428356"/>
              <a:gd name="connsiteY9" fmla="*/ 200910 h 1875164"/>
              <a:gd name="connsiteX10" fmla="*/ 378639 w 3428356"/>
              <a:gd name="connsiteY10" fmla="*/ 203486 h 1875164"/>
              <a:gd name="connsiteX11" fmla="*/ 430155 w 3428356"/>
              <a:gd name="connsiteY11" fmla="*/ 234395 h 1875164"/>
              <a:gd name="connsiteX12" fmla="*/ 458488 w 3428356"/>
              <a:gd name="connsiteY12" fmla="*/ 288487 h 1875164"/>
              <a:gd name="connsiteX13" fmla="*/ 502276 w 3428356"/>
              <a:gd name="connsiteY13" fmla="*/ 309093 h 1875164"/>
              <a:gd name="connsiteX14" fmla="*/ 571822 w 3428356"/>
              <a:gd name="connsiteY14" fmla="*/ 376063 h 1875164"/>
              <a:gd name="connsiteX15" fmla="*/ 633641 w 3428356"/>
              <a:gd name="connsiteY15" fmla="*/ 414700 h 1875164"/>
              <a:gd name="connsiteX16" fmla="*/ 669702 w 3428356"/>
              <a:gd name="connsiteY16" fmla="*/ 388942 h 1875164"/>
              <a:gd name="connsiteX17" fmla="*/ 695459 w 3428356"/>
              <a:gd name="connsiteY17" fmla="*/ 401821 h 1875164"/>
              <a:gd name="connsiteX18" fmla="*/ 708338 w 3428356"/>
              <a:gd name="connsiteY18" fmla="*/ 414700 h 1875164"/>
              <a:gd name="connsiteX19" fmla="*/ 749551 w 3428356"/>
              <a:gd name="connsiteY19" fmla="*/ 386366 h 1875164"/>
              <a:gd name="connsiteX20" fmla="*/ 772733 w 3428356"/>
              <a:gd name="connsiteY20" fmla="*/ 363184 h 1875164"/>
              <a:gd name="connsiteX21" fmla="*/ 808793 w 3428356"/>
              <a:gd name="connsiteY21" fmla="*/ 363184 h 1875164"/>
              <a:gd name="connsiteX22" fmla="*/ 847430 w 3428356"/>
              <a:gd name="connsiteY22" fmla="*/ 399245 h 1875164"/>
              <a:gd name="connsiteX23" fmla="*/ 850006 w 3428356"/>
              <a:gd name="connsiteY23" fmla="*/ 473942 h 1875164"/>
              <a:gd name="connsiteX24" fmla="*/ 893794 w 3428356"/>
              <a:gd name="connsiteY24" fmla="*/ 504852 h 1875164"/>
              <a:gd name="connsiteX25" fmla="*/ 965916 w 3428356"/>
              <a:gd name="connsiteY25" fmla="*/ 548640 h 1875164"/>
              <a:gd name="connsiteX26" fmla="*/ 1012280 w 3428356"/>
              <a:gd name="connsiteY26" fmla="*/ 561519 h 1875164"/>
              <a:gd name="connsiteX27" fmla="*/ 1040613 w 3428356"/>
              <a:gd name="connsiteY27" fmla="*/ 551216 h 1875164"/>
              <a:gd name="connsiteX28" fmla="*/ 1071522 w 3428356"/>
              <a:gd name="connsiteY28" fmla="*/ 569246 h 1875164"/>
              <a:gd name="connsiteX29" fmla="*/ 1112735 w 3428356"/>
              <a:gd name="connsiteY29" fmla="*/ 548640 h 1875164"/>
              <a:gd name="connsiteX30" fmla="*/ 1128190 w 3428356"/>
              <a:gd name="connsiteY30" fmla="*/ 525458 h 1875164"/>
              <a:gd name="connsiteX31" fmla="*/ 1159099 w 3428356"/>
              <a:gd name="connsiteY31" fmla="*/ 548640 h 1875164"/>
              <a:gd name="connsiteX32" fmla="*/ 1192584 w 3428356"/>
              <a:gd name="connsiteY32" fmla="*/ 528034 h 1875164"/>
              <a:gd name="connsiteX33" fmla="*/ 1202887 w 3428356"/>
              <a:gd name="connsiteY33" fmla="*/ 499700 h 1875164"/>
              <a:gd name="connsiteX34" fmla="*/ 1251827 w 3428356"/>
              <a:gd name="connsiteY34" fmla="*/ 520306 h 1875164"/>
              <a:gd name="connsiteX35" fmla="*/ 1305918 w 3428356"/>
              <a:gd name="connsiteY35" fmla="*/ 576973 h 1875164"/>
              <a:gd name="connsiteX36" fmla="*/ 1360009 w 3428356"/>
              <a:gd name="connsiteY36" fmla="*/ 582125 h 1875164"/>
              <a:gd name="connsiteX37" fmla="*/ 1380615 w 3428356"/>
              <a:gd name="connsiteY37" fmla="*/ 566670 h 1875164"/>
              <a:gd name="connsiteX38" fmla="*/ 1426979 w 3428356"/>
              <a:gd name="connsiteY38" fmla="*/ 569246 h 1875164"/>
              <a:gd name="connsiteX39" fmla="*/ 1463040 w 3428356"/>
              <a:gd name="connsiteY39" fmla="*/ 602731 h 1875164"/>
              <a:gd name="connsiteX40" fmla="*/ 1478495 w 3428356"/>
              <a:gd name="connsiteY40" fmla="*/ 661974 h 1875164"/>
              <a:gd name="connsiteX41" fmla="*/ 1519707 w 3428356"/>
              <a:gd name="connsiteY41" fmla="*/ 731520 h 1875164"/>
              <a:gd name="connsiteX42" fmla="*/ 1517131 w 3428356"/>
              <a:gd name="connsiteY42" fmla="*/ 780460 h 1875164"/>
              <a:gd name="connsiteX43" fmla="*/ 1540313 w 3428356"/>
              <a:gd name="connsiteY43" fmla="*/ 824248 h 1875164"/>
              <a:gd name="connsiteX44" fmla="*/ 1589253 w 3428356"/>
              <a:gd name="connsiteY44" fmla="*/ 834551 h 1875164"/>
              <a:gd name="connsiteX45" fmla="*/ 1617587 w 3428356"/>
              <a:gd name="connsiteY45" fmla="*/ 862884 h 1875164"/>
              <a:gd name="connsiteX46" fmla="*/ 1694860 w 3428356"/>
              <a:gd name="connsiteY46" fmla="*/ 891218 h 1875164"/>
              <a:gd name="connsiteX47" fmla="*/ 1741224 w 3428356"/>
              <a:gd name="connsiteY47" fmla="*/ 870612 h 1875164"/>
              <a:gd name="connsiteX48" fmla="*/ 1777285 w 3428356"/>
              <a:gd name="connsiteY48" fmla="*/ 870612 h 1875164"/>
              <a:gd name="connsiteX49" fmla="*/ 1805618 w 3428356"/>
              <a:gd name="connsiteY49" fmla="*/ 924703 h 1875164"/>
              <a:gd name="connsiteX50" fmla="*/ 1826224 w 3428356"/>
              <a:gd name="connsiteY50" fmla="*/ 965915 h 1875164"/>
              <a:gd name="connsiteX51" fmla="*/ 1862285 w 3428356"/>
              <a:gd name="connsiteY51" fmla="*/ 989097 h 1875164"/>
              <a:gd name="connsiteX52" fmla="*/ 1903498 w 3428356"/>
              <a:gd name="connsiteY52" fmla="*/ 986521 h 1875164"/>
              <a:gd name="connsiteX53" fmla="*/ 1947286 w 3428356"/>
              <a:gd name="connsiteY53" fmla="*/ 1022582 h 1875164"/>
              <a:gd name="connsiteX54" fmla="*/ 2014256 w 3428356"/>
              <a:gd name="connsiteY54" fmla="*/ 1045764 h 1875164"/>
              <a:gd name="connsiteX55" fmla="*/ 2086378 w 3428356"/>
              <a:gd name="connsiteY55" fmla="*/ 1038037 h 1875164"/>
              <a:gd name="connsiteX56" fmla="*/ 2114711 w 3428356"/>
              <a:gd name="connsiteY56" fmla="*/ 1020007 h 1875164"/>
              <a:gd name="connsiteX57" fmla="*/ 2130166 w 3428356"/>
              <a:gd name="connsiteY57" fmla="*/ 1038037 h 1875164"/>
              <a:gd name="connsiteX58" fmla="*/ 2137893 w 3428356"/>
              <a:gd name="connsiteY58" fmla="*/ 1074098 h 1875164"/>
              <a:gd name="connsiteX59" fmla="*/ 2186833 w 3428356"/>
              <a:gd name="connsiteY59" fmla="*/ 1086977 h 1875164"/>
              <a:gd name="connsiteX60" fmla="*/ 2207439 w 3428356"/>
              <a:gd name="connsiteY60" fmla="*/ 1115310 h 1875164"/>
              <a:gd name="connsiteX61" fmla="*/ 2238348 w 3428356"/>
              <a:gd name="connsiteY61" fmla="*/ 1161674 h 1875164"/>
              <a:gd name="connsiteX62" fmla="*/ 2300167 w 3428356"/>
              <a:gd name="connsiteY62" fmla="*/ 1177129 h 1875164"/>
              <a:gd name="connsiteX63" fmla="*/ 2369713 w 3428356"/>
              <a:gd name="connsiteY63" fmla="*/ 1208038 h 1875164"/>
              <a:gd name="connsiteX64" fmla="*/ 2400622 w 3428356"/>
              <a:gd name="connsiteY64" fmla="*/ 1202887 h 1875164"/>
              <a:gd name="connsiteX65" fmla="*/ 2434107 w 3428356"/>
              <a:gd name="connsiteY65" fmla="*/ 1231220 h 1875164"/>
              <a:gd name="connsiteX66" fmla="*/ 2480471 w 3428356"/>
              <a:gd name="connsiteY66" fmla="*/ 1238947 h 1875164"/>
              <a:gd name="connsiteX67" fmla="*/ 2503653 w 3428356"/>
              <a:gd name="connsiteY67" fmla="*/ 1275008 h 1875164"/>
              <a:gd name="connsiteX68" fmla="*/ 2547441 w 3428356"/>
              <a:gd name="connsiteY68" fmla="*/ 1311069 h 1875164"/>
              <a:gd name="connsiteX69" fmla="*/ 2609260 w 3428356"/>
              <a:gd name="connsiteY69" fmla="*/ 1316221 h 1875164"/>
              <a:gd name="connsiteX70" fmla="*/ 2609260 w 3428356"/>
              <a:gd name="connsiteY70" fmla="*/ 1316221 h 1875164"/>
              <a:gd name="connsiteX71" fmla="*/ 2629866 w 3428356"/>
              <a:gd name="connsiteY71" fmla="*/ 1295614 h 1875164"/>
              <a:gd name="connsiteX72" fmla="*/ 2647897 w 3428356"/>
              <a:gd name="connsiteY72" fmla="*/ 1316221 h 1875164"/>
              <a:gd name="connsiteX73" fmla="*/ 2647897 w 3428356"/>
              <a:gd name="connsiteY73" fmla="*/ 1357433 h 1875164"/>
              <a:gd name="connsiteX74" fmla="*/ 2681382 w 3428356"/>
              <a:gd name="connsiteY74" fmla="*/ 1378039 h 1875164"/>
              <a:gd name="connsiteX75" fmla="*/ 2720018 w 3428356"/>
              <a:gd name="connsiteY75" fmla="*/ 1378039 h 1875164"/>
              <a:gd name="connsiteX76" fmla="*/ 2761231 w 3428356"/>
              <a:gd name="connsiteY76" fmla="*/ 1403797 h 1875164"/>
              <a:gd name="connsiteX77" fmla="*/ 2768958 w 3428356"/>
              <a:gd name="connsiteY77" fmla="*/ 1455312 h 1875164"/>
              <a:gd name="connsiteX78" fmla="*/ 2797291 w 3428356"/>
              <a:gd name="connsiteY78" fmla="*/ 1481070 h 1875164"/>
              <a:gd name="connsiteX79" fmla="*/ 2797291 w 3428356"/>
              <a:gd name="connsiteY79" fmla="*/ 1504252 h 1875164"/>
              <a:gd name="connsiteX80" fmla="*/ 2841080 w 3428356"/>
              <a:gd name="connsiteY80" fmla="*/ 1532586 h 1875164"/>
              <a:gd name="connsiteX81" fmla="*/ 2835928 w 3428356"/>
              <a:gd name="connsiteY81" fmla="*/ 1581525 h 1875164"/>
              <a:gd name="connsiteX82" fmla="*/ 2874565 w 3428356"/>
              <a:gd name="connsiteY82" fmla="*/ 1617586 h 1875164"/>
              <a:gd name="connsiteX83" fmla="*/ 2920929 w 3428356"/>
              <a:gd name="connsiteY83" fmla="*/ 1653647 h 1875164"/>
              <a:gd name="connsiteX84" fmla="*/ 2964717 w 3428356"/>
              <a:gd name="connsiteY84" fmla="*/ 1640768 h 1875164"/>
              <a:gd name="connsiteX85" fmla="*/ 3018808 w 3428356"/>
              <a:gd name="connsiteY85" fmla="*/ 1671678 h 1875164"/>
              <a:gd name="connsiteX86" fmla="*/ 3049717 w 3428356"/>
              <a:gd name="connsiteY86" fmla="*/ 1648496 h 1875164"/>
              <a:gd name="connsiteX87" fmla="*/ 3101233 w 3428356"/>
              <a:gd name="connsiteY87" fmla="*/ 1674253 h 1875164"/>
              <a:gd name="connsiteX88" fmla="*/ 3145021 w 3428356"/>
              <a:gd name="connsiteY88" fmla="*/ 1720617 h 1875164"/>
              <a:gd name="connsiteX89" fmla="*/ 3183658 w 3428356"/>
              <a:gd name="connsiteY89" fmla="*/ 1792739 h 1875164"/>
              <a:gd name="connsiteX90" fmla="*/ 3204264 w 3428356"/>
              <a:gd name="connsiteY90" fmla="*/ 1805618 h 1875164"/>
              <a:gd name="connsiteX91" fmla="*/ 3222294 w 3428356"/>
              <a:gd name="connsiteY91" fmla="*/ 1836527 h 1875164"/>
              <a:gd name="connsiteX92" fmla="*/ 3245476 w 3428356"/>
              <a:gd name="connsiteY92" fmla="*/ 1875164 h 1875164"/>
              <a:gd name="connsiteX93" fmla="*/ 3273810 w 3428356"/>
              <a:gd name="connsiteY93" fmla="*/ 1875164 h 1875164"/>
              <a:gd name="connsiteX94" fmla="*/ 3296992 w 3428356"/>
              <a:gd name="connsiteY94" fmla="*/ 1846830 h 1875164"/>
              <a:gd name="connsiteX95" fmla="*/ 3333053 w 3428356"/>
              <a:gd name="connsiteY95" fmla="*/ 1810769 h 1875164"/>
              <a:gd name="connsiteX96" fmla="*/ 3330477 w 3428356"/>
              <a:gd name="connsiteY96" fmla="*/ 1769557 h 1875164"/>
              <a:gd name="connsiteX97" fmla="*/ 3345931 w 3428356"/>
              <a:gd name="connsiteY97" fmla="*/ 1746375 h 1875164"/>
              <a:gd name="connsiteX98" fmla="*/ 3343356 w 3428356"/>
              <a:gd name="connsiteY98" fmla="*/ 1674253 h 1875164"/>
              <a:gd name="connsiteX99" fmla="*/ 3369113 w 3428356"/>
              <a:gd name="connsiteY99" fmla="*/ 1633041 h 1875164"/>
              <a:gd name="connsiteX100" fmla="*/ 3348507 w 3428356"/>
              <a:gd name="connsiteY100" fmla="*/ 1599556 h 1875164"/>
              <a:gd name="connsiteX101" fmla="*/ 3376841 w 3428356"/>
              <a:gd name="connsiteY101" fmla="*/ 1560919 h 1875164"/>
              <a:gd name="connsiteX102" fmla="*/ 3384568 w 3428356"/>
              <a:gd name="connsiteY102" fmla="*/ 1527434 h 1875164"/>
              <a:gd name="connsiteX103" fmla="*/ 3348507 w 3428356"/>
              <a:gd name="connsiteY103" fmla="*/ 1475919 h 1875164"/>
              <a:gd name="connsiteX104" fmla="*/ 3286689 w 3428356"/>
              <a:gd name="connsiteY104" fmla="*/ 1426979 h 1875164"/>
              <a:gd name="connsiteX105" fmla="*/ 3273810 w 3428356"/>
              <a:gd name="connsiteY105" fmla="*/ 1378039 h 1875164"/>
              <a:gd name="connsiteX106" fmla="*/ 3263507 w 3428356"/>
              <a:gd name="connsiteY106" fmla="*/ 1321372 h 1875164"/>
              <a:gd name="connsiteX107" fmla="*/ 3242900 w 3428356"/>
              <a:gd name="connsiteY107" fmla="*/ 1285311 h 1875164"/>
              <a:gd name="connsiteX108" fmla="*/ 3255779 w 3428356"/>
              <a:gd name="connsiteY108" fmla="*/ 1246675 h 1875164"/>
              <a:gd name="connsiteX109" fmla="*/ 3206840 w 3428356"/>
              <a:gd name="connsiteY109" fmla="*/ 1125613 h 1875164"/>
              <a:gd name="connsiteX110" fmla="*/ 3206840 w 3428356"/>
              <a:gd name="connsiteY110" fmla="*/ 1081825 h 1875164"/>
              <a:gd name="connsiteX111" fmla="*/ 3181082 w 3428356"/>
              <a:gd name="connsiteY111" fmla="*/ 1017431 h 1875164"/>
              <a:gd name="connsiteX112" fmla="*/ 3178506 w 3428356"/>
              <a:gd name="connsiteY112" fmla="*/ 981370 h 1875164"/>
              <a:gd name="connsiteX113" fmla="*/ 3157900 w 3428356"/>
              <a:gd name="connsiteY113" fmla="*/ 942733 h 1875164"/>
              <a:gd name="connsiteX114" fmla="*/ 3078051 w 3428356"/>
              <a:gd name="connsiteY114" fmla="*/ 896369 h 1875164"/>
              <a:gd name="connsiteX115" fmla="*/ 3075475 w 3428356"/>
              <a:gd name="connsiteY115" fmla="*/ 860309 h 1875164"/>
              <a:gd name="connsiteX116" fmla="*/ 3044566 w 3428356"/>
              <a:gd name="connsiteY116" fmla="*/ 837127 h 1875164"/>
              <a:gd name="connsiteX117" fmla="*/ 3021384 w 3428356"/>
              <a:gd name="connsiteY117" fmla="*/ 837127 h 1875164"/>
              <a:gd name="connsiteX118" fmla="*/ 2977596 w 3428356"/>
              <a:gd name="connsiteY118" fmla="*/ 839702 h 1875164"/>
              <a:gd name="connsiteX119" fmla="*/ 2908050 w 3428356"/>
              <a:gd name="connsiteY119" fmla="*/ 801066 h 1875164"/>
              <a:gd name="connsiteX120" fmla="*/ 2856534 w 3428356"/>
              <a:gd name="connsiteY120" fmla="*/ 736671 h 1875164"/>
              <a:gd name="connsiteX121" fmla="*/ 2812746 w 3428356"/>
              <a:gd name="connsiteY121" fmla="*/ 713489 h 1875164"/>
              <a:gd name="connsiteX122" fmla="*/ 2807595 w 3428356"/>
              <a:gd name="connsiteY122" fmla="*/ 677429 h 1875164"/>
              <a:gd name="connsiteX123" fmla="*/ 2784413 w 3428356"/>
              <a:gd name="connsiteY123" fmla="*/ 628489 h 1875164"/>
              <a:gd name="connsiteX124" fmla="*/ 2743200 w 3428356"/>
              <a:gd name="connsiteY124" fmla="*/ 597580 h 1875164"/>
              <a:gd name="connsiteX125" fmla="*/ 2748352 w 3428356"/>
              <a:gd name="connsiteY125" fmla="*/ 553791 h 1875164"/>
              <a:gd name="connsiteX126" fmla="*/ 2784413 w 3428356"/>
              <a:gd name="connsiteY126" fmla="*/ 497124 h 1875164"/>
              <a:gd name="connsiteX127" fmla="*/ 2789564 w 3428356"/>
              <a:gd name="connsiteY127" fmla="*/ 432730 h 1875164"/>
              <a:gd name="connsiteX128" fmla="*/ 2817898 w 3428356"/>
              <a:gd name="connsiteY128" fmla="*/ 396669 h 1875164"/>
              <a:gd name="connsiteX129" fmla="*/ 2864262 w 3428356"/>
              <a:gd name="connsiteY129" fmla="*/ 373487 h 1875164"/>
              <a:gd name="connsiteX130" fmla="*/ 2887444 w 3428356"/>
              <a:gd name="connsiteY130" fmla="*/ 329699 h 1875164"/>
              <a:gd name="connsiteX131" fmla="*/ 2936383 w 3428356"/>
              <a:gd name="connsiteY131" fmla="*/ 327123 h 1875164"/>
              <a:gd name="connsiteX132" fmla="*/ 2967293 w 3428356"/>
              <a:gd name="connsiteY132" fmla="*/ 342578 h 1875164"/>
              <a:gd name="connsiteX133" fmla="*/ 3041990 w 3428356"/>
              <a:gd name="connsiteY133" fmla="*/ 327123 h 1875164"/>
              <a:gd name="connsiteX134" fmla="*/ 3078051 w 3428356"/>
              <a:gd name="connsiteY134" fmla="*/ 352881 h 1875164"/>
              <a:gd name="connsiteX135" fmla="*/ 3126991 w 3428356"/>
              <a:gd name="connsiteY135" fmla="*/ 345154 h 1875164"/>
              <a:gd name="connsiteX136" fmla="*/ 3178506 w 3428356"/>
              <a:gd name="connsiteY136" fmla="*/ 363184 h 1875164"/>
              <a:gd name="connsiteX137" fmla="*/ 3258355 w 3428356"/>
              <a:gd name="connsiteY137" fmla="*/ 401821 h 1875164"/>
              <a:gd name="connsiteX138" fmla="*/ 3381992 w 3428356"/>
              <a:gd name="connsiteY138" fmla="*/ 412124 h 1875164"/>
              <a:gd name="connsiteX139" fmla="*/ 3428356 w 3428356"/>
              <a:gd name="connsiteY139" fmla="*/ 401821 h 1875164"/>
              <a:gd name="connsiteX140" fmla="*/ 3410326 w 3428356"/>
              <a:gd name="connsiteY140" fmla="*/ 376063 h 1875164"/>
              <a:gd name="connsiteX141" fmla="*/ 3407750 w 3428356"/>
              <a:gd name="connsiteY141" fmla="*/ 345154 h 1875164"/>
              <a:gd name="connsiteX0" fmla="*/ 0 w 3389719"/>
              <a:gd name="connsiteY0" fmla="*/ 12879 h 1839103"/>
              <a:gd name="connsiteX1" fmla="*/ 41212 w 3389719"/>
              <a:gd name="connsiteY1" fmla="*/ 0 h 1839103"/>
              <a:gd name="connsiteX2" fmla="*/ 87576 w 3389719"/>
              <a:gd name="connsiteY2" fmla="*/ 18030 h 1839103"/>
              <a:gd name="connsiteX3" fmla="*/ 131364 w 3389719"/>
              <a:gd name="connsiteY3" fmla="*/ 7727 h 1839103"/>
              <a:gd name="connsiteX4" fmla="*/ 198334 w 3389719"/>
              <a:gd name="connsiteY4" fmla="*/ 23182 h 1839103"/>
              <a:gd name="connsiteX5" fmla="*/ 239547 w 3389719"/>
              <a:gd name="connsiteY5" fmla="*/ 12879 h 1839103"/>
              <a:gd name="connsiteX6" fmla="*/ 265305 w 3389719"/>
              <a:gd name="connsiteY6" fmla="*/ 41212 h 1839103"/>
              <a:gd name="connsiteX7" fmla="*/ 273032 w 3389719"/>
              <a:gd name="connsiteY7" fmla="*/ 110758 h 1839103"/>
              <a:gd name="connsiteX8" fmla="*/ 296214 w 3389719"/>
              <a:gd name="connsiteY8" fmla="*/ 164849 h 1839103"/>
              <a:gd name="connsiteX9" fmla="*/ 340002 w 3389719"/>
              <a:gd name="connsiteY9" fmla="*/ 167425 h 1839103"/>
              <a:gd name="connsiteX10" fmla="*/ 391518 w 3389719"/>
              <a:gd name="connsiteY10" fmla="*/ 198334 h 1839103"/>
              <a:gd name="connsiteX11" fmla="*/ 419851 w 3389719"/>
              <a:gd name="connsiteY11" fmla="*/ 252426 h 1839103"/>
              <a:gd name="connsiteX12" fmla="*/ 463639 w 3389719"/>
              <a:gd name="connsiteY12" fmla="*/ 273032 h 1839103"/>
              <a:gd name="connsiteX13" fmla="*/ 533185 w 3389719"/>
              <a:gd name="connsiteY13" fmla="*/ 340002 h 1839103"/>
              <a:gd name="connsiteX14" fmla="*/ 595004 w 3389719"/>
              <a:gd name="connsiteY14" fmla="*/ 378639 h 1839103"/>
              <a:gd name="connsiteX15" fmla="*/ 631065 w 3389719"/>
              <a:gd name="connsiteY15" fmla="*/ 352881 h 1839103"/>
              <a:gd name="connsiteX16" fmla="*/ 656822 w 3389719"/>
              <a:gd name="connsiteY16" fmla="*/ 365760 h 1839103"/>
              <a:gd name="connsiteX17" fmla="*/ 669701 w 3389719"/>
              <a:gd name="connsiteY17" fmla="*/ 378639 h 1839103"/>
              <a:gd name="connsiteX18" fmla="*/ 710914 w 3389719"/>
              <a:gd name="connsiteY18" fmla="*/ 350305 h 1839103"/>
              <a:gd name="connsiteX19" fmla="*/ 734096 w 3389719"/>
              <a:gd name="connsiteY19" fmla="*/ 327123 h 1839103"/>
              <a:gd name="connsiteX20" fmla="*/ 770156 w 3389719"/>
              <a:gd name="connsiteY20" fmla="*/ 327123 h 1839103"/>
              <a:gd name="connsiteX21" fmla="*/ 808793 w 3389719"/>
              <a:gd name="connsiteY21" fmla="*/ 363184 h 1839103"/>
              <a:gd name="connsiteX22" fmla="*/ 811369 w 3389719"/>
              <a:gd name="connsiteY22" fmla="*/ 437881 h 1839103"/>
              <a:gd name="connsiteX23" fmla="*/ 855157 w 3389719"/>
              <a:gd name="connsiteY23" fmla="*/ 468791 h 1839103"/>
              <a:gd name="connsiteX24" fmla="*/ 927279 w 3389719"/>
              <a:gd name="connsiteY24" fmla="*/ 512579 h 1839103"/>
              <a:gd name="connsiteX25" fmla="*/ 973643 w 3389719"/>
              <a:gd name="connsiteY25" fmla="*/ 525458 h 1839103"/>
              <a:gd name="connsiteX26" fmla="*/ 1001976 w 3389719"/>
              <a:gd name="connsiteY26" fmla="*/ 515155 h 1839103"/>
              <a:gd name="connsiteX27" fmla="*/ 1032885 w 3389719"/>
              <a:gd name="connsiteY27" fmla="*/ 533185 h 1839103"/>
              <a:gd name="connsiteX28" fmla="*/ 1074098 w 3389719"/>
              <a:gd name="connsiteY28" fmla="*/ 512579 h 1839103"/>
              <a:gd name="connsiteX29" fmla="*/ 1089553 w 3389719"/>
              <a:gd name="connsiteY29" fmla="*/ 489397 h 1839103"/>
              <a:gd name="connsiteX30" fmla="*/ 1120462 w 3389719"/>
              <a:gd name="connsiteY30" fmla="*/ 512579 h 1839103"/>
              <a:gd name="connsiteX31" fmla="*/ 1153947 w 3389719"/>
              <a:gd name="connsiteY31" fmla="*/ 491973 h 1839103"/>
              <a:gd name="connsiteX32" fmla="*/ 1164250 w 3389719"/>
              <a:gd name="connsiteY32" fmla="*/ 463639 h 1839103"/>
              <a:gd name="connsiteX33" fmla="*/ 1213190 w 3389719"/>
              <a:gd name="connsiteY33" fmla="*/ 484245 h 1839103"/>
              <a:gd name="connsiteX34" fmla="*/ 1267281 w 3389719"/>
              <a:gd name="connsiteY34" fmla="*/ 540912 h 1839103"/>
              <a:gd name="connsiteX35" fmla="*/ 1321372 w 3389719"/>
              <a:gd name="connsiteY35" fmla="*/ 546064 h 1839103"/>
              <a:gd name="connsiteX36" fmla="*/ 1341978 w 3389719"/>
              <a:gd name="connsiteY36" fmla="*/ 530609 h 1839103"/>
              <a:gd name="connsiteX37" fmla="*/ 1388342 w 3389719"/>
              <a:gd name="connsiteY37" fmla="*/ 533185 h 1839103"/>
              <a:gd name="connsiteX38" fmla="*/ 1424403 w 3389719"/>
              <a:gd name="connsiteY38" fmla="*/ 566670 h 1839103"/>
              <a:gd name="connsiteX39" fmla="*/ 1439858 w 3389719"/>
              <a:gd name="connsiteY39" fmla="*/ 625913 h 1839103"/>
              <a:gd name="connsiteX40" fmla="*/ 1481070 w 3389719"/>
              <a:gd name="connsiteY40" fmla="*/ 695459 h 1839103"/>
              <a:gd name="connsiteX41" fmla="*/ 1478494 w 3389719"/>
              <a:gd name="connsiteY41" fmla="*/ 744399 h 1839103"/>
              <a:gd name="connsiteX42" fmla="*/ 1501676 w 3389719"/>
              <a:gd name="connsiteY42" fmla="*/ 788187 h 1839103"/>
              <a:gd name="connsiteX43" fmla="*/ 1550616 w 3389719"/>
              <a:gd name="connsiteY43" fmla="*/ 798490 h 1839103"/>
              <a:gd name="connsiteX44" fmla="*/ 1578950 w 3389719"/>
              <a:gd name="connsiteY44" fmla="*/ 826823 h 1839103"/>
              <a:gd name="connsiteX45" fmla="*/ 1656223 w 3389719"/>
              <a:gd name="connsiteY45" fmla="*/ 855157 h 1839103"/>
              <a:gd name="connsiteX46" fmla="*/ 1702587 w 3389719"/>
              <a:gd name="connsiteY46" fmla="*/ 834551 h 1839103"/>
              <a:gd name="connsiteX47" fmla="*/ 1738648 w 3389719"/>
              <a:gd name="connsiteY47" fmla="*/ 834551 h 1839103"/>
              <a:gd name="connsiteX48" fmla="*/ 1766981 w 3389719"/>
              <a:gd name="connsiteY48" fmla="*/ 888642 h 1839103"/>
              <a:gd name="connsiteX49" fmla="*/ 1787587 w 3389719"/>
              <a:gd name="connsiteY49" fmla="*/ 929854 h 1839103"/>
              <a:gd name="connsiteX50" fmla="*/ 1823648 w 3389719"/>
              <a:gd name="connsiteY50" fmla="*/ 953036 h 1839103"/>
              <a:gd name="connsiteX51" fmla="*/ 1864861 w 3389719"/>
              <a:gd name="connsiteY51" fmla="*/ 950460 h 1839103"/>
              <a:gd name="connsiteX52" fmla="*/ 1908649 w 3389719"/>
              <a:gd name="connsiteY52" fmla="*/ 986521 h 1839103"/>
              <a:gd name="connsiteX53" fmla="*/ 1975619 w 3389719"/>
              <a:gd name="connsiteY53" fmla="*/ 1009703 h 1839103"/>
              <a:gd name="connsiteX54" fmla="*/ 2047741 w 3389719"/>
              <a:gd name="connsiteY54" fmla="*/ 1001976 h 1839103"/>
              <a:gd name="connsiteX55" fmla="*/ 2076074 w 3389719"/>
              <a:gd name="connsiteY55" fmla="*/ 983946 h 1839103"/>
              <a:gd name="connsiteX56" fmla="*/ 2091529 w 3389719"/>
              <a:gd name="connsiteY56" fmla="*/ 1001976 h 1839103"/>
              <a:gd name="connsiteX57" fmla="*/ 2099256 w 3389719"/>
              <a:gd name="connsiteY57" fmla="*/ 1038037 h 1839103"/>
              <a:gd name="connsiteX58" fmla="*/ 2148196 w 3389719"/>
              <a:gd name="connsiteY58" fmla="*/ 1050916 h 1839103"/>
              <a:gd name="connsiteX59" fmla="*/ 2168802 w 3389719"/>
              <a:gd name="connsiteY59" fmla="*/ 1079249 h 1839103"/>
              <a:gd name="connsiteX60" fmla="*/ 2199711 w 3389719"/>
              <a:gd name="connsiteY60" fmla="*/ 1125613 h 1839103"/>
              <a:gd name="connsiteX61" fmla="*/ 2261530 w 3389719"/>
              <a:gd name="connsiteY61" fmla="*/ 1141068 h 1839103"/>
              <a:gd name="connsiteX62" fmla="*/ 2331076 w 3389719"/>
              <a:gd name="connsiteY62" fmla="*/ 1171977 h 1839103"/>
              <a:gd name="connsiteX63" fmla="*/ 2361985 w 3389719"/>
              <a:gd name="connsiteY63" fmla="*/ 1166826 h 1839103"/>
              <a:gd name="connsiteX64" fmla="*/ 2395470 w 3389719"/>
              <a:gd name="connsiteY64" fmla="*/ 1195159 h 1839103"/>
              <a:gd name="connsiteX65" fmla="*/ 2441834 w 3389719"/>
              <a:gd name="connsiteY65" fmla="*/ 1202886 h 1839103"/>
              <a:gd name="connsiteX66" fmla="*/ 2465016 w 3389719"/>
              <a:gd name="connsiteY66" fmla="*/ 1238947 h 1839103"/>
              <a:gd name="connsiteX67" fmla="*/ 2508804 w 3389719"/>
              <a:gd name="connsiteY67" fmla="*/ 1275008 h 1839103"/>
              <a:gd name="connsiteX68" fmla="*/ 2570623 w 3389719"/>
              <a:gd name="connsiteY68" fmla="*/ 1280160 h 1839103"/>
              <a:gd name="connsiteX69" fmla="*/ 2570623 w 3389719"/>
              <a:gd name="connsiteY69" fmla="*/ 1280160 h 1839103"/>
              <a:gd name="connsiteX70" fmla="*/ 2591229 w 3389719"/>
              <a:gd name="connsiteY70" fmla="*/ 1259553 h 1839103"/>
              <a:gd name="connsiteX71" fmla="*/ 2609260 w 3389719"/>
              <a:gd name="connsiteY71" fmla="*/ 1280160 h 1839103"/>
              <a:gd name="connsiteX72" fmla="*/ 2609260 w 3389719"/>
              <a:gd name="connsiteY72" fmla="*/ 1321372 h 1839103"/>
              <a:gd name="connsiteX73" fmla="*/ 2642745 w 3389719"/>
              <a:gd name="connsiteY73" fmla="*/ 1341978 h 1839103"/>
              <a:gd name="connsiteX74" fmla="*/ 2681381 w 3389719"/>
              <a:gd name="connsiteY74" fmla="*/ 1341978 h 1839103"/>
              <a:gd name="connsiteX75" fmla="*/ 2722594 w 3389719"/>
              <a:gd name="connsiteY75" fmla="*/ 1367736 h 1839103"/>
              <a:gd name="connsiteX76" fmla="*/ 2730321 w 3389719"/>
              <a:gd name="connsiteY76" fmla="*/ 1419251 h 1839103"/>
              <a:gd name="connsiteX77" fmla="*/ 2758654 w 3389719"/>
              <a:gd name="connsiteY77" fmla="*/ 1445009 h 1839103"/>
              <a:gd name="connsiteX78" fmla="*/ 2758654 w 3389719"/>
              <a:gd name="connsiteY78" fmla="*/ 1468191 h 1839103"/>
              <a:gd name="connsiteX79" fmla="*/ 2802443 w 3389719"/>
              <a:gd name="connsiteY79" fmla="*/ 1496525 h 1839103"/>
              <a:gd name="connsiteX80" fmla="*/ 2797291 w 3389719"/>
              <a:gd name="connsiteY80" fmla="*/ 1545464 h 1839103"/>
              <a:gd name="connsiteX81" fmla="*/ 2835928 w 3389719"/>
              <a:gd name="connsiteY81" fmla="*/ 1581525 h 1839103"/>
              <a:gd name="connsiteX82" fmla="*/ 2882292 w 3389719"/>
              <a:gd name="connsiteY82" fmla="*/ 1617586 h 1839103"/>
              <a:gd name="connsiteX83" fmla="*/ 2926080 w 3389719"/>
              <a:gd name="connsiteY83" fmla="*/ 1604707 h 1839103"/>
              <a:gd name="connsiteX84" fmla="*/ 2980171 w 3389719"/>
              <a:gd name="connsiteY84" fmla="*/ 1635617 h 1839103"/>
              <a:gd name="connsiteX85" fmla="*/ 3011080 w 3389719"/>
              <a:gd name="connsiteY85" fmla="*/ 1612435 h 1839103"/>
              <a:gd name="connsiteX86" fmla="*/ 3062596 w 3389719"/>
              <a:gd name="connsiteY86" fmla="*/ 1638192 h 1839103"/>
              <a:gd name="connsiteX87" fmla="*/ 3106384 w 3389719"/>
              <a:gd name="connsiteY87" fmla="*/ 1684556 h 1839103"/>
              <a:gd name="connsiteX88" fmla="*/ 3145021 w 3389719"/>
              <a:gd name="connsiteY88" fmla="*/ 1756678 h 1839103"/>
              <a:gd name="connsiteX89" fmla="*/ 3165627 w 3389719"/>
              <a:gd name="connsiteY89" fmla="*/ 1769557 h 1839103"/>
              <a:gd name="connsiteX90" fmla="*/ 3183657 w 3389719"/>
              <a:gd name="connsiteY90" fmla="*/ 1800466 h 1839103"/>
              <a:gd name="connsiteX91" fmla="*/ 3206839 w 3389719"/>
              <a:gd name="connsiteY91" fmla="*/ 1839103 h 1839103"/>
              <a:gd name="connsiteX92" fmla="*/ 3235173 w 3389719"/>
              <a:gd name="connsiteY92" fmla="*/ 1839103 h 1839103"/>
              <a:gd name="connsiteX93" fmla="*/ 3258355 w 3389719"/>
              <a:gd name="connsiteY93" fmla="*/ 1810769 h 1839103"/>
              <a:gd name="connsiteX94" fmla="*/ 3294416 w 3389719"/>
              <a:gd name="connsiteY94" fmla="*/ 1774708 h 1839103"/>
              <a:gd name="connsiteX95" fmla="*/ 3291840 w 3389719"/>
              <a:gd name="connsiteY95" fmla="*/ 1733496 h 1839103"/>
              <a:gd name="connsiteX96" fmla="*/ 3307294 w 3389719"/>
              <a:gd name="connsiteY96" fmla="*/ 1710314 h 1839103"/>
              <a:gd name="connsiteX97" fmla="*/ 3304719 w 3389719"/>
              <a:gd name="connsiteY97" fmla="*/ 1638192 h 1839103"/>
              <a:gd name="connsiteX98" fmla="*/ 3330476 w 3389719"/>
              <a:gd name="connsiteY98" fmla="*/ 1596980 h 1839103"/>
              <a:gd name="connsiteX99" fmla="*/ 3309870 w 3389719"/>
              <a:gd name="connsiteY99" fmla="*/ 1563495 h 1839103"/>
              <a:gd name="connsiteX100" fmla="*/ 3338204 w 3389719"/>
              <a:gd name="connsiteY100" fmla="*/ 1524858 h 1839103"/>
              <a:gd name="connsiteX101" fmla="*/ 3345931 w 3389719"/>
              <a:gd name="connsiteY101" fmla="*/ 1491373 h 1839103"/>
              <a:gd name="connsiteX102" fmla="*/ 3309870 w 3389719"/>
              <a:gd name="connsiteY102" fmla="*/ 1439858 h 1839103"/>
              <a:gd name="connsiteX103" fmla="*/ 3248052 w 3389719"/>
              <a:gd name="connsiteY103" fmla="*/ 1390918 h 1839103"/>
              <a:gd name="connsiteX104" fmla="*/ 3235173 w 3389719"/>
              <a:gd name="connsiteY104" fmla="*/ 1341978 h 1839103"/>
              <a:gd name="connsiteX105" fmla="*/ 3224870 w 3389719"/>
              <a:gd name="connsiteY105" fmla="*/ 1285311 h 1839103"/>
              <a:gd name="connsiteX106" fmla="*/ 3204263 w 3389719"/>
              <a:gd name="connsiteY106" fmla="*/ 1249250 h 1839103"/>
              <a:gd name="connsiteX107" fmla="*/ 3217142 w 3389719"/>
              <a:gd name="connsiteY107" fmla="*/ 1210614 h 1839103"/>
              <a:gd name="connsiteX108" fmla="*/ 3168203 w 3389719"/>
              <a:gd name="connsiteY108" fmla="*/ 1089552 h 1839103"/>
              <a:gd name="connsiteX109" fmla="*/ 3168203 w 3389719"/>
              <a:gd name="connsiteY109" fmla="*/ 1045764 h 1839103"/>
              <a:gd name="connsiteX110" fmla="*/ 3142445 w 3389719"/>
              <a:gd name="connsiteY110" fmla="*/ 981370 h 1839103"/>
              <a:gd name="connsiteX111" fmla="*/ 3139869 w 3389719"/>
              <a:gd name="connsiteY111" fmla="*/ 945309 h 1839103"/>
              <a:gd name="connsiteX112" fmla="*/ 3119263 w 3389719"/>
              <a:gd name="connsiteY112" fmla="*/ 906672 h 1839103"/>
              <a:gd name="connsiteX113" fmla="*/ 3039414 w 3389719"/>
              <a:gd name="connsiteY113" fmla="*/ 860308 h 1839103"/>
              <a:gd name="connsiteX114" fmla="*/ 3036838 w 3389719"/>
              <a:gd name="connsiteY114" fmla="*/ 824248 h 1839103"/>
              <a:gd name="connsiteX115" fmla="*/ 3005929 w 3389719"/>
              <a:gd name="connsiteY115" fmla="*/ 801066 h 1839103"/>
              <a:gd name="connsiteX116" fmla="*/ 2982747 w 3389719"/>
              <a:gd name="connsiteY116" fmla="*/ 801066 h 1839103"/>
              <a:gd name="connsiteX117" fmla="*/ 2938959 w 3389719"/>
              <a:gd name="connsiteY117" fmla="*/ 803641 h 1839103"/>
              <a:gd name="connsiteX118" fmla="*/ 2869413 w 3389719"/>
              <a:gd name="connsiteY118" fmla="*/ 765005 h 1839103"/>
              <a:gd name="connsiteX119" fmla="*/ 2817897 w 3389719"/>
              <a:gd name="connsiteY119" fmla="*/ 700610 h 1839103"/>
              <a:gd name="connsiteX120" fmla="*/ 2774109 w 3389719"/>
              <a:gd name="connsiteY120" fmla="*/ 677428 h 1839103"/>
              <a:gd name="connsiteX121" fmla="*/ 2768958 w 3389719"/>
              <a:gd name="connsiteY121" fmla="*/ 641368 h 1839103"/>
              <a:gd name="connsiteX122" fmla="*/ 2745776 w 3389719"/>
              <a:gd name="connsiteY122" fmla="*/ 592428 h 1839103"/>
              <a:gd name="connsiteX123" fmla="*/ 2704563 w 3389719"/>
              <a:gd name="connsiteY123" fmla="*/ 561519 h 1839103"/>
              <a:gd name="connsiteX124" fmla="*/ 2709715 w 3389719"/>
              <a:gd name="connsiteY124" fmla="*/ 517730 h 1839103"/>
              <a:gd name="connsiteX125" fmla="*/ 2745776 w 3389719"/>
              <a:gd name="connsiteY125" fmla="*/ 461063 h 1839103"/>
              <a:gd name="connsiteX126" fmla="*/ 2750927 w 3389719"/>
              <a:gd name="connsiteY126" fmla="*/ 396669 h 1839103"/>
              <a:gd name="connsiteX127" fmla="*/ 2779261 w 3389719"/>
              <a:gd name="connsiteY127" fmla="*/ 360608 h 1839103"/>
              <a:gd name="connsiteX128" fmla="*/ 2825625 w 3389719"/>
              <a:gd name="connsiteY128" fmla="*/ 337426 h 1839103"/>
              <a:gd name="connsiteX129" fmla="*/ 2848807 w 3389719"/>
              <a:gd name="connsiteY129" fmla="*/ 293638 h 1839103"/>
              <a:gd name="connsiteX130" fmla="*/ 2897746 w 3389719"/>
              <a:gd name="connsiteY130" fmla="*/ 291062 h 1839103"/>
              <a:gd name="connsiteX131" fmla="*/ 2928656 w 3389719"/>
              <a:gd name="connsiteY131" fmla="*/ 306517 h 1839103"/>
              <a:gd name="connsiteX132" fmla="*/ 3003353 w 3389719"/>
              <a:gd name="connsiteY132" fmla="*/ 291062 h 1839103"/>
              <a:gd name="connsiteX133" fmla="*/ 3039414 w 3389719"/>
              <a:gd name="connsiteY133" fmla="*/ 316820 h 1839103"/>
              <a:gd name="connsiteX134" fmla="*/ 3088354 w 3389719"/>
              <a:gd name="connsiteY134" fmla="*/ 309093 h 1839103"/>
              <a:gd name="connsiteX135" fmla="*/ 3139869 w 3389719"/>
              <a:gd name="connsiteY135" fmla="*/ 327123 h 1839103"/>
              <a:gd name="connsiteX136" fmla="*/ 3219718 w 3389719"/>
              <a:gd name="connsiteY136" fmla="*/ 365760 h 1839103"/>
              <a:gd name="connsiteX137" fmla="*/ 3343355 w 3389719"/>
              <a:gd name="connsiteY137" fmla="*/ 376063 h 1839103"/>
              <a:gd name="connsiteX138" fmla="*/ 3389719 w 3389719"/>
              <a:gd name="connsiteY138" fmla="*/ 365760 h 1839103"/>
              <a:gd name="connsiteX139" fmla="*/ 3371689 w 3389719"/>
              <a:gd name="connsiteY139" fmla="*/ 340002 h 1839103"/>
              <a:gd name="connsiteX140" fmla="*/ 3369113 w 3389719"/>
              <a:gd name="connsiteY140" fmla="*/ 309093 h 1839103"/>
              <a:gd name="connsiteX0" fmla="*/ 0 w 3348507"/>
              <a:gd name="connsiteY0" fmla="*/ 0 h 1839103"/>
              <a:gd name="connsiteX1" fmla="*/ 46364 w 3348507"/>
              <a:gd name="connsiteY1" fmla="*/ 18030 h 1839103"/>
              <a:gd name="connsiteX2" fmla="*/ 90152 w 3348507"/>
              <a:gd name="connsiteY2" fmla="*/ 7727 h 1839103"/>
              <a:gd name="connsiteX3" fmla="*/ 157122 w 3348507"/>
              <a:gd name="connsiteY3" fmla="*/ 23182 h 1839103"/>
              <a:gd name="connsiteX4" fmla="*/ 198335 w 3348507"/>
              <a:gd name="connsiteY4" fmla="*/ 12879 h 1839103"/>
              <a:gd name="connsiteX5" fmla="*/ 224093 w 3348507"/>
              <a:gd name="connsiteY5" fmla="*/ 41212 h 1839103"/>
              <a:gd name="connsiteX6" fmla="*/ 231820 w 3348507"/>
              <a:gd name="connsiteY6" fmla="*/ 110758 h 1839103"/>
              <a:gd name="connsiteX7" fmla="*/ 255002 w 3348507"/>
              <a:gd name="connsiteY7" fmla="*/ 164849 h 1839103"/>
              <a:gd name="connsiteX8" fmla="*/ 298790 w 3348507"/>
              <a:gd name="connsiteY8" fmla="*/ 167425 h 1839103"/>
              <a:gd name="connsiteX9" fmla="*/ 350306 w 3348507"/>
              <a:gd name="connsiteY9" fmla="*/ 198334 h 1839103"/>
              <a:gd name="connsiteX10" fmla="*/ 378639 w 3348507"/>
              <a:gd name="connsiteY10" fmla="*/ 252426 h 1839103"/>
              <a:gd name="connsiteX11" fmla="*/ 422427 w 3348507"/>
              <a:gd name="connsiteY11" fmla="*/ 273032 h 1839103"/>
              <a:gd name="connsiteX12" fmla="*/ 491973 w 3348507"/>
              <a:gd name="connsiteY12" fmla="*/ 340002 h 1839103"/>
              <a:gd name="connsiteX13" fmla="*/ 553792 w 3348507"/>
              <a:gd name="connsiteY13" fmla="*/ 378639 h 1839103"/>
              <a:gd name="connsiteX14" fmla="*/ 589853 w 3348507"/>
              <a:gd name="connsiteY14" fmla="*/ 352881 h 1839103"/>
              <a:gd name="connsiteX15" fmla="*/ 615610 w 3348507"/>
              <a:gd name="connsiteY15" fmla="*/ 365760 h 1839103"/>
              <a:gd name="connsiteX16" fmla="*/ 628489 w 3348507"/>
              <a:gd name="connsiteY16" fmla="*/ 378639 h 1839103"/>
              <a:gd name="connsiteX17" fmla="*/ 669702 w 3348507"/>
              <a:gd name="connsiteY17" fmla="*/ 350305 h 1839103"/>
              <a:gd name="connsiteX18" fmla="*/ 692884 w 3348507"/>
              <a:gd name="connsiteY18" fmla="*/ 327123 h 1839103"/>
              <a:gd name="connsiteX19" fmla="*/ 728944 w 3348507"/>
              <a:gd name="connsiteY19" fmla="*/ 327123 h 1839103"/>
              <a:gd name="connsiteX20" fmla="*/ 767581 w 3348507"/>
              <a:gd name="connsiteY20" fmla="*/ 363184 h 1839103"/>
              <a:gd name="connsiteX21" fmla="*/ 770157 w 3348507"/>
              <a:gd name="connsiteY21" fmla="*/ 437881 h 1839103"/>
              <a:gd name="connsiteX22" fmla="*/ 813945 w 3348507"/>
              <a:gd name="connsiteY22" fmla="*/ 468791 h 1839103"/>
              <a:gd name="connsiteX23" fmla="*/ 886067 w 3348507"/>
              <a:gd name="connsiteY23" fmla="*/ 512579 h 1839103"/>
              <a:gd name="connsiteX24" fmla="*/ 932431 w 3348507"/>
              <a:gd name="connsiteY24" fmla="*/ 525458 h 1839103"/>
              <a:gd name="connsiteX25" fmla="*/ 960764 w 3348507"/>
              <a:gd name="connsiteY25" fmla="*/ 515155 h 1839103"/>
              <a:gd name="connsiteX26" fmla="*/ 991673 w 3348507"/>
              <a:gd name="connsiteY26" fmla="*/ 533185 h 1839103"/>
              <a:gd name="connsiteX27" fmla="*/ 1032886 w 3348507"/>
              <a:gd name="connsiteY27" fmla="*/ 512579 h 1839103"/>
              <a:gd name="connsiteX28" fmla="*/ 1048341 w 3348507"/>
              <a:gd name="connsiteY28" fmla="*/ 489397 h 1839103"/>
              <a:gd name="connsiteX29" fmla="*/ 1079250 w 3348507"/>
              <a:gd name="connsiteY29" fmla="*/ 512579 h 1839103"/>
              <a:gd name="connsiteX30" fmla="*/ 1112735 w 3348507"/>
              <a:gd name="connsiteY30" fmla="*/ 491973 h 1839103"/>
              <a:gd name="connsiteX31" fmla="*/ 1123038 w 3348507"/>
              <a:gd name="connsiteY31" fmla="*/ 463639 h 1839103"/>
              <a:gd name="connsiteX32" fmla="*/ 1171978 w 3348507"/>
              <a:gd name="connsiteY32" fmla="*/ 484245 h 1839103"/>
              <a:gd name="connsiteX33" fmla="*/ 1226069 w 3348507"/>
              <a:gd name="connsiteY33" fmla="*/ 540912 h 1839103"/>
              <a:gd name="connsiteX34" fmla="*/ 1280160 w 3348507"/>
              <a:gd name="connsiteY34" fmla="*/ 546064 h 1839103"/>
              <a:gd name="connsiteX35" fmla="*/ 1300766 w 3348507"/>
              <a:gd name="connsiteY35" fmla="*/ 530609 h 1839103"/>
              <a:gd name="connsiteX36" fmla="*/ 1347130 w 3348507"/>
              <a:gd name="connsiteY36" fmla="*/ 533185 h 1839103"/>
              <a:gd name="connsiteX37" fmla="*/ 1383191 w 3348507"/>
              <a:gd name="connsiteY37" fmla="*/ 566670 h 1839103"/>
              <a:gd name="connsiteX38" fmla="*/ 1398646 w 3348507"/>
              <a:gd name="connsiteY38" fmla="*/ 625913 h 1839103"/>
              <a:gd name="connsiteX39" fmla="*/ 1439858 w 3348507"/>
              <a:gd name="connsiteY39" fmla="*/ 695459 h 1839103"/>
              <a:gd name="connsiteX40" fmla="*/ 1437282 w 3348507"/>
              <a:gd name="connsiteY40" fmla="*/ 744399 h 1839103"/>
              <a:gd name="connsiteX41" fmla="*/ 1460464 w 3348507"/>
              <a:gd name="connsiteY41" fmla="*/ 788187 h 1839103"/>
              <a:gd name="connsiteX42" fmla="*/ 1509404 w 3348507"/>
              <a:gd name="connsiteY42" fmla="*/ 798490 h 1839103"/>
              <a:gd name="connsiteX43" fmla="*/ 1537738 w 3348507"/>
              <a:gd name="connsiteY43" fmla="*/ 826823 h 1839103"/>
              <a:gd name="connsiteX44" fmla="*/ 1615011 w 3348507"/>
              <a:gd name="connsiteY44" fmla="*/ 855157 h 1839103"/>
              <a:gd name="connsiteX45" fmla="*/ 1661375 w 3348507"/>
              <a:gd name="connsiteY45" fmla="*/ 834551 h 1839103"/>
              <a:gd name="connsiteX46" fmla="*/ 1697436 w 3348507"/>
              <a:gd name="connsiteY46" fmla="*/ 834551 h 1839103"/>
              <a:gd name="connsiteX47" fmla="*/ 1725769 w 3348507"/>
              <a:gd name="connsiteY47" fmla="*/ 888642 h 1839103"/>
              <a:gd name="connsiteX48" fmla="*/ 1746375 w 3348507"/>
              <a:gd name="connsiteY48" fmla="*/ 929854 h 1839103"/>
              <a:gd name="connsiteX49" fmla="*/ 1782436 w 3348507"/>
              <a:gd name="connsiteY49" fmla="*/ 953036 h 1839103"/>
              <a:gd name="connsiteX50" fmla="*/ 1823649 w 3348507"/>
              <a:gd name="connsiteY50" fmla="*/ 950460 h 1839103"/>
              <a:gd name="connsiteX51" fmla="*/ 1867437 w 3348507"/>
              <a:gd name="connsiteY51" fmla="*/ 986521 h 1839103"/>
              <a:gd name="connsiteX52" fmla="*/ 1934407 w 3348507"/>
              <a:gd name="connsiteY52" fmla="*/ 1009703 h 1839103"/>
              <a:gd name="connsiteX53" fmla="*/ 2006529 w 3348507"/>
              <a:gd name="connsiteY53" fmla="*/ 1001976 h 1839103"/>
              <a:gd name="connsiteX54" fmla="*/ 2034862 w 3348507"/>
              <a:gd name="connsiteY54" fmla="*/ 983946 h 1839103"/>
              <a:gd name="connsiteX55" fmla="*/ 2050317 w 3348507"/>
              <a:gd name="connsiteY55" fmla="*/ 1001976 h 1839103"/>
              <a:gd name="connsiteX56" fmla="*/ 2058044 w 3348507"/>
              <a:gd name="connsiteY56" fmla="*/ 1038037 h 1839103"/>
              <a:gd name="connsiteX57" fmla="*/ 2106984 w 3348507"/>
              <a:gd name="connsiteY57" fmla="*/ 1050916 h 1839103"/>
              <a:gd name="connsiteX58" fmla="*/ 2127590 w 3348507"/>
              <a:gd name="connsiteY58" fmla="*/ 1079249 h 1839103"/>
              <a:gd name="connsiteX59" fmla="*/ 2158499 w 3348507"/>
              <a:gd name="connsiteY59" fmla="*/ 1125613 h 1839103"/>
              <a:gd name="connsiteX60" fmla="*/ 2220318 w 3348507"/>
              <a:gd name="connsiteY60" fmla="*/ 1141068 h 1839103"/>
              <a:gd name="connsiteX61" fmla="*/ 2289864 w 3348507"/>
              <a:gd name="connsiteY61" fmla="*/ 1171977 h 1839103"/>
              <a:gd name="connsiteX62" fmla="*/ 2320773 w 3348507"/>
              <a:gd name="connsiteY62" fmla="*/ 1166826 h 1839103"/>
              <a:gd name="connsiteX63" fmla="*/ 2354258 w 3348507"/>
              <a:gd name="connsiteY63" fmla="*/ 1195159 h 1839103"/>
              <a:gd name="connsiteX64" fmla="*/ 2400622 w 3348507"/>
              <a:gd name="connsiteY64" fmla="*/ 1202886 h 1839103"/>
              <a:gd name="connsiteX65" fmla="*/ 2423804 w 3348507"/>
              <a:gd name="connsiteY65" fmla="*/ 1238947 h 1839103"/>
              <a:gd name="connsiteX66" fmla="*/ 2467592 w 3348507"/>
              <a:gd name="connsiteY66" fmla="*/ 1275008 h 1839103"/>
              <a:gd name="connsiteX67" fmla="*/ 2529411 w 3348507"/>
              <a:gd name="connsiteY67" fmla="*/ 1280160 h 1839103"/>
              <a:gd name="connsiteX68" fmla="*/ 2529411 w 3348507"/>
              <a:gd name="connsiteY68" fmla="*/ 1280160 h 1839103"/>
              <a:gd name="connsiteX69" fmla="*/ 2550017 w 3348507"/>
              <a:gd name="connsiteY69" fmla="*/ 1259553 h 1839103"/>
              <a:gd name="connsiteX70" fmla="*/ 2568048 w 3348507"/>
              <a:gd name="connsiteY70" fmla="*/ 1280160 h 1839103"/>
              <a:gd name="connsiteX71" fmla="*/ 2568048 w 3348507"/>
              <a:gd name="connsiteY71" fmla="*/ 1321372 h 1839103"/>
              <a:gd name="connsiteX72" fmla="*/ 2601533 w 3348507"/>
              <a:gd name="connsiteY72" fmla="*/ 1341978 h 1839103"/>
              <a:gd name="connsiteX73" fmla="*/ 2640169 w 3348507"/>
              <a:gd name="connsiteY73" fmla="*/ 1341978 h 1839103"/>
              <a:gd name="connsiteX74" fmla="*/ 2681382 w 3348507"/>
              <a:gd name="connsiteY74" fmla="*/ 1367736 h 1839103"/>
              <a:gd name="connsiteX75" fmla="*/ 2689109 w 3348507"/>
              <a:gd name="connsiteY75" fmla="*/ 1419251 h 1839103"/>
              <a:gd name="connsiteX76" fmla="*/ 2717442 w 3348507"/>
              <a:gd name="connsiteY76" fmla="*/ 1445009 h 1839103"/>
              <a:gd name="connsiteX77" fmla="*/ 2717442 w 3348507"/>
              <a:gd name="connsiteY77" fmla="*/ 1468191 h 1839103"/>
              <a:gd name="connsiteX78" fmla="*/ 2761231 w 3348507"/>
              <a:gd name="connsiteY78" fmla="*/ 1496525 h 1839103"/>
              <a:gd name="connsiteX79" fmla="*/ 2756079 w 3348507"/>
              <a:gd name="connsiteY79" fmla="*/ 1545464 h 1839103"/>
              <a:gd name="connsiteX80" fmla="*/ 2794716 w 3348507"/>
              <a:gd name="connsiteY80" fmla="*/ 1581525 h 1839103"/>
              <a:gd name="connsiteX81" fmla="*/ 2841080 w 3348507"/>
              <a:gd name="connsiteY81" fmla="*/ 1617586 h 1839103"/>
              <a:gd name="connsiteX82" fmla="*/ 2884868 w 3348507"/>
              <a:gd name="connsiteY82" fmla="*/ 1604707 h 1839103"/>
              <a:gd name="connsiteX83" fmla="*/ 2938959 w 3348507"/>
              <a:gd name="connsiteY83" fmla="*/ 1635617 h 1839103"/>
              <a:gd name="connsiteX84" fmla="*/ 2969868 w 3348507"/>
              <a:gd name="connsiteY84" fmla="*/ 1612435 h 1839103"/>
              <a:gd name="connsiteX85" fmla="*/ 3021384 w 3348507"/>
              <a:gd name="connsiteY85" fmla="*/ 1638192 h 1839103"/>
              <a:gd name="connsiteX86" fmla="*/ 3065172 w 3348507"/>
              <a:gd name="connsiteY86" fmla="*/ 1684556 h 1839103"/>
              <a:gd name="connsiteX87" fmla="*/ 3103809 w 3348507"/>
              <a:gd name="connsiteY87" fmla="*/ 1756678 h 1839103"/>
              <a:gd name="connsiteX88" fmla="*/ 3124415 w 3348507"/>
              <a:gd name="connsiteY88" fmla="*/ 1769557 h 1839103"/>
              <a:gd name="connsiteX89" fmla="*/ 3142445 w 3348507"/>
              <a:gd name="connsiteY89" fmla="*/ 1800466 h 1839103"/>
              <a:gd name="connsiteX90" fmla="*/ 3165627 w 3348507"/>
              <a:gd name="connsiteY90" fmla="*/ 1839103 h 1839103"/>
              <a:gd name="connsiteX91" fmla="*/ 3193961 w 3348507"/>
              <a:gd name="connsiteY91" fmla="*/ 1839103 h 1839103"/>
              <a:gd name="connsiteX92" fmla="*/ 3217143 w 3348507"/>
              <a:gd name="connsiteY92" fmla="*/ 1810769 h 1839103"/>
              <a:gd name="connsiteX93" fmla="*/ 3253204 w 3348507"/>
              <a:gd name="connsiteY93" fmla="*/ 1774708 h 1839103"/>
              <a:gd name="connsiteX94" fmla="*/ 3250628 w 3348507"/>
              <a:gd name="connsiteY94" fmla="*/ 1733496 h 1839103"/>
              <a:gd name="connsiteX95" fmla="*/ 3266082 w 3348507"/>
              <a:gd name="connsiteY95" fmla="*/ 1710314 h 1839103"/>
              <a:gd name="connsiteX96" fmla="*/ 3263507 w 3348507"/>
              <a:gd name="connsiteY96" fmla="*/ 1638192 h 1839103"/>
              <a:gd name="connsiteX97" fmla="*/ 3289264 w 3348507"/>
              <a:gd name="connsiteY97" fmla="*/ 1596980 h 1839103"/>
              <a:gd name="connsiteX98" fmla="*/ 3268658 w 3348507"/>
              <a:gd name="connsiteY98" fmla="*/ 1563495 h 1839103"/>
              <a:gd name="connsiteX99" fmla="*/ 3296992 w 3348507"/>
              <a:gd name="connsiteY99" fmla="*/ 1524858 h 1839103"/>
              <a:gd name="connsiteX100" fmla="*/ 3304719 w 3348507"/>
              <a:gd name="connsiteY100" fmla="*/ 1491373 h 1839103"/>
              <a:gd name="connsiteX101" fmla="*/ 3268658 w 3348507"/>
              <a:gd name="connsiteY101" fmla="*/ 1439858 h 1839103"/>
              <a:gd name="connsiteX102" fmla="*/ 3206840 w 3348507"/>
              <a:gd name="connsiteY102" fmla="*/ 1390918 h 1839103"/>
              <a:gd name="connsiteX103" fmla="*/ 3193961 w 3348507"/>
              <a:gd name="connsiteY103" fmla="*/ 1341978 h 1839103"/>
              <a:gd name="connsiteX104" fmla="*/ 3183658 w 3348507"/>
              <a:gd name="connsiteY104" fmla="*/ 1285311 h 1839103"/>
              <a:gd name="connsiteX105" fmla="*/ 3163051 w 3348507"/>
              <a:gd name="connsiteY105" fmla="*/ 1249250 h 1839103"/>
              <a:gd name="connsiteX106" fmla="*/ 3175930 w 3348507"/>
              <a:gd name="connsiteY106" fmla="*/ 1210614 h 1839103"/>
              <a:gd name="connsiteX107" fmla="*/ 3126991 w 3348507"/>
              <a:gd name="connsiteY107" fmla="*/ 1089552 h 1839103"/>
              <a:gd name="connsiteX108" fmla="*/ 3126991 w 3348507"/>
              <a:gd name="connsiteY108" fmla="*/ 1045764 h 1839103"/>
              <a:gd name="connsiteX109" fmla="*/ 3101233 w 3348507"/>
              <a:gd name="connsiteY109" fmla="*/ 981370 h 1839103"/>
              <a:gd name="connsiteX110" fmla="*/ 3098657 w 3348507"/>
              <a:gd name="connsiteY110" fmla="*/ 945309 h 1839103"/>
              <a:gd name="connsiteX111" fmla="*/ 3078051 w 3348507"/>
              <a:gd name="connsiteY111" fmla="*/ 906672 h 1839103"/>
              <a:gd name="connsiteX112" fmla="*/ 2998202 w 3348507"/>
              <a:gd name="connsiteY112" fmla="*/ 860308 h 1839103"/>
              <a:gd name="connsiteX113" fmla="*/ 2995626 w 3348507"/>
              <a:gd name="connsiteY113" fmla="*/ 824248 h 1839103"/>
              <a:gd name="connsiteX114" fmla="*/ 2964717 w 3348507"/>
              <a:gd name="connsiteY114" fmla="*/ 801066 h 1839103"/>
              <a:gd name="connsiteX115" fmla="*/ 2941535 w 3348507"/>
              <a:gd name="connsiteY115" fmla="*/ 801066 h 1839103"/>
              <a:gd name="connsiteX116" fmla="*/ 2897747 w 3348507"/>
              <a:gd name="connsiteY116" fmla="*/ 803641 h 1839103"/>
              <a:gd name="connsiteX117" fmla="*/ 2828201 w 3348507"/>
              <a:gd name="connsiteY117" fmla="*/ 765005 h 1839103"/>
              <a:gd name="connsiteX118" fmla="*/ 2776685 w 3348507"/>
              <a:gd name="connsiteY118" fmla="*/ 700610 h 1839103"/>
              <a:gd name="connsiteX119" fmla="*/ 2732897 w 3348507"/>
              <a:gd name="connsiteY119" fmla="*/ 677428 h 1839103"/>
              <a:gd name="connsiteX120" fmla="*/ 2727746 w 3348507"/>
              <a:gd name="connsiteY120" fmla="*/ 641368 h 1839103"/>
              <a:gd name="connsiteX121" fmla="*/ 2704564 w 3348507"/>
              <a:gd name="connsiteY121" fmla="*/ 592428 h 1839103"/>
              <a:gd name="connsiteX122" fmla="*/ 2663351 w 3348507"/>
              <a:gd name="connsiteY122" fmla="*/ 561519 h 1839103"/>
              <a:gd name="connsiteX123" fmla="*/ 2668503 w 3348507"/>
              <a:gd name="connsiteY123" fmla="*/ 517730 h 1839103"/>
              <a:gd name="connsiteX124" fmla="*/ 2704564 w 3348507"/>
              <a:gd name="connsiteY124" fmla="*/ 461063 h 1839103"/>
              <a:gd name="connsiteX125" fmla="*/ 2709715 w 3348507"/>
              <a:gd name="connsiteY125" fmla="*/ 396669 h 1839103"/>
              <a:gd name="connsiteX126" fmla="*/ 2738049 w 3348507"/>
              <a:gd name="connsiteY126" fmla="*/ 360608 h 1839103"/>
              <a:gd name="connsiteX127" fmla="*/ 2784413 w 3348507"/>
              <a:gd name="connsiteY127" fmla="*/ 337426 h 1839103"/>
              <a:gd name="connsiteX128" fmla="*/ 2807595 w 3348507"/>
              <a:gd name="connsiteY128" fmla="*/ 293638 h 1839103"/>
              <a:gd name="connsiteX129" fmla="*/ 2856534 w 3348507"/>
              <a:gd name="connsiteY129" fmla="*/ 291062 h 1839103"/>
              <a:gd name="connsiteX130" fmla="*/ 2887444 w 3348507"/>
              <a:gd name="connsiteY130" fmla="*/ 306517 h 1839103"/>
              <a:gd name="connsiteX131" fmla="*/ 2962141 w 3348507"/>
              <a:gd name="connsiteY131" fmla="*/ 291062 h 1839103"/>
              <a:gd name="connsiteX132" fmla="*/ 2998202 w 3348507"/>
              <a:gd name="connsiteY132" fmla="*/ 316820 h 1839103"/>
              <a:gd name="connsiteX133" fmla="*/ 3047142 w 3348507"/>
              <a:gd name="connsiteY133" fmla="*/ 309093 h 1839103"/>
              <a:gd name="connsiteX134" fmla="*/ 3098657 w 3348507"/>
              <a:gd name="connsiteY134" fmla="*/ 327123 h 1839103"/>
              <a:gd name="connsiteX135" fmla="*/ 3178506 w 3348507"/>
              <a:gd name="connsiteY135" fmla="*/ 365760 h 1839103"/>
              <a:gd name="connsiteX136" fmla="*/ 3302143 w 3348507"/>
              <a:gd name="connsiteY136" fmla="*/ 376063 h 1839103"/>
              <a:gd name="connsiteX137" fmla="*/ 3348507 w 3348507"/>
              <a:gd name="connsiteY137" fmla="*/ 365760 h 1839103"/>
              <a:gd name="connsiteX138" fmla="*/ 3330477 w 3348507"/>
              <a:gd name="connsiteY138" fmla="*/ 340002 h 1839103"/>
              <a:gd name="connsiteX139" fmla="*/ 3327901 w 3348507"/>
              <a:gd name="connsiteY139" fmla="*/ 309093 h 1839103"/>
              <a:gd name="connsiteX0" fmla="*/ 0 w 3302143"/>
              <a:gd name="connsiteY0" fmla="*/ 10303 h 1831376"/>
              <a:gd name="connsiteX1" fmla="*/ 43788 w 3302143"/>
              <a:gd name="connsiteY1" fmla="*/ 0 h 1831376"/>
              <a:gd name="connsiteX2" fmla="*/ 110758 w 3302143"/>
              <a:gd name="connsiteY2" fmla="*/ 15455 h 1831376"/>
              <a:gd name="connsiteX3" fmla="*/ 151971 w 3302143"/>
              <a:gd name="connsiteY3" fmla="*/ 5152 h 1831376"/>
              <a:gd name="connsiteX4" fmla="*/ 177729 w 3302143"/>
              <a:gd name="connsiteY4" fmla="*/ 33485 h 1831376"/>
              <a:gd name="connsiteX5" fmla="*/ 185456 w 3302143"/>
              <a:gd name="connsiteY5" fmla="*/ 103031 h 1831376"/>
              <a:gd name="connsiteX6" fmla="*/ 208638 w 3302143"/>
              <a:gd name="connsiteY6" fmla="*/ 157122 h 1831376"/>
              <a:gd name="connsiteX7" fmla="*/ 252426 w 3302143"/>
              <a:gd name="connsiteY7" fmla="*/ 159698 h 1831376"/>
              <a:gd name="connsiteX8" fmla="*/ 303942 w 3302143"/>
              <a:gd name="connsiteY8" fmla="*/ 190607 h 1831376"/>
              <a:gd name="connsiteX9" fmla="*/ 332275 w 3302143"/>
              <a:gd name="connsiteY9" fmla="*/ 244699 h 1831376"/>
              <a:gd name="connsiteX10" fmla="*/ 376063 w 3302143"/>
              <a:gd name="connsiteY10" fmla="*/ 265305 h 1831376"/>
              <a:gd name="connsiteX11" fmla="*/ 445609 w 3302143"/>
              <a:gd name="connsiteY11" fmla="*/ 332275 h 1831376"/>
              <a:gd name="connsiteX12" fmla="*/ 507428 w 3302143"/>
              <a:gd name="connsiteY12" fmla="*/ 370912 h 1831376"/>
              <a:gd name="connsiteX13" fmla="*/ 543489 w 3302143"/>
              <a:gd name="connsiteY13" fmla="*/ 345154 h 1831376"/>
              <a:gd name="connsiteX14" fmla="*/ 569246 w 3302143"/>
              <a:gd name="connsiteY14" fmla="*/ 358033 h 1831376"/>
              <a:gd name="connsiteX15" fmla="*/ 582125 w 3302143"/>
              <a:gd name="connsiteY15" fmla="*/ 370912 h 1831376"/>
              <a:gd name="connsiteX16" fmla="*/ 623338 w 3302143"/>
              <a:gd name="connsiteY16" fmla="*/ 342578 h 1831376"/>
              <a:gd name="connsiteX17" fmla="*/ 646520 w 3302143"/>
              <a:gd name="connsiteY17" fmla="*/ 319396 h 1831376"/>
              <a:gd name="connsiteX18" fmla="*/ 682580 w 3302143"/>
              <a:gd name="connsiteY18" fmla="*/ 319396 h 1831376"/>
              <a:gd name="connsiteX19" fmla="*/ 721217 w 3302143"/>
              <a:gd name="connsiteY19" fmla="*/ 355457 h 1831376"/>
              <a:gd name="connsiteX20" fmla="*/ 723793 w 3302143"/>
              <a:gd name="connsiteY20" fmla="*/ 430154 h 1831376"/>
              <a:gd name="connsiteX21" fmla="*/ 767581 w 3302143"/>
              <a:gd name="connsiteY21" fmla="*/ 461064 h 1831376"/>
              <a:gd name="connsiteX22" fmla="*/ 839703 w 3302143"/>
              <a:gd name="connsiteY22" fmla="*/ 504852 h 1831376"/>
              <a:gd name="connsiteX23" fmla="*/ 886067 w 3302143"/>
              <a:gd name="connsiteY23" fmla="*/ 517731 h 1831376"/>
              <a:gd name="connsiteX24" fmla="*/ 914400 w 3302143"/>
              <a:gd name="connsiteY24" fmla="*/ 507428 h 1831376"/>
              <a:gd name="connsiteX25" fmla="*/ 945309 w 3302143"/>
              <a:gd name="connsiteY25" fmla="*/ 525458 h 1831376"/>
              <a:gd name="connsiteX26" fmla="*/ 986522 w 3302143"/>
              <a:gd name="connsiteY26" fmla="*/ 504852 h 1831376"/>
              <a:gd name="connsiteX27" fmla="*/ 1001977 w 3302143"/>
              <a:gd name="connsiteY27" fmla="*/ 481670 h 1831376"/>
              <a:gd name="connsiteX28" fmla="*/ 1032886 w 3302143"/>
              <a:gd name="connsiteY28" fmla="*/ 504852 h 1831376"/>
              <a:gd name="connsiteX29" fmla="*/ 1066371 w 3302143"/>
              <a:gd name="connsiteY29" fmla="*/ 484246 h 1831376"/>
              <a:gd name="connsiteX30" fmla="*/ 1076674 w 3302143"/>
              <a:gd name="connsiteY30" fmla="*/ 455912 h 1831376"/>
              <a:gd name="connsiteX31" fmla="*/ 1125614 w 3302143"/>
              <a:gd name="connsiteY31" fmla="*/ 476518 h 1831376"/>
              <a:gd name="connsiteX32" fmla="*/ 1179705 w 3302143"/>
              <a:gd name="connsiteY32" fmla="*/ 533185 h 1831376"/>
              <a:gd name="connsiteX33" fmla="*/ 1233796 w 3302143"/>
              <a:gd name="connsiteY33" fmla="*/ 538337 h 1831376"/>
              <a:gd name="connsiteX34" fmla="*/ 1254402 w 3302143"/>
              <a:gd name="connsiteY34" fmla="*/ 522882 h 1831376"/>
              <a:gd name="connsiteX35" fmla="*/ 1300766 w 3302143"/>
              <a:gd name="connsiteY35" fmla="*/ 525458 h 1831376"/>
              <a:gd name="connsiteX36" fmla="*/ 1336827 w 3302143"/>
              <a:gd name="connsiteY36" fmla="*/ 558943 h 1831376"/>
              <a:gd name="connsiteX37" fmla="*/ 1352282 w 3302143"/>
              <a:gd name="connsiteY37" fmla="*/ 618186 h 1831376"/>
              <a:gd name="connsiteX38" fmla="*/ 1393494 w 3302143"/>
              <a:gd name="connsiteY38" fmla="*/ 687732 h 1831376"/>
              <a:gd name="connsiteX39" fmla="*/ 1390918 w 3302143"/>
              <a:gd name="connsiteY39" fmla="*/ 736672 h 1831376"/>
              <a:gd name="connsiteX40" fmla="*/ 1414100 w 3302143"/>
              <a:gd name="connsiteY40" fmla="*/ 780460 h 1831376"/>
              <a:gd name="connsiteX41" fmla="*/ 1463040 w 3302143"/>
              <a:gd name="connsiteY41" fmla="*/ 790763 h 1831376"/>
              <a:gd name="connsiteX42" fmla="*/ 1491374 w 3302143"/>
              <a:gd name="connsiteY42" fmla="*/ 819096 h 1831376"/>
              <a:gd name="connsiteX43" fmla="*/ 1568647 w 3302143"/>
              <a:gd name="connsiteY43" fmla="*/ 847430 h 1831376"/>
              <a:gd name="connsiteX44" fmla="*/ 1615011 w 3302143"/>
              <a:gd name="connsiteY44" fmla="*/ 826824 h 1831376"/>
              <a:gd name="connsiteX45" fmla="*/ 1651072 w 3302143"/>
              <a:gd name="connsiteY45" fmla="*/ 826824 h 1831376"/>
              <a:gd name="connsiteX46" fmla="*/ 1679405 w 3302143"/>
              <a:gd name="connsiteY46" fmla="*/ 880915 h 1831376"/>
              <a:gd name="connsiteX47" fmla="*/ 1700011 w 3302143"/>
              <a:gd name="connsiteY47" fmla="*/ 922127 h 1831376"/>
              <a:gd name="connsiteX48" fmla="*/ 1736072 w 3302143"/>
              <a:gd name="connsiteY48" fmla="*/ 945309 h 1831376"/>
              <a:gd name="connsiteX49" fmla="*/ 1777285 w 3302143"/>
              <a:gd name="connsiteY49" fmla="*/ 942733 h 1831376"/>
              <a:gd name="connsiteX50" fmla="*/ 1821073 w 3302143"/>
              <a:gd name="connsiteY50" fmla="*/ 978794 h 1831376"/>
              <a:gd name="connsiteX51" fmla="*/ 1888043 w 3302143"/>
              <a:gd name="connsiteY51" fmla="*/ 1001976 h 1831376"/>
              <a:gd name="connsiteX52" fmla="*/ 1960165 w 3302143"/>
              <a:gd name="connsiteY52" fmla="*/ 994249 h 1831376"/>
              <a:gd name="connsiteX53" fmla="*/ 1988498 w 3302143"/>
              <a:gd name="connsiteY53" fmla="*/ 976219 h 1831376"/>
              <a:gd name="connsiteX54" fmla="*/ 2003953 w 3302143"/>
              <a:gd name="connsiteY54" fmla="*/ 994249 h 1831376"/>
              <a:gd name="connsiteX55" fmla="*/ 2011680 w 3302143"/>
              <a:gd name="connsiteY55" fmla="*/ 1030310 h 1831376"/>
              <a:gd name="connsiteX56" fmla="*/ 2060620 w 3302143"/>
              <a:gd name="connsiteY56" fmla="*/ 1043189 h 1831376"/>
              <a:gd name="connsiteX57" fmla="*/ 2081226 w 3302143"/>
              <a:gd name="connsiteY57" fmla="*/ 1071522 h 1831376"/>
              <a:gd name="connsiteX58" fmla="*/ 2112135 w 3302143"/>
              <a:gd name="connsiteY58" fmla="*/ 1117886 h 1831376"/>
              <a:gd name="connsiteX59" fmla="*/ 2173954 w 3302143"/>
              <a:gd name="connsiteY59" fmla="*/ 1133341 h 1831376"/>
              <a:gd name="connsiteX60" fmla="*/ 2243500 w 3302143"/>
              <a:gd name="connsiteY60" fmla="*/ 1164250 h 1831376"/>
              <a:gd name="connsiteX61" fmla="*/ 2274409 w 3302143"/>
              <a:gd name="connsiteY61" fmla="*/ 1159099 h 1831376"/>
              <a:gd name="connsiteX62" fmla="*/ 2307894 w 3302143"/>
              <a:gd name="connsiteY62" fmla="*/ 1187432 h 1831376"/>
              <a:gd name="connsiteX63" fmla="*/ 2354258 w 3302143"/>
              <a:gd name="connsiteY63" fmla="*/ 1195159 h 1831376"/>
              <a:gd name="connsiteX64" fmla="*/ 2377440 w 3302143"/>
              <a:gd name="connsiteY64" fmla="*/ 1231220 h 1831376"/>
              <a:gd name="connsiteX65" fmla="*/ 2421228 w 3302143"/>
              <a:gd name="connsiteY65" fmla="*/ 1267281 h 1831376"/>
              <a:gd name="connsiteX66" fmla="*/ 2483047 w 3302143"/>
              <a:gd name="connsiteY66" fmla="*/ 1272433 h 1831376"/>
              <a:gd name="connsiteX67" fmla="*/ 2483047 w 3302143"/>
              <a:gd name="connsiteY67" fmla="*/ 1272433 h 1831376"/>
              <a:gd name="connsiteX68" fmla="*/ 2503653 w 3302143"/>
              <a:gd name="connsiteY68" fmla="*/ 1251826 h 1831376"/>
              <a:gd name="connsiteX69" fmla="*/ 2521684 w 3302143"/>
              <a:gd name="connsiteY69" fmla="*/ 1272433 h 1831376"/>
              <a:gd name="connsiteX70" fmla="*/ 2521684 w 3302143"/>
              <a:gd name="connsiteY70" fmla="*/ 1313645 h 1831376"/>
              <a:gd name="connsiteX71" fmla="*/ 2555169 w 3302143"/>
              <a:gd name="connsiteY71" fmla="*/ 1334251 h 1831376"/>
              <a:gd name="connsiteX72" fmla="*/ 2593805 w 3302143"/>
              <a:gd name="connsiteY72" fmla="*/ 1334251 h 1831376"/>
              <a:gd name="connsiteX73" fmla="*/ 2635018 w 3302143"/>
              <a:gd name="connsiteY73" fmla="*/ 1360009 h 1831376"/>
              <a:gd name="connsiteX74" fmla="*/ 2642745 w 3302143"/>
              <a:gd name="connsiteY74" fmla="*/ 1411524 h 1831376"/>
              <a:gd name="connsiteX75" fmla="*/ 2671078 w 3302143"/>
              <a:gd name="connsiteY75" fmla="*/ 1437282 h 1831376"/>
              <a:gd name="connsiteX76" fmla="*/ 2671078 w 3302143"/>
              <a:gd name="connsiteY76" fmla="*/ 1460464 h 1831376"/>
              <a:gd name="connsiteX77" fmla="*/ 2714867 w 3302143"/>
              <a:gd name="connsiteY77" fmla="*/ 1488798 h 1831376"/>
              <a:gd name="connsiteX78" fmla="*/ 2709715 w 3302143"/>
              <a:gd name="connsiteY78" fmla="*/ 1537737 h 1831376"/>
              <a:gd name="connsiteX79" fmla="*/ 2748352 w 3302143"/>
              <a:gd name="connsiteY79" fmla="*/ 1573798 h 1831376"/>
              <a:gd name="connsiteX80" fmla="*/ 2794716 w 3302143"/>
              <a:gd name="connsiteY80" fmla="*/ 1609859 h 1831376"/>
              <a:gd name="connsiteX81" fmla="*/ 2838504 w 3302143"/>
              <a:gd name="connsiteY81" fmla="*/ 1596980 h 1831376"/>
              <a:gd name="connsiteX82" fmla="*/ 2892595 w 3302143"/>
              <a:gd name="connsiteY82" fmla="*/ 1627890 h 1831376"/>
              <a:gd name="connsiteX83" fmla="*/ 2923504 w 3302143"/>
              <a:gd name="connsiteY83" fmla="*/ 1604708 h 1831376"/>
              <a:gd name="connsiteX84" fmla="*/ 2975020 w 3302143"/>
              <a:gd name="connsiteY84" fmla="*/ 1630465 h 1831376"/>
              <a:gd name="connsiteX85" fmla="*/ 3018808 w 3302143"/>
              <a:gd name="connsiteY85" fmla="*/ 1676829 h 1831376"/>
              <a:gd name="connsiteX86" fmla="*/ 3057445 w 3302143"/>
              <a:gd name="connsiteY86" fmla="*/ 1748951 h 1831376"/>
              <a:gd name="connsiteX87" fmla="*/ 3078051 w 3302143"/>
              <a:gd name="connsiteY87" fmla="*/ 1761830 h 1831376"/>
              <a:gd name="connsiteX88" fmla="*/ 3096081 w 3302143"/>
              <a:gd name="connsiteY88" fmla="*/ 1792739 h 1831376"/>
              <a:gd name="connsiteX89" fmla="*/ 3119263 w 3302143"/>
              <a:gd name="connsiteY89" fmla="*/ 1831376 h 1831376"/>
              <a:gd name="connsiteX90" fmla="*/ 3147597 w 3302143"/>
              <a:gd name="connsiteY90" fmla="*/ 1831376 h 1831376"/>
              <a:gd name="connsiteX91" fmla="*/ 3170779 w 3302143"/>
              <a:gd name="connsiteY91" fmla="*/ 1803042 h 1831376"/>
              <a:gd name="connsiteX92" fmla="*/ 3206840 w 3302143"/>
              <a:gd name="connsiteY92" fmla="*/ 1766981 h 1831376"/>
              <a:gd name="connsiteX93" fmla="*/ 3204264 w 3302143"/>
              <a:gd name="connsiteY93" fmla="*/ 1725769 h 1831376"/>
              <a:gd name="connsiteX94" fmla="*/ 3219718 w 3302143"/>
              <a:gd name="connsiteY94" fmla="*/ 1702587 h 1831376"/>
              <a:gd name="connsiteX95" fmla="*/ 3217143 w 3302143"/>
              <a:gd name="connsiteY95" fmla="*/ 1630465 h 1831376"/>
              <a:gd name="connsiteX96" fmla="*/ 3242900 w 3302143"/>
              <a:gd name="connsiteY96" fmla="*/ 1589253 h 1831376"/>
              <a:gd name="connsiteX97" fmla="*/ 3222294 w 3302143"/>
              <a:gd name="connsiteY97" fmla="*/ 1555768 h 1831376"/>
              <a:gd name="connsiteX98" fmla="*/ 3250628 w 3302143"/>
              <a:gd name="connsiteY98" fmla="*/ 1517131 h 1831376"/>
              <a:gd name="connsiteX99" fmla="*/ 3258355 w 3302143"/>
              <a:gd name="connsiteY99" fmla="*/ 1483646 h 1831376"/>
              <a:gd name="connsiteX100" fmla="*/ 3222294 w 3302143"/>
              <a:gd name="connsiteY100" fmla="*/ 1432131 h 1831376"/>
              <a:gd name="connsiteX101" fmla="*/ 3160476 w 3302143"/>
              <a:gd name="connsiteY101" fmla="*/ 1383191 h 1831376"/>
              <a:gd name="connsiteX102" fmla="*/ 3147597 w 3302143"/>
              <a:gd name="connsiteY102" fmla="*/ 1334251 h 1831376"/>
              <a:gd name="connsiteX103" fmla="*/ 3137294 w 3302143"/>
              <a:gd name="connsiteY103" fmla="*/ 1277584 h 1831376"/>
              <a:gd name="connsiteX104" fmla="*/ 3116687 w 3302143"/>
              <a:gd name="connsiteY104" fmla="*/ 1241523 h 1831376"/>
              <a:gd name="connsiteX105" fmla="*/ 3129566 w 3302143"/>
              <a:gd name="connsiteY105" fmla="*/ 1202887 h 1831376"/>
              <a:gd name="connsiteX106" fmla="*/ 3080627 w 3302143"/>
              <a:gd name="connsiteY106" fmla="*/ 1081825 h 1831376"/>
              <a:gd name="connsiteX107" fmla="*/ 3080627 w 3302143"/>
              <a:gd name="connsiteY107" fmla="*/ 1038037 h 1831376"/>
              <a:gd name="connsiteX108" fmla="*/ 3054869 w 3302143"/>
              <a:gd name="connsiteY108" fmla="*/ 973643 h 1831376"/>
              <a:gd name="connsiteX109" fmla="*/ 3052293 w 3302143"/>
              <a:gd name="connsiteY109" fmla="*/ 937582 h 1831376"/>
              <a:gd name="connsiteX110" fmla="*/ 3031687 w 3302143"/>
              <a:gd name="connsiteY110" fmla="*/ 898945 h 1831376"/>
              <a:gd name="connsiteX111" fmla="*/ 2951838 w 3302143"/>
              <a:gd name="connsiteY111" fmla="*/ 852581 h 1831376"/>
              <a:gd name="connsiteX112" fmla="*/ 2949262 w 3302143"/>
              <a:gd name="connsiteY112" fmla="*/ 816521 h 1831376"/>
              <a:gd name="connsiteX113" fmla="*/ 2918353 w 3302143"/>
              <a:gd name="connsiteY113" fmla="*/ 793339 h 1831376"/>
              <a:gd name="connsiteX114" fmla="*/ 2895171 w 3302143"/>
              <a:gd name="connsiteY114" fmla="*/ 793339 h 1831376"/>
              <a:gd name="connsiteX115" fmla="*/ 2851383 w 3302143"/>
              <a:gd name="connsiteY115" fmla="*/ 795914 h 1831376"/>
              <a:gd name="connsiteX116" fmla="*/ 2781837 w 3302143"/>
              <a:gd name="connsiteY116" fmla="*/ 757278 h 1831376"/>
              <a:gd name="connsiteX117" fmla="*/ 2730321 w 3302143"/>
              <a:gd name="connsiteY117" fmla="*/ 692883 h 1831376"/>
              <a:gd name="connsiteX118" fmla="*/ 2686533 w 3302143"/>
              <a:gd name="connsiteY118" fmla="*/ 669701 h 1831376"/>
              <a:gd name="connsiteX119" fmla="*/ 2681382 w 3302143"/>
              <a:gd name="connsiteY119" fmla="*/ 633641 h 1831376"/>
              <a:gd name="connsiteX120" fmla="*/ 2658200 w 3302143"/>
              <a:gd name="connsiteY120" fmla="*/ 584701 h 1831376"/>
              <a:gd name="connsiteX121" fmla="*/ 2616987 w 3302143"/>
              <a:gd name="connsiteY121" fmla="*/ 553792 h 1831376"/>
              <a:gd name="connsiteX122" fmla="*/ 2622139 w 3302143"/>
              <a:gd name="connsiteY122" fmla="*/ 510003 h 1831376"/>
              <a:gd name="connsiteX123" fmla="*/ 2658200 w 3302143"/>
              <a:gd name="connsiteY123" fmla="*/ 453336 h 1831376"/>
              <a:gd name="connsiteX124" fmla="*/ 2663351 w 3302143"/>
              <a:gd name="connsiteY124" fmla="*/ 388942 h 1831376"/>
              <a:gd name="connsiteX125" fmla="*/ 2691685 w 3302143"/>
              <a:gd name="connsiteY125" fmla="*/ 352881 h 1831376"/>
              <a:gd name="connsiteX126" fmla="*/ 2738049 w 3302143"/>
              <a:gd name="connsiteY126" fmla="*/ 329699 h 1831376"/>
              <a:gd name="connsiteX127" fmla="*/ 2761231 w 3302143"/>
              <a:gd name="connsiteY127" fmla="*/ 285911 h 1831376"/>
              <a:gd name="connsiteX128" fmla="*/ 2810170 w 3302143"/>
              <a:gd name="connsiteY128" fmla="*/ 283335 h 1831376"/>
              <a:gd name="connsiteX129" fmla="*/ 2841080 w 3302143"/>
              <a:gd name="connsiteY129" fmla="*/ 298790 h 1831376"/>
              <a:gd name="connsiteX130" fmla="*/ 2915777 w 3302143"/>
              <a:gd name="connsiteY130" fmla="*/ 283335 h 1831376"/>
              <a:gd name="connsiteX131" fmla="*/ 2951838 w 3302143"/>
              <a:gd name="connsiteY131" fmla="*/ 309093 h 1831376"/>
              <a:gd name="connsiteX132" fmla="*/ 3000778 w 3302143"/>
              <a:gd name="connsiteY132" fmla="*/ 301366 h 1831376"/>
              <a:gd name="connsiteX133" fmla="*/ 3052293 w 3302143"/>
              <a:gd name="connsiteY133" fmla="*/ 319396 h 1831376"/>
              <a:gd name="connsiteX134" fmla="*/ 3132142 w 3302143"/>
              <a:gd name="connsiteY134" fmla="*/ 358033 h 1831376"/>
              <a:gd name="connsiteX135" fmla="*/ 3255779 w 3302143"/>
              <a:gd name="connsiteY135" fmla="*/ 368336 h 1831376"/>
              <a:gd name="connsiteX136" fmla="*/ 3302143 w 3302143"/>
              <a:gd name="connsiteY136" fmla="*/ 358033 h 1831376"/>
              <a:gd name="connsiteX137" fmla="*/ 3284113 w 3302143"/>
              <a:gd name="connsiteY137" fmla="*/ 332275 h 1831376"/>
              <a:gd name="connsiteX138" fmla="*/ 3281537 w 3302143"/>
              <a:gd name="connsiteY138" fmla="*/ 301366 h 1831376"/>
              <a:gd name="connsiteX0" fmla="*/ 0 w 3258355"/>
              <a:gd name="connsiteY0" fmla="*/ 0 h 1831376"/>
              <a:gd name="connsiteX1" fmla="*/ 66970 w 3258355"/>
              <a:gd name="connsiteY1" fmla="*/ 15455 h 1831376"/>
              <a:gd name="connsiteX2" fmla="*/ 108183 w 3258355"/>
              <a:gd name="connsiteY2" fmla="*/ 5152 h 1831376"/>
              <a:gd name="connsiteX3" fmla="*/ 133941 w 3258355"/>
              <a:gd name="connsiteY3" fmla="*/ 33485 h 1831376"/>
              <a:gd name="connsiteX4" fmla="*/ 141668 w 3258355"/>
              <a:gd name="connsiteY4" fmla="*/ 103031 h 1831376"/>
              <a:gd name="connsiteX5" fmla="*/ 164850 w 3258355"/>
              <a:gd name="connsiteY5" fmla="*/ 157122 h 1831376"/>
              <a:gd name="connsiteX6" fmla="*/ 208638 w 3258355"/>
              <a:gd name="connsiteY6" fmla="*/ 159698 h 1831376"/>
              <a:gd name="connsiteX7" fmla="*/ 260154 w 3258355"/>
              <a:gd name="connsiteY7" fmla="*/ 190607 h 1831376"/>
              <a:gd name="connsiteX8" fmla="*/ 288487 w 3258355"/>
              <a:gd name="connsiteY8" fmla="*/ 244699 h 1831376"/>
              <a:gd name="connsiteX9" fmla="*/ 332275 w 3258355"/>
              <a:gd name="connsiteY9" fmla="*/ 265305 h 1831376"/>
              <a:gd name="connsiteX10" fmla="*/ 401821 w 3258355"/>
              <a:gd name="connsiteY10" fmla="*/ 332275 h 1831376"/>
              <a:gd name="connsiteX11" fmla="*/ 463640 w 3258355"/>
              <a:gd name="connsiteY11" fmla="*/ 370912 h 1831376"/>
              <a:gd name="connsiteX12" fmla="*/ 499701 w 3258355"/>
              <a:gd name="connsiteY12" fmla="*/ 345154 h 1831376"/>
              <a:gd name="connsiteX13" fmla="*/ 525458 w 3258355"/>
              <a:gd name="connsiteY13" fmla="*/ 358033 h 1831376"/>
              <a:gd name="connsiteX14" fmla="*/ 538337 w 3258355"/>
              <a:gd name="connsiteY14" fmla="*/ 370912 h 1831376"/>
              <a:gd name="connsiteX15" fmla="*/ 579550 w 3258355"/>
              <a:gd name="connsiteY15" fmla="*/ 342578 h 1831376"/>
              <a:gd name="connsiteX16" fmla="*/ 602732 w 3258355"/>
              <a:gd name="connsiteY16" fmla="*/ 319396 h 1831376"/>
              <a:gd name="connsiteX17" fmla="*/ 638792 w 3258355"/>
              <a:gd name="connsiteY17" fmla="*/ 319396 h 1831376"/>
              <a:gd name="connsiteX18" fmla="*/ 677429 w 3258355"/>
              <a:gd name="connsiteY18" fmla="*/ 355457 h 1831376"/>
              <a:gd name="connsiteX19" fmla="*/ 680005 w 3258355"/>
              <a:gd name="connsiteY19" fmla="*/ 430154 h 1831376"/>
              <a:gd name="connsiteX20" fmla="*/ 723793 w 3258355"/>
              <a:gd name="connsiteY20" fmla="*/ 461064 h 1831376"/>
              <a:gd name="connsiteX21" fmla="*/ 795915 w 3258355"/>
              <a:gd name="connsiteY21" fmla="*/ 504852 h 1831376"/>
              <a:gd name="connsiteX22" fmla="*/ 842279 w 3258355"/>
              <a:gd name="connsiteY22" fmla="*/ 517731 h 1831376"/>
              <a:gd name="connsiteX23" fmla="*/ 870612 w 3258355"/>
              <a:gd name="connsiteY23" fmla="*/ 507428 h 1831376"/>
              <a:gd name="connsiteX24" fmla="*/ 901521 w 3258355"/>
              <a:gd name="connsiteY24" fmla="*/ 525458 h 1831376"/>
              <a:gd name="connsiteX25" fmla="*/ 942734 w 3258355"/>
              <a:gd name="connsiteY25" fmla="*/ 504852 h 1831376"/>
              <a:gd name="connsiteX26" fmla="*/ 958189 w 3258355"/>
              <a:gd name="connsiteY26" fmla="*/ 481670 h 1831376"/>
              <a:gd name="connsiteX27" fmla="*/ 989098 w 3258355"/>
              <a:gd name="connsiteY27" fmla="*/ 504852 h 1831376"/>
              <a:gd name="connsiteX28" fmla="*/ 1022583 w 3258355"/>
              <a:gd name="connsiteY28" fmla="*/ 484246 h 1831376"/>
              <a:gd name="connsiteX29" fmla="*/ 1032886 w 3258355"/>
              <a:gd name="connsiteY29" fmla="*/ 455912 h 1831376"/>
              <a:gd name="connsiteX30" fmla="*/ 1081826 w 3258355"/>
              <a:gd name="connsiteY30" fmla="*/ 476518 h 1831376"/>
              <a:gd name="connsiteX31" fmla="*/ 1135917 w 3258355"/>
              <a:gd name="connsiteY31" fmla="*/ 533185 h 1831376"/>
              <a:gd name="connsiteX32" fmla="*/ 1190008 w 3258355"/>
              <a:gd name="connsiteY32" fmla="*/ 538337 h 1831376"/>
              <a:gd name="connsiteX33" fmla="*/ 1210614 w 3258355"/>
              <a:gd name="connsiteY33" fmla="*/ 522882 h 1831376"/>
              <a:gd name="connsiteX34" fmla="*/ 1256978 w 3258355"/>
              <a:gd name="connsiteY34" fmla="*/ 525458 h 1831376"/>
              <a:gd name="connsiteX35" fmla="*/ 1293039 w 3258355"/>
              <a:gd name="connsiteY35" fmla="*/ 558943 h 1831376"/>
              <a:gd name="connsiteX36" fmla="*/ 1308494 w 3258355"/>
              <a:gd name="connsiteY36" fmla="*/ 618186 h 1831376"/>
              <a:gd name="connsiteX37" fmla="*/ 1349706 w 3258355"/>
              <a:gd name="connsiteY37" fmla="*/ 687732 h 1831376"/>
              <a:gd name="connsiteX38" fmla="*/ 1347130 w 3258355"/>
              <a:gd name="connsiteY38" fmla="*/ 736672 h 1831376"/>
              <a:gd name="connsiteX39" fmla="*/ 1370312 w 3258355"/>
              <a:gd name="connsiteY39" fmla="*/ 780460 h 1831376"/>
              <a:gd name="connsiteX40" fmla="*/ 1419252 w 3258355"/>
              <a:gd name="connsiteY40" fmla="*/ 790763 h 1831376"/>
              <a:gd name="connsiteX41" fmla="*/ 1447586 w 3258355"/>
              <a:gd name="connsiteY41" fmla="*/ 819096 h 1831376"/>
              <a:gd name="connsiteX42" fmla="*/ 1524859 w 3258355"/>
              <a:gd name="connsiteY42" fmla="*/ 847430 h 1831376"/>
              <a:gd name="connsiteX43" fmla="*/ 1571223 w 3258355"/>
              <a:gd name="connsiteY43" fmla="*/ 826824 h 1831376"/>
              <a:gd name="connsiteX44" fmla="*/ 1607284 w 3258355"/>
              <a:gd name="connsiteY44" fmla="*/ 826824 h 1831376"/>
              <a:gd name="connsiteX45" fmla="*/ 1635617 w 3258355"/>
              <a:gd name="connsiteY45" fmla="*/ 880915 h 1831376"/>
              <a:gd name="connsiteX46" fmla="*/ 1656223 w 3258355"/>
              <a:gd name="connsiteY46" fmla="*/ 922127 h 1831376"/>
              <a:gd name="connsiteX47" fmla="*/ 1692284 w 3258355"/>
              <a:gd name="connsiteY47" fmla="*/ 945309 h 1831376"/>
              <a:gd name="connsiteX48" fmla="*/ 1733497 w 3258355"/>
              <a:gd name="connsiteY48" fmla="*/ 942733 h 1831376"/>
              <a:gd name="connsiteX49" fmla="*/ 1777285 w 3258355"/>
              <a:gd name="connsiteY49" fmla="*/ 978794 h 1831376"/>
              <a:gd name="connsiteX50" fmla="*/ 1844255 w 3258355"/>
              <a:gd name="connsiteY50" fmla="*/ 1001976 h 1831376"/>
              <a:gd name="connsiteX51" fmla="*/ 1916377 w 3258355"/>
              <a:gd name="connsiteY51" fmla="*/ 994249 h 1831376"/>
              <a:gd name="connsiteX52" fmla="*/ 1944710 w 3258355"/>
              <a:gd name="connsiteY52" fmla="*/ 976219 h 1831376"/>
              <a:gd name="connsiteX53" fmla="*/ 1960165 w 3258355"/>
              <a:gd name="connsiteY53" fmla="*/ 994249 h 1831376"/>
              <a:gd name="connsiteX54" fmla="*/ 1967892 w 3258355"/>
              <a:gd name="connsiteY54" fmla="*/ 1030310 h 1831376"/>
              <a:gd name="connsiteX55" fmla="*/ 2016832 w 3258355"/>
              <a:gd name="connsiteY55" fmla="*/ 1043189 h 1831376"/>
              <a:gd name="connsiteX56" fmla="*/ 2037438 w 3258355"/>
              <a:gd name="connsiteY56" fmla="*/ 1071522 h 1831376"/>
              <a:gd name="connsiteX57" fmla="*/ 2068347 w 3258355"/>
              <a:gd name="connsiteY57" fmla="*/ 1117886 h 1831376"/>
              <a:gd name="connsiteX58" fmla="*/ 2130166 w 3258355"/>
              <a:gd name="connsiteY58" fmla="*/ 1133341 h 1831376"/>
              <a:gd name="connsiteX59" fmla="*/ 2199712 w 3258355"/>
              <a:gd name="connsiteY59" fmla="*/ 1164250 h 1831376"/>
              <a:gd name="connsiteX60" fmla="*/ 2230621 w 3258355"/>
              <a:gd name="connsiteY60" fmla="*/ 1159099 h 1831376"/>
              <a:gd name="connsiteX61" fmla="*/ 2264106 w 3258355"/>
              <a:gd name="connsiteY61" fmla="*/ 1187432 h 1831376"/>
              <a:gd name="connsiteX62" fmla="*/ 2310470 w 3258355"/>
              <a:gd name="connsiteY62" fmla="*/ 1195159 h 1831376"/>
              <a:gd name="connsiteX63" fmla="*/ 2333652 w 3258355"/>
              <a:gd name="connsiteY63" fmla="*/ 1231220 h 1831376"/>
              <a:gd name="connsiteX64" fmla="*/ 2377440 w 3258355"/>
              <a:gd name="connsiteY64" fmla="*/ 1267281 h 1831376"/>
              <a:gd name="connsiteX65" fmla="*/ 2439259 w 3258355"/>
              <a:gd name="connsiteY65" fmla="*/ 1272433 h 1831376"/>
              <a:gd name="connsiteX66" fmla="*/ 2439259 w 3258355"/>
              <a:gd name="connsiteY66" fmla="*/ 1272433 h 1831376"/>
              <a:gd name="connsiteX67" fmla="*/ 2459865 w 3258355"/>
              <a:gd name="connsiteY67" fmla="*/ 1251826 h 1831376"/>
              <a:gd name="connsiteX68" fmla="*/ 2477896 w 3258355"/>
              <a:gd name="connsiteY68" fmla="*/ 1272433 h 1831376"/>
              <a:gd name="connsiteX69" fmla="*/ 2477896 w 3258355"/>
              <a:gd name="connsiteY69" fmla="*/ 1313645 h 1831376"/>
              <a:gd name="connsiteX70" fmla="*/ 2511381 w 3258355"/>
              <a:gd name="connsiteY70" fmla="*/ 1334251 h 1831376"/>
              <a:gd name="connsiteX71" fmla="*/ 2550017 w 3258355"/>
              <a:gd name="connsiteY71" fmla="*/ 1334251 h 1831376"/>
              <a:gd name="connsiteX72" fmla="*/ 2591230 w 3258355"/>
              <a:gd name="connsiteY72" fmla="*/ 1360009 h 1831376"/>
              <a:gd name="connsiteX73" fmla="*/ 2598957 w 3258355"/>
              <a:gd name="connsiteY73" fmla="*/ 1411524 h 1831376"/>
              <a:gd name="connsiteX74" fmla="*/ 2627290 w 3258355"/>
              <a:gd name="connsiteY74" fmla="*/ 1437282 h 1831376"/>
              <a:gd name="connsiteX75" fmla="*/ 2627290 w 3258355"/>
              <a:gd name="connsiteY75" fmla="*/ 1460464 h 1831376"/>
              <a:gd name="connsiteX76" fmla="*/ 2671079 w 3258355"/>
              <a:gd name="connsiteY76" fmla="*/ 1488798 h 1831376"/>
              <a:gd name="connsiteX77" fmla="*/ 2665927 w 3258355"/>
              <a:gd name="connsiteY77" fmla="*/ 1537737 h 1831376"/>
              <a:gd name="connsiteX78" fmla="*/ 2704564 w 3258355"/>
              <a:gd name="connsiteY78" fmla="*/ 1573798 h 1831376"/>
              <a:gd name="connsiteX79" fmla="*/ 2750928 w 3258355"/>
              <a:gd name="connsiteY79" fmla="*/ 1609859 h 1831376"/>
              <a:gd name="connsiteX80" fmla="*/ 2794716 w 3258355"/>
              <a:gd name="connsiteY80" fmla="*/ 1596980 h 1831376"/>
              <a:gd name="connsiteX81" fmla="*/ 2848807 w 3258355"/>
              <a:gd name="connsiteY81" fmla="*/ 1627890 h 1831376"/>
              <a:gd name="connsiteX82" fmla="*/ 2879716 w 3258355"/>
              <a:gd name="connsiteY82" fmla="*/ 1604708 h 1831376"/>
              <a:gd name="connsiteX83" fmla="*/ 2931232 w 3258355"/>
              <a:gd name="connsiteY83" fmla="*/ 1630465 h 1831376"/>
              <a:gd name="connsiteX84" fmla="*/ 2975020 w 3258355"/>
              <a:gd name="connsiteY84" fmla="*/ 1676829 h 1831376"/>
              <a:gd name="connsiteX85" fmla="*/ 3013657 w 3258355"/>
              <a:gd name="connsiteY85" fmla="*/ 1748951 h 1831376"/>
              <a:gd name="connsiteX86" fmla="*/ 3034263 w 3258355"/>
              <a:gd name="connsiteY86" fmla="*/ 1761830 h 1831376"/>
              <a:gd name="connsiteX87" fmla="*/ 3052293 w 3258355"/>
              <a:gd name="connsiteY87" fmla="*/ 1792739 h 1831376"/>
              <a:gd name="connsiteX88" fmla="*/ 3075475 w 3258355"/>
              <a:gd name="connsiteY88" fmla="*/ 1831376 h 1831376"/>
              <a:gd name="connsiteX89" fmla="*/ 3103809 w 3258355"/>
              <a:gd name="connsiteY89" fmla="*/ 1831376 h 1831376"/>
              <a:gd name="connsiteX90" fmla="*/ 3126991 w 3258355"/>
              <a:gd name="connsiteY90" fmla="*/ 1803042 h 1831376"/>
              <a:gd name="connsiteX91" fmla="*/ 3163052 w 3258355"/>
              <a:gd name="connsiteY91" fmla="*/ 1766981 h 1831376"/>
              <a:gd name="connsiteX92" fmla="*/ 3160476 w 3258355"/>
              <a:gd name="connsiteY92" fmla="*/ 1725769 h 1831376"/>
              <a:gd name="connsiteX93" fmla="*/ 3175930 w 3258355"/>
              <a:gd name="connsiteY93" fmla="*/ 1702587 h 1831376"/>
              <a:gd name="connsiteX94" fmla="*/ 3173355 w 3258355"/>
              <a:gd name="connsiteY94" fmla="*/ 1630465 h 1831376"/>
              <a:gd name="connsiteX95" fmla="*/ 3199112 w 3258355"/>
              <a:gd name="connsiteY95" fmla="*/ 1589253 h 1831376"/>
              <a:gd name="connsiteX96" fmla="*/ 3178506 w 3258355"/>
              <a:gd name="connsiteY96" fmla="*/ 1555768 h 1831376"/>
              <a:gd name="connsiteX97" fmla="*/ 3206840 w 3258355"/>
              <a:gd name="connsiteY97" fmla="*/ 1517131 h 1831376"/>
              <a:gd name="connsiteX98" fmla="*/ 3214567 w 3258355"/>
              <a:gd name="connsiteY98" fmla="*/ 1483646 h 1831376"/>
              <a:gd name="connsiteX99" fmla="*/ 3178506 w 3258355"/>
              <a:gd name="connsiteY99" fmla="*/ 1432131 h 1831376"/>
              <a:gd name="connsiteX100" fmla="*/ 3116688 w 3258355"/>
              <a:gd name="connsiteY100" fmla="*/ 1383191 h 1831376"/>
              <a:gd name="connsiteX101" fmla="*/ 3103809 w 3258355"/>
              <a:gd name="connsiteY101" fmla="*/ 1334251 h 1831376"/>
              <a:gd name="connsiteX102" fmla="*/ 3093506 w 3258355"/>
              <a:gd name="connsiteY102" fmla="*/ 1277584 h 1831376"/>
              <a:gd name="connsiteX103" fmla="*/ 3072899 w 3258355"/>
              <a:gd name="connsiteY103" fmla="*/ 1241523 h 1831376"/>
              <a:gd name="connsiteX104" fmla="*/ 3085778 w 3258355"/>
              <a:gd name="connsiteY104" fmla="*/ 1202887 h 1831376"/>
              <a:gd name="connsiteX105" fmla="*/ 3036839 w 3258355"/>
              <a:gd name="connsiteY105" fmla="*/ 1081825 h 1831376"/>
              <a:gd name="connsiteX106" fmla="*/ 3036839 w 3258355"/>
              <a:gd name="connsiteY106" fmla="*/ 1038037 h 1831376"/>
              <a:gd name="connsiteX107" fmla="*/ 3011081 w 3258355"/>
              <a:gd name="connsiteY107" fmla="*/ 973643 h 1831376"/>
              <a:gd name="connsiteX108" fmla="*/ 3008505 w 3258355"/>
              <a:gd name="connsiteY108" fmla="*/ 937582 h 1831376"/>
              <a:gd name="connsiteX109" fmla="*/ 2987899 w 3258355"/>
              <a:gd name="connsiteY109" fmla="*/ 898945 h 1831376"/>
              <a:gd name="connsiteX110" fmla="*/ 2908050 w 3258355"/>
              <a:gd name="connsiteY110" fmla="*/ 852581 h 1831376"/>
              <a:gd name="connsiteX111" fmla="*/ 2905474 w 3258355"/>
              <a:gd name="connsiteY111" fmla="*/ 816521 h 1831376"/>
              <a:gd name="connsiteX112" fmla="*/ 2874565 w 3258355"/>
              <a:gd name="connsiteY112" fmla="*/ 793339 h 1831376"/>
              <a:gd name="connsiteX113" fmla="*/ 2851383 w 3258355"/>
              <a:gd name="connsiteY113" fmla="*/ 793339 h 1831376"/>
              <a:gd name="connsiteX114" fmla="*/ 2807595 w 3258355"/>
              <a:gd name="connsiteY114" fmla="*/ 795914 h 1831376"/>
              <a:gd name="connsiteX115" fmla="*/ 2738049 w 3258355"/>
              <a:gd name="connsiteY115" fmla="*/ 757278 h 1831376"/>
              <a:gd name="connsiteX116" fmla="*/ 2686533 w 3258355"/>
              <a:gd name="connsiteY116" fmla="*/ 692883 h 1831376"/>
              <a:gd name="connsiteX117" fmla="*/ 2642745 w 3258355"/>
              <a:gd name="connsiteY117" fmla="*/ 669701 h 1831376"/>
              <a:gd name="connsiteX118" fmla="*/ 2637594 w 3258355"/>
              <a:gd name="connsiteY118" fmla="*/ 633641 h 1831376"/>
              <a:gd name="connsiteX119" fmla="*/ 2614412 w 3258355"/>
              <a:gd name="connsiteY119" fmla="*/ 584701 h 1831376"/>
              <a:gd name="connsiteX120" fmla="*/ 2573199 w 3258355"/>
              <a:gd name="connsiteY120" fmla="*/ 553792 h 1831376"/>
              <a:gd name="connsiteX121" fmla="*/ 2578351 w 3258355"/>
              <a:gd name="connsiteY121" fmla="*/ 510003 h 1831376"/>
              <a:gd name="connsiteX122" fmla="*/ 2614412 w 3258355"/>
              <a:gd name="connsiteY122" fmla="*/ 453336 h 1831376"/>
              <a:gd name="connsiteX123" fmla="*/ 2619563 w 3258355"/>
              <a:gd name="connsiteY123" fmla="*/ 388942 h 1831376"/>
              <a:gd name="connsiteX124" fmla="*/ 2647897 w 3258355"/>
              <a:gd name="connsiteY124" fmla="*/ 352881 h 1831376"/>
              <a:gd name="connsiteX125" fmla="*/ 2694261 w 3258355"/>
              <a:gd name="connsiteY125" fmla="*/ 329699 h 1831376"/>
              <a:gd name="connsiteX126" fmla="*/ 2717443 w 3258355"/>
              <a:gd name="connsiteY126" fmla="*/ 285911 h 1831376"/>
              <a:gd name="connsiteX127" fmla="*/ 2766382 w 3258355"/>
              <a:gd name="connsiteY127" fmla="*/ 283335 h 1831376"/>
              <a:gd name="connsiteX128" fmla="*/ 2797292 w 3258355"/>
              <a:gd name="connsiteY128" fmla="*/ 298790 h 1831376"/>
              <a:gd name="connsiteX129" fmla="*/ 2871989 w 3258355"/>
              <a:gd name="connsiteY129" fmla="*/ 283335 h 1831376"/>
              <a:gd name="connsiteX130" fmla="*/ 2908050 w 3258355"/>
              <a:gd name="connsiteY130" fmla="*/ 309093 h 1831376"/>
              <a:gd name="connsiteX131" fmla="*/ 2956990 w 3258355"/>
              <a:gd name="connsiteY131" fmla="*/ 301366 h 1831376"/>
              <a:gd name="connsiteX132" fmla="*/ 3008505 w 3258355"/>
              <a:gd name="connsiteY132" fmla="*/ 319396 h 1831376"/>
              <a:gd name="connsiteX133" fmla="*/ 3088354 w 3258355"/>
              <a:gd name="connsiteY133" fmla="*/ 358033 h 1831376"/>
              <a:gd name="connsiteX134" fmla="*/ 3211991 w 3258355"/>
              <a:gd name="connsiteY134" fmla="*/ 368336 h 1831376"/>
              <a:gd name="connsiteX135" fmla="*/ 3258355 w 3258355"/>
              <a:gd name="connsiteY135" fmla="*/ 358033 h 1831376"/>
              <a:gd name="connsiteX136" fmla="*/ 3240325 w 3258355"/>
              <a:gd name="connsiteY136" fmla="*/ 332275 h 1831376"/>
              <a:gd name="connsiteX137" fmla="*/ 3237749 w 3258355"/>
              <a:gd name="connsiteY137" fmla="*/ 301366 h 1831376"/>
              <a:gd name="connsiteX0" fmla="*/ 0 w 3191385"/>
              <a:gd name="connsiteY0" fmla="*/ 10303 h 1826224"/>
              <a:gd name="connsiteX1" fmla="*/ 41213 w 3191385"/>
              <a:gd name="connsiteY1" fmla="*/ 0 h 1826224"/>
              <a:gd name="connsiteX2" fmla="*/ 66971 w 3191385"/>
              <a:gd name="connsiteY2" fmla="*/ 28333 h 1826224"/>
              <a:gd name="connsiteX3" fmla="*/ 74698 w 3191385"/>
              <a:gd name="connsiteY3" fmla="*/ 97879 h 1826224"/>
              <a:gd name="connsiteX4" fmla="*/ 97880 w 3191385"/>
              <a:gd name="connsiteY4" fmla="*/ 151970 h 1826224"/>
              <a:gd name="connsiteX5" fmla="*/ 141668 w 3191385"/>
              <a:gd name="connsiteY5" fmla="*/ 154546 h 1826224"/>
              <a:gd name="connsiteX6" fmla="*/ 193184 w 3191385"/>
              <a:gd name="connsiteY6" fmla="*/ 185455 h 1826224"/>
              <a:gd name="connsiteX7" fmla="*/ 221517 w 3191385"/>
              <a:gd name="connsiteY7" fmla="*/ 239547 h 1826224"/>
              <a:gd name="connsiteX8" fmla="*/ 265305 w 3191385"/>
              <a:gd name="connsiteY8" fmla="*/ 260153 h 1826224"/>
              <a:gd name="connsiteX9" fmla="*/ 334851 w 3191385"/>
              <a:gd name="connsiteY9" fmla="*/ 327123 h 1826224"/>
              <a:gd name="connsiteX10" fmla="*/ 396670 w 3191385"/>
              <a:gd name="connsiteY10" fmla="*/ 365760 h 1826224"/>
              <a:gd name="connsiteX11" fmla="*/ 432731 w 3191385"/>
              <a:gd name="connsiteY11" fmla="*/ 340002 h 1826224"/>
              <a:gd name="connsiteX12" fmla="*/ 458488 w 3191385"/>
              <a:gd name="connsiteY12" fmla="*/ 352881 h 1826224"/>
              <a:gd name="connsiteX13" fmla="*/ 471367 w 3191385"/>
              <a:gd name="connsiteY13" fmla="*/ 365760 h 1826224"/>
              <a:gd name="connsiteX14" fmla="*/ 512580 w 3191385"/>
              <a:gd name="connsiteY14" fmla="*/ 337426 h 1826224"/>
              <a:gd name="connsiteX15" fmla="*/ 535762 w 3191385"/>
              <a:gd name="connsiteY15" fmla="*/ 314244 h 1826224"/>
              <a:gd name="connsiteX16" fmla="*/ 571822 w 3191385"/>
              <a:gd name="connsiteY16" fmla="*/ 314244 h 1826224"/>
              <a:gd name="connsiteX17" fmla="*/ 610459 w 3191385"/>
              <a:gd name="connsiteY17" fmla="*/ 350305 h 1826224"/>
              <a:gd name="connsiteX18" fmla="*/ 613035 w 3191385"/>
              <a:gd name="connsiteY18" fmla="*/ 425002 h 1826224"/>
              <a:gd name="connsiteX19" fmla="*/ 656823 w 3191385"/>
              <a:gd name="connsiteY19" fmla="*/ 455912 h 1826224"/>
              <a:gd name="connsiteX20" fmla="*/ 728945 w 3191385"/>
              <a:gd name="connsiteY20" fmla="*/ 499700 h 1826224"/>
              <a:gd name="connsiteX21" fmla="*/ 775309 w 3191385"/>
              <a:gd name="connsiteY21" fmla="*/ 512579 h 1826224"/>
              <a:gd name="connsiteX22" fmla="*/ 803642 w 3191385"/>
              <a:gd name="connsiteY22" fmla="*/ 502276 h 1826224"/>
              <a:gd name="connsiteX23" fmla="*/ 834551 w 3191385"/>
              <a:gd name="connsiteY23" fmla="*/ 520306 h 1826224"/>
              <a:gd name="connsiteX24" fmla="*/ 875764 w 3191385"/>
              <a:gd name="connsiteY24" fmla="*/ 499700 h 1826224"/>
              <a:gd name="connsiteX25" fmla="*/ 891219 w 3191385"/>
              <a:gd name="connsiteY25" fmla="*/ 476518 h 1826224"/>
              <a:gd name="connsiteX26" fmla="*/ 922128 w 3191385"/>
              <a:gd name="connsiteY26" fmla="*/ 499700 h 1826224"/>
              <a:gd name="connsiteX27" fmla="*/ 955613 w 3191385"/>
              <a:gd name="connsiteY27" fmla="*/ 479094 h 1826224"/>
              <a:gd name="connsiteX28" fmla="*/ 965916 w 3191385"/>
              <a:gd name="connsiteY28" fmla="*/ 450760 h 1826224"/>
              <a:gd name="connsiteX29" fmla="*/ 1014856 w 3191385"/>
              <a:gd name="connsiteY29" fmla="*/ 471366 h 1826224"/>
              <a:gd name="connsiteX30" fmla="*/ 1068947 w 3191385"/>
              <a:gd name="connsiteY30" fmla="*/ 528033 h 1826224"/>
              <a:gd name="connsiteX31" fmla="*/ 1123038 w 3191385"/>
              <a:gd name="connsiteY31" fmla="*/ 533185 h 1826224"/>
              <a:gd name="connsiteX32" fmla="*/ 1143644 w 3191385"/>
              <a:gd name="connsiteY32" fmla="*/ 517730 h 1826224"/>
              <a:gd name="connsiteX33" fmla="*/ 1190008 w 3191385"/>
              <a:gd name="connsiteY33" fmla="*/ 520306 h 1826224"/>
              <a:gd name="connsiteX34" fmla="*/ 1226069 w 3191385"/>
              <a:gd name="connsiteY34" fmla="*/ 553791 h 1826224"/>
              <a:gd name="connsiteX35" fmla="*/ 1241524 w 3191385"/>
              <a:gd name="connsiteY35" fmla="*/ 613034 h 1826224"/>
              <a:gd name="connsiteX36" fmla="*/ 1282736 w 3191385"/>
              <a:gd name="connsiteY36" fmla="*/ 682580 h 1826224"/>
              <a:gd name="connsiteX37" fmla="*/ 1280160 w 3191385"/>
              <a:gd name="connsiteY37" fmla="*/ 731520 h 1826224"/>
              <a:gd name="connsiteX38" fmla="*/ 1303342 w 3191385"/>
              <a:gd name="connsiteY38" fmla="*/ 775308 h 1826224"/>
              <a:gd name="connsiteX39" fmla="*/ 1352282 w 3191385"/>
              <a:gd name="connsiteY39" fmla="*/ 785611 h 1826224"/>
              <a:gd name="connsiteX40" fmla="*/ 1380616 w 3191385"/>
              <a:gd name="connsiteY40" fmla="*/ 813944 h 1826224"/>
              <a:gd name="connsiteX41" fmla="*/ 1457889 w 3191385"/>
              <a:gd name="connsiteY41" fmla="*/ 842278 h 1826224"/>
              <a:gd name="connsiteX42" fmla="*/ 1504253 w 3191385"/>
              <a:gd name="connsiteY42" fmla="*/ 821672 h 1826224"/>
              <a:gd name="connsiteX43" fmla="*/ 1540314 w 3191385"/>
              <a:gd name="connsiteY43" fmla="*/ 821672 h 1826224"/>
              <a:gd name="connsiteX44" fmla="*/ 1568647 w 3191385"/>
              <a:gd name="connsiteY44" fmla="*/ 875763 h 1826224"/>
              <a:gd name="connsiteX45" fmla="*/ 1589253 w 3191385"/>
              <a:gd name="connsiteY45" fmla="*/ 916975 h 1826224"/>
              <a:gd name="connsiteX46" fmla="*/ 1625314 w 3191385"/>
              <a:gd name="connsiteY46" fmla="*/ 940157 h 1826224"/>
              <a:gd name="connsiteX47" fmla="*/ 1666527 w 3191385"/>
              <a:gd name="connsiteY47" fmla="*/ 937581 h 1826224"/>
              <a:gd name="connsiteX48" fmla="*/ 1710315 w 3191385"/>
              <a:gd name="connsiteY48" fmla="*/ 973642 h 1826224"/>
              <a:gd name="connsiteX49" fmla="*/ 1777285 w 3191385"/>
              <a:gd name="connsiteY49" fmla="*/ 996824 h 1826224"/>
              <a:gd name="connsiteX50" fmla="*/ 1849407 w 3191385"/>
              <a:gd name="connsiteY50" fmla="*/ 989097 h 1826224"/>
              <a:gd name="connsiteX51" fmla="*/ 1877740 w 3191385"/>
              <a:gd name="connsiteY51" fmla="*/ 971067 h 1826224"/>
              <a:gd name="connsiteX52" fmla="*/ 1893195 w 3191385"/>
              <a:gd name="connsiteY52" fmla="*/ 989097 h 1826224"/>
              <a:gd name="connsiteX53" fmla="*/ 1900922 w 3191385"/>
              <a:gd name="connsiteY53" fmla="*/ 1025158 h 1826224"/>
              <a:gd name="connsiteX54" fmla="*/ 1949862 w 3191385"/>
              <a:gd name="connsiteY54" fmla="*/ 1038037 h 1826224"/>
              <a:gd name="connsiteX55" fmla="*/ 1970468 w 3191385"/>
              <a:gd name="connsiteY55" fmla="*/ 1066370 h 1826224"/>
              <a:gd name="connsiteX56" fmla="*/ 2001377 w 3191385"/>
              <a:gd name="connsiteY56" fmla="*/ 1112734 h 1826224"/>
              <a:gd name="connsiteX57" fmla="*/ 2063196 w 3191385"/>
              <a:gd name="connsiteY57" fmla="*/ 1128189 h 1826224"/>
              <a:gd name="connsiteX58" fmla="*/ 2132742 w 3191385"/>
              <a:gd name="connsiteY58" fmla="*/ 1159098 h 1826224"/>
              <a:gd name="connsiteX59" fmla="*/ 2163651 w 3191385"/>
              <a:gd name="connsiteY59" fmla="*/ 1153947 h 1826224"/>
              <a:gd name="connsiteX60" fmla="*/ 2197136 w 3191385"/>
              <a:gd name="connsiteY60" fmla="*/ 1182280 h 1826224"/>
              <a:gd name="connsiteX61" fmla="*/ 2243500 w 3191385"/>
              <a:gd name="connsiteY61" fmla="*/ 1190007 h 1826224"/>
              <a:gd name="connsiteX62" fmla="*/ 2266682 w 3191385"/>
              <a:gd name="connsiteY62" fmla="*/ 1226068 h 1826224"/>
              <a:gd name="connsiteX63" fmla="*/ 2310470 w 3191385"/>
              <a:gd name="connsiteY63" fmla="*/ 1262129 h 1826224"/>
              <a:gd name="connsiteX64" fmla="*/ 2372289 w 3191385"/>
              <a:gd name="connsiteY64" fmla="*/ 1267281 h 1826224"/>
              <a:gd name="connsiteX65" fmla="*/ 2372289 w 3191385"/>
              <a:gd name="connsiteY65" fmla="*/ 1267281 h 1826224"/>
              <a:gd name="connsiteX66" fmla="*/ 2392895 w 3191385"/>
              <a:gd name="connsiteY66" fmla="*/ 1246674 h 1826224"/>
              <a:gd name="connsiteX67" fmla="*/ 2410926 w 3191385"/>
              <a:gd name="connsiteY67" fmla="*/ 1267281 h 1826224"/>
              <a:gd name="connsiteX68" fmla="*/ 2410926 w 3191385"/>
              <a:gd name="connsiteY68" fmla="*/ 1308493 h 1826224"/>
              <a:gd name="connsiteX69" fmla="*/ 2444411 w 3191385"/>
              <a:gd name="connsiteY69" fmla="*/ 1329099 h 1826224"/>
              <a:gd name="connsiteX70" fmla="*/ 2483047 w 3191385"/>
              <a:gd name="connsiteY70" fmla="*/ 1329099 h 1826224"/>
              <a:gd name="connsiteX71" fmla="*/ 2524260 w 3191385"/>
              <a:gd name="connsiteY71" fmla="*/ 1354857 h 1826224"/>
              <a:gd name="connsiteX72" fmla="*/ 2531987 w 3191385"/>
              <a:gd name="connsiteY72" fmla="*/ 1406372 h 1826224"/>
              <a:gd name="connsiteX73" fmla="*/ 2560320 w 3191385"/>
              <a:gd name="connsiteY73" fmla="*/ 1432130 h 1826224"/>
              <a:gd name="connsiteX74" fmla="*/ 2560320 w 3191385"/>
              <a:gd name="connsiteY74" fmla="*/ 1455312 h 1826224"/>
              <a:gd name="connsiteX75" fmla="*/ 2604109 w 3191385"/>
              <a:gd name="connsiteY75" fmla="*/ 1483646 h 1826224"/>
              <a:gd name="connsiteX76" fmla="*/ 2598957 w 3191385"/>
              <a:gd name="connsiteY76" fmla="*/ 1532585 h 1826224"/>
              <a:gd name="connsiteX77" fmla="*/ 2637594 w 3191385"/>
              <a:gd name="connsiteY77" fmla="*/ 1568646 h 1826224"/>
              <a:gd name="connsiteX78" fmla="*/ 2683958 w 3191385"/>
              <a:gd name="connsiteY78" fmla="*/ 1604707 h 1826224"/>
              <a:gd name="connsiteX79" fmla="*/ 2727746 w 3191385"/>
              <a:gd name="connsiteY79" fmla="*/ 1591828 h 1826224"/>
              <a:gd name="connsiteX80" fmla="*/ 2781837 w 3191385"/>
              <a:gd name="connsiteY80" fmla="*/ 1622738 h 1826224"/>
              <a:gd name="connsiteX81" fmla="*/ 2812746 w 3191385"/>
              <a:gd name="connsiteY81" fmla="*/ 1599556 h 1826224"/>
              <a:gd name="connsiteX82" fmla="*/ 2864262 w 3191385"/>
              <a:gd name="connsiteY82" fmla="*/ 1625313 h 1826224"/>
              <a:gd name="connsiteX83" fmla="*/ 2908050 w 3191385"/>
              <a:gd name="connsiteY83" fmla="*/ 1671677 h 1826224"/>
              <a:gd name="connsiteX84" fmla="*/ 2946687 w 3191385"/>
              <a:gd name="connsiteY84" fmla="*/ 1743799 h 1826224"/>
              <a:gd name="connsiteX85" fmla="*/ 2967293 w 3191385"/>
              <a:gd name="connsiteY85" fmla="*/ 1756678 h 1826224"/>
              <a:gd name="connsiteX86" fmla="*/ 2985323 w 3191385"/>
              <a:gd name="connsiteY86" fmla="*/ 1787587 h 1826224"/>
              <a:gd name="connsiteX87" fmla="*/ 3008505 w 3191385"/>
              <a:gd name="connsiteY87" fmla="*/ 1826224 h 1826224"/>
              <a:gd name="connsiteX88" fmla="*/ 3036839 w 3191385"/>
              <a:gd name="connsiteY88" fmla="*/ 1826224 h 1826224"/>
              <a:gd name="connsiteX89" fmla="*/ 3060021 w 3191385"/>
              <a:gd name="connsiteY89" fmla="*/ 1797890 h 1826224"/>
              <a:gd name="connsiteX90" fmla="*/ 3096082 w 3191385"/>
              <a:gd name="connsiteY90" fmla="*/ 1761829 h 1826224"/>
              <a:gd name="connsiteX91" fmla="*/ 3093506 w 3191385"/>
              <a:gd name="connsiteY91" fmla="*/ 1720617 h 1826224"/>
              <a:gd name="connsiteX92" fmla="*/ 3108960 w 3191385"/>
              <a:gd name="connsiteY92" fmla="*/ 1697435 h 1826224"/>
              <a:gd name="connsiteX93" fmla="*/ 3106385 w 3191385"/>
              <a:gd name="connsiteY93" fmla="*/ 1625313 h 1826224"/>
              <a:gd name="connsiteX94" fmla="*/ 3132142 w 3191385"/>
              <a:gd name="connsiteY94" fmla="*/ 1584101 h 1826224"/>
              <a:gd name="connsiteX95" fmla="*/ 3111536 w 3191385"/>
              <a:gd name="connsiteY95" fmla="*/ 1550616 h 1826224"/>
              <a:gd name="connsiteX96" fmla="*/ 3139870 w 3191385"/>
              <a:gd name="connsiteY96" fmla="*/ 1511979 h 1826224"/>
              <a:gd name="connsiteX97" fmla="*/ 3147597 w 3191385"/>
              <a:gd name="connsiteY97" fmla="*/ 1478494 h 1826224"/>
              <a:gd name="connsiteX98" fmla="*/ 3111536 w 3191385"/>
              <a:gd name="connsiteY98" fmla="*/ 1426979 h 1826224"/>
              <a:gd name="connsiteX99" fmla="*/ 3049718 w 3191385"/>
              <a:gd name="connsiteY99" fmla="*/ 1378039 h 1826224"/>
              <a:gd name="connsiteX100" fmla="*/ 3036839 w 3191385"/>
              <a:gd name="connsiteY100" fmla="*/ 1329099 h 1826224"/>
              <a:gd name="connsiteX101" fmla="*/ 3026536 w 3191385"/>
              <a:gd name="connsiteY101" fmla="*/ 1272432 h 1826224"/>
              <a:gd name="connsiteX102" fmla="*/ 3005929 w 3191385"/>
              <a:gd name="connsiteY102" fmla="*/ 1236371 h 1826224"/>
              <a:gd name="connsiteX103" fmla="*/ 3018808 w 3191385"/>
              <a:gd name="connsiteY103" fmla="*/ 1197735 h 1826224"/>
              <a:gd name="connsiteX104" fmla="*/ 2969869 w 3191385"/>
              <a:gd name="connsiteY104" fmla="*/ 1076673 h 1826224"/>
              <a:gd name="connsiteX105" fmla="*/ 2969869 w 3191385"/>
              <a:gd name="connsiteY105" fmla="*/ 1032885 h 1826224"/>
              <a:gd name="connsiteX106" fmla="*/ 2944111 w 3191385"/>
              <a:gd name="connsiteY106" fmla="*/ 968491 h 1826224"/>
              <a:gd name="connsiteX107" fmla="*/ 2941535 w 3191385"/>
              <a:gd name="connsiteY107" fmla="*/ 932430 h 1826224"/>
              <a:gd name="connsiteX108" fmla="*/ 2920929 w 3191385"/>
              <a:gd name="connsiteY108" fmla="*/ 893793 h 1826224"/>
              <a:gd name="connsiteX109" fmla="*/ 2841080 w 3191385"/>
              <a:gd name="connsiteY109" fmla="*/ 847429 h 1826224"/>
              <a:gd name="connsiteX110" fmla="*/ 2838504 w 3191385"/>
              <a:gd name="connsiteY110" fmla="*/ 811369 h 1826224"/>
              <a:gd name="connsiteX111" fmla="*/ 2807595 w 3191385"/>
              <a:gd name="connsiteY111" fmla="*/ 788187 h 1826224"/>
              <a:gd name="connsiteX112" fmla="*/ 2784413 w 3191385"/>
              <a:gd name="connsiteY112" fmla="*/ 788187 h 1826224"/>
              <a:gd name="connsiteX113" fmla="*/ 2740625 w 3191385"/>
              <a:gd name="connsiteY113" fmla="*/ 790762 h 1826224"/>
              <a:gd name="connsiteX114" fmla="*/ 2671079 w 3191385"/>
              <a:gd name="connsiteY114" fmla="*/ 752126 h 1826224"/>
              <a:gd name="connsiteX115" fmla="*/ 2619563 w 3191385"/>
              <a:gd name="connsiteY115" fmla="*/ 687731 h 1826224"/>
              <a:gd name="connsiteX116" fmla="*/ 2575775 w 3191385"/>
              <a:gd name="connsiteY116" fmla="*/ 664549 h 1826224"/>
              <a:gd name="connsiteX117" fmla="*/ 2570624 w 3191385"/>
              <a:gd name="connsiteY117" fmla="*/ 628489 h 1826224"/>
              <a:gd name="connsiteX118" fmla="*/ 2547442 w 3191385"/>
              <a:gd name="connsiteY118" fmla="*/ 579549 h 1826224"/>
              <a:gd name="connsiteX119" fmla="*/ 2506229 w 3191385"/>
              <a:gd name="connsiteY119" fmla="*/ 548640 h 1826224"/>
              <a:gd name="connsiteX120" fmla="*/ 2511381 w 3191385"/>
              <a:gd name="connsiteY120" fmla="*/ 504851 h 1826224"/>
              <a:gd name="connsiteX121" fmla="*/ 2547442 w 3191385"/>
              <a:gd name="connsiteY121" fmla="*/ 448184 h 1826224"/>
              <a:gd name="connsiteX122" fmla="*/ 2552593 w 3191385"/>
              <a:gd name="connsiteY122" fmla="*/ 383790 h 1826224"/>
              <a:gd name="connsiteX123" fmla="*/ 2580927 w 3191385"/>
              <a:gd name="connsiteY123" fmla="*/ 347729 h 1826224"/>
              <a:gd name="connsiteX124" fmla="*/ 2627291 w 3191385"/>
              <a:gd name="connsiteY124" fmla="*/ 324547 h 1826224"/>
              <a:gd name="connsiteX125" fmla="*/ 2650473 w 3191385"/>
              <a:gd name="connsiteY125" fmla="*/ 280759 h 1826224"/>
              <a:gd name="connsiteX126" fmla="*/ 2699412 w 3191385"/>
              <a:gd name="connsiteY126" fmla="*/ 278183 h 1826224"/>
              <a:gd name="connsiteX127" fmla="*/ 2730322 w 3191385"/>
              <a:gd name="connsiteY127" fmla="*/ 293638 h 1826224"/>
              <a:gd name="connsiteX128" fmla="*/ 2805019 w 3191385"/>
              <a:gd name="connsiteY128" fmla="*/ 278183 h 1826224"/>
              <a:gd name="connsiteX129" fmla="*/ 2841080 w 3191385"/>
              <a:gd name="connsiteY129" fmla="*/ 303941 h 1826224"/>
              <a:gd name="connsiteX130" fmla="*/ 2890020 w 3191385"/>
              <a:gd name="connsiteY130" fmla="*/ 296214 h 1826224"/>
              <a:gd name="connsiteX131" fmla="*/ 2941535 w 3191385"/>
              <a:gd name="connsiteY131" fmla="*/ 314244 h 1826224"/>
              <a:gd name="connsiteX132" fmla="*/ 3021384 w 3191385"/>
              <a:gd name="connsiteY132" fmla="*/ 352881 h 1826224"/>
              <a:gd name="connsiteX133" fmla="*/ 3145021 w 3191385"/>
              <a:gd name="connsiteY133" fmla="*/ 363184 h 1826224"/>
              <a:gd name="connsiteX134" fmla="*/ 3191385 w 3191385"/>
              <a:gd name="connsiteY134" fmla="*/ 352881 h 1826224"/>
              <a:gd name="connsiteX135" fmla="*/ 3173355 w 3191385"/>
              <a:gd name="connsiteY135" fmla="*/ 327123 h 1826224"/>
              <a:gd name="connsiteX136" fmla="*/ 3170779 w 3191385"/>
              <a:gd name="connsiteY136" fmla="*/ 296214 h 1826224"/>
              <a:gd name="connsiteX0" fmla="*/ 0 w 3150172"/>
              <a:gd name="connsiteY0" fmla="*/ 0 h 1826224"/>
              <a:gd name="connsiteX1" fmla="*/ 25758 w 3150172"/>
              <a:gd name="connsiteY1" fmla="*/ 28333 h 1826224"/>
              <a:gd name="connsiteX2" fmla="*/ 33485 w 3150172"/>
              <a:gd name="connsiteY2" fmla="*/ 97879 h 1826224"/>
              <a:gd name="connsiteX3" fmla="*/ 56667 w 3150172"/>
              <a:gd name="connsiteY3" fmla="*/ 151970 h 1826224"/>
              <a:gd name="connsiteX4" fmla="*/ 100455 w 3150172"/>
              <a:gd name="connsiteY4" fmla="*/ 154546 h 1826224"/>
              <a:gd name="connsiteX5" fmla="*/ 151971 w 3150172"/>
              <a:gd name="connsiteY5" fmla="*/ 185455 h 1826224"/>
              <a:gd name="connsiteX6" fmla="*/ 180304 w 3150172"/>
              <a:gd name="connsiteY6" fmla="*/ 239547 h 1826224"/>
              <a:gd name="connsiteX7" fmla="*/ 224092 w 3150172"/>
              <a:gd name="connsiteY7" fmla="*/ 260153 h 1826224"/>
              <a:gd name="connsiteX8" fmla="*/ 293638 w 3150172"/>
              <a:gd name="connsiteY8" fmla="*/ 327123 h 1826224"/>
              <a:gd name="connsiteX9" fmla="*/ 355457 w 3150172"/>
              <a:gd name="connsiteY9" fmla="*/ 365760 h 1826224"/>
              <a:gd name="connsiteX10" fmla="*/ 391518 w 3150172"/>
              <a:gd name="connsiteY10" fmla="*/ 340002 h 1826224"/>
              <a:gd name="connsiteX11" fmla="*/ 417275 w 3150172"/>
              <a:gd name="connsiteY11" fmla="*/ 352881 h 1826224"/>
              <a:gd name="connsiteX12" fmla="*/ 430154 w 3150172"/>
              <a:gd name="connsiteY12" fmla="*/ 365760 h 1826224"/>
              <a:gd name="connsiteX13" fmla="*/ 471367 w 3150172"/>
              <a:gd name="connsiteY13" fmla="*/ 337426 h 1826224"/>
              <a:gd name="connsiteX14" fmla="*/ 494549 w 3150172"/>
              <a:gd name="connsiteY14" fmla="*/ 314244 h 1826224"/>
              <a:gd name="connsiteX15" fmla="*/ 530609 w 3150172"/>
              <a:gd name="connsiteY15" fmla="*/ 314244 h 1826224"/>
              <a:gd name="connsiteX16" fmla="*/ 569246 w 3150172"/>
              <a:gd name="connsiteY16" fmla="*/ 350305 h 1826224"/>
              <a:gd name="connsiteX17" fmla="*/ 571822 w 3150172"/>
              <a:gd name="connsiteY17" fmla="*/ 425002 h 1826224"/>
              <a:gd name="connsiteX18" fmla="*/ 615610 w 3150172"/>
              <a:gd name="connsiteY18" fmla="*/ 455912 h 1826224"/>
              <a:gd name="connsiteX19" fmla="*/ 687732 w 3150172"/>
              <a:gd name="connsiteY19" fmla="*/ 499700 h 1826224"/>
              <a:gd name="connsiteX20" fmla="*/ 734096 w 3150172"/>
              <a:gd name="connsiteY20" fmla="*/ 512579 h 1826224"/>
              <a:gd name="connsiteX21" fmla="*/ 762429 w 3150172"/>
              <a:gd name="connsiteY21" fmla="*/ 502276 h 1826224"/>
              <a:gd name="connsiteX22" fmla="*/ 793338 w 3150172"/>
              <a:gd name="connsiteY22" fmla="*/ 520306 h 1826224"/>
              <a:gd name="connsiteX23" fmla="*/ 834551 w 3150172"/>
              <a:gd name="connsiteY23" fmla="*/ 499700 h 1826224"/>
              <a:gd name="connsiteX24" fmla="*/ 850006 w 3150172"/>
              <a:gd name="connsiteY24" fmla="*/ 476518 h 1826224"/>
              <a:gd name="connsiteX25" fmla="*/ 880915 w 3150172"/>
              <a:gd name="connsiteY25" fmla="*/ 499700 h 1826224"/>
              <a:gd name="connsiteX26" fmla="*/ 914400 w 3150172"/>
              <a:gd name="connsiteY26" fmla="*/ 479094 h 1826224"/>
              <a:gd name="connsiteX27" fmla="*/ 924703 w 3150172"/>
              <a:gd name="connsiteY27" fmla="*/ 450760 h 1826224"/>
              <a:gd name="connsiteX28" fmla="*/ 973643 w 3150172"/>
              <a:gd name="connsiteY28" fmla="*/ 471366 h 1826224"/>
              <a:gd name="connsiteX29" fmla="*/ 1027734 w 3150172"/>
              <a:gd name="connsiteY29" fmla="*/ 528033 h 1826224"/>
              <a:gd name="connsiteX30" fmla="*/ 1081825 w 3150172"/>
              <a:gd name="connsiteY30" fmla="*/ 533185 h 1826224"/>
              <a:gd name="connsiteX31" fmla="*/ 1102431 w 3150172"/>
              <a:gd name="connsiteY31" fmla="*/ 517730 h 1826224"/>
              <a:gd name="connsiteX32" fmla="*/ 1148795 w 3150172"/>
              <a:gd name="connsiteY32" fmla="*/ 520306 h 1826224"/>
              <a:gd name="connsiteX33" fmla="*/ 1184856 w 3150172"/>
              <a:gd name="connsiteY33" fmla="*/ 553791 h 1826224"/>
              <a:gd name="connsiteX34" fmla="*/ 1200311 w 3150172"/>
              <a:gd name="connsiteY34" fmla="*/ 613034 h 1826224"/>
              <a:gd name="connsiteX35" fmla="*/ 1241523 w 3150172"/>
              <a:gd name="connsiteY35" fmla="*/ 682580 h 1826224"/>
              <a:gd name="connsiteX36" fmla="*/ 1238947 w 3150172"/>
              <a:gd name="connsiteY36" fmla="*/ 731520 h 1826224"/>
              <a:gd name="connsiteX37" fmla="*/ 1262129 w 3150172"/>
              <a:gd name="connsiteY37" fmla="*/ 775308 h 1826224"/>
              <a:gd name="connsiteX38" fmla="*/ 1311069 w 3150172"/>
              <a:gd name="connsiteY38" fmla="*/ 785611 h 1826224"/>
              <a:gd name="connsiteX39" fmla="*/ 1339403 w 3150172"/>
              <a:gd name="connsiteY39" fmla="*/ 813944 h 1826224"/>
              <a:gd name="connsiteX40" fmla="*/ 1416676 w 3150172"/>
              <a:gd name="connsiteY40" fmla="*/ 842278 h 1826224"/>
              <a:gd name="connsiteX41" fmla="*/ 1463040 w 3150172"/>
              <a:gd name="connsiteY41" fmla="*/ 821672 h 1826224"/>
              <a:gd name="connsiteX42" fmla="*/ 1499101 w 3150172"/>
              <a:gd name="connsiteY42" fmla="*/ 821672 h 1826224"/>
              <a:gd name="connsiteX43" fmla="*/ 1527434 w 3150172"/>
              <a:gd name="connsiteY43" fmla="*/ 875763 h 1826224"/>
              <a:gd name="connsiteX44" fmla="*/ 1548040 w 3150172"/>
              <a:gd name="connsiteY44" fmla="*/ 916975 h 1826224"/>
              <a:gd name="connsiteX45" fmla="*/ 1584101 w 3150172"/>
              <a:gd name="connsiteY45" fmla="*/ 940157 h 1826224"/>
              <a:gd name="connsiteX46" fmla="*/ 1625314 w 3150172"/>
              <a:gd name="connsiteY46" fmla="*/ 937581 h 1826224"/>
              <a:gd name="connsiteX47" fmla="*/ 1669102 w 3150172"/>
              <a:gd name="connsiteY47" fmla="*/ 973642 h 1826224"/>
              <a:gd name="connsiteX48" fmla="*/ 1736072 w 3150172"/>
              <a:gd name="connsiteY48" fmla="*/ 996824 h 1826224"/>
              <a:gd name="connsiteX49" fmla="*/ 1808194 w 3150172"/>
              <a:gd name="connsiteY49" fmla="*/ 989097 h 1826224"/>
              <a:gd name="connsiteX50" fmla="*/ 1836527 w 3150172"/>
              <a:gd name="connsiteY50" fmla="*/ 971067 h 1826224"/>
              <a:gd name="connsiteX51" fmla="*/ 1851982 w 3150172"/>
              <a:gd name="connsiteY51" fmla="*/ 989097 h 1826224"/>
              <a:gd name="connsiteX52" fmla="*/ 1859709 w 3150172"/>
              <a:gd name="connsiteY52" fmla="*/ 1025158 h 1826224"/>
              <a:gd name="connsiteX53" fmla="*/ 1908649 w 3150172"/>
              <a:gd name="connsiteY53" fmla="*/ 1038037 h 1826224"/>
              <a:gd name="connsiteX54" fmla="*/ 1929255 w 3150172"/>
              <a:gd name="connsiteY54" fmla="*/ 1066370 h 1826224"/>
              <a:gd name="connsiteX55" fmla="*/ 1960164 w 3150172"/>
              <a:gd name="connsiteY55" fmla="*/ 1112734 h 1826224"/>
              <a:gd name="connsiteX56" fmla="*/ 2021983 w 3150172"/>
              <a:gd name="connsiteY56" fmla="*/ 1128189 h 1826224"/>
              <a:gd name="connsiteX57" fmla="*/ 2091529 w 3150172"/>
              <a:gd name="connsiteY57" fmla="*/ 1159098 h 1826224"/>
              <a:gd name="connsiteX58" fmla="*/ 2122438 w 3150172"/>
              <a:gd name="connsiteY58" fmla="*/ 1153947 h 1826224"/>
              <a:gd name="connsiteX59" fmla="*/ 2155923 w 3150172"/>
              <a:gd name="connsiteY59" fmla="*/ 1182280 h 1826224"/>
              <a:gd name="connsiteX60" fmla="*/ 2202287 w 3150172"/>
              <a:gd name="connsiteY60" fmla="*/ 1190007 h 1826224"/>
              <a:gd name="connsiteX61" fmla="*/ 2225469 w 3150172"/>
              <a:gd name="connsiteY61" fmla="*/ 1226068 h 1826224"/>
              <a:gd name="connsiteX62" fmla="*/ 2269257 w 3150172"/>
              <a:gd name="connsiteY62" fmla="*/ 1262129 h 1826224"/>
              <a:gd name="connsiteX63" fmla="*/ 2331076 w 3150172"/>
              <a:gd name="connsiteY63" fmla="*/ 1267281 h 1826224"/>
              <a:gd name="connsiteX64" fmla="*/ 2331076 w 3150172"/>
              <a:gd name="connsiteY64" fmla="*/ 1267281 h 1826224"/>
              <a:gd name="connsiteX65" fmla="*/ 2351682 w 3150172"/>
              <a:gd name="connsiteY65" fmla="*/ 1246674 h 1826224"/>
              <a:gd name="connsiteX66" fmla="*/ 2369713 w 3150172"/>
              <a:gd name="connsiteY66" fmla="*/ 1267281 h 1826224"/>
              <a:gd name="connsiteX67" fmla="*/ 2369713 w 3150172"/>
              <a:gd name="connsiteY67" fmla="*/ 1308493 h 1826224"/>
              <a:gd name="connsiteX68" fmla="*/ 2403198 w 3150172"/>
              <a:gd name="connsiteY68" fmla="*/ 1329099 h 1826224"/>
              <a:gd name="connsiteX69" fmla="*/ 2441834 w 3150172"/>
              <a:gd name="connsiteY69" fmla="*/ 1329099 h 1826224"/>
              <a:gd name="connsiteX70" fmla="*/ 2483047 w 3150172"/>
              <a:gd name="connsiteY70" fmla="*/ 1354857 h 1826224"/>
              <a:gd name="connsiteX71" fmla="*/ 2490774 w 3150172"/>
              <a:gd name="connsiteY71" fmla="*/ 1406372 h 1826224"/>
              <a:gd name="connsiteX72" fmla="*/ 2519107 w 3150172"/>
              <a:gd name="connsiteY72" fmla="*/ 1432130 h 1826224"/>
              <a:gd name="connsiteX73" fmla="*/ 2519107 w 3150172"/>
              <a:gd name="connsiteY73" fmla="*/ 1455312 h 1826224"/>
              <a:gd name="connsiteX74" fmla="*/ 2562896 w 3150172"/>
              <a:gd name="connsiteY74" fmla="*/ 1483646 h 1826224"/>
              <a:gd name="connsiteX75" fmla="*/ 2557744 w 3150172"/>
              <a:gd name="connsiteY75" fmla="*/ 1532585 h 1826224"/>
              <a:gd name="connsiteX76" fmla="*/ 2596381 w 3150172"/>
              <a:gd name="connsiteY76" fmla="*/ 1568646 h 1826224"/>
              <a:gd name="connsiteX77" fmla="*/ 2642745 w 3150172"/>
              <a:gd name="connsiteY77" fmla="*/ 1604707 h 1826224"/>
              <a:gd name="connsiteX78" fmla="*/ 2686533 w 3150172"/>
              <a:gd name="connsiteY78" fmla="*/ 1591828 h 1826224"/>
              <a:gd name="connsiteX79" fmla="*/ 2740624 w 3150172"/>
              <a:gd name="connsiteY79" fmla="*/ 1622738 h 1826224"/>
              <a:gd name="connsiteX80" fmla="*/ 2771533 w 3150172"/>
              <a:gd name="connsiteY80" fmla="*/ 1599556 h 1826224"/>
              <a:gd name="connsiteX81" fmla="*/ 2823049 w 3150172"/>
              <a:gd name="connsiteY81" fmla="*/ 1625313 h 1826224"/>
              <a:gd name="connsiteX82" fmla="*/ 2866837 w 3150172"/>
              <a:gd name="connsiteY82" fmla="*/ 1671677 h 1826224"/>
              <a:gd name="connsiteX83" fmla="*/ 2905474 w 3150172"/>
              <a:gd name="connsiteY83" fmla="*/ 1743799 h 1826224"/>
              <a:gd name="connsiteX84" fmla="*/ 2926080 w 3150172"/>
              <a:gd name="connsiteY84" fmla="*/ 1756678 h 1826224"/>
              <a:gd name="connsiteX85" fmla="*/ 2944110 w 3150172"/>
              <a:gd name="connsiteY85" fmla="*/ 1787587 h 1826224"/>
              <a:gd name="connsiteX86" fmla="*/ 2967292 w 3150172"/>
              <a:gd name="connsiteY86" fmla="*/ 1826224 h 1826224"/>
              <a:gd name="connsiteX87" fmla="*/ 2995626 w 3150172"/>
              <a:gd name="connsiteY87" fmla="*/ 1826224 h 1826224"/>
              <a:gd name="connsiteX88" fmla="*/ 3018808 w 3150172"/>
              <a:gd name="connsiteY88" fmla="*/ 1797890 h 1826224"/>
              <a:gd name="connsiteX89" fmla="*/ 3054869 w 3150172"/>
              <a:gd name="connsiteY89" fmla="*/ 1761829 h 1826224"/>
              <a:gd name="connsiteX90" fmla="*/ 3052293 w 3150172"/>
              <a:gd name="connsiteY90" fmla="*/ 1720617 h 1826224"/>
              <a:gd name="connsiteX91" fmla="*/ 3067747 w 3150172"/>
              <a:gd name="connsiteY91" fmla="*/ 1697435 h 1826224"/>
              <a:gd name="connsiteX92" fmla="*/ 3065172 w 3150172"/>
              <a:gd name="connsiteY92" fmla="*/ 1625313 h 1826224"/>
              <a:gd name="connsiteX93" fmla="*/ 3090929 w 3150172"/>
              <a:gd name="connsiteY93" fmla="*/ 1584101 h 1826224"/>
              <a:gd name="connsiteX94" fmla="*/ 3070323 w 3150172"/>
              <a:gd name="connsiteY94" fmla="*/ 1550616 h 1826224"/>
              <a:gd name="connsiteX95" fmla="*/ 3098657 w 3150172"/>
              <a:gd name="connsiteY95" fmla="*/ 1511979 h 1826224"/>
              <a:gd name="connsiteX96" fmla="*/ 3106384 w 3150172"/>
              <a:gd name="connsiteY96" fmla="*/ 1478494 h 1826224"/>
              <a:gd name="connsiteX97" fmla="*/ 3070323 w 3150172"/>
              <a:gd name="connsiteY97" fmla="*/ 1426979 h 1826224"/>
              <a:gd name="connsiteX98" fmla="*/ 3008505 w 3150172"/>
              <a:gd name="connsiteY98" fmla="*/ 1378039 h 1826224"/>
              <a:gd name="connsiteX99" fmla="*/ 2995626 w 3150172"/>
              <a:gd name="connsiteY99" fmla="*/ 1329099 h 1826224"/>
              <a:gd name="connsiteX100" fmla="*/ 2985323 w 3150172"/>
              <a:gd name="connsiteY100" fmla="*/ 1272432 h 1826224"/>
              <a:gd name="connsiteX101" fmla="*/ 2964716 w 3150172"/>
              <a:gd name="connsiteY101" fmla="*/ 1236371 h 1826224"/>
              <a:gd name="connsiteX102" fmla="*/ 2977595 w 3150172"/>
              <a:gd name="connsiteY102" fmla="*/ 1197735 h 1826224"/>
              <a:gd name="connsiteX103" fmla="*/ 2928656 w 3150172"/>
              <a:gd name="connsiteY103" fmla="*/ 1076673 h 1826224"/>
              <a:gd name="connsiteX104" fmla="*/ 2928656 w 3150172"/>
              <a:gd name="connsiteY104" fmla="*/ 1032885 h 1826224"/>
              <a:gd name="connsiteX105" fmla="*/ 2902898 w 3150172"/>
              <a:gd name="connsiteY105" fmla="*/ 968491 h 1826224"/>
              <a:gd name="connsiteX106" fmla="*/ 2900322 w 3150172"/>
              <a:gd name="connsiteY106" fmla="*/ 932430 h 1826224"/>
              <a:gd name="connsiteX107" fmla="*/ 2879716 w 3150172"/>
              <a:gd name="connsiteY107" fmla="*/ 893793 h 1826224"/>
              <a:gd name="connsiteX108" fmla="*/ 2799867 w 3150172"/>
              <a:gd name="connsiteY108" fmla="*/ 847429 h 1826224"/>
              <a:gd name="connsiteX109" fmla="*/ 2797291 w 3150172"/>
              <a:gd name="connsiteY109" fmla="*/ 811369 h 1826224"/>
              <a:gd name="connsiteX110" fmla="*/ 2766382 w 3150172"/>
              <a:gd name="connsiteY110" fmla="*/ 788187 h 1826224"/>
              <a:gd name="connsiteX111" fmla="*/ 2743200 w 3150172"/>
              <a:gd name="connsiteY111" fmla="*/ 788187 h 1826224"/>
              <a:gd name="connsiteX112" fmla="*/ 2699412 w 3150172"/>
              <a:gd name="connsiteY112" fmla="*/ 790762 h 1826224"/>
              <a:gd name="connsiteX113" fmla="*/ 2629866 w 3150172"/>
              <a:gd name="connsiteY113" fmla="*/ 752126 h 1826224"/>
              <a:gd name="connsiteX114" fmla="*/ 2578350 w 3150172"/>
              <a:gd name="connsiteY114" fmla="*/ 687731 h 1826224"/>
              <a:gd name="connsiteX115" fmla="*/ 2534562 w 3150172"/>
              <a:gd name="connsiteY115" fmla="*/ 664549 h 1826224"/>
              <a:gd name="connsiteX116" fmla="*/ 2529411 w 3150172"/>
              <a:gd name="connsiteY116" fmla="*/ 628489 h 1826224"/>
              <a:gd name="connsiteX117" fmla="*/ 2506229 w 3150172"/>
              <a:gd name="connsiteY117" fmla="*/ 579549 h 1826224"/>
              <a:gd name="connsiteX118" fmla="*/ 2465016 w 3150172"/>
              <a:gd name="connsiteY118" fmla="*/ 548640 h 1826224"/>
              <a:gd name="connsiteX119" fmla="*/ 2470168 w 3150172"/>
              <a:gd name="connsiteY119" fmla="*/ 504851 h 1826224"/>
              <a:gd name="connsiteX120" fmla="*/ 2506229 w 3150172"/>
              <a:gd name="connsiteY120" fmla="*/ 448184 h 1826224"/>
              <a:gd name="connsiteX121" fmla="*/ 2511380 w 3150172"/>
              <a:gd name="connsiteY121" fmla="*/ 383790 h 1826224"/>
              <a:gd name="connsiteX122" fmla="*/ 2539714 w 3150172"/>
              <a:gd name="connsiteY122" fmla="*/ 347729 h 1826224"/>
              <a:gd name="connsiteX123" fmla="*/ 2586078 w 3150172"/>
              <a:gd name="connsiteY123" fmla="*/ 324547 h 1826224"/>
              <a:gd name="connsiteX124" fmla="*/ 2609260 w 3150172"/>
              <a:gd name="connsiteY124" fmla="*/ 280759 h 1826224"/>
              <a:gd name="connsiteX125" fmla="*/ 2658199 w 3150172"/>
              <a:gd name="connsiteY125" fmla="*/ 278183 h 1826224"/>
              <a:gd name="connsiteX126" fmla="*/ 2689109 w 3150172"/>
              <a:gd name="connsiteY126" fmla="*/ 293638 h 1826224"/>
              <a:gd name="connsiteX127" fmla="*/ 2763806 w 3150172"/>
              <a:gd name="connsiteY127" fmla="*/ 278183 h 1826224"/>
              <a:gd name="connsiteX128" fmla="*/ 2799867 w 3150172"/>
              <a:gd name="connsiteY128" fmla="*/ 303941 h 1826224"/>
              <a:gd name="connsiteX129" fmla="*/ 2848807 w 3150172"/>
              <a:gd name="connsiteY129" fmla="*/ 296214 h 1826224"/>
              <a:gd name="connsiteX130" fmla="*/ 2900322 w 3150172"/>
              <a:gd name="connsiteY130" fmla="*/ 314244 h 1826224"/>
              <a:gd name="connsiteX131" fmla="*/ 2980171 w 3150172"/>
              <a:gd name="connsiteY131" fmla="*/ 352881 h 1826224"/>
              <a:gd name="connsiteX132" fmla="*/ 3103808 w 3150172"/>
              <a:gd name="connsiteY132" fmla="*/ 363184 h 1826224"/>
              <a:gd name="connsiteX133" fmla="*/ 3150172 w 3150172"/>
              <a:gd name="connsiteY133" fmla="*/ 352881 h 1826224"/>
              <a:gd name="connsiteX134" fmla="*/ 3132142 w 3150172"/>
              <a:gd name="connsiteY134" fmla="*/ 327123 h 1826224"/>
              <a:gd name="connsiteX135" fmla="*/ 3129566 w 3150172"/>
              <a:gd name="connsiteY135" fmla="*/ 296214 h 1826224"/>
              <a:gd name="connsiteX0" fmla="*/ 0 w 3124414"/>
              <a:gd name="connsiteY0" fmla="*/ 0 h 1797891"/>
              <a:gd name="connsiteX1" fmla="*/ 7727 w 3124414"/>
              <a:gd name="connsiteY1" fmla="*/ 69546 h 1797891"/>
              <a:gd name="connsiteX2" fmla="*/ 30909 w 3124414"/>
              <a:gd name="connsiteY2" fmla="*/ 123637 h 1797891"/>
              <a:gd name="connsiteX3" fmla="*/ 74697 w 3124414"/>
              <a:gd name="connsiteY3" fmla="*/ 126213 h 1797891"/>
              <a:gd name="connsiteX4" fmla="*/ 126213 w 3124414"/>
              <a:gd name="connsiteY4" fmla="*/ 157122 h 1797891"/>
              <a:gd name="connsiteX5" fmla="*/ 154546 w 3124414"/>
              <a:gd name="connsiteY5" fmla="*/ 211214 h 1797891"/>
              <a:gd name="connsiteX6" fmla="*/ 198334 w 3124414"/>
              <a:gd name="connsiteY6" fmla="*/ 231820 h 1797891"/>
              <a:gd name="connsiteX7" fmla="*/ 267880 w 3124414"/>
              <a:gd name="connsiteY7" fmla="*/ 298790 h 1797891"/>
              <a:gd name="connsiteX8" fmla="*/ 329699 w 3124414"/>
              <a:gd name="connsiteY8" fmla="*/ 337427 h 1797891"/>
              <a:gd name="connsiteX9" fmla="*/ 365760 w 3124414"/>
              <a:gd name="connsiteY9" fmla="*/ 311669 h 1797891"/>
              <a:gd name="connsiteX10" fmla="*/ 391517 w 3124414"/>
              <a:gd name="connsiteY10" fmla="*/ 324548 h 1797891"/>
              <a:gd name="connsiteX11" fmla="*/ 404396 w 3124414"/>
              <a:gd name="connsiteY11" fmla="*/ 337427 h 1797891"/>
              <a:gd name="connsiteX12" fmla="*/ 445609 w 3124414"/>
              <a:gd name="connsiteY12" fmla="*/ 309093 h 1797891"/>
              <a:gd name="connsiteX13" fmla="*/ 468791 w 3124414"/>
              <a:gd name="connsiteY13" fmla="*/ 285911 h 1797891"/>
              <a:gd name="connsiteX14" fmla="*/ 504851 w 3124414"/>
              <a:gd name="connsiteY14" fmla="*/ 285911 h 1797891"/>
              <a:gd name="connsiteX15" fmla="*/ 543488 w 3124414"/>
              <a:gd name="connsiteY15" fmla="*/ 321972 h 1797891"/>
              <a:gd name="connsiteX16" fmla="*/ 546064 w 3124414"/>
              <a:gd name="connsiteY16" fmla="*/ 396669 h 1797891"/>
              <a:gd name="connsiteX17" fmla="*/ 589852 w 3124414"/>
              <a:gd name="connsiteY17" fmla="*/ 427579 h 1797891"/>
              <a:gd name="connsiteX18" fmla="*/ 661974 w 3124414"/>
              <a:gd name="connsiteY18" fmla="*/ 471367 h 1797891"/>
              <a:gd name="connsiteX19" fmla="*/ 708338 w 3124414"/>
              <a:gd name="connsiteY19" fmla="*/ 484246 h 1797891"/>
              <a:gd name="connsiteX20" fmla="*/ 736671 w 3124414"/>
              <a:gd name="connsiteY20" fmla="*/ 473943 h 1797891"/>
              <a:gd name="connsiteX21" fmla="*/ 767580 w 3124414"/>
              <a:gd name="connsiteY21" fmla="*/ 491973 h 1797891"/>
              <a:gd name="connsiteX22" fmla="*/ 808793 w 3124414"/>
              <a:gd name="connsiteY22" fmla="*/ 471367 h 1797891"/>
              <a:gd name="connsiteX23" fmla="*/ 824248 w 3124414"/>
              <a:gd name="connsiteY23" fmla="*/ 448185 h 1797891"/>
              <a:gd name="connsiteX24" fmla="*/ 855157 w 3124414"/>
              <a:gd name="connsiteY24" fmla="*/ 471367 h 1797891"/>
              <a:gd name="connsiteX25" fmla="*/ 888642 w 3124414"/>
              <a:gd name="connsiteY25" fmla="*/ 450761 h 1797891"/>
              <a:gd name="connsiteX26" fmla="*/ 898945 w 3124414"/>
              <a:gd name="connsiteY26" fmla="*/ 422427 h 1797891"/>
              <a:gd name="connsiteX27" fmla="*/ 947885 w 3124414"/>
              <a:gd name="connsiteY27" fmla="*/ 443033 h 1797891"/>
              <a:gd name="connsiteX28" fmla="*/ 1001976 w 3124414"/>
              <a:gd name="connsiteY28" fmla="*/ 499700 h 1797891"/>
              <a:gd name="connsiteX29" fmla="*/ 1056067 w 3124414"/>
              <a:gd name="connsiteY29" fmla="*/ 504852 h 1797891"/>
              <a:gd name="connsiteX30" fmla="*/ 1076673 w 3124414"/>
              <a:gd name="connsiteY30" fmla="*/ 489397 h 1797891"/>
              <a:gd name="connsiteX31" fmla="*/ 1123037 w 3124414"/>
              <a:gd name="connsiteY31" fmla="*/ 491973 h 1797891"/>
              <a:gd name="connsiteX32" fmla="*/ 1159098 w 3124414"/>
              <a:gd name="connsiteY32" fmla="*/ 525458 h 1797891"/>
              <a:gd name="connsiteX33" fmla="*/ 1174553 w 3124414"/>
              <a:gd name="connsiteY33" fmla="*/ 584701 h 1797891"/>
              <a:gd name="connsiteX34" fmla="*/ 1215765 w 3124414"/>
              <a:gd name="connsiteY34" fmla="*/ 654247 h 1797891"/>
              <a:gd name="connsiteX35" fmla="*/ 1213189 w 3124414"/>
              <a:gd name="connsiteY35" fmla="*/ 703187 h 1797891"/>
              <a:gd name="connsiteX36" fmla="*/ 1236371 w 3124414"/>
              <a:gd name="connsiteY36" fmla="*/ 746975 h 1797891"/>
              <a:gd name="connsiteX37" fmla="*/ 1285311 w 3124414"/>
              <a:gd name="connsiteY37" fmla="*/ 757278 h 1797891"/>
              <a:gd name="connsiteX38" fmla="*/ 1313645 w 3124414"/>
              <a:gd name="connsiteY38" fmla="*/ 785611 h 1797891"/>
              <a:gd name="connsiteX39" fmla="*/ 1390918 w 3124414"/>
              <a:gd name="connsiteY39" fmla="*/ 813945 h 1797891"/>
              <a:gd name="connsiteX40" fmla="*/ 1437282 w 3124414"/>
              <a:gd name="connsiteY40" fmla="*/ 793339 h 1797891"/>
              <a:gd name="connsiteX41" fmla="*/ 1473343 w 3124414"/>
              <a:gd name="connsiteY41" fmla="*/ 793339 h 1797891"/>
              <a:gd name="connsiteX42" fmla="*/ 1501676 w 3124414"/>
              <a:gd name="connsiteY42" fmla="*/ 847430 h 1797891"/>
              <a:gd name="connsiteX43" fmla="*/ 1522282 w 3124414"/>
              <a:gd name="connsiteY43" fmla="*/ 888642 h 1797891"/>
              <a:gd name="connsiteX44" fmla="*/ 1558343 w 3124414"/>
              <a:gd name="connsiteY44" fmla="*/ 911824 h 1797891"/>
              <a:gd name="connsiteX45" fmla="*/ 1599556 w 3124414"/>
              <a:gd name="connsiteY45" fmla="*/ 909248 h 1797891"/>
              <a:gd name="connsiteX46" fmla="*/ 1643344 w 3124414"/>
              <a:gd name="connsiteY46" fmla="*/ 945309 h 1797891"/>
              <a:gd name="connsiteX47" fmla="*/ 1710314 w 3124414"/>
              <a:gd name="connsiteY47" fmla="*/ 968491 h 1797891"/>
              <a:gd name="connsiteX48" fmla="*/ 1782436 w 3124414"/>
              <a:gd name="connsiteY48" fmla="*/ 960764 h 1797891"/>
              <a:gd name="connsiteX49" fmla="*/ 1810769 w 3124414"/>
              <a:gd name="connsiteY49" fmla="*/ 942734 h 1797891"/>
              <a:gd name="connsiteX50" fmla="*/ 1826224 w 3124414"/>
              <a:gd name="connsiteY50" fmla="*/ 960764 h 1797891"/>
              <a:gd name="connsiteX51" fmla="*/ 1833951 w 3124414"/>
              <a:gd name="connsiteY51" fmla="*/ 996825 h 1797891"/>
              <a:gd name="connsiteX52" fmla="*/ 1882891 w 3124414"/>
              <a:gd name="connsiteY52" fmla="*/ 1009704 h 1797891"/>
              <a:gd name="connsiteX53" fmla="*/ 1903497 w 3124414"/>
              <a:gd name="connsiteY53" fmla="*/ 1038037 h 1797891"/>
              <a:gd name="connsiteX54" fmla="*/ 1934406 w 3124414"/>
              <a:gd name="connsiteY54" fmla="*/ 1084401 h 1797891"/>
              <a:gd name="connsiteX55" fmla="*/ 1996225 w 3124414"/>
              <a:gd name="connsiteY55" fmla="*/ 1099856 h 1797891"/>
              <a:gd name="connsiteX56" fmla="*/ 2065771 w 3124414"/>
              <a:gd name="connsiteY56" fmla="*/ 1130765 h 1797891"/>
              <a:gd name="connsiteX57" fmla="*/ 2096680 w 3124414"/>
              <a:gd name="connsiteY57" fmla="*/ 1125614 h 1797891"/>
              <a:gd name="connsiteX58" fmla="*/ 2130165 w 3124414"/>
              <a:gd name="connsiteY58" fmla="*/ 1153947 h 1797891"/>
              <a:gd name="connsiteX59" fmla="*/ 2176529 w 3124414"/>
              <a:gd name="connsiteY59" fmla="*/ 1161674 h 1797891"/>
              <a:gd name="connsiteX60" fmla="*/ 2199711 w 3124414"/>
              <a:gd name="connsiteY60" fmla="*/ 1197735 h 1797891"/>
              <a:gd name="connsiteX61" fmla="*/ 2243499 w 3124414"/>
              <a:gd name="connsiteY61" fmla="*/ 1233796 h 1797891"/>
              <a:gd name="connsiteX62" fmla="*/ 2305318 w 3124414"/>
              <a:gd name="connsiteY62" fmla="*/ 1238948 h 1797891"/>
              <a:gd name="connsiteX63" fmla="*/ 2305318 w 3124414"/>
              <a:gd name="connsiteY63" fmla="*/ 1238948 h 1797891"/>
              <a:gd name="connsiteX64" fmla="*/ 2325924 w 3124414"/>
              <a:gd name="connsiteY64" fmla="*/ 1218341 h 1797891"/>
              <a:gd name="connsiteX65" fmla="*/ 2343955 w 3124414"/>
              <a:gd name="connsiteY65" fmla="*/ 1238948 h 1797891"/>
              <a:gd name="connsiteX66" fmla="*/ 2343955 w 3124414"/>
              <a:gd name="connsiteY66" fmla="*/ 1280160 h 1797891"/>
              <a:gd name="connsiteX67" fmla="*/ 2377440 w 3124414"/>
              <a:gd name="connsiteY67" fmla="*/ 1300766 h 1797891"/>
              <a:gd name="connsiteX68" fmla="*/ 2416076 w 3124414"/>
              <a:gd name="connsiteY68" fmla="*/ 1300766 h 1797891"/>
              <a:gd name="connsiteX69" fmla="*/ 2457289 w 3124414"/>
              <a:gd name="connsiteY69" fmla="*/ 1326524 h 1797891"/>
              <a:gd name="connsiteX70" fmla="*/ 2465016 w 3124414"/>
              <a:gd name="connsiteY70" fmla="*/ 1378039 h 1797891"/>
              <a:gd name="connsiteX71" fmla="*/ 2493349 w 3124414"/>
              <a:gd name="connsiteY71" fmla="*/ 1403797 h 1797891"/>
              <a:gd name="connsiteX72" fmla="*/ 2493349 w 3124414"/>
              <a:gd name="connsiteY72" fmla="*/ 1426979 h 1797891"/>
              <a:gd name="connsiteX73" fmla="*/ 2537138 w 3124414"/>
              <a:gd name="connsiteY73" fmla="*/ 1455313 h 1797891"/>
              <a:gd name="connsiteX74" fmla="*/ 2531986 w 3124414"/>
              <a:gd name="connsiteY74" fmla="*/ 1504252 h 1797891"/>
              <a:gd name="connsiteX75" fmla="*/ 2570623 w 3124414"/>
              <a:gd name="connsiteY75" fmla="*/ 1540313 h 1797891"/>
              <a:gd name="connsiteX76" fmla="*/ 2616987 w 3124414"/>
              <a:gd name="connsiteY76" fmla="*/ 1576374 h 1797891"/>
              <a:gd name="connsiteX77" fmla="*/ 2660775 w 3124414"/>
              <a:gd name="connsiteY77" fmla="*/ 1563495 h 1797891"/>
              <a:gd name="connsiteX78" fmla="*/ 2714866 w 3124414"/>
              <a:gd name="connsiteY78" fmla="*/ 1594405 h 1797891"/>
              <a:gd name="connsiteX79" fmla="*/ 2745775 w 3124414"/>
              <a:gd name="connsiteY79" fmla="*/ 1571223 h 1797891"/>
              <a:gd name="connsiteX80" fmla="*/ 2797291 w 3124414"/>
              <a:gd name="connsiteY80" fmla="*/ 1596980 h 1797891"/>
              <a:gd name="connsiteX81" fmla="*/ 2841079 w 3124414"/>
              <a:gd name="connsiteY81" fmla="*/ 1643344 h 1797891"/>
              <a:gd name="connsiteX82" fmla="*/ 2879716 w 3124414"/>
              <a:gd name="connsiteY82" fmla="*/ 1715466 h 1797891"/>
              <a:gd name="connsiteX83" fmla="*/ 2900322 w 3124414"/>
              <a:gd name="connsiteY83" fmla="*/ 1728345 h 1797891"/>
              <a:gd name="connsiteX84" fmla="*/ 2918352 w 3124414"/>
              <a:gd name="connsiteY84" fmla="*/ 1759254 h 1797891"/>
              <a:gd name="connsiteX85" fmla="*/ 2941534 w 3124414"/>
              <a:gd name="connsiteY85" fmla="*/ 1797891 h 1797891"/>
              <a:gd name="connsiteX86" fmla="*/ 2969868 w 3124414"/>
              <a:gd name="connsiteY86" fmla="*/ 1797891 h 1797891"/>
              <a:gd name="connsiteX87" fmla="*/ 2993050 w 3124414"/>
              <a:gd name="connsiteY87" fmla="*/ 1769557 h 1797891"/>
              <a:gd name="connsiteX88" fmla="*/ 3029111 w 3124414"/>
              <a:gd name="connsiteY88" fmla="*/ 1733496 h 1797891"/>
              <a:gd name="connsiteX89" fmla="*/ 3026535 w 3124414"/>
              <a:gd name="connsiteY89" fmla="*/ 1692284 h 1797891"/>
              <a:gd name="connsiteX90" fmla="*/ 3041989 w 3124414"/>
              <a:gd name="connsiteY90" fmla="*/ 1669102 h 1797891"/>
              <a:gd name="connsiteX91" fmla="*/ 3039414 w 3124414"/>
              <a:gd name="connsiteY91" fmla="*/ 1596980 h 1797891"/>
              <a:gd name="connsiteX92" fmla="*/ 3065171 w 3124414"/>
              <a:gd name="connsiteY92" fmla="*/ 1555768 h 1797891"/>
              <a:gd name="connsiteX93" fmla="*/ 3044565 w 3124414"/>
              <a:gd name="connsiteY93" fmla="*/ 1522283 h 1797891"/>
              <a:gd name="connsiteX94" fmla="*/ 3072899 w 3124414"/>
              <a:gd name="connsiteY94" fmla="*/ 1483646 h 1797891"/>
              <a:gd name="connsiteX95" fmla="*/ 3080626 w 3124414"/>
              <a:gd name="connsiteY95" fmla="*/ 1450161 h 1797891"/>
              <a:gd name="connsiteX96" fmla="*/ 3044565 w 3124414"/>
              <a:gd name="connsiteY96" fmla="*/ 1398646 h 1797891"/>
              <a:gd name="connsiteX97" fmla="*/ 2982747 w 3124414"/>
              <a:gd name="connsiteY97" fmla="*/ 1349706 h 1797891"/>
              <a:gd name="connsiteX98" fmla="*/ 2969868 w 3124414"/>
              <a:gd name="connsiteY98" fmla="*/ 1300766 h 1797891"/>
              <a:gd name="connsiteX99" fmla="*/ 2959565 w 3124414"/>
              <a:gd name="connsiteY99" fmla="*/ 1244099 h 1797891"/>
              <a:gd name="connsiteX100" fmla="*/ 2938958 w 3124414"/>
              <a:gd name="connsiteY100" fmla="*/ 1208038 h 1797891"/>
              <a:gd name="connsiteX101" fmla="*/ 2951837 w 3124414"/>
              <a:gd name="connsiteY101" fmla="*/ 1169402 h 1797891"/>
              <a:gd name="connsiteX102" fmla="*/ 2902898 w 3124414"/>
              <a:gd name="connsiteY102" fmla="*/ 1048340 h 1797891"/>
              <a:gd name="connsiteX103" fmla="*/ 2902898 w 3124414"/>
              <a:gd name="connsiteY103" fmla="*/ 1004552 h 1797891"/>
              <a:gd name="connsiteX104" fmla="*/ 2877140 w 3124414"/>
              <a:gd name="connsiteY104" fmla="*/ 940158 h 1797891"/>
              <a:gd name="connsiteX105" fmla="*/ 2874564 w 3124414"/>
              <a:gd name="connsiteY105" fmla="*/ 904097 h 1797891"/>
              <a:gd name="connsiteX106" fmla="*/ 2853958 w 3124414"/>
              <a:gd name="connsiteY106" fmla="*/ 865460 h 1797891"/>
              <a:gd name="connsiteX107" fmla="*/ 2774109 w 3124414"/>
              <a:gd name="connsiteY107" fmla="*/ 819096 h 1797891"/>
              <a:gd name="connsiteX108" fmla="*/ 2771533 w 3124414"/>
              <a:gd name="connsiteY108" fmla="*/ 783036 h 1797891"/>
              <a:gd name="connsiteX109" fmla="*/ 2740624 w 3124414"/>
              <a:gd name="connsiteY109" fmla="*/ 759854 h 1797891"/>
              <a:gd name="connsiteX110" fmla="*/ 2717442 w 3124414"/>
              <a:gd name="connsiteY110" fmla="*/ 759854 h 1797891"/>
              <a:gd name="connsiteX111" fmla="*/ 2673654 w 3124414"/>
              <a:gd name="connsiteY111" fmla="*/ 762429 h 1797891"/>
              <a:gd name="connsiteX112" fmla="*/ 2604108 w 3124414"/>
              <a:gd name="connsiteY112" fmla="*/ 723793 h 1797891"/>
              <a:gd name="connsiteX113" fmla="*/ 2552592 w 3124414"/>
              <a:gd name="connsiteY113" fmla="*/ 659398 h 1797891"/>
              <a:gd name="connsiteX114" fmla="*/ 2508804 w 3124414"/>
              <a:gd name="connsiteY114" fmla="*/ 636216 h 1797891"/>
              <a:gd name="connsiteX115" fmla="*/ 2503653 w 3124414"/>
              <a:gd name="connsiteY115" fmla="*/ 600156 h 1797891"/>
              <a:gd name="connsiteX116" fmla="*/ 2480471 w 3124414"/>
              <a:gd name="connsiteY116" fmla="*/ 551216 h 1797891"/>
              <a:gd name="connsiteX117" fmla="*/ 2439258 w 3124414"/>
              <a:gd name="connsiteY117" fmla="*/ 520307 h 1797891"/>
              <a:gd name="connsiteX118" fmla="*/ 2444410 w 3124414"/>
              <a:gd name="connsiteY118" fmla="*/ 476518 h 1797891"/>
              <a:gd name="connsiteX119" fmla="*/ 2480471 w 3124414"/>
              <a:gd name="connsiteY119" fmla="*/ 419851 h 1797891"/>
              <a:gd name="connsiteX120" fmla="*/ 2485622 w 3124414"/>
              <a:gd name="connsiteY120" fmla="*/ 355457 h 1797891"/>
              <a:gd name="connsiteX121" fmla="*/ 2513956 w 3124414"/>
              <a:gd name="connsiteY121" fmla="*/ 319396 h 1797891"/>
              <a:gd name="connsiteX122" fmla="*/ 2560320 w 3124414"/>
              <a:gd name="connsiteY122" fmla="*/ 296214 h 1797891"/>
              <a:gd name="connsiteX123" fmla="*/ 2583502 w 3124414"/>
              <a:gd name="connsiteY123" fmla="*/ 252426 h 1797891"/>
              <a:gd name="connsiteX124" fmla="*/ 2632441 w 3124414"/>
              <a:gd name="connsiteY124" fmla="*/ 249850 h 1797891"/>
              <a:gd name="connsiteX125" fmla="*/ 2663351 w 3124414"/>
              <a:gd name="connsiteY125" fmla="*/ 265305 h 1797891"/>
              <a:gd name="connsiteX126" fmla="*/ 2738048 w 3124414"/>
              <a:gd name="connsiteY126" fmla="*/ 249850 h 1797891"/>
              <a:gd name="connsiteX127" fmla="*/ 2774109 w 3124414"/>
              <a:gd name="connsiteY127" fmla="*/ 275608 h 1797891"/>
              <a:gd name="connsiteX128" fmla="*/ 2823049 w 3124414"/>
              <a:gd name="connsiteY128" fmla="*/ 267881 h 1797891"/>
              <a:gd name="connsiteX129" fmla="*/ 2874564 w 3124414"/>
              <a:gd name="connsiteY129" fmla="*/ 285911 h 1797891"/>
              <a:gd name="connsiteX130" fmla="*/ 2954413 w 3124414"/>
              <a:gd name="connsiteY130" fmla="*/ 324548 h 1797891"/>
              <a:gd name="connsiteX131" fmla="*/ 3078050 w 3124414"/>
              <a:gd name="connsiteY131" fmla="*/ 334851 h 1797891"/>
              <a:gd name="connsiteX132" fmla="*/ 3124414 w 3124414"/>
              <a:gd name="connsiteY132" fmla="*/ 324548 h 1797891"/>
              <a:gd name="connsiteX133" fmla="*/ 3106384 w 3124414"/>
              <a:gd name="connsiteY133" fmla="*/ 298790 h 1797891"/>
              <a:gd name="connsiteX134" fmla="*/ 3103808 w 3124414"/>
              <a:gd name="connsiteY134" fmla="*/ 267881 h 1797891"/>
              <a:gd name="connsiteX0" fmla="*/ 0 w 3116687"/>
              <a:gd name="connsiteY0" fmla="*/ 0 h 1728345"/>
              <a:gd name="connsiteX1" fmla="*/ 23182 w 3116687"/>
              <a:gd name="connsiteY1" fmla="*/ 54091 h 1728345"/>
              <a:gd name="connsiteX2" fmla="*/ 66970 w 3116687"/>
              <a:gd name="connsiteY2" fmla="*/ 56667 h 1728345"/>
              <a:gd name="connsiteX3" fmla="*/ 118486 w 3116687"/>
              <a:gd name="connsiteY3" fmla="*/ 87576 h 1728345"/>
              <a:gd name="connsiteX4" fmla="*/ 146819 w 3116687"/>
              <a:gd name="connsiteY4" fmla="*/ 141668 h 1728345"/>
              <a:gd name="connsiteX5" fmla="*/ 190607 w 3116687"/>
              <a:gd name="connsiteY5" fmla="*/ 162274 h 1728345"/>
              <a:gd name="connsiteX6" fmla="*/ 260153 w 3116687"/>
              <a:gd name="connsiteY6" fmla="*/ 229244 h 1728345"/>
              <a:gd name="connsiteX7" fmla="*/ 321972 w 3116687"/>
              <a:gd name="connsiteY7" fmla="*/ 267881 h 1728345"/>
              <a:gd name="connsiteX8" fmla="*/ 358033 w 3116687"/>
              <a:gd name="connsiteY8" fmla="*/ 242123 h 1728345"/>
              <a:gd name="connsiteX9" fmla="*/ 383790 w 3116687"/>
              <a:gd name="connsiteY9" fmla="*/ 255002 h 1728345"/>
              <a:gd name="connsiteX10" fmla="*/ 396669 w 3116687"/>
              <a:gd name="connsiteY10" fmla="*/ 267881 h 1728345"/>
              <a:gd name="connsiteX11" fmla="*/ 437882 w 3116687"/>
              <a:gd name="connsiteY11" fmla="*/ 239547 h 1728345"/>
              <a:gd name="connsiteX12" fmla="*/ 461064 w 3116687"/>
              <a:gd name="connsiteY12" fmla="*/ 216365 h 1728345"/>
              <a:gd name="connsiteX13" fmla="*/ 497124 w 3116687"/>
              <a:gd name="connsiteY13" fmla="*/ 216365 h 1728345"/>
              <a:gd name="connsiteX14" fmla="*/ 535761 w 3116687"/>
              <a:gd name="connsiteY14" fmla="*/ 252426 h 1728345"/>
              <a:gd name="connsiteX15" fmla="*/ 538337 w 3116687"/>
              <a:gd name="connsiteY15" fmla="*/ 327123 h 1728345"/>
              <a:gd name="connsiteX16" fmla="*/ 582125 w 3116687"/>
              <a:gd name="connsiteY16" fmla="*/ 358033 h 1728345"/>
              <a:gd name="connsiteX17" fmla="*/ 654247 w 3116687"/>
              <a:gd name="connsiteY17" fmla="*/ 401821 h 1728345"/>
              <a:gd name="connsiteX18" fmla="*/ 700611 w 3116687"/>
              <a:gd name="connsiteY18" fmla="*/ 414700 h 1728345"/>
              <a:gd name="connsiteX19" fmla="*/ 728944 w 3116687"/>
              <a:gd name="connsiteY19" fmla="*/ 404397 h 1728345"/>
              <a:gd name="connsiteX20" fmla="*/ 759853 w 3116687"/>
              <a:gd name="connsiteY20" fmla="*/ 422427 h 1728345"/>
              <a:gd name="connsiteX21" fmla="*/ 801066 w 3116687"/>
              <a:gd name="connsiteY21" fmla="*/ 401821 h 1728345"/>
              <a:gd name="connsiteX22" fmla="*/ 816521 w 3116687"/>
              <a:gd name="connsiteY22" fmla="*/ 378639 h 1728345"/>
              <a:gd name="connsiteX23" fmla="*/ 847430 w 3116687"/>
              <a:gd name="connsiteY23" fmla="*/ 401821 h 1728345"/>
              <a:gd name="connsiteX24" fmla="*/ 880915 w 3116687"/>
              <a:gd name="connsiteY24" fmla="*/ 381215 h 1728345"/>
              <a:gd name="connsiteX25" fmla="*/ 891218 w 3116687"/>
              <a:gd name="connsiteY25" fmla="*/ 352881 h 1728345"/>
              <a:gd name="connsiteX26" fmla="*/ 940158 w 3116687"/>
              <a:gd name="connsiteY26" fmla="*/ 373487 h 1728345"/>
              <a:gd name="connsiteX27" fmla="*/ 994249 w 3116687"/>
              <a:gd name="connsiteY27" fmla="*/ 430154 h 1728345"/>
              <a:gd name="connsiteX28" fmla="*/ 1048340 w 3116687"/>
              <a:gd name="connsiteY28" fmla="*/ 435306 h 1728345"/>
              <a:gd name="connsiteX29" fmla="*/ 1068946 w 3116687"/>
              <a:gd name="connsiteY29" fmla="*/ 419851 h 1728345"/>
              <a:gd name="connsiteX30" fmla="*/ 1115310 w 3116687"/>
              <a:gd name="connsiteY30" fmla="*/ 422427 h 1728345"/>
              <a:gd name="connsiteX31" fmla="*/ 1151371 w 3116687"/>
              <a:gd name="connsiteY31" fmla="*/ 455912 h 1728345"/>
              <a:gd name="connsiteX32" fmla="*/ 1166826 w 3116687"/>
              <a:gd name="connsiteY32" fmla="*/ 515155 h 1728345"/>
              <a:gd name="connsiteX33" fmla="*/ 1208038 w 3116687"/>
              <a:gd name="connsiteY33" fmla="*/ 584701 h 1728345"/>
              <a:gd name="connsiteX34" fmla="*/ 1205462 w 3116687"/>
              <a:gd name="connsiteY34" fmla="*/ 633641 h 1728345"/>
              <a:gd name="connsiteX35" fmla="*/ 1228644 w 3116687"/>
              <a:gd name="connsiteY35" fmla="*/ 677429 h 1728345"/>
              <a:gd name="connsiteX36" fmla="*/ 1277584 w 3116687"/>
              <a:gd name="connsiteY36" fmla="*/ 687732 h 1728345"/>
              <a:gd name="connsiteX37" fmla="*/ 1305918 w 3116687"/>
              <a:gd name="connsiteY37" fmla="*/ 716065 h 1728345"/>
              <a:gd name="connsiteX38" fmla="*/ 1383191 w 3116687"/>
              <a:gd name="connsiteY38" fmla="*/ 744399 h 1728345"/>
              <a:gd name="connsiteX39" fmla="*/ 1429555 w 3116687"/>
              <a:gd name="connsiteY39" fmla="*/ 723793 h 1728345"/>
              <a:gd name="connsiteX40" fmla="*/ 1465616 w 3116687"/>
              <a:gd name="connsiteY40" fmla="*/ 723793 h 1728345"/>
              <a:gd name="connsiteX41" fmla="*/ 1493949 w 3116687"/>
              <a:gd name="connsiteY41" fmla="*/ 777884 h 1728345"/>
              <a:gd name="connsiteX42" fmla="*/ 1514555 w 3116687"/>
              <a:gd name="connsiteY42" fmla="*/ 819096 h 1728345"/>
              <a:gd name="connsiteX43" fmla="*/ 1550616 w 3116687"/>
              <a:gd name="connsiteY43" fmla="*/ 842278 h 1728345"/>
              <a:gd name="connsiteX44" fmla="*/ 1591829 w 3116687"/>
              <a:gd name="connsiteY44" fmla="*/ 839702 h 1728345"/>
              <a:gd name="connsiteX45" fmla="*/ 1635617 w 3116687"/>
              <a:gd name="connsiteY45" fmla="*/ 875763 h 1728345"/>
              <a:gd name="connsiteX46" fmla="*/ 1702587 w 3116687"/>
              <a:gd name="connsiteY46" fmla="*/ 898945 h 1728345"/>
              <a:gd name="connsiteX47" fmla="*/ 1774709 w 3116687"/>
              <a:gd name="connsiteY47" fmla="*/ 891218 h 1728345"/>
              <a:gd name="connsiteX48" fmla="*/ 1803042 w 3116687"/>
              <a:gd name="connsiteY48" fmla="*/ 873188 h 1728345"/>
              <a:gd name="connsiteX49" fmla="*/ 1818497 w 3116687"/>
              <a:gd name="connsiteY49" fmla="*/ 891218 h 1728345"/>
              <a:gd name="connsiteX50" fmla="*/ 1826224 w 3116687"/>
              <a:gd name="connsiteY50" fmla="*/ 927279 h 1728345"/>
              <a:gd name="connsiteX51" fmla="*/ 1875164 w 3116687"/>
              <a:gd name="connsiteY51" fmla="*/ 940158 h 1728345"/>
              <a:gd name="connsiteX52" fmla="*/ 1895770 w 3116687"/>
              <a:gd name="connsiteY52" fmla="*/ 968491 h 1728345"/>
              <a:gd name="connsiteX53" fmla="*/ 1926679 w 3116687"/>
              <a:gd name="connsiteY53" fmla="*/ 1014855 h 1728345"/>
              <a:gd name="connsiteX54" fmla="*/ 1988498 w 3116687"/>
              <a:gd name="connsiteY54" fmla="*/ 1030310 h 1728345"/>
              <a:gd name="connsiteX55" fmla="*/ 2058044 w 3116687"/>
              <a:gd name="connsiteY55" fmla="*/ 1061219 h 1728345"/>
              <a:gd name="connsiteX56" fmla="*/ 2088953 w 3116687"/>
              <a:gd name="connsiteY56" fmla="*/ 1056068 h 1728345"/>
              <a:gd name="connsiteX57" fmla="*/ 2122438 w 3116687"/>
              <a:gd name="connsiteY57" fmla="*/ 1084401 h 1728345"/>
              <a:gd name="connsiteX58" fmla="*/ 2168802 w 3116687"/>
              <a:gd name="connsiteY58" fmla="*/ 1092128 h 1728345"/>
              <a:gd name="connsiteX59" fmla="*/ 2191984 w 3116687"/>
              <a:gd name="connsiteY59" fmla="*/ 1128189 h 1728345"/>
              <a:gd name="connsiteX60" fmla="*/ 2235772 w 3116687"/>
              <a:gd name="connsiteY60" fmla="*/ 1164250 h 1728345"/>
              <a:gd name="connsiteX61" fmla="*/ 2297591 w 3116687"/>
              <a:gd name="connsiteY61" fmla="*/ 1169402 h 1728345"/>
              <a:gd name="connsiteX62" fmla="*/ 2297591 w 3116687"/>
              <a:gd name="connsiteY62" fmla="*/ 1169402 h 1728345"/>
              <a:gd name="connsiteX63" fmla="*/ 2318197 w 3116687"/>
              <a:gd name="connsiteY63" fmla="*/ 1148795 h 1728345"/>
              <a:gd name="connsiteX64" fmla="*/ 2336228 w 3116687"/>
              <a:gd name="connsiteY64" fmla="*/ 1169402 h 1728345"/>
              <a:gd name="connsiteX65" fmla="*/ 2336228 w 3116687"/>
              <a:gd name="connsiteY65" fmla="*/ 1210614 h 1728345"/>
              <a:gd name="connsiteX66" fmla="*/ 2369713 w 3116687"/>
              <a:gd name="connsiteY66" fmla="*/ 1231220 h 1728345"/>
              <a:gd name="connsiteX67" fmla="*/ 2408349 w 3116687"/>
              <a:gd name="connsiteY67" fmla="*/ 1231220 h 1728345"/>
              <a:gd name="connsiteX68" fmla="*/ 2449562 w 3116687"/>
              <a:gd name="connsiteY68" fmla="*/ 1256978 h 1728345"/>
              <a:gd name="connsiteX69" fmla="*/ 2457289 w 3116687"/>
              <a:gd name="connsiteY69" fmla="*/ 1308493 h 1728345"/>
              <a:gd name="connsiteX70" fmla="*/ 2485622 w 3116687"/>
              <a:gd name="connsiteY70" fmla="*/ 1334251 h 1728345"/>
              <a:gd name="connsiteX71" fmla="*/ 2485622 w 3116687"/>
              <a:gd name="connsiteY71" fmla="*/ 1357433 h 1728345"/>
              <a:gd name="connsiteX72" fmla="*/ 2529411 w 3116687"/>
              <a:gd name="connsiteY72" fmla="*/ 1385767 h 1728345"/>
              <a:gd name="connsiteX73" fmla="*/ 2524259 w 3116687"/>
              <a:gd name="connsiteY73" fmla="*/ 1434706 h 1728345"/>
              <a:gd name="connsiteX74" fmla="*/ 2562896 w 3116687"/>
              <a:gd name="connsiteY74" fmla="*/ 1470767 h 1728345"/>
              <a:gd name="connsiteX75" fmla="*/ 2609260 w 3116687"/>
              <a:gd name="connsiteY75" fmla="*/ 1506828 h 1728345"/>
              <a:gd name="connsiteX76" fmla="*/ 2653048 w 3116687"/>
              <a:gd name="connsiteY76" fmla="*/ 1493949 h 1728345"/>
              <a:gd name="connsiteX77" fmla="*/ 2707139 w 3116687"/>
              <a:gd name="connsiteY77" fmla="*/ 1524859 h 1728345"/>
              <a:gd name="connsiteX78" fmla="*/ 2738048 w 3116687"/>
              <a:gd name="connsiteY78" fmla="*/ 1501677 h 1728345"/>
              <a:gd name="connsiteX79" fmla="*/ 2789564 w 3116687"/>
              <a:gd name="connsiteY79" fmla="*/ 1527434 h 1728345"/>
              <a:gd name="connsiteX80" fmla="*/ 2833352 w 3116687"/>
              <a:gd name="connsiteY80" fmla="*/ 1573798 h 1728345"/>
              <a:gd name="connsiteX81" fmla="*/ 2871989 w 3116687"/>
              <a:gd name="connsiteY81" fmla="*/ 1645920 h 1728345"/>
              <a:gd name="connsiteX82" fmla="*/ 2892595 w 3116687"/>
              <a:gd name="connsiteY82" fmla="*/ 1658799 h 1728345"/>
              <a:gd name="connsiteX83" fmla="*/ 2910625 w 3116687"/>
              <a:gd name="connsiteY83" fmla="*/ 1689708 h 1728345"/>
              <a:gd name="connsiteX84" fmla="*/ 2933807 w 3116687"/>
              <a:gd name="connsiteY84" fmla="*/ 1728345 h 1728345"/>
              <a:gd name="connsiteX85" fmla="*/ 2962141 w 3116687"/>
              <a:gd name="connsiteY85" fmla="*/ 1728345 h 1728345"/>
              <a:gd name="connsiteX86" fmla="*/ 2985323 w 3116687"/>
              <a:gd name="connsiteY86" fmla="*/ 1700011 h 1728345"/>
              <a:gd name="connsiteX87" fmla="*/ 3021384 w 3116687"/>
              <a:gd name="connsiteY87" fmla="*/ 1663950 h 1728345"/>
              <a:gd name="connsiteX88" fmla="*/ 3018808 w 3116687"/>
              <a:gd name="connsiteY88" fmla="*/ 1622738 h 1728345"/>
              <a:gd name="connsiteX89" fmla="*/ 3034262 w 3116687"/>
              <a:gd name="connsiteY89" fmla="*/ 1599556 h 1728345"/>
              <a:gd name="connsiteX90" fmla="*/ 3031687 w 3116687"/>
              <a:gd name="connsiteY90" fmla="*/ 1527434 h 1728345"/>
              <a:gd name="connsiteX91" fmla="*/ 3057444 w 3116687"/>
              <a:gd name="connsiteY91" fmla="*/ 1486222 h 1728345"/>
              <a:gd name="connsiteX92" fmla="*/ 3036838 w 3116687"/>
              <a:gd name="connsiteY92" fmla="*/ 1452737 h 1728345"/>
              <a:gd name="connsiteX93" fmla="*/ 3065172 w 3116687"/>
              <a:gd name="connsiteY93" fmla="*/ 1414100 h 1728345"/>
              <a:gd name="connsiteX94" fmla="*/ 3072899 w 3116687"/>
              <a:gd name="connsiteY94" fmla="*/ 1380615 h 1728345"/>
              <a:gd name="connsiteX95" fmla="*/ 3036838 w 3116687"/>
              <a:gd name="connsiteY95" fmla="*/ 1329100 h 1728345"/>
              <a:gd name="connsiteX96" fmla="*/ 2975020 w 3116687"/>
              <a:gd name="connsiteY96" fmla="*/ 1280160 h 1728345"/>
              <a:gd name="connsiteX97" fmla="*/ 2962141 w 3116687"/>
              <a:gd name="connsiteY97" fmla="*/ 1231220 h 1728345"/>
              <a:gd name="connsiteX98" fmla="*/ 2951838 w 3116687"/>
              <a:gd name="connsiteY98" fmla="*/ 1174553 h 1728345"/>
              <a:gd name="connsiteX99" fmla="*/ 2931231 w 3116687"/>
              <a:gd name="connsiteY99" fmla="*/ 1138492 h 1728345"/>
              <a:gd name="connsiteX100" fmla="*/ 2944110 w 3116687"/>
              <a:gd name="connsiteY100" fmla="*/ 1099856 h 1728345"/>
              <a:gd name="connsiteX101" fmla="*/ 2895171 w 3116687"/>
              <a:gd name="connsiteY101" fmla="*/ 978794 h 1728345"/>
              <a:gd name="connsiteX102" fmla="*/ 2895171 w 3116687"/>
              <a:gd name="connsiteY102" fmla="*/ 935006 h 1728345"/>
              <a:gd name="connsiteX103" fmla="*/ 2869413 w 3116687"/>
              <a:gd name="connsiteY103" fmla="*/ 870612 h 1728345"/>
              <a:gd name="connsiteX104" fmla="*/ 2866837 w 3116687"/>
              <a:gd name="connsiteY104" fmla="*/ 834551 h 1728345"/>
              <a:gd name="connsiteX105" fmla="*/ 2846231 w 3116687"/>
              <a:gd name="connsiteY105" fmla="*/ 795914 h 1728345"/>
              <a:gd name="connsiteX106" fmla="*/ 2766382 w 3116687"/>
              <a:gd name="connsiteY106" fmla="*/ 749550 h 1728345"/>
              <a:gd name="connsiteX107" fmla="*/ 2763806 w 3116687"/>
              <a:gd name="connsiteY107" fmla="*/ 713490 h 1728345"/>
              <a:gd name="connsiteX108" fmla="*/ 2732897 w 3116687"/>
              <a:gd name="connsiteY108" fmla="*/ 690308 h 1728345"/>
              <a:gd name="connsiteX109" fmla="*/ 2709715 w 3116687"/>
              <a:gd name="connsiteY109" fmla="*/ 690308 h 1728345"/>
              <a:gd name="connsiteX110" fmla="*/ 2665927 w 3116687"/>
              <a:gd name="connsiteY110" fmla="*/ 692883 h 1728345"/>
              <a:gd name="connsiteX111" fmla="*/ 2596381 w 3116687"/>
              <a:gd name="connsiteY111" fmla="*/ 654247 h 1728345"/>
              <a:gd name="connsiteX112" fmla="*/ 2544865 w 3116687"/>
              <a:gd name="connsiteY112" fmla="*/ 589852 h 1728345"/>
              <a:gd name="connsiteX113" fmla="*/ 2501077 w 3116687"/>
              <a:gd name="connsiteY113" fmla="*/ 566670 h 1728345"/>
              <a:gd name="connsiteX114" fmla="*/ 2495926 w 3116687"/>
              <a:gd name="connsiteY114" fmla="*/ 530610 h 1728345"/>
              <a:gd name="connsiteX115" fmla="*/ 2472744 w 3116687"/>
              <a:gd name="connsiteY115" fmla="*/ 481670 h 1728345"/>
              <a:gd name="connsiteX116" fmla="*/ 2431531 w 3116687"/>
              <a:gd name="connsiteY116" fmla="*/ 450761 h 1728345"/>
              <a:gd name="connsiteX117" fmla="*/ 2436683 w 3116687"/>
              <a:gd name="connsiteY117" fmla="*/ 406972 h 1728345"/>
              <a:gd name="connsiteX118" fmla="*/ 2472744 w 3116687"/>
              <a:gd name="connsiteY118" fmla="*/ 350305 h 1728345"/>
              <a:gd name="connsiteX119" fmla="*/ 2477895 w 3116687"/>
              <a:gd name="connsiteY119" fmla="*/ 285911 h 1728345"/>
              <a:gd name="connsiteX120" fmla="*/ 2506229 w 3116687"/>
              <a:gd name="connsiteY120" fmla="*/ 249850 h 1728345"/>
              <a:gd name="connsiteX121" fmla="*/ 2552593 w 3116687"/>
              <a:gd name="connsiteY121" fmla="*/ 226668 h 1728345"/>
              <a:gd name="connsiteX122" fmla="*/ 2575775 w 3116687"/>
              <a:gd name="connsiteY122" fmla="*/ 182880 h 1728345"/>
              <a:gd name="connsiteX123" fmla="*/ 2624714 w 3116687"/>
              <a:gd name="connsiteY123" fmla="*/ 180304 h 1728345"/>
              <a:gd name="connsiteX124" fmla="*/ 2655624 w 3116687"/>
              <a:gd name="connsiteY124" fmla="*/ 195759 h 1728345"/>
              <a:gd name="connsiteX125" fmla="*/ 2730321 w 3116687"/>
              <a:gd name="connsiteY125" fmla="*/ 180304 h 1728345"/>
              <a:gd name="connsiteX126" fmla="*/ 2766382 w 3116687"/>
              <a:gd name="connsiteY126" fmla="*/ 206062 h 1728345"/>
              <a:gd name="connsiteX127" fmla="*/ 2815322 w 3116687"/>
              <a:gd name="connsiteY127" fmla="*/ 198335 h 1728345"/>
              <a:gd name="connsiteX128" fmla="*/ 2866837 w 3116687"/>
              <a:gd name="connsiteY128" fmla="*/ 216365 h 1728345"/>
              <a:gd name="connsiteX129" fmla="*/ 2946686 w 3116687"/>
              <a:gd name="connsiteY129" fmla="*/ 255002 h 1728345"/>
              <a:gd name="connsiteX130" fmla="*/ 3070323 w 3116687"/>
              <a:gd name="connsiteY130" fmla="*/ 265305 h 1728345"/>
              <a:gd name="connsiteX131" fmla="*/ 3116687 w 3116687"/>
              <a:gd name="connsiteY131" fmla="*/ 255002 h 1728345"/>
              <a:gd name="connsiteX132" fmla="*/ 3098657 w 3116687"/>
              <a:gd name="connsiteY132" fmla="*/ 229244 h 1728345"/>
              <a:gd name="connsiteX133" fmla="*/ 3096081 w 3116687"/>
              <a:gd name="connsiteY133" fmla="*/ 198335 h 1728345"/>
              <a:gd name="connsiteX0" fmla="*/ 0 w 3093505"/>
              <a:gd name="connsiteY0" fmla="*/ 0 h 1674254"/>
              <a:gd name="connsiteX1" fmla="*/ 43788 w 3093505"/>
              <a:gd name="connsiteY1" fmla="*/ 2576 h 1674254"/>
              <a:gd name="connsiteX2" fmla="*/ 95304 w 3093505"/>
              <a:gd name="connsiteY2" fmla="*/ 33485 h 1674254"/>
              <a:gd name="connsiteX3" fmla="*/ 123637 w 3093505"/>
              <a:gd name="connsiteY3" fmla="*/ 87577 h 1674254"/>
              <a:gd name="connsiteX4" fmla="*/ 167425 w 3093505"/>
              <a:gd name="connsiteY4" fmla="*/ 108183 h 1674254"/>
              <a:gd name="connsiteX5" fmla="*/ 236971 w 3093505"/>
              <a:gd name="connsiteY5" fmla="*/ 175153 h 1674254"/>
              <a:gd name="connsiteX6" fmla="*/ 298790 w 3093505"/>
              <a:gd name="connsiteY6" fmla="*/ 213790 h 1674254"/>
              <a:gd name="connsiteX7" fmla="*/ 334851 w 3093505"/>
              <a:gd name="connsiteY7" fmla="*/ 188032 h 1674254"/>
              <a:gd name="connsiteX8" fmla="*/ 360608 w 3093505"/>
              <a:gd name="connsiteY8" fmla="*/ 200911 h 1674254"/>
              <a:gd name="connsiteX9" fmla="*/ 373487 w 3093505"/>
              <a:gd name="connsiteY9" fmla="*/ 213790 h 1674254"/>
              <a:gd name="connsiteX10" fmla="*/ 414700 w 3093505"/>
              <a:gd name="connsiteY10" fmla="*/ 185456 h 1674254"/>
              <a:gd name="connsiteX11" fmla="*/ 437882 w 3093505"/>
              <a:gd name="connsiteY11" fmla="*/ 162274 h 1674254"/>
              <a:gd name="connsiteX12" fmla="*/ 473942 w 3093505"/>
              <a:gd name="connsiteY12" fmla="*/ 162274 h 1674254"/>
              <a:gd name="connsiteX13" fmla="*/ 512579 w 3093505"/>
              <a:gd name="connsiteY13" fmla="*/ 198335 h 1674254"/>
              <a:gd name="connsiteX14" fmla="*/ 515155 w 3093505"/>
              <a:gd name="connsiteY14" fmla="*/ 273032 h 1674254"/>
              <a:gd name="connsiteX15" fmla="*/ 558943 w 3093505"/>
              <a:gd name="connsiteY15" fmla="*/ 303942 h 1674254"/>
              <a:gd name="connsiteX16" fmla="*/ 631065 w 3093505"/>
              <a:gd name="connsiteY16" fmla="*/ 347730 h 1674254"/>
              <a:gd name="connsiteX17" fmla="*/ 677429 w 3093505"/>
              <a:gd name="connsiteY17" fmla="*/ 360609 h 1674254"/>
              <a:gd name="connsiteX18" fmla="*/ 705762 w 3093505"/>
              <a:gd name="connsiteY18" fmla="*/ 350306 h 1674254"/>
              <a:gd name="connsiteX19" fmla="*/ 736671 w 3093505"/>
              <a:gd name="connsiteY19" fmla="*/ 368336 h 1674254"/>
              <a:gd name="connsiteX20" fmla="*/ 777884 w 3093505"/>
              <a:gd name="connsiteY20" fmla="*/ 347730 h 1674254"/>
              <a:gd name="connsiteX21" fmla="*/ 793339 w 3093505"/>
              <a:gd name="connsiteY21" fmla="*/ 324548 h 1674254"/>
              <a:gd name="connsiteX22" fmla="*/ 824248 w 3093505"/>
              <a:gd name="connsiteY22" fmla="*/ 347730 h 1674254"/>
              <a:gd name="connsiteX23" fmla="*/ 857733 w 3093505"/>
              <a:gd name="connsiteY23" fmla="*/ 327124 h 1674254"/>
              <a:gd name="connsiteX24" fmla="*/ 868036 w 3093505"/>
              <a:gd name="connsiteY24" fmla="*/ 298790 h 1674254"/>
              <a:gd name="connsiteX25" fmla="*/ 916976 w 3093505"/>
              <a:gd name="connsiteY25" fmla="*/ 319396 h 1674254"/>
              <a:gd name="connsiteX26" fmla="*/ 971067 w 3093505"/>
              <a:gd name="connsiteY26" fmla="*/ 376063 h 1674254"/>
              <a:gd name="connsiteX27" fmla="*/ 1025158 w 3093505"/>
              <a:gd name="connsiteY27" fmla="*/ 381215 h 1674254"/>
              <a:gd name="connsiteX28" fmla="*/ 1045764 w 3093505"/>
              <a:gd name="connsiteY28" fmla="*/ 365760 h 1674254"/>
              <a:gd name="connsiteX29" fmla="*/ 1092128 w 3093505"/>
              <a:gd name="connsiteY29" fmla="*/ 368336 h 1674254"/>
              <a:gd name="connsiteX30" fmla="*/ 1128189 w 3093505"/>
              <a:gd name="connsiteY30" fmla="*/ 401821 h 1674254"/>
              <a:gd name="connsiteX31" fmla="*/ 1143644 w 3093505"/>
              <a:gd name="connsiteY31" fmla="*/ 461064 h 1674254"/>
              <a:gd name="connsiteX32" fmla="*/ 1184856 w 3093505"/>
              <a:gd name="connsiteY32" fmla="*/ 530610 h 1674254"/>
              <a:gd name="connsiteX33" fmla="*/ 1182280 w 3093505"/>
              <a:gd name="connsiteY33" fmla="*/ 579550 h 1674254"/>
              <a:gd name="connsiteX34" fmla="*/ 1205462 w 3093505"/>
              <a:gd name="connsiteY34" fmla="*/ 623338 h 1674254"/>
              <a:gd name="connsiteX35" fmla="*/ 1254402 w 3093505"/>
              <a:gd name="connsiteY35" fmla="*/ 633641 h 1674254"/>
              <a:gd name="connsiteX36" fmla="*/ 1282736 w 3093505"/>
              <a:gd name="connsiteY36" fmla="*/ 661974 h 1674254"/>
              <a:gd name="connsiteX37" fmla="*/ 1360009 w 3093505"/>
              <a:gd name="connsiteY37" fmla="*/ 690308 h 1674254"/>
              <a:gd name="connsiteX38" fmla="*/ 1406373 w 3093505"/>
              <a:gd name="connsiteY38" fmla="*/ 669702 h 1674254"/>
              <a:gd name="connsiteX39" fmla="*/ 1442434 w 3093505"/>
              <a:gd name="connsiteY39" fmla="*/ 669702 h 1674254"/>
              <a:gd name="connsiteX40" fmla="*/ 1470767 w 3093505"/>
              <a:gd name="connsiteY40" fmla="*/ 723793 h 1674254"/>
              <a:gd name="connsiteX41" fmla="*/ 1491373 w 3093505"/>
              <a:gd name="connsiteY41" fmla="*/ 765005 h 1674254"/>
              <a:gd name="connsiteX42" fmla="*/ 1527434 w 3093505"/>
              <a:gd name="connsiteY42" fmla="*/ 788187 h 1674254"/>
              <a:gd name="connsiteX43" fmla="*/ 1568647 w 3093505"/>
              <a:gd name="connsiteY43" fmla="*/ 785611 h 1674254"/>
              <a:gd name="connsiteX44" fmla="*/ 1612435 w 3093505"/>
              <a:gd name="connsiteY44" fmla="*/ 821672 h 1674254"/>
              <a:gd name="connsiteX45" fmla="*/ 1679405 w 3093505"/>
              <a:gd name="connsiteY45" fmla="*/ 844854 h 1674254"/>
              <a:gd name="connsiteX46" fmla="*/ 1751527 w 3093505"/>
              <a:gd name="connsiteY46" fmla="*/ 837127 h 1674254"/>
              <a:gd name="connsiteX47" fmla="*/ 1779860 w 3093505"/>
              <a:gd name="connsiteY47" fmla="*/ 819097 h 1674254"/>
              <a:gd name="connsiteX48" fmla="*/ 1795315 w 3093505"/>
              <a:gd name="connsiteY48" fmla="*/ 837127 h 1674254"/>
              <a:gd name="connsiteX49" fmla="*/ 1803042 w 3093505"/>
              <a:gd name="connsiteY49" fmla="*/ 873188 h 1674254"/>
              <a:gd name="connsiteX50" fmla="*/ 1851982 w 3093505"/>
              <a:gd name="connsiteY50" fmla="*/ 886067 h 1674254"/>
              <a:gd name="connsiteX51" fmla="*/ 1872588 w 3093505"/>
              <a:gd name="connsiteY51" fmla="*/ 914400 h 1674254"/>
              <a:gd name="connsiteX52" fmla="*/ 1903497 w 3093505"/>
              <a:gd name="connsiteY52" fmla="*/ 960764 h 1674254"/>
              <a:gd name="connsiteX53" fmla="*/ 1965316 w 3093505"/>
              <a:gd name="connsiteY53" fmla="*/ 976219 h 1674254"/>
              <a:gd name="connsiteX54" fmla="*/ 2034862 w 3093505"/>
              <a:gd name="connsiteY54" fmla="*/ 1007128 h 1674254"/>
              <a:gd name="connsiteX55" fmla="*/ 2065771 w 3093505"/>
              <a:gd name="connsiteY55" fmla="*/ 1001977 h 1674254"/>
              <a:gd name="connsiteX56" fmla="*/ 2099256 w 3093505"/>
              <a:gd name="connsiteY56" fmla="*/ 1030310 h 1674254"/>
              <a:gd name="connsiteX57" fmla="*/ 2145620 w 3093505"/>
              <a:gd name="connsiteY57" fmla="*/ 1038037 h 1674254"/>
              <a:gd name="connsiteX58" fmla="*/ 2168802 w 3093505"/>
              <a:gd name="connsiteY58" fmla="*/ 1074098 h 1674254"/>
              <a:gd name="connsiteX59" fmla="*/ 2212590 w 3093505"/>
              <a:gd name="connsiteY59" fmla="*/ 1110159 h 1674254"/>
              <a:gd name="connsiteX60" fmla="*/ 2274409 w 3093505"/>
              <a:gd name="connsiteY60" fmla="*/ 1115311 h 1674254"/>
              <a:gd name="connsiteX61" fmla="*/ 2274409 w 3093505"/>
              <a:gd name="connsiteY61" fmla="*/ 1115311 h 1674254"/>
              <a:gd name="connsiteX62" fmla="*/ 2295015 w 3093505"/>
              <a:gd name="connsiteY62" fmla="*/ 1094704 h 1674254"/>
              <a:gd name="connsiteX63" fmla="*/ 2313046 w 3093505"/>
              <a:gd name="connsiteY63" fmla="*/ 1115311 h 1674254"/>
              <a:gd name="connsiteX64" fmla="*/ 2313046 w 3093505"/>
              <a:gd name="connsiteY64" fmla="*/ 1156523 h 1674254"/>
              <a:gd name="connsiteX65" fmla="*/ 2346531 w 3093505"/>
              <a:gd name="connsiteY65" fmla="*/ 1177129 h 1674254"/>
              <a:gd name="connsiteX66" fmla="*/ 2385167 w 3093505"/>
              <a:gd name="connsiteY66" fmla="*/ 1177129 h 1674254"/>
              <a:gd name="connsiteX67" fmla="*/ 2426380 w 3093505"/>
              <a:gd name="connsiteY67" fmla="*/ 1202887 h 1674254"/>
              <a:gd name="connsiteX68" fmla="*/ 2434107 w 3093505"/>
              <a:gd name="connsiteY68" fmla="*/ 1254402 h 1674254"/>
              <a:gd name="connsiteX69" fmla="*/ 2462440 w 3093505"/>
              <a:gd name="connsiteY69" fmla="*/ 1280160 h 1674254"/>
              <a:gd name="connsiteX70" fmla="*/ 2462440 w 3093505"/>
              <a:gd name="connsiteY70" fmla="*/ 1303342 h 1674254"/>
              <a:gd name="connsiteX71" fmla="*/ 2506229 w 3093505"/>
              <a:gd name="connsiteY71" fmla="*/ 1331676 h 1674254"/>
              <a:gd name="connsiteX72" fmla="*/ 2501077 w 3093505"/>
              <a:gd name="connsiteY72" fmla="*/ 1380615 h 1674254"/>
              <a:gd name="connsiteX73" fmla="*/ 2539714 w 3093505"/>
              <a:gd name="connsiteY73" fmla="*/ 1416676 h 1674254"/>
              <a:gd name="connsiteX74" fmla="*/ 2586078 w 3093505"/>
              <a:gd name="connsiteY74" fmla="*/ 1452737 h 1674254"/>
              <a:gd name="connsiteX75" fmla="*/ 2629866 w 3093505"/>
              <a:gd name="connsiteY75" fmla="*/ 1439858 h 1674254"/>
              <a:gd name="connsiteX76" fmla="*/ 2683957 w 3093505"/>
              <a:gd name="connsiteY76" fmla="*/ 1470768 h 1674254"/>
              <a:gd name="connsiteX77" fmla="*/ 2714866 w 3093505"/>
              <a:gd name="connsiteY77" fmla="*/ 1447586 h 1674254"/>
              <a:gd name="connsiteX78" fmla="*/ 2766382 w 3093505"/>
              <a:gd name="connsiteY78" fmla="*/ 1473343 h 1674254"/>
              <a:gd name="connsiteX79" fmla="*/ 2810170 w 3093505"/>
              <a:gd name="connsiteY79" fmla="*/ 1519707 h 1674254"/>
              <a:gd name="connsiteX80" fmla="*/ 2848807 w 3093505"/>
              <a:gd name="connsiteY80" fmla="*/ 1591829 h 1674254"/>
              <a:gd name="connsiteX81" fmla="*/ 2869413 w 3093505"/>
              <a:gd name="connsiteY81" fmla="*/ 1604708 h 1674254"/>
              <a:gd name="connsiteX82" fmla="*/ 2887443 w 3093505"/>
              <a:gd name="connsiteY82" fmla="*/ 1635617 h 1674254"/>
              <a:gd name="connsiteX83" fmla="*/ 2910625 w 3093505"/>
              <a:gd name="connsiteY83" fmla="*/ 1674254 h 1674254"/>
              <a:gd name="connsiteX84" fmla="*/ 2938959 w 3093505"/>
              <a:gd name="connsiteY84" fmla="*/ 1674254 h 1674254"/>
              <a:gd name="connsiteX85" fmla="*/ 2962141 w 3093505"/>
              <a:gd name="connsiteY85" fmla="*/ 1645920 h 1674254"/>
              <a:gd name="connsiteX86" fmla="*/ 2998202 w 3093505"/>
              <a:gd name="connsiteY86" fmla="*/ 1609859 h 1674254"/>
              <a:gd name="connsiteX87" fmla="*/ 2995626 w 3093505"/>
              <a:gd name="connsiteY87" fmla="*/ 1568647 h 1674254"/>
              <a:gd name="connsiteX88" fmla="*/ 3011080 w 3093505"/>
              <a:gd name="connsiteY88" fmla="*/ 1545465 h 1674254"/>
              <a:gd name="connsiteX89" fmla="*/ 3008505 w 3093505"/>
              <a:gd name="connsiteY89" fmla="*/ 1473343 h 1674254"/>
              <a:gd name="connsiteX90" fmla="*/ 3034262 w 3093505"/>
              <a:gd name="connsiteY90" fmla="*/ 1432131 h 1674254"/>
              <a:gd name="connsiteX91" fmla="*/ 3013656 w 3093505"/>
              <a:gd name="connsiteY91" fmla="*/ 1398646 h 1674254"/>
              <a:gd name="connsiteX92" fmla="*/ 3041990 w 3093505"/>
              <a:gd name="connsiteY92" fmla="*/ 1360009 h 1674254"/>
              <a:gd name="connsiteX93" fmla="*/ 3049717 w 3093505"/>
              <a:gd name="connsiteY93" fmla="*/ 1326524 h 1674254"/>
              <a:gd name="connsiteX94" fmla="*/ 3013656 w 3093505"/>
              <a:gd name="connsiteY94" fmla="*/ 1275009 h 1674254"/>
              <a:gd name="connsiteX95" fmla="*/ 2951838 w 3093505"/>
              <a:gd name="connsiteY95" fmla="*/ 1226069 h 1674254"/>
              <a:gd name="connsiteX96" fmla="*/ 2938959 w 3093505"/>
              <a:gd name="connsiteY96" fmla="*/ 1177129 h 1674254"/>
              <a:gd name="connsiteX97" fmla="*/ 2928656 w 3093505"/>
              <a:gd name="connsiteY97" fmla="*/ 1120462 h 1674254"/>
              <a:gd name="connsiteX98" fmla="*/ 2908049 w 3093505"/>
              <a:gd name="connsiteY98" fmla="*/ 1084401 h 1674254"/>
              <a:gd name="connsiteX99" fmla="*/ 2920928 w 3093505"/>
              <a:gd name="connsiteY99" fmla="*/ 1045765 h 1674254"/>
              <a:gd name="connsiteX100" fmla="*/ 2871989 w 3093505"/>
              <a:gd name="connsiteY100" fmla="*/ 924703 h 1674254"/>
              <a:gd name="connsiteX101" fmla="*/ 2871989 w 3093505"/>
              <a:gd name="connsiteY101" fmla="*/ 880915 h 1674254"/>
              <a:gd name="connsiteX102" fmla="*/ 2846231 w 3093505"/>
              <a:gd name="connsiteY102" fmla="*/ 816521 h 1674254"/>
              <a:gd name="connsiteX103" fmla="*/ 2843655 w 3093505"/>
              <a:gd name="connsiteY103" fmla="*/ 780460 h 1674254"/>
              <a:gd name="connsiteX104" fmla="*/ 2823049 w 3093505"/>
              <a:gd name="connsiteY104" fmla="*/ 741823 h 1674254"/>
              <a:gd name="connsiteX105" fmla="*/ 2743200 w 3093505"/>
              <a:gd name="connsiteY105" fmla="*/ 695459 h 1674254"/>
              <a:gd name="connsiteX106" fmla="*/ 2740624 w 3093505"/>
              <a:gd name="connsiteY106" fmla="*/ 659399 h 1674254"/>
              <a:gd name="connsiteX107" fmla="*/ 2709715 w 3093505"/>
              <a:gd name="connsiteY107" fmla="*/ 636217 h 1674254"/>
              <a:gd name="connsiteX108" fmla="*/ 2686533 w 3093505"/>
              <a:gd name="connsiteY108" fmla="*/ 636217 h 1674254"/>
              <a:gd name="connsiteX109" fmla="*/ 2642745 w 3093505"/>
              <a:gd name="connsiteY109" fmla="*/ 638792 h 1674254"/>
              <a:gd name="connsiteX110" fmla="*/ 2573199 w 3093505"/>
              <a:gd name="connsiteY110" fmla="*/ 600156 h 1674254"/>
              <a:gd name="connsiteX111" fmla="*/ 2521683 w 3093505"/>
              <a:gd name="connsiteY111" fmla="*/ 535761 h 1674254"/>
              <a:gd name="connsiteX112" fmla="*/ 2477895 w 3093505"/>
              <a:gd name="connsiteY112" fmla="*/ 512579 h 1674254"/>
              <a:gd name="connsiteX113" fmla="*/ 2472744 w 3093505"/>
              <a:gd name="connsiteY113" fmla="*/ 476519 h 1674254"/>
              <a:gd name="connsiteX114" fmla="*/ 2449562 w 3093505"/>
              <a:gd name="connsiteY114" fmla="*/ 427579 h 1674254"/>
              <a:gd name="connsiteX115" fmla="*/ 2408349 w 3093505"/>
              <a:gd name="connsiteY115" fmla="*/ 396670 h 1674254"/>
              <a:gd name="connsiteX116" fmla="*/ 2413501 w 3093505"/>
              <a:gd name="connsiteY116" fmla="*/ 352881 h 1674254"/>
              <a:gd name="connsiteX117" fmla="*/ 2449562 w 3093505"/>
              <a:gd name="connsiteY117" fmla="*/ 296214 h 1674254"/>
              <a:gd name="connsiteX118" fmla="*/ 2454713 w 3093505"/>
              <a:gd name="connsiteY118" fmla="*/ 231820 h 1674254"/>
              <a:gd name="connsiteX119" fmla="*/ 2483047 w 3093505"/>
              <a:gd name="connsiteY119" fmla="*/ 195759 h 1674254"/>
              <a:gd name="connsiteX120" fmla="*/ 2529411 w 3093505"/>
              <a:gd name="connsiteY120" fmla="*/ 172577 h 1674254"/>
              <a:gd name="connsiteX121" fmla="*/ 2552593 w 3093505"/>
              <a:gd name="connsiteY121" fmla="*/ 128789 h 1674254"/>
              <a:gd name="connsiteX122" fmla="*/ 2601532 w 3093505"/>
              <a:gd name="connsiteY122" fmla="*/ 126213 h 1674254"/>
              <a:gd name="connsiteX123" fmla="*/ 2632442 w 3093505"/>
              <a:gd name="connsiteY123" fmla="*/ 141668 h 1674254"/>
              <a:gd name="connsiteX124" fmla="*/ 2707139 w 3093505"/>
              <a:gd name="connsiteY124" fmla="*/ 126213 h 1674254"/>
              <a:gd name="connsiteX125" fmla="*/ 2743200 w 3093505"/>
              <a:gd name="connsiteY125" fmla="*/ 151971 h 1674254"/>
              <a:gd name="connsiteX126" fmla="*/ 2792140 w 3093505"/>
              <a:gd name="connsiteY126" fmla="*/ 144244 h 1674254"/>
              <a:gd name="connsiteX127" fmla="*/ 2843655 w 3093505"/>
              <a:gd name="connsiteY127" fmla="*/ 162274 h 1674254"/>
              <a:gd name="connsiteX128" fmla="*/ 2923504 w 3093505"/>
              <a:gd name="connsiteY128" fmla="*/ 200911 h 1674254"/>
              <a:gd name="connsiteX129" fmla="*/ 3047141 w 3093505"/>
              <a:gd name="connsiteY129" fmla="*/ 211214 h 1674254"/>
              <a:gd name="connsiteX130" fmla="*/ 3093505 w 3093505"/>
              <a:gd name="connsiteY130" fmla="*/ 200911 h 1674254"/>
              <a:gd name="connsiteX131" fmla="*/ 3075475 w 3093505"/>
              <a:gd name="connsiteY131" fmla="*/ 175153 h 1674254"/>
              <a:gd name="connsiteX132" fmla="*/ 3072899 w 3093505"/>
              <a:gd name="connsiteY132" fmla="*/ 144244 h 1674254"/>
              <a:gd name="connsiteX0" fmla="*/ 0 w 3049717"/>
              <a:gd name="connsiteY0" fmla="*/ 0 h 1671678"/>
              <a:gd name="connsiteX1" fmla="*/ 51516 w 3049717"/>
              <a:gd name="connsiteY1" fmla="*/ 30909 h 1671678"/>
              <a:gd name="connsiteX2" fmla="*/ 79849 w 3049717"/>
              <a:gd name="connsiteY2" fmla="*/ 85001 h 1671678"/>
              <a:gd name="connsiteX3" fmla="*/ 123637 w 3049717"/>
              <a:gd name="connsiteY3" fmla="*/ 105607 h 1671678"/>
              <a:gd name="connsiteX4" fmla="*/ 193183 w 3049717"/>
              <a:gd name="connsiteY4" fmla="*/ 172577 h 1671678"/>
              <a:gd name="connsiteX5" fmla="*/ 255002 w 3049717"/>
              <a:gd name="connsiteY5" fmla="*/ 211214 h 1671678"/>
              <a:gd name="connsiteX6" fmla="*/ 291063 w 3049717"/>
              <a:gd name="connsiteY6" fmla="*/ 185456 h 1671678"/>
              <a:gd name="connsiteX7" fmla="*/ 316820 w 3049717"/>
              <a:gd name="connsiteY7" fmla="*/ 198335 h 1671678"/>
              <a:gd name="connsiteX8" fmla="*/ 329699 w 3049717"/>
              <a:gd name="connsiteY8" fmla="*/ 211214 h 1671678"/>
              <a:gd name="connsiteX9" fmla="*/ 370912 w 3049717"/>
              <a:gd name="connsiteY9" fmla="*/ 182880 h 1671678"/>
              <a:gd name="connsiteX10" fmla="*/ 394094 w 3049717"/>
              <a:gd name="connsiteY10" fmla="*/ 159698 h 1671678"/>
              <a:gd name="connsiteX11" fmla="*/ 430154 w 3049717"/>
              <a:gd name="connsiteY11" fmla="*/ 159698 h 1671678"/>
              <a:gd name="connsiteX12" fmla="*/ 468791 w 3049717"/>
              <a:gd name="connsiteY12" fmla="*/ 195759 h 1671678"/>
              <a:gd name="connsiteX13" fmla="*/ 471367 w 3049717"/>
              <a:gd name="connsiteY13" fmla="*/ 270456 h 1671678"/>
              <a:gd name="connsiteX14" fmla="*/ 515155 w 3049717"/>
              <a:gd name="connsiteY14" fmla="*/ 301366 h 1671678"/>
              <a:gd name="connsiteX15" fmla="*/ 587277 w 3049717"/>
              <a:gd name="connsiteY15" fmla="*/ 345154 h 1671678"/>
              <a:gd name="connsiteX16" fmla="*/ 633641 w 3049717"/>
              <a:gd name="connsiteY16" fmla="*/ 358033 h 1671678"/>
              <a:gd name="connsiteX17" fmla="*/ 661974 w 3049717"/>
              <a:gd name="connsiteY17" fmla="*/ 347730 h 1671678"/>
              <a:gd name="connsiteX18" fmla="*/ 692883 w 3049717"/>
              <a:gd name="connsiteY18" fmla="*/ 365760 h 1671678"/>
              <a:gd name="connsiteX19" fmla="*/ 734096 w 3049717"/>
              <a:gd name="connsiteY19" fmla="*/ 345154 h 1671678"/>
              <a:gd name="connsiteX20" fmla="*/ 749551 w 3049717"/>
              <a:gd name="connsiteY20" fmla="*/ 321972 h 1671678"/>
              <a:gd name="connsiteX21" fmla="*/ 780460 w 3049717"/>
              <a:gd name="connsiteY21" fmla="*/ 345154 h 1671678"/>
              <a:gd name="connsiteX22" fmla="*/ 813945 w 3049717"/>
              <a:gd name="connsiteY22" fmla="*/ 324548 h 1671678"/>
              <a:gd name="connsiteX23" fmla="*/ 824248 w 3049717"/>
              <a:gd name="connsiteY23" fmla="*/ 296214 h 1671678"/>
              <a:gd name="connsiteX24" fmla="*/ 873188 w 3049717"/>
              <a:gd name="connsiteY24" fmla="*/ 316820 h 1671678"/>
              <a:gd name="connsiteX25" fmla="*/ 927279 w 3049717"/>
              <a:gd name="connsiteY25" fmla="*/ 373487 h 1671678"/>
              <a:gd name="connsiteX26" fmla="*/ 981370 w 3049717"/>
              <a:gd name="connsiteY26" fmla="*/ 378639 h 1671678"/>
              <a:gd name="connsiteX27" fmla="*/ 1001976 w 3049717"/>
              <a:gd name="connsiteY27" fmla="*/ 363184 h 1671678"/>
              <a:gd name="connsiteX28" fmla="*/ 1048340 w 3049717"/>
              <a:gd name="connsiteY28" fmla="*/ 365760 h 1671678"/>
              <a:gd name="connsiteX29" fmla="*/ 1084401 w 3049717"/>
              <a:gd name="connsiteY29" fmla="*/ 399245 h 1671678"/>
              <a:gd name="connsiteX30" fmla="*/ 1099856 w 3049717"/>
              <a:gd name="connsiteY30" fmla="*/ 458488 h 1671678"/>
              <a:gd name="connsiteX31" fmla="*/ 1141068 w 3049717"/>
              <a:gd name="connsiteY31" fmla="*/ 528034 h 1671678"/>
              <a:gd name="connsiteX32" fmla="*/ 1138492 w 3049717"/>
              <a:gd name="connsiteY32" fmla="*/ 576974 h 1671678"/>
              <a:gd name="connsiteX33" fmla="*/ 1161674 w 3049717"/>
              <a:gd name="connsiteY33" fmla="*/ 620762 h 1671678"/>
              <a:gd name="connsiteX34" fmla="*/ 1210614 w 3049717"/>
              <a:gd name="connsiteY34" fmla="*/ 631065 h 1671678"/>
              <a:gd name="connsiteX35" fmla="*/ 1238948 w 3049717"/>
              <a:gd name="connsiteY35" fmla="*/ 659398 h 1671678"/>
              <a:gd name="connsiteX36" fmla="*/ 1316221 w 3049717"/>
              <a:gd name="connsiteY36" fmla="*/ 687732 h 1671678"/>
              <a:gd name="connsiteX37" fmla="*/ 1362585 w 3049717"/>
              <a:gd name="connsiteY37" fmla="*/ 667126 h 1671678"/>
              <a:gd name="connsiteX38" fmla="*/ 1398646 w 3049717"/>
              <a:gd name="connsiteY38" fmla="*/ 667126 h 1671678"/>
              <a:gd name="connsiteX39" fmla="*/ 1426979 w 3049717"/>
              <a:gd name="connsiteY39" fmla="*/ 721217 h 1671678"/>
              <a:gd name="connsiteX40" fmla="*/ 1447585 w 3049717"/>
              <a:gd name="connsiteY40" fmla="*/ 762429 h 1671678"/>
              <a:gd name="connsiteX41" fmla="*/ 1483646 w 3049717"/>
              <a:gd name="connsiteY41" fmla="*/ 785611 h 1671678"/>
              <a:gd name="connsiteX42" fmla="*/ 1524859 w 3049717"/>
              <a:gd name="connsiteY42" fmla="*/ 783035 h 1671678"/>
              <a:gd name="connsiteX43" fmla="*/ 1568647 w 3049717"/>
              <a:gd name="connsiteY43" fmla="*/ 819096 h 1671678"/>
              <a:gd name="connsiteX44" fmla="*/ 1635617 w 3049717"/>
              <a:gd name="connsiteY44" fmla="*/ 842278 h 1671678"/>
              <a:gd name="connsiteX45" fmla="*/ 1707739 w 3049717"/>
              <a:gd name="connsiteY45" fmla="*/ 834551 h 1671678"/>
              <a:gd name="connsiteX46" fmla="*/ 1736072 w 3049717"/>
              <a:gd name="connsiteY46" fmla="*/ 816521 h 1671678"/>
              <a:gd name="connsiteX47" fmla="*/ 1751527 w 3049717"/>
              <a:gd name="connsiteY47" fmla="*/ 834551 h 1671678"/>
              <a:gd name="connsiteX48" fmla="*/ 1759254 w 3049717"/>
              <a:gd name="connsiteY48" fmla="*/ 870612 h 1671678"/>
              <a:gd name="connsiteX49" fmla="*/ 1808194 w 3049717"/>
              <a:gd name="connsiteY49" fmla="*/ 883491 h 1671678"/>
              <a:gd name="connsiteX50" fmla="*/ 1828800 w 3049717"/>
              <a:gd name="connsiteY50" fmla="*/ 911824 h 1671678"/>
              <a:gd name="connsiteX51" fmla="*/ 1859709 w 3049717"/>
              <a:gd name="connsiteY51" fmla="*/ 958188 h 1671678"/>
              <a:gd name="connsiteX52" fmla="*/ 1921528 w 3049717"/>
              <a:gd name="connsiteY52" fmla="*/ 973643 h 1671678"/>
              <a:gd name="connsiteX53" fmla="*/ 1991074 w 3049717"/>
              <a:gd name="connsiteY53" fmla="*/ 1004552 h 1671678"/>
              <a:gd name="connsiteX54" fmla="*/ 2021983 w 3049717"/>
              <a:gd name="connsiteY54" fmla="*/ 999401 h 1671678"/>
              <a:gd name="connsiteX55" fmla="*/ 2055468 w 3049717"/>
              <a:gd name="connsiteY55" fmla="*/ 1027734 h 1671678"/>
              <a:gd name="connsiteX56" fmla="*/ 2101832 w 3049717"/>
              <a:gd name="connsiteY56" fmla="*/ 1035461 h 1671678"/>
              <a:gd name="connsiteX57" fmla="*/ 2125014 w 3049717"/>
              <a:gd name="connsiteY57" fmla="*/ 1071522 h 1671678"/>
              <a:gd name="connsiteX58" fmla="*/ 2168802 w 3049717"/>
              <a:gd name="connsiteY58" fmla="*/ 1107583 h 1671678"/>
              <a:gd name="connsiteX59" fmla="*/ 2230621 w 3049717"/>
              <a:gd name="connsiteY59" fmla="*/ 1112735 h 1671678"/>
              <a:gd name="connsiteX60" fmla="*/ 2230621 w 3049717"/>
              <a:gd name="connsiteY60" fmla="*/ 1112735 h 1671678"/>
              <a:gd name="connsiteX61" fmla="*/ 2251227 w 3049717"/>
              <a:gd name="connsiteY61" fmla="*/ 1092128 h 1671678"/>
              <a:gd name="connsiteX62" fmla="*/ 2269258 w 3049717"/>
              <a:gd name="connsiteY62" fmla="*/ 1112735 h 1671678"/>
              <a:gd name="connsiteX63" fmla="*/ 2269258 w 3049717"/>
              <a:gd name="connsiteY63" fmla="*/ 1153947 h 1671678"/>
              <a:gd name="connsiteX64" fmla="*/ 2302743 w 3049717"/>
              <a:gd name="connsiteY64" fmla="*/ 1174553 h 1671678"/>
              <a:gd name="connsiteX65" fmla="*/ 2341379 w 3049717"/>
              <a:gd name="connsiteY65" fmla="*/ 1174553 h 1671678"/>
              <a:gd name="connsiteX66" fmla="*/ 2382592 w 3049717"/>
              <a:gd name="connsiteY66" fmla="*/ 1200311 h 1671678"/>
              <a:gd name="connsiteX67" fmla="*/ 2390319 w 3049717"/>
              <a:gd name="connsiteY67" fmla="*/ 1251826 h 1671678"/>
              <a:gd name="connsiteX68" fmla="*/ 2418652 w 3049717"/>
              <a:gd name="connsiteY68" fmla="*/ 1277584 h 1671678"/>
              <a:gd name="connsiteX69" fmla="*/ 2418652 w 3049717"/>
              <a:gd name="connsiteY69" fmla="*/ 1300766 h 1671678"/>
              <a:gd name="connsiteX70" fmla="*/ 2462441 w 3049717"/>
              <a:gd name="connsiteY70" fmla="*/ 1329100 h 1671678"/>
              <a:gd name="connsiteX71" fmla="*/ 2457289 w 3049717"/>
              <a:gd name="connsiteY71" fmla="*/ 1378039 h 1671678"/>
              <a:gd name="connsiteX72" fmla="*/ 2495926 w 3049717"/>
              <a:gd name="connsiteY72" fmla="*/ 1414100 h 1671678"/>
              <a:gd name="connsiteX73" fmla="*/ 2542290 w 3049717"/>
              <a:gd name="connsiteY73" fmla="*/ 1450161 h 1671678"/>
              <a:gd name="connsiteX74" fmla="*/ 2586078 w 3049717"/>
              <a:gd name="connsiteY74" fmla="*/ 1437282 h 1671678"/>
              <a:gd name="connsiteX75" fmla="*/ 2640169 w 3049717"/>
              <a:gd name="connsiteY75" fmla="*/ 1468192 h 1671678"/>
              <a:gd name="connsiteX76" fmla="*/ 2671078 w 3049717"/>
              <a:gd name="connsiteY76" fmla="*/ 1445010 h 1671678"/>
              <a:gd name="connsiteX77" fmla="*/ 2722594 w 3049717"/>
              <a:gd name="connsiteY77" fmla="*/ 1470767 h 1671678"/>
              <a:gd name="connsiteX78" fmla="*/ 2766382 w 3049717"/>
              <a:gd name="connsiteY78" fmla="*/ 1517131 h 1671678"/>
              <a:gd name="connsiteX79" fmla="*/ 2805019 w 3049717"/>
              <a:gd name="connsiteY79" fmla="*/ 1589253 h 1671678"/>
              <a:gd name="connsiteX80" fmla="*/ 2825625 w 3049717"/>
              <a:gd name="connsiteY80" fmla="*/ 1602132 h 1671678"/>
              <a:gd name="connsiteX81" fmla="*/ 2843655 w 3049717"/>
              <a:gd name="connsiteY81" fmla="*/ 1633041 h 1671678"/>
              <a:gd name="connsiteX82" fmla="*/ 2866837 w 3049717"/>
              <a:gd name="connsiteY82" fmla="*/ 1671678 h 1671678"/>
              <a:gd name="connsiteX83" fmla="*/ 2895171 w 3049717"/>
              <a:gd name="connsiteY83" fmla="*/ 1671678 h 1671678"/>
              <a:gd name="connsiteX84" fmla="*/ 2918353 w 3049717"/>
              <a:gd name="connsiteY84" fmla="*/ 1643344 h 1671678"/>
              <a:gd name="connsiteX85" fmla="*/ 2954414 w 3049717"/>
              <a:gd name="connsiteY85" fmla="*/ 1607283 h 1671678"/>
              <a:gd name="connsiteX86" fmla="*/ 2951838 w 3049717"/>
              <a:gd name="connsiteY86" fmla="*/ 1566071 h 1671678"/>
              <a:gd name="connsiteX87" fmla="*/ 2967292 w 3049717"/>
              <a:gd name="connsiteY87" fmla="*/ 1542889 h 1671678"/>
              <a:gd name="connsiteX88" fmla="*/ 2964717 w 3049717"/>
              <a:gd name="connsiteY88" fmla="*/ 1470767 h 1671678"/>
              <a:gd name="connsiteX89" fmla="*/ 2990474 w 3049717"/>
              <a:gd name="connsiteY89" fmla="*/ 1429555 h 1671678"/>
              <a:gd name="connsiteX90" fmla="*/ 2969868 w 3049717"/>
              <a:gd name="connsiteY90" fmla="*/ 1396070 h 1671678"/>
              <a:gd name="connsiteX91" fmla="*/ 2998202 w 3049717"/>
              <a:gd name="connsiteY91" fmla="*/ 1357433 h 1671678"/>
              <a:gd name="connsiteX92" fmla="*/ 3005929 w 3049717"/>
              <a:gd name="connsiteY92" fmla="*/ 1323948 h 1671678"/>
              <a:gd name="connsiteX93" fmla="*/ 2969868 w 3049717"/>
              <a:gd name="connsiteY93" fmla="*/ 1272433 h 1671678"/>
              <a:gd name="connsiteX94" fmla="*/ 2908050 w 3049717"/>
              <a:gd name="connsiteY94" fmla="*/ 1223493 h 1671678"/>
              <a:gd name="connsiteX95" fmla="*/ 2895171 w 3049717"/>
              <a:gd name="connsiteY95" fmla="*/ 1174553 h 1671678"/>
              <a:gd name="connsiteX96" fmla="*/ 2884868 w 3049717"/>
              <a:gd name="connsiteY96" fmla="*/ 1117886 h 1671678"/>
              <a:gd name="connsiteX97" fmla="*/ 2864261 w 3049717"/>
              <a:gd name="connsiteY97" fmla="*/ 1081825 h 1671678"/>
              <a:gd name="connsiteX98" fmla="*/ 2877140 w 3049717"/>
              <a:gd name="connsiteY98" fmla="*/ 1043189 h 1671678"/>
              <a:gd name="connsiteX99" fmla="*/ 2828201 w 3049717"/>
              <a:gd name="connsiteY99" fmla="*/ 922127 h 1671678"/>
              <a:gd name="connsiteX100" fmla="*/ 2828201 w 3049717"/>
              <a:gd name="connsiteY100" fmla="*/ 878339 h 1671678"/>
              <a:gd name="connsiteX101" fmla="*/ 2802443 w 3049717"/>
              <a:gd name="connsiteY101" fmla="*/ 813945 h 1671678"/>
              <a:gd name="connsiteX102" fmla="*/ 2799867 w 3049717"/>
              <a:gd name="connsiteY102" fmla="*/ 777884 h 1671678"/>
              <a:gd name="connsiteX103" fmla="*/ 2779261 w 3049717"/>
              <a:gd name="connsiteY103" fmla="*/ 739247 h 1671678"/>
              <a:gd name="connsiteX104" fmla="*/ 2699412 w 3049717"/>
              <a:gd name="connsiteY104" fmla="*/ 692883 h 1671678"/>
              <a:gd name="connsiteX105" fmla="*/ 2696836 w 3049717"/>
              <a:gd name="connsiteY105" fmla="*/ 656823 h 1671678"/>
              <a:gd name="connsiteX106" fmla="*/ 2665927 w 3049717"/>
              <a:gd name="connsiteY106" fmla="*/ 633641 h 1671678"/>
              <a:gd name="connsiteX107" fmla="*/ 2642745 w 3049717"/>
              <a:gd name="connsiteY107" fmla="*/ 633641 h 1671678"/>
              <a:gd name="connsiteX108" fmla="*/ 2598957 w 3049717"/>
              <a:gd name="connsiteY108" fmla="*/ 636216 h 1671678"/>
              <a:gd name="connsiteX109" fmla="*/ 2529411 w 3049717"/>
              <a:gd name="connsiteY109" fmla="*/ 597580 h 1671678"/>
              <a:gd name="connsiteX110" fmla="*/ 2477895 w 3049717"/>
              <a:gd name="connsiteY110" fmla="*/ 533185 h 1671678"/>
              <a:gd name="connsiteX111" fmla="*/ 2434107 w 3049717"/>
              <a:gd name="connsiteY111" fmla="*/ 510003 h 1671678"/>
              <a:gd name="connsiteX112" fmla="*/ 2428956 w 3049717"/>
              <a:gd name="connsiteY112" fmla="*/ 473943 h 1671678"/>
              <a:gd name="connsiteX113" fmla="*/ 2405774 w 3049717"/>
              <a:gd name="connsiteY113" fmla="*/ 425003 h 1671678"/>
              <a:gd name="connsiteX114" fmla="*/ 2364561 w 3049717"/>
              <a:gd name="connsiteY114" fmla="*/ 394094 h 1671678"/>
              <a:gd name="connsiteX115" fmla="*/ 2369713 w 3049717"/>
              <a:gd name="connsiteY115" fmla="*/ 350305 h 1671678"/>
              <a:gd name="connsiteX116" fmla="*/ 2405774 w 3049717"/>
              <a:gd name="connsiteY116" fmla="*/ 293638 h 1671678"/>
              <a:gd name="connsiteX117" fmla="*/ 2410925 w 3049717"/>
              <a:gd name="connsiteY117" fmla="*/ 229244 h 1671678"/>
              <a:gd name="connsiteX118" fmla="*/ 2439259 w 3049717"/>
              <a:gd name="connsiteY118" fmla="*/ 193183 h 1671678"/>
              <a:gd name="connsiteX119" fmla="*/ 2485623 w 3049717"/>
              <a:gd name="connsiteY119" fmla="*/ 170001 h 1671678"/>
              <a:gd name="connsiteX120" fmla="*/ 2508805 w 3049717"/>
              <a:gd name="connsiteY120" fmla="*/ 126213 h 1671678"/>
              <a:gd name="connsiteX121" fmla="*/ 2557744 w 3049717"/>
              <a:gd name="connsiteY121" fmla="*/ 123637 h 1671678"/>
              <a:gd name="connsiteX122" fmla="*/ 2588654 w 3049717"/>
              <a:gd name="connsiteY122" fmla="*/ 139092 h 1671678"/>
              <a:gd name="connsiteX123" fmla="*/ 2663351 w 3049717"/>
              <a:gd name="connsiteY123" fmla="*/ 123637 h 1671678"/>
              <a:gd name="connsiteX124" fmla="*/ 2699412 w 3049717"/>
              <a:gd name="connsiteY124" fmla="*/ 149395 h 1671678"/>
              <a:gd name="connsiteX125" fmla="*/ 2748352 w 3049717"/>
              <a:gd name="connsiteY125" fmla="*/ 141668 h 1671678"/>
              <a:gd name="connsiteX126" fmla="*/ 2799867 w 3049717"/>
              <a:gd name="connsiteY126" fmla="*/ 159698 h 1671678"/>
              <a:gd name="connsiteX127" fmla="*/ 2879716 w 3049717"/>
              <a:gd name="connsiteY127" fmla="*/ 198335 h 1671678"/>
              <a:gd name="connsiteX128" fmla="*/ 3003353 w 3049717"/>
              <a:gd name="connsiteY128" fmla="*/ 208638 h 1671678"/>
              <a:gd name="connsiteX129" fmla="*/ 3049717 w 3049717"/>
              <a:gd name="connsiteY129" fmla="*/ 198335 h 1671678"/>
              <a:gd name="connsiteX130" fmla="*/ 3031687 w 3049717"/>
              <a:gd name="connsiteY130" fmla="*/ 172577 h 1671678"/>
              <a:gd name="connsiteX131" fmla="*/ 3029111 w 3049717"/>
              <a:gd name="connsiteY131" fmla="*/ 141668 h 1671678"/>
              <a:gd name="connsiteX0" fmla="*/ 0 w 2998201"/>
              <a:gd name="connsiteY0" fmla="*/ 0 h 1640769"/>
              <a:gd name="connsiteX1" fmla="*/ 28333 w 2998201"/>
              <a:gd name="connsiteY1" fmla="*/ 54092 h 1640769"/>
              <a:gd name="connsiteX2" fmla="*/ 72121 w 2998201"/>
              <a:gd name="connsiteY2" fmla="*/ 74698 h 1640769"/>
              <a:gd name="connsiteX3" fmla="*/ 141667 w 2998201"/>
              <a:gd name="connsiteY3" fmla="*/ 141668 h 1640769"/>
              <a:gd name="connsiteX4" fmla="*/ 203486 w 2998201"/>
              <a:gd name="connsiteY4" fmla="*/ 180305 h 1640769"/>
              <a:gd name="connsiteX5" fmla="*/ 239547 w 2998201"/>
              <a:gd name="connsiteY5" fmla="*/ 154547 h 1640769"/>
              <a:gd name="connsiteX6" fmla="*/ 265304 w 2998201"/>
              <a:gd name="connsiteY6" fmla="*/ 167426 h 1640769"/>
              <a:gd name="connsiteX7" fmla="*/ 278183 w 2998201"/>
              <a:gd name="connsiteY7" fmla="*/ 180305 h 1640769"/>
              <a:gd name="connsiteX8" fmla="*/ 319396 w 2998201"/>
              <a:gd name="connsiteY8" fmla="*/ 151971 h 1640769"/>
              <a:gd name="connsiteX9" fmla="*/ 342578 w 2998201"/>
              <a:gd name="connsiteY9" fmla="*/ 128789 h 1640769"/>
              <a:gd name="connsiteX10" fmla="*/ 378638 w 2998201"/>
              <a:gd name="connsiteY10" fmla="*/ 128789 h 1640769"/>
              <a:gd name="connsiteX11" fmla="*/ 417275 w 2998201"/>
              <a:gd name="connsiteY11" fmla="*/ 164850 h 1640769"/>
              <a:gd name="connsiteX12" fmla="*/ 419851 w 2998201"/>
              <a:gd name="connsiteY12" fmla="*/ 239547 h 1640769"/>
              <a:gd name="connsiteX13" fmla="*/ 463639 w 2998201"/>
              <a:gd name="connsiteY13" fmla="*/ 270457 h 1640769"/>
              <a:gd name="connsiteX14" fmla="*/ 535761 w 2998201"/>
              <a:gd name="connsiteY14" fmla="*/ 314245 h 1640769"/>
              <a:gd name="connsiteX15" fmla="*/ 582125 w 2998201"/>
              <a:gd name="connsiteY15" fmla="*/ 327124 h 1640769"/>
              <a:gd name="connsiteX16" fmla="*/ 610458 w 2998201"/>
              <a:gd name="connsiteY16" fmla="*/ 316821 h 1640769"/>
              <a:gd name="connsiteX17" fmla="*/ 641367 w 2998201"/>
              <a:gd name="connsiteY17" fmla="*/ 334851 h 1640769"/>
              <a:gd name="connsiteX18" fmla="*/ 682580 w 2998201"/>
              <a:gd name="connsiteY18" fmla="*/ 314245 h 1640769"/>
              <a:gd name="connsiteX19" fmla="*/ 698035 w 2998201"/>
              <a:gd name="connsiteY19" fmla="*/ 291063 h 1640769"/>
              <a:gd name="connsiteX20" fmla="*/ 728944 w 2998201"/>
              <a:gd name="connsiteY20" fmla="*/ 314245 h 1640769"/>
              <a:gd name="connsiteX21" fmla="*/ 762429 w 2998201"/>
              <a:gd name="connsiteY21" fmla="*/ 293639 h 1640769"/>
              <a:gd name="connsiteX22" fmla="*/ 772732 w 2998201"/>
              <a:gd name="connsiteY22" fmla="*/ 265305 h 1640769"/>
              <a:gd name="connsiteX23" fmla="*/ 821672 w 2998201"/>
              <a:gd name="connsiteY23" fmla="*/ 285911 h 1640769"/>
              <a:gd name="connsiteX24" fmla="*/ 875763 w 2998201"/>
              <a:gd name="connsiteY24" fmla="*/ 342578 h 1640769"/>
              <a:gd name="connsiteX25" fmla="*/ 929854 w 2998201"/>
              <a:gd name="connsiteY25" fmla="*/ 347730 h 1640769"/>
              <a:gd name="connsiteX26" fmla="*/ 950460 w 2998201"/>
              <a:gd name="connsiteY26" fmla="*/ 332275 h 1640769"/>
              <a:gd name="connsiteX27" fmla="*/ 996824 w 2998201"/>
              <a:gd name="connsiteY27" fmla="*/ 334851 h 1640769"/>
              <a:gd name="connsiteX28" fmla="*/ 1032885 w 2998201"/>
              <a:gd name="connsiteY28" fmla="*/ 368336 h 1640769"/>
              <a:gd name="connsiteX29" fmla="*/ 1048340 w 2998201"/>
              <a:gd name="connsiteY29" fmla="*/ 427579 h 1640769"/>
              <a:gd name="connsiteX30" fmla="*/ 1089552 w 2998201"/>
              <a:gd name="connsiteY30" fmla="*/ 497125 h 1640769"/>
              <a:gd name="connsiteX31" fmla="*/ 1086976 w 2998201"/>
              <a:gd name="connsiteY31" fmla="*/ 546065 h 1640769"/>
              <a:gd name="connsiteX32" fmla="*/ 1110158 w 2998201"/>
              <a:gd name="connsiteY32" fmla="*/ 589853 h 1640769"/>
              <a:gd name="connsiteX33" fmla="*/ 1159098 w 2998201"/>
              <a:gd name="connsiteY33" fmla="*/ 600156 h 1640769"/>
              <a:gd name="connsiteX34" fmla="*/ 1187432 w 2998201"/>
              <a:gd name="connsiteY34" fmla="*/ 628489 h 1640769"/>
              <a:gd name="connsiteX35" fmla="*/ 1264705 w 2998201"/>
              <a:gd name="connsiteY35" fmla="*/ 656823 h 1640769"/>
              <a:gd name="connsiteX36" fmla="*/ 1311069 w 2998201"/>
              <a:gd name="connsiteY36" fmla="*/ 636217 h 1640769"/>
              <a:gd name="connsiteX37" fmla="*/ 1347130 w 2998201"/>
              <a:gd name="connsiteY37" fmla="*/ 636217 h 1640769"/>
              <a:gd name="connsiteX38" fmla="*/ 1375463 w 2998201"/>
              <a:gd name="connsiteY38" fmla="*/ 690308 h 1640769"/>
              <a:gd name="connsiteX39" fmla="*/ 1396069 w 2998201"/>
              <a:gd name="connsiteY39" fmla="*/ 731520 h 1640769"/>
              <a:gd name="connsiteX40" fmla="*/ 1432130 w 2998201"/>
              <a:gd name="connsiteY40" fmla="*/ 754702 h 1640769"/>
              <a:gd name="connsiteX41" fmla="*/ 1473343 w 2998201"/>
              <a:gd name="connsiteY41" fmla="*/ 752126 h 1640769"/>
              <a:gd name="connsiteX42" fmla="*/ 1517131 w 2998201"/>
              <a:gd name="connsiteY42" fmla="*/ 788187 h 1640769"/>
              <a:gd name="connsiteX43" fmla="*/ 1584101 w 2998201"/>
              <a:gd name="connsiteY43" fmla="*/ 811369 h 1640769"/>
              <a:gd name="connsiteX44" fmla="*/ 1656223 w 2998201"/>
              <a:gd name="connsiteY44" fmla="*/ 803642 h 1640769"/>
              <a:gd name="connsiteX45" fmla="*/ 1684556 w 2998201"/>
              <a:gd name="connsiteY45" fmla="*/ 785612 h 1640769"/>
              <a:gd name="connsiteX46" fmla="*/ 1700011 w 2998201"/>
              <a:gd name="connsiteY46" fmla="*/ 803642 h 1640769"/>
              <a:gd name="connsiteX47" fmla="*/ 1707738 w 2998201"/>
              <a:gd name="connsiteY47" fmla="*/ 839703 h 1640769"/>
              <a:gd name="connsiteX48" fmla="*/ 1756678 w 2998201"/>
              <a:gd name="connsiteY48" fmla="*/ 852582 h 1640769"/>
              <a:gd name="connsiteX49" fmla="*/ 1777284 w 2998201"/>
              <a:gd name="connsiteY49" fmla="*/ 880915 h 1640769"/>
              <a:gd name="connsiteX50" fmla="*/ 1808193 w 2998201"/>
              <a:gd name="connsiteY50" fmla="*/ 927279 h 1640769"/>
              <a:gd name="connsiteX51" fmla="*/ 1870012 w 2998201"/>
              <a:gd name="connsiteY51" fmla="*/ 942734 h 1640769"/>
              <a:gd name="connsiteX52" fmla="*/ 1939558 w 2998201"/>
              <a:gd name="connsiteY52" fmla="*/ 973643 h 1640769"/>
              <a:gd name="connsiteX53" fmla="*/ 1970467 w 2998201"/>
              <a:gd name="connsiteY53" fmla="*/ 968492 h 1640769"/>
              <a:gd name="connsiteX54" fmla="*/ 2003952 w 2998201"/>
              <a:gd name="connsiteY54" fmla="*/ 996825 h 1640769"/>
              <a:gd name="connsiteX55" fmla="*/ 2050316 w 2998201"/>
              <a:gd name="connsiteY55" fmla="*/ 1004552 h 1640769"/>
              <a:gd name="connsiteX56" fmla="*/ 2073498 w 2998201"/>
              <a:gd name="connsiteY56" fmla="*/ 1040613 h 1640769"/>
              <a:gd name="connsiteX57" fmla="*/ 2117286 w 2998201"/>
              <a:gd name="connsiteY57" fmla="*/ 1076674 h 1640769"/>
              <a:gd name="connsiteX58" fmla="*/ 2179105 w 2998201"/>
              <a:gd name="connsiteY58" fmla="*/ 1081826 h 1640769"/>
              <a:gd name="connsiteX59" fmla="*/ 2179105 w 2998201"/>
              <a:gd name="connsiteY59" fmla="*/ 1081826 h 1640769"/>
              <a:gd name="connsiteX60" fmla="*/ 2199711 w 2998201"/>
              <a:gd name="connsiteY60" fmla="*/ 1061219 h 1640769"/>
              <a:gd name="connsiteX61" fmla="*/ 2217742 w 2998201"/>
              <a:gd name="connsiteY61" fmla="*/ 1081826 h 1640769"/>
              <a:gd name="connsiteX62" fmla="*/ 2217742 w 2998201"/>
              <a:gd name="connsiteY62" fmla="*/ 1123038 h 1640769"/>
              <a:gd name="connsiteX63" fmla="*/ 2251227 w 2998201"/>
              <a:gd name="connsiteY63" fmla="*/ 1143644 h 1640769"/>
              <a:gd name="connsiteX64" fmla="*/ 2289863 w 2998201"/>
              <a:gd name="connsiteY64" fmla="*/ 1143644 h 1640769"/>
              <a:gd name="connsiteX65" fmla="*/ 2331076 w 2998201"/>
              <a:gd name="connsiteY65" fmla="*/ 1169402 h 1640769"/>
              <a:gd name="connsiteX66" fmla="*/ 2338803 w 2998201"/>
              <a:gd name="connsiteY66" fmla="*/ 1220917 h 1640769"/>
              <a:gd name="connsiteX67" fmla="*/ 2367136 w 2998201"/>
              <a:gd name="connsiteY67" fmla="*/ 1246675 h 1640769"/>
              <a:gd name="connsiteX68" fmla="*/ 2367136 w 2998201"/>
              <a:gd name="connsiteY68" fmla="*/ 1269857 h 1640769"/>
              <a:gd name="connsiteX69" fmla="*/ 2410925 w 2998201"/>
              <a:gd name="connsiteY69" fmla="*/ 1298191 h 1640769"/>
              <a:gd name="connsiteX70" fmla="*/ 2405773 w 2998201"/>
              <a:gd name="connsiteY70" fmla="*/ 1347130 h 1640769"/>
              <a:gd name="connsiteX71" fmla="*/ 2444410 w 2998201"/>
              <a:gd name="connsiteY71" fmla="*/ 1383191 h 1640769"/>
              <a:gd name="connsiteX72" fmla="*/ 2490774 w 2998201"/>
              <a:gd name="connsiteY72" fmla="*/ 1419252 h 1640769"/>
              <a:gd name="connsiteX73" fmla="*/ 2534562 w 2998201"/>
              <a:gd name="connsiteY73" fmla="*/ 1406373 h 1640769"/>
              <a:gd name="connsiteX74" fmla="*/ 2588653 w 2998201"/>
              <a:gd name="connsiteY74" fmla="*/ 1437283 h 1640769"/>
              <a:gd name="connsiteX75" fmla="*/ 2619562 w 2998201"/>
              <a:gd name="connsiteY75" fmla="*/ 1414101 h 1640769"/>
              <a:gd name="connsiteX76" fmla="*/ 2671078 w 2998201"/>
              <a:gd name="connsiteY76" fmla="*/ 1439858 h 1640769"/>
              <a:gd name="connsiteX77" fmla="*/ 2714866 w 2998201"/>
              <a:gd name="connsiteY77" fmla="*/ 1486222 h 1640769"/>
              <a:gd name="connsiteX78" fmla="*/ 2753503 w 2998201"/>
              <a:gd name="connsiteY78" fmla="*/ 1558344 h 1640769"/>
              <a:gd name="connsiteX79" fmla="*/ 2774109 w 2998201"/>
              <a:gd name="connsiteY79" fmla="*/ 1571223 h 1640769"/>
              <a:gd name="connsiteX80" fmla="*/ 2792139 w 2998201"/>
              <a:gd name="connsiteY80" fmla="*/ 1602132 h 1640769"/>
              <a:gd name="connsiteX81" fmla="*/ 2815321 w 2998201"/>
              <a:gd name="connsiteY81" fmla="*/ 1640769 h 1640769"/>
              <a:gd name="connsiteX82" fmla="*/ 2843655 w 2998201"/>
              <a:gd name="connsiteY82" fmla="*/ 1640769 h 1640769"/>
              <a:gd name="connsiteX83" fmla="*/ 2866837 w 2998201"/>
              <a:gd name="connsiteY83" fmla="*/ 1612435 h 1640769"/>
              <a:gd name="connsiteX84" fmla="*/ 2902898 w 2998201"/>
              <a:gd name="connsiteY84" fmla="*/ 1576374 h 1640769"/>
              <a:gd name="connsiteX85" fmla="*/ 2900322 w 2998201"/>
              <a:gd name="connsiteY85" fmla="*/ 1535162 h 1640769"/>
              <a:gd name="connsiteX86" fmla="*/ 2915776 w 2998201"/>
              <a:gd name="connsiteY86" fmla="*/ 1511980 h 1640769"/>
              <a:gd name="connsiteX87" fmla="*/ 2913201 w 2998201"/>
              <a:gd name="connsiteY87" fmla="*/ 1439858 h 1640769"/>
              <a:gd name="connsiteX88" fmla="*/ 2938958 w 2998201"/>
              <a:gd name="connsiteY88" fmla="*/ 1398646 h 1640769"/>
              <a:gd name="connsiteX89" fmla="*/ 2918352 w 2998201"/>
              <a:gd name="connsiteY89" fmla="*/ 1365161 h 1640769"/>
              <a:gd name="connsiteX90" fmla="*/ 2946686 w 2998201"/>
              <a:gd name="connsiteY90" fmla="*/ 1326524 h 1640769"/>
              <a:gd name="connsiteX91" fmla="*/ 2954413 w 2998201"/>
              <a:gd name="connsiteY91" fmla="*/ 1293039 h 1640769"/>
              <a:gd name="connsiteX92" fmla="*/ 2918352 w 2998201"/>
              <a:gd name="connsiteY92" fmla="*/ 1241524 h 1640769"/>
              <a:gd name="connsiteX93" fmla="*/ 2856534 w 2998201"/>
              <a:gd name="connsiteY93" fmla="*/ 1192584 h 1640769"/>
              <a:gd name="connsiteX94" fmla="*/ 2843655 w 2998201"/>
              <a:gd name="connsiteY94" fmla="*/ 1143644 h 1640769"/>
              <a:gd name="connsiteX95" fmla="*/ 2833352 w 2998201"/>
              <a:gd name="connsiteY95" fmla="*/ 1086977 h 1640769"/>
              <a:gd name="connsiteX96" fmla="*/ 2812745 w 2998201"/>
              <a:gd name="connsiteY96" fmla="*/ 1050916 h 1640769"/>
              <a:gd name="connsiteX97" fmla="*/ 2825624 w 2998201"/>
              <a:gd name="connsiteY97" fmla="*/ 1012280 h 1640769"/>
              <a:gd name="connsiteX98" fmla="*/ 2776685 w 2998201"/>
              <a:gd name="connsiteY98" fmla="*/ 891218 h 1640769"/>
              <a:gd name="connsiteX99" fmla="*/ 2776685 w 2998201"/>
              <a:gd name="connsiteY99" fmla="*/ 847430 h 1640769"/>
              <a:gd name="connsiteX100" fmla="*/ 2750927 w 2998201"/>
              <a:gd name="connsiteY100" fmla="*/ 783036 h 1640769"/>
              <a:gd name="connsiteX101" fmla="*/ 2748351 w 2998201"/>
              <a:gd name="connsiteY101" fmla="*/ 746975 h 1640769"/>
              <a:gd name="connsiteX102" fmla="*/ 2727745 w 2998201"/>
              <a:gd name="connsiteY102" fmla="*/ 708338 h 1640769"/>
              <a:gd name="connsiteX103" fmla="*/ 2647896 w 2998201"/>
              <a:gd name="connsiteY103" fmla="*/ 661974 h 1640769"/>
              <a:gd name="connsiteX104" fmla="*/ 2645320 w 2998201"/>
              <a:gd name="connsiteY104" fmla="*/ 625914 h 1640769"/>
              <a:gd name="connsiteX105" fmla="*/ 2614411 w 2998201"/>
              <a:gd name="connsiteY105" fmla="*/ 602732 h 1640769"/>
              <a:gd name="connsiteX106" fmla="*/ 2591229 w 2998201"/>
              <a:gd name="connsiteY106" fmla="*/ 602732 h 1640769"/>
              <a:gd name="connsiteX107" fmla="*/ 2547441 w 2998201"/>
              <a:gd name="connsiteY107" fmla="*/ 605307 h 1640769"/>
              <a:gd name="connsiteX108" fmla="*/ 2477895 w 2998201"/>
              <a:gd name="connsiteY108" fmla="*/ 566671 h 1640769"/>
              <a:gd name="connsiteX109" fmla="*/ 2426379 w 2998201"/>
              <a:gd name="connsiteY109" fmla="*/ 502276 h 1640769"/>
              <a:gd name="connsiteX110" fmla="*/ 2382591 w 2998201"/>
              <a:gd name="connsiteY110" fmla="*/ 479094 h 1640769"/>
              <a:gd name="connsiteX111" fmla="*/ 2377440 w 2998201"/>
              <a:gd name="connsiteY111" fmla="*/ 443034 h 1640769"/>
              <a:gd name="connsiteX112" fmla="*/ 2354258 w 2998201"/>
              <a:gd name="connsiteY112" fmla="*/ 394094 h 1640769"/>
              <a:gd name="connsiteX113" fmla="*/ 2313045 w 2998201"/>
              <a:gd name="connsiteY113" fmla="*/ 363185 h 1640769"/>
              <a:gd name="connsiteX114" fmla="*/ 2318197 w 2998201"/>
              <a:gd name="connsiteY114" fmla="*/ 319396 h 1640769"/>
              <a:gd name="connsiteX115" fmla="*/ 2354258 w 2998201"/>
              <a:gd name="connsiteY115" fmla="*/ 262729 h 1640769"/>
              <a:gd name="connsiteX116" fmla="*/ 2359409 w 2998201"/>
              <a:gd name="connsiteY116" fmla="*/ 198335 h 1640769"/>
              <a:gd name="connsiteX117" fmla="*/ 2387743 w 2998201"/>
              <a:gd name="connsiteY117" fmla="*/ 162274 h 1640769"/>
              <a:gd name="connsiteX118" fmla="*/ 2434107 w 2998201"/>
              <a:gd name="connsiteY118" fmla="*/ 139092 h 1640769"/>
              <a:gd name="connsiteX119" fmla="*/ 2457289 w 2998201"/>
              <a:gd name="connsiteY119" fmla="*/ 95304 h 1640769"/>
              <a:gd name="connsiteX120" fmla="*/ 2506228 w 2998201"/>
              <a:gd name="connsiteY120" fmla="*/ 92728 h 1640769"/>
              <a:gd name="connsiteX121" fmla="*/ 2537138 w 2998201"/>
              <a:gd name="connsiteY121" fmla="*/ 108183 h 1640769"/>
              <a:gd name="connsiteX122" fmla="*/ 2611835 w 2998201"/>
              <a:gd name="connsiteY122" fmla="*/ 92728 h 1640769"/>
              <a:gd name="connsiteX123" fmla="*/ 2647896 w 2998201"/>
              <a:gd name="connsiteY123" fmla="*/ 118486 h 1640769"/>
              <a:gd name="connsiteX124" fmla="*/ 2696836 w 2998201"/>
              <a:gd name="connsiteY124" fmla="*/ 110759 h 1640769"/>
              <a:gd name="connsiteX125" fmla="*/ 2748351 w 2998201"/>
              <a:gd name="connsiteY125" fmla="*/ 128789 h 1640769"/>
              <a:gd name="connsiteX126" fmla="*/ 2828200 w 2998201"/>
              <a:gd name="connsiteY126" fmla="*/ 167426 h 1640769"/>
              <a:gd name="connsiteX127" fmla="*/ 2951837 w 2998201"/>
              <a:gd name="connsiteY127" fmla="*/ 177729 h 1640769"/>
              <a:gd name="connsiteX128" fmla="*/ 2998201 w 2998201"/>
              <a:gd name="connsiteY128" fmla="*/ 167426 h 1640769"/>
              <a:gd name="connsiteX129" fmla="*/ 2980171 w 2998201"/>
              <a:gd name="connsiteY129" fmla="*/ 141668 h 1640769"/>
              <a:gd name="connsiteX130" fmla="*/ 2977595 w 2998201"/>
              <a:gd name="connsiteY130" fmla="*/ 110759 h 1640769"/>
              <a:gd name="connsiteX0" fmla="*/ 0 w 2969868"/>
              <a:gd name="connsiteY0" fmla="*/ 0 h 1586677"/>
              <a:gd name="connsiteX1" fmla="*/ 43788 w 2969868"/>
              <a:gd name="connsiteY1" fmla="*/ 20606 h 1586677"/>
              <a:gd name="connsiteX2" fmla="*/ 113334 w 2969868"/>
              <a:gd name="connsiteY2" fmla="*/ 87576 h 1586677"/>
              <a:gd name="connsiteX3" fmla="*/ 175153 w 2969868"/>
              <a:gd name="connsiteY3" fmla="*/ 126213 h 1586677"/>
              <a:gd name="connsiteX4" fmla="*/ 211214 w 2969868"/>
              <a:gd name="connsiteY4" fmla="*/ 100455 h 1586677"/>
              <a:gd name="connsiteX5" fmla="*/ 236971 w 2969868"/>
              <a:gd name="connsiteY5" fmla="*/ 113334 h 1586677"/>
              <a:gd name="connsiteX6" fmla="*/ 249850 w 2969868"/>
              <a:gd name="connsiteY6" fmla="*/ 126213 h 1586677"/>
              <a:gd name="connsiteX7" fmla="*/ 291063 w 2969868"/>
              <a:gd name="connsiteY7" fmla="*/ 97879 h 1586677"/>
              <a:gd name="connsiteX8" fmla="*/ 314245 w 2969868"/>
              <a:gd name="connsiteY8" fmla="*/ 74697 h 1586677"/>
              <a:gd name="connsiteX9" fmla="*/ 350305 w 2969868"/>
              <a:gd name="connsiteY9" fmla="*/ 74697 h 1586677"/>
              <a:gd name="connsiteX10" fmla="*/ 388942 w 2969868"/>
              <a:gd name="connsiteY10" fmla="*/ 110758 h 1586677"/>
              <a:gd name="connsiteX11" fmla="*/ 391518 w 2969868"/>
              <a:gd name="connsiteY11" fmla="*/ 185455 h 1586677"/>
              <a:gd name="connsiteX12" fmla="*/ 435306 w 2969868"/>
              <a:gd name="connsiteY12" fmla="*/ 216365 h 1586677"/>
              <a:gd name="connsiteX13" fmla="*/ 507428 w 2969868"/>
              <a:gd name="connsiteY13" fmla="*/ 260153 h 1586677"/>
              <a:gd name="connsiteX14" fmla="*/ 553792 w 2969868"/>
              <a:gd name="connsiteY14" fmla="*/ 273032 h 1586677"/>
              <a:gd name="connsiteX15" fmla="*/ 582125 w 2969868"/>
              <a:gd name="connsiteY15" fmla="*/ 262729 h 1586677"/>
              <a:gd name="connsiteX16" fmla="*/ 613034 w 2969868"/>
              <a:gd name="connsiteY16" fmla="*/ 280759 h 1586677"/>
              <a:gd name="connsiteX17" fmla="*/ 654247 w 2969868"/>
              <a:gd name="connsiteY17" fmla="*/ 260153 h 1586677"/>
              <a:gd name="connsiteX18" fmla="*/ 669702 w 2969868"/>
              <a:gd name="connsiteY18" fmla="*/ 236971 h 1586677"/>
              <a:gd name="connsiteX19" fmla="*/ 700611 w 2969868"/>
              <a:gd name="connsiteY19" fmla="*/ 260153 h 1586677"/>
              <a:gd name="connsiteX20" fmla="*/ 734096 w 2969868"/>
              <a:gd name="connsiteY20" fmla="*/ 239547 h 1586677"/>
              <a:gd name="connsiteX21" fmla="*/ 744399 w 2969868"/>
              <a:gd name="connsiteY21" fmla="*/ 211213 h 1586677"/>
              <a:gd name="connsiteX22" fmla="*/ 793339 w 2969868"/>
              <a:gd name="connsiteY22" fmla="*/ 231819 h 1586677"/>
              <a:gd name="connsiteX23" fmla="*/ 847430 w 2969868"/>
              <a:gd name="connsiteY23" fmla="*/ 288486 h 1586677"/>
              <a:gd name="connsiteX24" fmla="*/ 901521 w 2969868"/>
              <a:gd name="connsiteY24" fmla="*/ 293638 h 1586677"/>
              <a:gd name="connsiteX25" fmla="*/ 922127 w 2969868"/>
              <a:gd name="connsiteY25" fmla="*/ 278183 h 1586677"/>
              <a:gd name="connsiteX26" fmla="*/ 968491 w 2969868"/>
              <a:gd name="connsiteY26" fmla="*/ 280759 h 1586677"/>
              <a:gd name="connsiteX27" fmla="*/ 1004552 w 2969868"/>
              <a:gd name="connsiteY27" fmla="*/ 314244 h 1586677"/>
              <a:gd name="connsiteX28" fmla="*/ 1020007 w 2969868"/>
              <a:gd name="connsiteY28" fmla="*/ 373487 h 1586677"/>
              <a:gd name="connsiteX29" fmla="*/ 1061219 w 2969868"/>
              <a:gd name="connsiteY29" fmla="*/ 443033 h 1586677"/>
              <a:gd name="connsiteX30" fmla="*/ 1058643 w 2969868"/>
              <a:gd name="connsiteY30" fmla="*/ 491973 h 1586677"/>
              <a:gd name="connsiteX31" fmla="*/ 1081825 w 2969868"/>
              <a:gd name="connsiteY31" fmla="*/ 535761 h 1586677"/>
              <a:gd name="connsiteX32" fmla="*/ 1130765 w 2969868"/>
              <a:gd name="connsiteY32" fmla="*/ 546064 h 1586677"/>
              <a:gd name="connsiteX33" fmla="*/ 1159099 w 2969868"/>
              <a:gd name="connsiteY33" fmla="*/ 574397 h 1586677"/>
              <a:gd name="connsiteX34" fmla="*/ 1236372 w 2969868"/>
              <a:gd name="connsiteY34" fmla="*/ 602731 h 1586677"/>
              <a:gd name="connsiteX35" fmla="*/ 1282736 w 2969868"/>
              <a:gd name="connsiteY35" fmla="*/ 582125 h 1586677"/>
              <a:gd name="connsiteX36" fmla="*/ 1318797 w 2969868"/>
              <a:gd name="connsiteY36" fmla="*/ 582125 h 1586677"/>
              <a:gd name="connsiteX37" fmla="*/ 1347130 w 2969868"/>
              <a:gd name="connsiteY37" fmla="*/ 636216 h 1586677"/>
              <a:gd name="connsiteX38" fmla="*/ 1367736 w 2969868"/>
              <a:gd name="connsiteY38" fmla="*/ 677428 h 1586677"/>
              <a:gd name="connsiteX39" fmla="*/ 1403797 w 2969868"/>
              <a:gd name="connsiteY39" fmla="*/ 700610 h 1586677"/>
              <a:gd name="connsiteX40" fmla="*/ 1445010 w 2969868"/>
              <a:gd name="connsiteY40" fmla="*/ 698034 h 1586677"/>
              <a:gd name="connsiteX41" fmla="*/ 1488798 w 2969868"/>
              <a:gd name="connsiteY41" fmla="*/ 734095 h 1586677"/>
              <a:gd name="connsiteX42" fmla="*/ 1555768 w 2969868"/>
              <a:gd name="connsiteY42" fmla="*/ 757277 h 1586677"/>
              <a:gd name="connsiteX43" fmla="*/ 1627890 w 2969868"/>
              <a:gd name="connsiteY43" fmla="*/ 749550 h 1586677"/>
              <a:gd name="connsiteX44" fmla="*/ 1656223 w 2969868"/>
              <a:gd name="connsiteY44" fmla="*/ 731520 h 1586677"/>
              <a:gd name="connsiteX45" fmla="*/ 1671678 w 2969868"/>
              <a:gd name="connsiteY45" fmla="*/ 749550 h 1586677"/>
              <a:gd name="connsiteX46" fmla="*/ 1679405 w 2969868"/>
              <a:gd name="connsiteY46" fmla="*/ 785611 h 1586677"/>
              <a:gd name="connsiteX47" fmla="*/ 1728345 w 2969868"/>
              <a:gd name="connsiteY47" fmla="*/ 798490 h 1586677"/>
              <a:gd name="connsiteX48" fmla="*/ 1748951 w 2969868"/>
              <a:gd name="connsiteY48" fmla="*/ 826823 h 1586677"/>
              <a:gd name="connsiteX49" fmla="*/ 1779860 w 2969868"/>
              <a:gd name="connsiteY49" fmla="*/ 873187 h 1586677"/>
              <a:gd name="connsiteX50" fmla="*/ 1841679 w 2969868"/>
              <a:gd name="connsiteY50" fmla="*/ 888642 h 1586677"/>
              <a:gd name="connsiteX51" fmla="*/ 1911225 w 2969868"/>
              <a:gd name="connsiteY51" fmla="*/ 919551 h 1586677"/>
              <a:gd name="connsiteX52" fmla="*/ 1942134 w 2969868"/>
              <a:gd name="connsiteY52" fmla="*/ 914400 h 1586677"/>
              <a:gd name="connsiteX53" fmla="*/ 1975619 w 2969868"/>
              <a:gd name="connsiteY53" fmla="*/ 942733 h 1586677"/>
              <a:gd name="connsiteX54" fmla="*/ 2021983 w 2969868"/>
              <a:gd name="connsiteY54" fmla="*/ 950460 h 1586677"/>
              <a:gd name="connsiteX55" fmla="*/ 2045165 w 2969868"/>
              <a:gd name="connsiteY55" fmla="*/ 986521 h 1586677"/>
              <a:gd name="connsiteX56" fmla="*/ 2088953 w 2969868"/>
              <a:gd name="connsiteY56" fmla="*/ 1022582 h 1586677"/>
              <a:gd name="connsiteX57" fmla="*/ 2150772 w 2969868"/>
              <a:gd name="connsiteY57" fmla="*/ 1027734 h 1586677"/>
              <a:gd name="connsiteX58" fmla="*/ 2150772 w 2969868"/>
              <a:gd name="connsiteY58" fmla="*/ 1027734 h 1586677"/>
              <a:gd name="connsiteX59" fmla="*/ 2171378 w 2969868"/>
              <a:gd name="connsiteY59" fmla="*/ 1007127 h 1586677"/>
              <a:gd name="connsiteX60" fmla="*/ 2189409 w 2969868"/>
              <a:gd name="connsiteY60" fmla="*/ 1027734 h 1586677"/>
              <a:gd name="connsiteX61" fmla="*/ 2189409 w 2969868"/>
              <a:gd name="connsiteY61" fmla="*/ 1068946 h 1586677"/>
              <a:gd name="connsiteX62" fmla="*/ 2222894 w 2969868"/>
              <a:gd name="connsiteY62" fmla="*/ 1089552 h 1586677"/>
              <a:gd name="connsiteX63" fmla="*/ 2261530 w 2969868"/>
              <a:gd name="connsiteY63" fmla="*/ 1089552 h 1586677"/>
              <a:gd name="connsiteX64" fmla="*/ 2302743 w 2969868"/>
              <a:gd name="connsiteY64" fmla="*/ 1115310 h 1586677"/>
              <a:gd name="connsiteX65" fmla="*/ 2310470 w 2969868"/>
              <a:gd name="connsiteY65" fmla="*/ 1166825 h 1586677"/>
              <a:gd name="connsiteX66" fmla="*/ 2338803 w 2969868"/>
              <a:gd name="connsiteY66" fmla="*/ 1192583 h 1586677"/>
              <a:gd name="connsiteX67" fmla="*/ 2338803 w 2969868"/>
              <a:gd name="connsiteY67" fmla="*/ 1215765 h 1586677"/>
              <a:gd name="connsiteX68" fmla="*/ 2382592 w 2969868"/>
              <a:gd name="connsiteY68" fmla="*/ 1244099 h 1586677"/>
              <a:gd name="connsiteX69" fmla="*/ 2377440 w 2969868"/>
              <a:gd name="connsiteY69" fmla="*/ 1293038 h 1586677"/>
              <a:gd name="connsiteX70" fmla="*/ 2416077 w 2969868"/>
              <a:gd name="connsiteY70" fmla="*/ 1329099 h 1586677"/>
              <a:gd name="connsiteX71" fmla="*/ 2462441 w 2969868"/>
              <a:gd name="connsiteY71" fmla="*/ 1365160 h 1586677"/>
              <a:gd name="connsiteX72" fmla="*/ 2506229 w 2969868"/>
              <a:gd name="connsiteY72" fmla="*/ 1352281 h 1586677"/>
              <a:gd name="connsiteX73" fmla="*/ 2560320 w 2969868"/>
              <a:gd name="connsiteY73" fmla="*/ 1383191 h 1586677"/>
              <a:gd name="connsiteX74" fmla="*/ 2591229 w 2969868"/>
              <a:gd name="connsiteY74" fmla="*/ 1360009 h 1586677"/>
              <a:gd name="connsiteX75" fmla="*/ 2642745 w 2969868"/>
              <a:gd name="connsiteY75" fmla="*/ 1385766 h 1586677"/>
              <a:gd name="connsiteX76" fmla="*/ 2686533 w 2969868"/>
              <a:gd name="connsiteY76" fmla="*/ 1432130 h 1586677"/>
              <a:gd name="connsiteX77" fmla="*/ 2725170 w 2969868"/>
              <a:gd name="connsiteY77" fmla="*/ 1504252 h 1586677"/>
              <a:gd name="connsiteX78" fmla="*/ 2745776 w 2969868"/>
              <a:gd name="connsiteY78" fmla="*/ 1517131 h 1586677"/>
              <a:gd name="connsiteX79" fmla="*/ 2763806 w 2969868"/>
              <a:gd name="connsiteY79" fmla="*/ 1548040 h 1586677"/>
              <a:gd name="connsiteX80" fmla="*/ 2786988 w 2969868"/>
              <a:gd name="connsiteY80" fmla="*/ 1586677 h 1586677"/>
              <a:gd name="connsiteX81" fmla="*/ 2815322 w 2969868"/>
              <a:gd name="connsiteY81" fmla="*/ 1586677 h 1586677"/>
              <a:gd name="connsiteX82" fmla="*/ 2838504 w 2969868"/>
              <a:gd name="connsiteY82" fmla="*/ 1558343 h 1586677"/>
              <a:gd name="connsiteX83" fmla="*/ 2874565 w 2969868"/>
              <a:gd name="connsiteY83" fmla="*/ 1522282 h 1586677"/>
              <a:gd name="connsiteX84" fmla="*/ 2871989 w 2969868"/>
              <a:gd name="connsiteY84" fmla="*/ 1481070 h 1586677"/>
              <a:gd name="connsiteX85" fmla="*/ 2887443 w 2969868"/>
              <a:gd name="connsiteY85" fmla="*/ 1457888 h 1586677"/>
              <a:gd name="connsiteX86" fmla="*/ 2884868 w 2969868"/>
              <a:gd name="connsiteY86" fmla="*/ 1385766 h 1586677"/>
              <a:gd name="connsiteX87" fmla="*/ 2910625 w 2969868"/>
              <a:gd name="connsiteY87" fmla="*/ 1344554 h 1586677"/>
              <a:gd name="connsiteX88" fmla="*/ 2890019 w 2969868"/>
              <a:gd name="connsiteY88" fmla="*/ 1311069 h 1586677"/>
              <a:gd name="connsiteX89" fmla="*/ 2918353 w 2969868"/>
              <a:gd name="connsiteY89" fmla="*/ 1272432 h 1586677"/>
              <a:gd name="connsiteX90" fmla="*/ 2926080 w 2969868"/>
              <a:gd name="connsiteY90" fmla="*/ 1238947 h 1586677"/>
              <a:gd name="connsiteX91" fmla="*/ 2890019 w 2969868"/>
              <a:gd name="connsiteY91" fmla="*/ 1187432 h 1586677"/>
              <a:gd name="connsiteX92" fmla="*/ 2828201 w 2969868"/>
              <a:gd name="connsiteY92" fmla="*/ 1138492 h 1586677"/>
              <a:gd name="connsiteX93" fmla="*/ 2815322 w 2969868"/>
              <a:gd name="connsiteY93" fmla="*/ 1089552 h 1586677"/>
              <a:gd name="connsiteX94" fmla="*/ 2805019 w 2969868"/>
              <a:gd name="connsiteY94" fmla="*/ 1032885 h 1586677"/>
              <a:gd name="connsiteX95" fmla="*/ 2784412 w 2969868"/>
              <a:gd name="connsiteY95" fmla="*/ 996824 h 1586677"/>
              <a:gd name="connsiteX96" fmla="*/ 2797291 w 2969868"/>
              <a:gd name="connsiteY96" fmla="*/ 958188 h 1586677"/>
              <a:gd name="connsiteX97" fmla="*/ 2748352 w 2969868"/>
              <a:gd name="connsiteY97" fmla="*/ 837126 h 1586677"/>
              <a:gd name="connsiteX98" fmla="*/ 2748352 w 2969868"/>
              <a:gd name="connsiteY98" fmla="*/ 793338 h 1586677"/>
              <a:gd name="connsiteX99" fmla="*/ 2722594 w 2969868"/>
              <a:gd name="connsiteY99" fmla="*/ 728944 h 1586677"/>
              <a:gd name="connsiteX100" fmla="*/ 2720018 w 2969868"/>
              <a:gd name="connsiteY100" fmla="*/ 692883 h 1586677"/>
              <a:gd name="connsiteX101" fmla="*/ 2699412 w 2969868"/>
              <a:gd name="connsiteY101" fmla="*/ 654246 h 1586677"/>
              <a:gd name="connsiteX102" fmla="*/ 2619563 w 2969868"/>
              <a:gd name="connsiteY102" fmla="*/ 607882 h 1586677"/>
              <a:gd name="connsiteX103" fmla="*/ 2616987 w 2969868"/>
              <a:gd name="connsiteY103" fmla="*/ 571822 h 1586677"/>
              <a:gd name="connsiteX104" fmla="*/ 2586078 w 2969868"/>
              <a:gd name="connsiteY104" fmla="*/ 548640 h 1586677"/>
              <a:gd name="connsiteX105" fmla="*/ 2562896 w 2969868"/>
              <a:gd name="connsiteY105" fmla="*/ 548640 h 1586677"/>
              <a:gd name="connsiteX106" fmla="*/ 2519108 w 2969868"/>
              <a:gd name="connsiteY106" fmla="*/ 551215 h 1586677"/>
              <a:gd name="connsiteX107" fmla="*/ 2449562 w 2969868"/>
              <a:gd name="connsiteY107" fmla="*/ 512579 h 1586677"/>
              <a:gd name="connsiteX108" fmla="*/ 2398046 w 2969868"/>
              <a:gd name="connsiteY108" fmla="*/ 448184 h 1586677"/>
              <a:gd name="connsiteX109" fmla="*/ 2354258 w 2969868"/>
              <a:gd name="connsiteY109" fmla="*/ 425002 h 1586677"/>
              <a:gd name="connsiteX110" fmla="*/ 2349107 w 2969868"/>
              <a:gd name="connsiteY110" fmla="*/ 388942 h 1586677"/>
              <a:gd name="connsiteX111" fmla="*/ 2325925 w 2969868"/>
              <a:gd name="connsiteY111" fmla="*/ 340002 h 1586677"/>
              <a:gd name="connsiteX112" fmla="*/ 2284712 w 2969868"/>
              <a:gd name="connsiteY112" fmla="*/ 309093 h 1586677"/>
              <a:gd name="connsiteX113" fmla="*/ 2289864 w 2969868"/>
              <a:gd name="connsiteY113" fmla="*/ 265304 h 1586677"/>
              <a:gd name="connsiteX114" fmla="*/ 2325925 w 2969868"/>
              <a:gd name="connsiteY114" fmla="*/ 208637 h 1586677"/>
              <a:gd name="connsiteX115" fmla="*/ 2331076 w 2969868"/>
              <a:gd name="connsiteY115" fmla="*/ 144243 h 1586677"/>
              <a:gd name="connsiteX116" fmla="*/ 2359410 w 2969868"/>
              <a:gd name="connsiteY116" fmla="*/ 108182 h 1586677"/>
              <a:gd name="connsiteX117" fmla="*/ 2405774 w 2969868"/>
              <a:gd name="connsiteY117" fmla="*/ 85000 h 1586677"/>
              <a:gd name="connsiteX118" fmla="*/ 2428956 w 2969868"/>
              <a:gd name="connsiteY118" fmla="*/ 41212 h 1586677"/>
              <a:gd name="connsiteX119" fmla="*/ 2477895 w 2969868"/>
              <a:gd name="connsiteY119" fmla="*/ 38636 h 1586677"/>
              <a:gd name="connsiteX120" fmla="*/ 2508805 w 2969868"/>
              <a:gd name="connsiteY120" fmla="*/ 54091 h 1586677"/>
              <a:gd name="connsiteX121" fmla="*/ 2583502 w 2969868"/>
              <a:gd name="connsiteY121" fmla="*/ 38636 h 1586677"/>
              <a:gd name="connsiteX122" fmla="*/ 2619563 w 2969868"/>
              <a:gd name="connsiteY122" fmla="*/ 64394 h 1586677"/>
              <a:gd name="connsiteX123" fmla="*/ 2668503 w 2969868"/>
              <a:gd name="connsiteY123" fmla="*/ 56667 h 1586677"/>
              <a:gd name="connsiteX124" fmla="*/ 2720018 w 2969868"/>
              <a:gd name="connsiteY124" fmla="*/ 74697 h 1586677"/>
              <a:gd name="connsiteX125" fmla="*/ 2799867 w 2969868"/>
              <a:gd name="connsiteY125" fmla="*/ 113334 h 1586677"/>
              <a:gd name="connsiteX126" fmla="*/ 2923504 w 2969868"/>
              <a:gd name="connsiteY126" fmla="*/ 123637 h 1586677"/>
              <a:gd name="connsiteX127" fmla="*/ 2969868 w 2969868"/>
              <a:gd name="connsiteY127" fmla="*/ 113334 h 1586677"/>
              <a:gd name="connsiteX128" fmla="*/ 2951838 w 2969868"/>
              <a:gd name="connsiteY128" fmla="*/ 87576 h 1586677"/>
              <a:gd name="connsiteX129" fmla="*/ 2949262 w 2969868"/>
              <a:gd name="connsiteY129" fmla="*/ 56667 h 1586677"/>
              <a:gd name="connsiteX0" fmla="*/ 0 w 2926080"/>
              <a:gd name="connsiteY0" fmla="*/ 0 h 1566071"/>
              <a:gd name="connsiteX1" fmla="*/ 69546 w 2926080"/>
              <a:gd name="connsiteY1" fmla="*/ 66970 h 1566071"/>
              <a:gd name="connsiteX2" fmla="*/ 131365 w 2926080"/>
              <a:gd name="connsiteY2" fmla="*/ 105607 h 1566071"/>
              <a:gd name="connsiteX3" fmla="*/ 167426 w 2926080"/>
              <a:gd name="connsiteY3" fmla="*/ 79849 h 1566071"/>
              <a:gd name="connsiteX4" fmla="*/ 193183 w 2926080"/>
              <a:gd name="connsiteY4" fmla="*/ 92728 h 1566071"/>
              <a:gd name="connsiteX5" fmla="*/ 206062 w 2926080"/>
              <a:gd name="connsiteY5" fmla="*/ 105607 h 1566071"/>
              <a:gd name="connsiteX6" fmla="*/ 247275 w 2926080"/>
              <a:gd name="connsiteY6" fmla="*/ 77273 h 1566071"/>
              <a:gd name="connsiteX7" fmla="*/ 270457 w 2926080"/>
              <a:gd name="connsiteY7" fmla="*/ 54091 h 1566071"/>
              <a:gd name="connsiteX8" fmla="*/ 306517 w 2926080"/>
              <a:gd name="connsiteY8" fmla="*/ 54091 h 1566071"/>
              <a:gd name="connsiteX9" fmla="*/ 345154 w 2926080"/>
              <a:gd name="connsiteY9" fmla="*/ 90152 h 1566071"/>
              <a:gd name="connsiteX10" fmla="*/ 347730 w 2926080"/>
              <a:gd name="connsiteY10" fmla="*/ 164849 h 1566071"/>
              <a:gd name="connsiteX11" fmla="*/ 391518 w 2926080"/>
              <a:gd name="connsiteY11" fmla="*/ 195759 h 1566071"/>
              <a:gd name="connsiteX12" fmla="*/ 463640 w 2926080"/>
              <a:gd name="connsiteY12" fmla="*/ 239547 h 1566071"/>
              <a:gd name="connsiteX13" fmla="*/ 510004 w 2926080"/>
              <a:gd name="connsiteY13" fmla="*/ 252426 h 1566071"/>
              <a:gd name="connsiteX14" fmla="*/ 538337 w 2926080"/>
              <a:gd name="connsiteY14" fmla="*/ 242123 h 1566071"/>
              <a:gd name="connsiteX15" fmla="*/ 569246 w 2926080"/>
              <a:gd name="connsiteY15" fmla="*/ 260153 h 1566071"/>
              <a:gd name="connsiteX16" fmla="*/ 610459 w 2926080"/>
              <a:gd name="connsiteY16" fmla="*/ 239547 h 1566071"/>
              <a:gd name="connsiteX17" fmla="*/ 625914 w 2926080"/>
              <a:gd name="connsiteY17" fmla="*/ 216365 h 1566071"/>
              <a:gd name="connsiteX18" fmla="*/ 656823 w 2926080"/>
              <a:gd name="connsiteY18" fmla="*/ 239547 h 1566071"/>
              <a:gd name="connsiteX19" fmla="*/ 690308 w 2926080"/>
              <a:gd name="connsiteY19" fmla="*/ 218941 h 1566071"/>
              <a:gd name="connsiteX20" fmla="*/ 700611 w 2926080"/>
              <a:gd name="connsiteY20" fmla="*/ 190607 h 1566071"/>
              <a:gd name="connsiteX21" fmla="*/ 749551 w 2926080"/>
              <a:gd name="connsiteY21" fmla="*/ 211213 h 1566071"/>
              <a:gd name="connsiteX22" fmla="*/ 803642 w 2926080"/>
              <a:gd name="connsiteY22" fmla="*/ 267880 h 1566071"/>
              <a:gd name="connsiteX23" fmla="*/ 857733 w 2926080"/>
              <a:gd name="connsiteY23" fmla="*/ 273032 h 1566071"/>
              <a:gd name="connsiteX24" fmla="*/ 878339 w 2926080"/>
              <a:gd name="connsiteY24" fmla="*/ 257577 h 1566071"/>
              <a:gd name="connsiteX25" fmla="*/ 924703 w 2926080"/>
              <a:gd name="connsiteY25" fmla="*/ 260153 h 1566071"/>
              <a:gd name="connsiteX26" fmla="*/ 960764 w 2926080"/>
              <a:gd name="connsiteY26" fmla="*/ 293638 h 1566071"/>
              <a:gd name="connsiteX27" fmla="*/ 976219 w 2926080"/>
              <a:gd name="connsiteY27" fmla="*/ 352881 h 1566071"/>
              <a:gd name="connsiteX28" fmla="*/ 1017431 w 2926080"/>
              <a:gd name="connsiteY28" fmla="*/ 422427 h 1566071"/>
              <a:gd name="connsiteX29" fmla="*/ 1014855 w 2926080"/>
              <a:gd name="connsiteY29" fmla="*/ 471367 h 1566071"/>
              <a:gd name="connsiteX30" fmla="*/ 1038037 w 2926080"/>
              <a:gd name="connsiteY30" fmla="*/ 515155 h 1566071"/>
              <a:gd name="connsiteX31" fmla="*/ 1086977 w 2926080"/>
              <a:gd name="connsiteY31" fmla="*/ 525458 h 1566071"/>
              <a:gd name="connsiteX32" fmla="*/ 1115311 w 2926080"/>
              <a:gd name="connsiteY32" fmla="*/ 553791 h 1566071"/>
              <a:gd name="connsiteX33" fmla="*/ 1192584 w 2926080"/>
              <a:gd name="connsiteY33" fmla="*/ 582125 h 1566071"/>
              <a:gd name="connsiteX34" fmla="*/ 1238948 w 2926080"/>
              <a:gd name="connsiteY34" fmla="*/ 561519 h 1566071"/>
              <a:gd name="connsiteX35" fmla="*/ 1275009 w 2926080"/>
              <a:gd name="connsiteY35" fmla="*/ 561519 h 1566071"/>
              <a:gd name="connsiteX36" fmla="*/ 1303342 w 2926080"/>
              <a:gd name="connsiteY36" fmla="*/ 615610 h 1566071"/>
              <a:gd name="connsiteX37" fmla="*/ 1323948 w 2926080"/>
              <a:gd name="connsiteY37" fmla="*/ 656822 h 1566071"/>
              <a:gd name="connsiteX38" fmla="*/ 1360009 w 2926080"/>
              <a:gd name="connsiteY38" fmla="*/ 680004 h 1566071"/>
              <a:gd name="connsiteX39" fmla="*/ 1401222 w 2926080"/>
              <a:gd name="connsiteY39" fmla="*/ 677428 h 1566071"/>
              <a:gd name="connsiteX40" fmla="*/ 1445010 w 2926080"/>
              <a:gd name="connsiteY40" fmla="*/ 713489 h 1566071"/>
              <a:gd name="connsiteX41" fmla="*/ 1511980 w 2926080"/>
              <a:gd name="connsiteY41" fmla="*/ 736671 h 1566071"/>
              <a:gd name="connsiteX42" fmla="*/ 1584102 w 2926080"/>
              <a:gd name="connsiteY42" fmla="*/ 728944 h 1566071"/>
              <a:gd name="connsiteX43" fmla="*/ 1612435 w 2926080"/>
              <a:gd name="connsiteY43" fmla="*/ 710914 h 1566071"/>
              <a:gd name="connsiteX44" fmla="*/ 1627890 w 2926080"/>
              <a:gd name="connsiteY44" fmla="*/ 728944 h 1566071"/>
              <a:gd name="connsiteX45" fmla="*/ 1635617 w 2926080"/>
              <a:gd name="connsiteY45" fmla="*/ 765005 h 1566071"/>
              <a:gd name="connsiteX46" fmla="*/ 1684557 w 2926080"/>
              <a:gd name="connsiteY46" fmla="*/ 777884 h 1566071"/>
              <a:gd name="connsiteX47" fmla="*/ 1705163 w 2926080"/>
              <a:gd name="connsiteY47" fmla="*/ 806217 h 1566071"/>
              <a:gd name="connsiteX48" fmla="*/ 1736072 w 2926080"/>
              <a:gd name="connsiteY48" fmla="*/ 852581 h 1566071"/>
              <a:gd name="connsiteX49" fmla="*/ 1797891 w 2926080"/>
              <a:gd name="connsiteY49" fmla="*/ 868036 h 1566071"/>
              <a:gd name="connsiteX50" fmla="*/ 1867437 w 2926080"/>
              <a:gd name="connsiteY50" fmla="*/ 898945 h 1566071"/>
              <a:gd name="connsiteX51" fmla="*/ 1898346 w 2926080"/>
              <a:gd name="connsiteY51" fmla="*/ 893794 h 1566071"/>
              <a:gd name="connsiteX52" fmla="*/ 1931831 w 2926080"/>
              <a:gd name="connsiteY52" fmla="*/ 922127 h 1566071"/>
              <a:gd name="connsiteX53" fmla="*/ 1978195 w 2926080"/>
              <a:gd name="connsiteY53" fmla="*/ 929854 h 1566071"/>
              <a:gd name="connsiteX54" fmla="*/ 2001377 w 2926080"/>
              <a:gd name="connsiteY54" fmla="*/ 965915 h 1566071"/>
              <a:gd name="connsiteX55" fmla="*/ 2045165 w 2926080"/>
              <a:gd name="connsiteY55" fmla="*/ 1001976 h 1566071"/>
              <a:gd name="connsiteX56" fmla="*/ 2106984 w 2926080"/>
              <a:gd name="connsiteY56" fmla="*/ 1007128 h 1566071"/>
              <a:gd name="connsiteX57" fmla="*/ 2106984 w 2926080"/>
              <a:gd name="connsiteY57" fmla="*/ 1007128 h 1566071"/>
              <a:gd name="connsiteX58" fmla="*/ 2127590 w 2926080"/>
              <a:gd name="connsiteY58" fmla="*/ 986521 h 1566071"/>
              <a:gd name="connsiteX59" fmla="*/ 2145621 w 2926080"/>
              <a:gd name="connsiteY59" fmla="*/ 1007128 h 1566071"/>
              <a:gd name="connsiteX60" fmla="*/ 2145621 w 2926080"/>
              <a:gd name="connsiteY60" fmla="*/ 1048340 h 1566071"/>
              <a:gd name="connsiteX61" fmla="*/ 2179106 w 2926080"/>
              <a:gd name="connsiteY61" fmla="*/ 1068946 h 1566071"/>
              <a:gd name="connsiteX62" fmla="*/ 2217742 w 2926080"/>
              <a:gd name="connsiteY62" fmla="*/ 1068946 h 1566071"/>
              <a:gd name="connsiteX63" fmla="*/ 2258955 w 2926080"/>
              <a:gd name="connsiteY63" fmla="*/ 1094704 h 1566071"/>
              <a:gd name="connsiteX64" fmla="*/ 2266682 w 2926080"/>
              <a:gd name="connsiteY64" fmla="*/ 1146219 h 1566071"/>
              <a:gd name="connsiteX65" fmla="*/ 2295015 w 2926080"/>
              <a:gd name="connsiteY65" fmla="*/ 1171977 h 1566071"/>
              <a:gd name="connsiteX66" fmla="*/ 2295015 w 2926080"/>
              <a:gd name="connsiteY66" fmla="*/ 1195159 h 1566071"/>
              <a:gd name="connsiteX67" fmla="*/ 2338804 w 2926080"/>
              <a:gd name="connsiteY67" fmla="*/ 1223493 h 1566071"/>
              <a:gd name="connsiteX68" fmla="*/ 2333652 w 2926080"/>
              <a:gd name="connsiteY68" fmla="*/ 1272432 h 1566071"/>
              <a:gd name="connsiteX69" fmla="*/ 2372289 w 2926080"/>
              <a:gd name="connsiteY69" fmla="*/ 1308493 h 1566071"/>
              <a:gd name="connsiteX70" fmla="*/ 2418653 w 2926080"/>
              <a:gd name="connsiteY70" fmla="*/ 1344554 h 1566071"/>
              <a:gd name="connsiteX71" fmla="*/ 2462441 w 2926080"/>
              <a:gd name="connsiteY71" fmla="*/ 1331675 h 1566071"/>
              <a:gd name="connsiteX72" fmla="*/ 2516532 w 2926080"/>
              <a:gd name="connsiteY72" fmla="*/ 1362585 h 1566071"/>
              <a:gd name="connsiteX73" fmla="*/ 2547441 w 2926080"/>
              <a:gd name="connsiteY73" fmla="*/ 1339403 h 1566071"/>
              <a:gd name="connsiteX74" fmla="*/ 2598957 w 2926080"/>
              <a:gd name="connsiteY74" fmla="*/ 1365160 h 1566071"/>
              <a:gd name="connsiteX75" fmla="*/ 2642745 w 2926080"/>
              <a:gd name="connsiteY75" fmla="*/ 1411524 h 1566071"/>
              <a:gd name="connsiteX76" fmla="*/ 2681382 w 2926080"/>
              <a:gd name="connsiteY76" fmla="*/ 1483646 h 1566071"/>
              <a:gd name="connsiteX77" fmla="*/ 2701988 w 2926080"/>
              <a:gd name="connsiteY77" fmla="*/ 1496525 h 1566071"/>
              <a:gd name="connsiteX78" fmla="*/ 2720018 w 2926080"/>
              <a:gd name="connsiteY78" fmla="*/ 1527434 h 1566071"/>
              <a:gd name="connsiteX79" fmla="*/ 2743200 w 2926080"/>
              <a:gd name="connsiteY79" fmla="*/ 1566071 h 1566071"/>
              <a:gd name="connsiteX80" fmla="*/ 2771534 w 2926080"/>
              <a:gd name="connsiteY80" fmla="*/ 1566071 h 1566071"/>
              <a:gd name="connsiteX81" fmla="*/ 2794716 w 2926080"/>
              <a:gd name="connsiteY81" fmla="*/ 1537737 h 1566071"/>
              <a:gd name="connsiteX82" fmla="*/ 2830777 w 2926080"/>
              <a:gd name="connsiteY82" fmla="*/ 1501676 h 1566071"/>
              <a:gd name="connsiteX83" fmla="*/ 2828201 w 2926080"/>
              <a:gd name="connsiteY83" fmla="*/ 1460464 h 1566071"/>
              <a:gd name="connsiteX84" fmla="*/ 2843655 w 2926080"/>
              <a:gd name="connsiteY84" fmla="*/ 1437282 h 1566071"/>
              <a:gd name="connsiteX85" fmla="*/ 2841080 w 2926080"/>
              <a:gd name="connsiteY85" fmla="*/ 1365160 h 1566071"/>
              <a:gd name="connsiteX86" fmla="*/ 2866837 w 2926080"/>
              <a:gd name="connsiteY86" fmla="*/ 1323948 h 1566071"/>
              <a:gd name="connsiteX87" fmla="*/ 2846231 w 2926080"/>
              <a:gd name="connsiteY87" fmla="*/ 1290463 h 1566071"/>
              <a:gd name="connsiteX88" fmla="*/ 2874565 w 2926080"/>
              <a:gd name="connsiteY88" fmla="*/ 1251826 h 1566071"/>
              <a:gd name="connsiteX89" fmla="*/ 2882292 w 2926080"/>
              <a:gd name="connsiteY89" fmla="*/ 1218341 h 1566071"/>
              <a:gd name="connsiteX90" fmla="*/ 2846231 w 2926080"/>
              <a:gd name="connsiteY90" fmla="*/ 1166826 h 1566071"/>
              <a:gd name="connsiteX91" fmla="*/ 2784413 w 2926080"/>
              <a:gd name="connsiteY91" fmla="*/ 1117886 h 1566071"/>
              <a:gd name="connsiteX92" fmla="*/ 2771534 w 2926080"/>
              <a:gd name="connsiteY92" fmla="*/ 1068946 h 1566071"/>
              <a:gd name="connsiteX93" fmla="*/ 2761231 w 2926080"/>
              <a:gd name="connsiteY93" fmla="*/ 1012279 h 1566071"/>
              <a:gd name="connsiteX94" fmla="*/ 2740624 w 2926080"/>
              <a:gd name="connsiteY94" fmla="*/ 976218 h 1566071"/>
              <a:gd name="connsiteX95" fmla="*/ 2753503 w 2926080"/>
              <a:gd name="connsiteY95" fmla="*/ 937582 h 1566071"/>
              <a:gd name="connsiteX96" fmla="*/ 2704564 w 2926080"/>
              <a:gd name="connsiteY96" fmla="*/ 816520 h 1566071"/>
              <a:gd name="connsiteX97" fmla="*/ 2704564 w 2926080"/>
              <a:gd name="connsiteY97" fmla="*/ 772732 h 1566071"/>
              <a:gd name="connsiteX98" fmla="*/ 2678806 w 2926080"/>
              <a:gd name="connsiteY98" fmla="*/ 708338 h 1566071"/>
              <a:gd name="connsiteX99" fmla="*/ 2676230 w 2926080"/>
              <a:gd name="connsiteY99" fmla="*/ 672277 h 1566071"/>
              <a:gd name="connsiteX100" fmla="*/ 2655624 w 2926080"/>
              <a:gd name="connsiteY100" fmla="*/ 633640 h 1566071"/>
              <a:gd name="connsiteX101" fmla="*/ 2575775 w 2926080"/>
              <a:gd name="connsiteY101" fmla="*/ 587276 h 1566071"/>
              <a:gd name="connsiteX102" fmla="*/ 2573199 w 2926080"/>
              <a:gd name="connsiteY102" fmla="*/ 551216 h 1566071"/>
              <a:gd name="connsiteX103" fmla="*/ 2542290 w 2926080"/>
              <a:gd name="connsiteY103" fmla="*/ 528034 h 1566071"/>
              <a:gd name="connsiteX104" fmla="*/ 2519108 w 2926080"/>
              <a:gd name="connsiteY104" fmla="*/ 528034 h 1566071"/>
              <a:gd name="connsiteX105" fmla="*/ 2475320 w 2926080"/>
              <a:gd name="connsiteY105" fmla="*/ 530609 h 1566071"/>
              <a:gd name="connsiteX106" fmla="*/ 2405774 w 2926080"/>
              <a:gd name="connsiteY106" fmla="*/ 491973 h 1566071"/>
              <a:gd name="connsiteX107" fmla="*/ 2354258 w 2926080"/>
              <a:gd name="connsiteY107" fmla="*/ 427578 h 1566071"/>
              <a:gd name="connsiteX108" fmla="*/ 2310470 w 2926080"/>
              <a:gd name="connsiteY108" fmla="*/ 404396 h 1566071"/>
              <a:gd name="connsiteX109" fmla="*/ 2305319 w 2926080"/>
              <a:gd name="connsiteY109" fmla="*/ 368336 h 1566071"/>
              <a:gd name="connsiteX110" fmla="*/ 2282137 w 2926080"/>
              <a:gd name="connsiteY110" fmla="*/ 319396 h 1566071"/>
              <a:gd name="connsiteX111" fmla="*/ 2240924 w 2926080"/>
              <a:gd name="connsiteY111" fmla="*/ 288487 h 1566071"/>
              <a:gd name="connsiteX112" fmla="*/ 2246076 w 2926080"/>
              <a:gd name="connsiteY112" fmla="*/ 244698 h 1566071"/>
              <a:gd name="connsiteX113" fmla="*/ 2282137 w 2926080"/>
              <a:gd name="connsiteY113" fmla="*/ 188031 h 1566071"/>
              <a:gd name="connsiteX114" fmla="*/ 2287288 w 2926080"/>
              <a:gd name="connsiteY114" fmla="*/ 123637 h 1566071"/>
              <a:gd name="connsiteX115" fmla="*/ 2315622 w 2926080"/>
              <a:gd name="connsiteY115" fmla="*/ 87576 h 1566071"/>
              <a:gd name="connsiteX116" fmla="*/ 2361986 w 2926080"/>
              <a:gd name="connsiteY116" fmla="*/ 64394 h 1566071"/>
              <a:gd name="connsiteX117" fmla="*/ 2385168 w 2926080"/>
              <a:gd name="connsiteY117" fmla="*/ 20606 h 1566071"/>
              <a:gd name="connsiteX118" fmla="*/ 2434107 w 2926080"/>
              <a:gd name="connsiteY118" fmla="*/ 18030 h 1566071"/>
              <a:gd name="connsiteX119" fmla="*/ 2465017 w 2926080"/>
              <a:gd name="connsiteY119" fmla="*/ 33485 h 1566071"/>
              <a:gd name="connsiteX120" fmla="*/ 2539714 w 2926080"/>
              <a:gd name="connsiteY120" fmla="*/ 18030 h 1566071"/>
              <a:gd name="connsiteX121" fmla="*/ 2575775 w 2926080"/>
              <a:gd name="connsiteY121" fmla="*/ 43788 h 1566071"/>
              <a:gd name="connsiteX122" fmla="*/ 2624715 w 2926080"/>
              <a:gd name="connsiteY122" fmla="*/ 36061 h 1566071"/>
              <a:gd name="connsiteX123" fmla="*/ 2676230 w 2926080"/>
              <a:gd name="connsiteY123" fmla="*/ 54091 h 1566071"/>
              <a:gd name="connsiteX124" fmla="*/ 2756079 w 2926080"/>
              <a:gd name="connsiteY124" fmla="*/ 92728 h 1566071"/>
              <a:gd name="connsiteX125" fmla="*/ 2879716 w 2926080"/>
              <a:gd name="connsiteY125" fmla="*/ 103031 h 1566071"/>
              <a:gd name="connsiteX126" fmla="*/ 2926080 w 2926080"/>
              <a:gd name="connsiteY126" fmla="*/ 92728 h 1566071"/>
              <a:gd name="connsiteX127" fmla="*/ 2908050 w 2926080"/>
              <a:gd name="connsiteY127" fmla="*/ 66970 h 1566071"/>
              <a:gd name="connsiteX128" fmla="*/ 2905474 w 2926080"/>
              <a:gd name="connsiteY128" fmla="*/ 36061 h 1566071"/>
              <a:gd name="connsiteX0" fmla="*/ 0 w 2856534"/>
              <a:gd name="connsiteY0" fmla="*/ 48940 h 1548041"/>
              <a:gd name="connsiteX1" fmla="*/ 61819 w 2856534"/>
              <a:gd name="connsiteY1" fmla="*/ 87577 h 1548041"/>
              <a:gd name="connsiteX2" fmla="*/ 97880 w 2856534"/>
              <a:gd name="connsiteY2" fmla="*/ 61819 h 1548041"/>
              <a:gd name="connsiteX3" fmla="*/ 123637 w 2856534"/>
              <a:gd name="connsiteY3" fmla="*/ 74698 h 1548041"/>
              <a:gd name="connsiteX4" fmla="*/ 136516 w 2856534"/>
              <a:gd name="connsiteY4" fmla="*/ 87577 h 1548041"/>
              <a:gd name="connsiteX5" fmla="*/ 177729 w 2856534"/>
              <a:gd name="connsiteY5" fmla="*/ 59243 h 1548041"/>
              <a:gd name="connsiteX6" fmla="*/ 200911 w 2856534"/>
              <a:gd name="connsiteY6" fmla="*/ 36061 h 1548041"/>
              <a:gd name="connsiteX7" fmla="*/ 236971 w 2856534"/>
              <a:gd name="connsiteY7" fmla="*/ 36061 h 1548041"/>
              <a:gd name="connsiteX8" fmla="*/ 275608 w 2856534"/>
              <a:gd name="connsiteY8" fmla="*/ 72122 h 1548041"/>
              <a:gd name="connsiteX9" fmla="*/ 278184 w 2856534"/>
              <a:gd name="connsiteY9" fmla="*/ 146819 h 1548041"/>
              <a:gd name="connsiteX10" fmla="*/ 321972 w 2856534"/>
              <a:gd name="connsiteY10" fmla="*/ 177729 h 1548041"/>
              <a:gd name="connsiteX11" fmla="*/ 394094 w 2856534"/>
              <a:gd name="connsiteY11" fmla="*/ 221517 h 1548041"/>
              <a:gd name="connsiteX12" fmla="*/ 440458 w 2856534"/>
              <a:gd name="connsiteY12" fmla="*/ 234396 h 1548041"/>
              <a:gd name="connsiteX13" fmla="*/ 468791 w 2856534"/>
              <a:gd name="connsiteY13" fmla="*/ 224093 h 1548041"/>
              <a:gd name="connsiteX14" fmla="*/ 499700 w 2856534"/>
              <a:gd name="connsiteY14" fmla="*/ 242123 h 1548041"/>
              <a:gd name="connsiteX15" fmla="*/ 540913 w 2856534"/>
              <a:gd name="connsiteY15" fmla="*/ 221517 h 1548041"/>
              <a:gd name="connsiteX16" fmla="*/ 556368 w 2856534"/>
              <a:gd name="connsiteY16" fmla="*/ 198335 h 1548041"/>
              <a:gd name="connsiteX17" fmla="*/ 587277 w 2856534"/>
              <a:gd name="connsiteY17" fmla="*/ 221517 h 1548041"/>
              <a:gd name="connsiteX18" fmla="*/ 620762 w 2856534"/>
              <a:gd name="connsiteY18" fmla="*/ 200911 h 1548041"/>
              <a:gd name="connsiteX19" fmla="*/ 631065 w 2856534"/>
              <a:gd name="connsiteY19" fmla="*/ 172577 h 1548041"/>
              <a:gd name="connsiteX20" fmla="*/ 680005 w 2856534"/>
              <a:gd name="connsiteY20" fmla="*/ 193183 h 1548041"/>
              <a:gd name="connsiteX21" fmla="*/ 734096 w 2856534"/>
              <a:gd name="connsiteY21" fmla="*/ 249850 h 1548041"/>
              <a:gd name="connsiteX22" fmla="*/ 788187 w 2856534"/>
              <a:gd name="connsiteY22" fmla="*/ 255002 h 1548041"/>
              <a:gd name="connsiteX23" fmla="*/ 808793 w 2856534"/>
              <a:gd name="connsiteY23" fmla="*/ 239547 h 1548041"/>
              <a:gd name="connsiteX24" fmla="*/ 855157 w 2856534"/>
              <a:gd name="connsiteY24" fmla="*/ 242123 h 1548041"/>
              <a:gd name="connsiteX25" fmla="*/ 891218 w 2856534"/>
              <a:gd name="connsiteY25" fmla="*/ 275608 h 1548041"/>
              <a:gd name="connsiteX26" fmla="*/ 906673 w 2856534"/>
              <a:gd name="connsiteY26" fmla="*/ 334851 h 1548041"/>
              <a:gd name="connsiteX27" fmla="*/ 947885 w 2856534"/>
              <a:gd name="connsiteY27" fmla="*/ 404397 h 1548041"/>
              <a:gd name="connsiteX28" fmla="*/ 945309 w 2856534"/>
              <a:gd name="connsiteY28" fmla="*/ 453337 h 1548041"/>
              <a:gd name="connsiteX29" fmla="*/ 968491 w 2856534"/>
              <a:gd name="connsiteY29" fmla="*/ 497125 h 1548041"/>
              <a:gd name="connsiteX30" fmla="*/ 1017431 w 2856534"/>
              <a:gd name="connsiteY30" fmla="*/ 507428 h 1548041"/>
              <a:gd name="connsiteX31" fmla="*/ 1045765 w 2856534"/>
              <a:gd name="connsiteY31" fmla="*/ 535761 h 1548041"/>
              <a:gd name="connsiteX32" fmla="*/ 1123038 w 2856534"/>
              <a:gd name="connsiteY32" fmla="*/ 564095 h 1548041"/>
              <a:gd name="connsiteX33" fmla="*/ 1169402 w 2856534"/>
              <a:gd name="connsiteY33" fmla="*/ 543489 h 1548041"/>
              <a:gd name="connsiteX34" fmla="*/ 1205463 w 2856534"/>
              <a:gd name="connsiteY34" fmla="*/ 543489 h 1548041"/>
              <a:gd name="connsiteX35" fmla="*/ 1233796 w 2856534"/>
              <a:gd name="connsiteY35" fmla="*/ 597580 h 1548041"/>
              <a:gd name="connsiteX36" fmla="*/ 1254402 w 2856534"/>
              <a:gd name="connsiteY36" fmla="*/ 638792 h 1548041"/>
              <a:gd name="connsiteX37" fmla="*/ 1290463 w 2856534"/>
              <a:gd name="connsiteY37" fmla="*/ 661974 h 1548041"/>
              <a:gd name="connsiteX38" fmla="*/ 1331676 w 2856534"/>
              <a:gd name="connsiteY38" fmla="*/ 659398 h 1548041"/>
              <a:gd name="connsiteX39" fmla="*/ 1375464 w 2856534"/>
              <a:gd name="connsiteY39" fmla="*/ 695459 h 1548041"/>
              <a:gd name="connsiteX40" fmla="*/ 1442434 w 2856534"/>
              <a:gd name="connsiteY40" fmla="*/ 718641 h 1548041"/>
              <a:gd name="connsiteX41" fmla="*/ 1514556 w 2856534"/>
              <a:gd name="connsiteY41" fmla="*/ 710914 h 1548041"/>
              <a:gd name="connsiteX42" fmla="*/ 1542889 w 2856534"/>
              <a:gd name="connsiteY42" fmla="*/ 692884 h 1548041"/>
              <a:gd name="connsiteX43" fmla="*/ 1558344 w 2856534"/>
              <a:gd name="connsiteY43" fmla="*/ 710914 h 1548041"/>
              <a:gd name="connsiteX44" fmla="*/ 1566071 w 2856534"/>
              <a:gd name="connsiteY44" fmla="*/ 746975 h 1548041"/>
              <a:gd name="connsiteX45" fmla="*/ 1615011 w 2856534"/>
              <a:gd name="connsiteY45" fmla="*/ 759854 h 1548041"/>
              <a:gd name="connsiteX46" fmla="*/ 1635617 w 2856534"/>
              <a:gd name="connsiteY46" fmla="*/ 788187 h 1548041"/>
              <a:gd name="connsiteX47" fmla="*/ 1666526 w 2856534"/>
              <a:gd name="connsiteY47" fmla="*/ 834551 h 1548041"/>
              <a:gd name="connsiteX48" fmla="*/ 1728345 w 2856534"/>
              <a:gd name="connsiteY48" fmla="*/ 850006 h 1548041"/>
              <a:gd name="connsiteX49" fmla="*/ 1797891 w 2856534"/>
              <a:gd name="connsiteY49" fmla="*/ 880915 h 1548041"/>
              <a:gd name="connsiteX50" fmla="*/ 1828800 w 2856534"/>
              <a:gd name="connsiteY50" fmla="*/ 875764 h 1548041"/>
              <a:gd name="connsiteX51" fmla="*/ 1862285 w 2856534"/>
              <a:gd name="connsiteY51" fmla="*/ 904097 h 1548041"/>
              <a:gd name="connsiteX52" fmla="*/ 1908649 w 2856534"/>
              <a:gd name="connsiteY52" fmla="*/ 911824 h 1548041"/>
              <a:gd name="connsiteX53" fmla="*/ 1931831 w 2856534"/>
              <a:gd name="connsiteY53" fmla="*/ 947885 h 1548041"/>
              <a:gd name="connsiteX54" fmla="*/ 1975619 w 2856534"/>
              <a:gd name="connsiteY54" fmla="*/ 983946 h 1548041"/>
              <a:gd name="connsiteX55" fmla="*/ 2037438 w 2856534"/>
              <a:gd name="connsiteY55" fmla="*/ 989098 h 1548041"/>
              <a:gd name="connsiteX56" fmla="*/ 2037438 w 2856534"/>
              <a:gd name="connsiteY56" fmla="*/ 989098 h 1548041"/>
              <a:gd name="connsiteX57" fmla="*/ 2058044 w 2856534"/>
              <a:gd name="connsiteY57" fmla="*/ 968491 h 1548041"/>
              <a:gd name="connsiteX58" fmla="*/ 2076075 w 2856534"/>
              <a:gd name="connsiteY58" fmla="*/ 989098 h 1548041"/>
              <a:gd name="connsiteX59" fmla="*/ 2076075 w 2856534"/>
              <a:gd name="connsiteY59" fmla="*/ 1030310 h 1548041"/>
              <a:gd name="connsiteX60" fmla="*/ 2109560 w 2856534"/>
              <a:gd name="connsiteY60" fmla="*/ 1050916 h 1548041"/>
              <a:gd name="connsiteX61" fmla="*/ 2148196 w 2856534"/>
              <a:gd name="connsiteY61" fmla="*/ 1050916 h 1548041"/>
              <a:gd name="connsiteX62" fmla="*/ 2189409 w 2856534"/>
              <a:gd name="connsiteY62" fmla="*/ 1076674 h 1548041"/>
              <a:gd name="connsiteX63" fmla="*/ 2197136 w 2856534"/>
              <a:gd name="connsiteY63" fmla="*/ 1128189 h 1548041"/>
              <a:gd name="connsiteX64" fmla="*/ 2225469 w 2856534"/>
              <a:gd name="connsiteY64" fmla="*/ 1153947 h 1548041"/>
              <a:gd name="connsiteX65" fmla="*/ 2225469 w 2856534"/>
              <a:gd name="connsiteY65" fmla="*/ 1177129 h 1548041"/>
              <a:gd name="connsiteX66" fmla="*/ 2269258 w 2856534"/>
              <a:gd name="connsiteY66" fmla="*/ 1205463 h 1548041"/>
              <a:gd name="connsiteX67" fmla="*/ 2264106 w 2856534"/>
              <a:gd name="connsiteY67" fmla="*/ 1254402 h 1548041"/>
              <a:gd name="connsiteX68" fmla="*/ 2302743 w 2856534"/>
              <a:gd name="connsiteY68" fmla="*/ 1290463 h 1548041"/>
              <a:gd name="connsiteX69" fmla="*/ 2349107 w 2856534"/>
              <a:gd name="connsiteY69" fmla="*/ 1326524 h 1548041"/>
              <a:gd name="connsiteX70" fmla="*/ 2392895 w 2856534"/>
              <a:gd name="connsiteY70" fmla="*/ 1313645 h 1548041"/>
              <a:gd name="connsiteX71" fmla="*/ 2446986 w 2856534"/>
              <a:gd name="connsiteY71" fmla="*/ 1344555 h 1548041"/>
              <a:gd name="connsiteX72" fmla="*/ 2477895 w 2856534"/>
              <a:gd name="connsiteY72" fmla="*/ 1321373 h 1548041"/>
              <a:gd name="connsiteX73" fmla="*/ 2529411 w 2856534"/>
              <a:gd name="connsiteY73" fmla="*/ 1347130 h 1548041"/>
              <a:gd name="connsiteX74" fmla="*/ 2573199 w 2856534"/>
              <a:gd name="connsiteY74" fmla="*/ 1393494 h 1548041"/>
              <a:gd name="connsiteX75" fmla="*/ 2611836 w 2856534"/>
              <a:gd name="connsiteY75" fmla="*/ 1465616 h 1548041"/>
              <a:gd name="connsiteX76" fmla="*/ 2632442 w 2856534"/>
              <a:gd name="connsiteY76" fmla="*/ 1478495 h 1548041"/>
              <a:gd name="connsiteX77" fmla="*/ 2650472 w 2856534"/>
              <a:gd name="connsiteY77" fmla="*/ 1509404 h 1548041"/>
              <a:gd name="connsiteX78" fmla="*/ 2673654 w 2856534"/>
              <a:gd name="connsiteY78" fmla="*/ 1548041 h 1548041"/>
              <a:gd name="connsiteX79" fmla="*/ 2701988 w 2856534"/>
              <a:gd name="connsiteY79" fmla="*/ 1548041 h 1548041"/>
              <a:gd name="connsiteX80" fmla="*/ 2725170 w 2856534"/>
              <a:gd name="connsiteY80" fmla="*/ 1519707 h 1548041"/>
              <a:gd name="connsiteX81" fmla="*/ 2761231 w 2856534"/>
              <a:gd name="connsiteY81" fmla="*/ 1483646 h 1548041"/>
              <a:gd name="connsiteX82" fmla="*/ 2758655 w 2856534"/>
              <a:gd name="connsiteY82" fmla="*/ 1442434 h 1548041"/>
              <a:gd name="connsiteX83" fmla="*/ 2774109 w 2856534"/>
              <a:gd name="connsiteY83" fmla="*/ 1419252 h 1548041"/>
              <a:gd name="connsiteX84" fmla="*/ 2771534 w 2856534"/>
              <a:gd name="connsiteY84" fmla="*/ 1347130 h 1548041"/>
              <a:gd name="connsiteX85" fmla="*/ 2797291 w 2856534"/>
              <a:gd name="connsiteY85" fmla="*/ 1305918 h 1548041"/>
              <a:gd name="connsiteX86" fmla="*/ 2776685 w 2856534"/>
              <a:gd name="connsiteY86" fmla="*/ 1272433 h 1548041"/>
              <a:gd name="connsiteX87" fmla="*/ 2805019 w 2856534"/>
              <a:gd name="connsiteY87" fmla="*/ 1233796 h 1548041"/>
              <a:gd name="connsiteX88" fmla="*/ 2812746 w 2856534"/>
              <a:gd name="connsiteY88" fmla="*/ 1200311 h 1548041"/>
              <a:gd name="connsiteX89" fmla="*/ 2776685 w 2856534"/>
              <a:gd name="connsiteY89" fmla="*/ 1148796 h 1548041"/>
              <a:gd name="connsiteX90" fmla="*/ 2714867 w 2856534"/>
              <a:gd name="connsiteY90" fmla="*/ 1099856 h 1548041"/>
              <a:gd name="connsiteX91" fmla="*/ 2701988 w 2856534"/>
              <a:gd name="connsiteY91" fmla="*/ 1050916 h 1548041"/>
              <a:gd name="connsiteX92" fmla="*/ 2691685 w 2856534"/>
              <a:gd name="connsiteY92" fmla="*/ 994249 h 1548041"/>
              <a:gd name="connsiteX93" fmla="*/ 2671078 w 2856534"/>
              <a:gd name="connsiteY93" fmla="*/ 958188 h 1548041"/>
              <a:gd name="connsiteX94" fmla="*/ 2683957 w 2856534"/>
              <a:gd name="connsiteY94" fmla="*/ 919552 h 1548041"/>
              <a:gd name="connsiteX95" fmla="*/ 2635018 w 2856534"/>
              <a:gd name="connsiteY95" fmla="*/ 798490 h 1548041"/>
              <a:gd name="connsiteX96" fmla="*/ 2635018 w 2856534"/>
              <a:gd name="connsiteY96" fmla="*/ 754702 h 1548041"/>
              <a:gd name="connsiteX97" fmla="*/ 2609260 w 2856534"/>
              <a:gd name="connsiteY97" fmla="*/ 690308 h 1548041"/>
              <a:gd name="connsiteX98" fmla="*/ 2606684 w 2856534"/>
              <a:gd name="connsiteY98" fmla="*/ 654247 h 1548041"/>
              <a:gd name="connsiteX99" fmla="*/ 2586078 w 2856534"/>
              <a:gd name="connsiteY99" fmla="*/ 615610 h 1548041"/>
              <a:gd name="connsiteX100" fmla="*/ 2506229 w 2856534"/>
              <a:gd name="connsiteY100" fmla="*/ 569246 h 1548041"/>
              <a:gd name="connsiteX101" fmla="*/ 2503653 w 2856534"/>
              <a:gd name="connsiteY101" fmla="*/ 533186 h 1548041"/>
              <a:gd name="connsiteX102" fmla="*/ 2472744 w 2856534"/>
              <a:gd name="connsiteY102" fmla="*/ 510004 h 1548041"/>
              <a:gd name="connsiteX103" fmla="*/ 2449562 w 2856534"/>
              <a:gd name="connsiteY103" fmla="*/ 510004 h 1548041"/>
              <a:gd name="connsiteX104" fmla="*/ 2405774 w 2856534"/>
              <a:gd name="connsiteY104" fmla="*/ 512579 h 1548041"/>
              <a:gd name="connsiteX105" fmla="*/ 2336228 w 2856534"/>
              <a:gd name="connsiteY105" fmla="*/ 473943 h 1548041"/>
              <a:gd name="connsiteX106" fmla="*/ 2284712 w 2856534"/>
              <a:gd name="connsiteY106" fmla="*/ 409548 h 1548041"/>
              <a:gd name="connsiteX107" fmla="*/ 2240924 w 2856534"/>
              <a:gd name="connsiteY107" fmla="*/ 386366 h 1548041"/>
              <a:gd name="connsiteX108" fmla="*/ 2235773 w 2856534"/>
              <a:gd name="connsiteY108" fmla="*/ 350306 h 1548041"/>
              <a:gd name="connsiteX109" fmla="*/ 2212591 w 2856534"/>
              <a:gd name="connsiteY109" fmla="*/ 301366 h 1548041"/>
              <a:gd name="connsiteX110" fmla="*/ 2171378 w 2856534"/>
              <a:gd name="connsiteY110" fmla="*/ 270457 h 1548041"/>
              <a:gd name="connsiteX111" fmla="*/ 2176530 w 2856534"/>
              <a:gd name="connsiteY111" fmla="*/ 226668 h 1548041"/>
              <a:gd name="connsiteX112" fmla="*/ 2212591 w 2856534"/>
              <a:gd name="connsiteY112" fmla="*/ 170001 h 1548041"/>
              <a:gd name="connsiteX113" fmla="*/ 2217742 w 2856534"/>
              <a:gd name="connsiteY113" fmla="*/ 105607 h 1548041"/>
              <a:gd name="connsiteX114" fmla="*/ 2246076 w 2856534"/>
              <a:gd name="connsiteY114" fmla="*/ 69546 h 1548041"/>
              <a:gd name="connsiteX115" fmla="*/ 2292440 w 2856534"/>
              <a:gd name="connsiteY115" fmla="*/ 46364 h 1548041"/>
              <a:gd name="connsiteX116" fmla="*/ 2315622 w 2856534"/>
              <a:gd name="connsiteY116" fmla="*/ 2576 h 1548041"/>
              <a:gd name="connsiteX117" fmla="*/ 2364561 w 2856534"/>
              <a:gd name="connsiteY117" fmla="*/ 0 h 1548041"/>
              <a:gd name="connsiteX118" fmla="*/ 2395471 w 2856534"/>
              <a:gd name="connsiteY118" fmla="*/ 15455 h 1548041"/>
              <a:gd name="connsiteX119" fmla="*/ 2470168 w 2856534"/>
              <a:gd name="connsiteY119" fmla="*/ 0 h 1548041"/>
              <a:gd name="connsiteX120" fmla="*/ 2506229 w 2856534"/>
              <a:gd name="connsiteY120" fmla="*/ 25758 h 1548041"/>
              <a:gd name="connsiteX121" fmla="*/ 2555169 w 2856534"/>
              <a:gd name="connsiteY121" fmla="*/ 18031 h 1548041"/>
              <a:gd name="connsiteX122" fmla="*/ 2606684 w 2856534"/>
              <a:gd name="connsiteY122" fmla="*/ 36061 h 1548041"/>
              <a:gd name="connsiteX123" fmla="*/ 2686533 w 2856534"/>
              <a:gd name="connsiteY123" fmla="*/ 74698 h 1548041"/>
              <a:gd name="connsiteX124" fmla="*/ 2810170 w 2856534"/>
              <a:gd name="connsiteY124" fmla="*/ 85001 h 1548041"/>
              <a:gd name="connsiteX125" fmla="*/ 2856534 w 2856534"/>
              <a:gd name="connsiteY125" fmla="*/ 74698 h 1548041"/>
              <a:gd name="connsiteX126" fmla="*/ 2838504 w 2856534"/>
              <a:gd name="connsiteY126" fmla="*/ 48940 h 1548041"/>
              <a:gd name="connsiteX127" fmla="*/ 2835928 w 2856534"/>
              <a:gd name="connsiteY127" fmla="*/ 18031 h 1548041"/>
              <a:gd name="connsiteX0" fmla="*/ 0 w 2794715"/>
              <a:gd name="connsiteY0" fmla="*/ 87577 h 1548041"/>
              <a:gd name="connsiteX1" fmla="*/ 36061 w 2794715"/>
              <a:gd name="connsiteY1" fmla="*/ 61819 h 1548041"/>
              <a:gd name="connsiteX2" fmla="*/ 61818 w 2794715"/>
              <a:gd name="connsiteY2" fmla="*/ 74698 h 1548041"/>
              <a:gd name="connsiteX3" fmla="*/ 74697 w 2794715"/>
              <a:gd name="connsiteY3" fmla="*/ 87577 h 1548041"/>
              <a:gd name="connsiteX4" fmla="*/ 115910 w 2794715"/>
              <a:gd name="connsiteY4" fmla="*/ 59243 h 1548041"/>
              <a:gd name="connsiteX5" fmla="*/ 139092 w 2794715"/>
              <a:gd name="connsiteY5" fmla="*/ 36061 h 1548041"/>
              <a:gd name="connsiteX6" fmla="*/ 175152 w 2794715"/>
              <a:gd name="connsiteY6" fmla="*/ 36061 h 1548041"/>
              <a:gd name="connsiteX7" fmla="*/ 213789 w 2794715"/>
              <a:gd name="connsiteY7" fmla="*/ 72122 h 1548041"/>
              <a:gd name="connsiteX8" fmla="*/ 216365 w 2794715"/>
              <a:gd name="connsiteY8" fmla="*/ 146819 h 1548041"/>
              <a:gd name="connsiteX9" fmla="*/ 260153 w 2794715"/>
              <a:gd name="connsiteY9" fmla="*/ 177729 h 1548041"/>
              <a:gd name="connsiteX10" fmla="*/ 332275 w 2794715"/>
              <a:gd name="connsiteY10" fmla="*/ 221517 h 1548041"/>
              <a:gd name="connsiteX11" fmla="*/ 378639 w 2794715"/>
              <a:gd name="connsiteY11" fmla="*/ 234396 h 1548041"/>
              <a:gd name="connsiteX12" fmla="*/ 406972 w 2794715"/>
              <a:gd name="connsiteY12" fmla="*/ 224093 h 1548041"/>
              <a:gd name="connsiteX13" fmla="*/ 437881 w 2794715"/>
              <a:gd name="connsiteY13" fmla="*/ 242123 h 1548041"/>
              <a:gd name="connsiteX14" fmla="*/ 479094 w 2794715"/>
              <a:gd name="connsiteY14" fmla="*/ 221517 h 1548041"/>
              <a:gd name="connsiteX15" fmla="*/ 494549 w 2794715"/>
              <a:gd name="connsiteY15" fmla="*/ 198335 h 1548041"/>
              <a:gd name="connsiteX16" fmla="*/ 525458 w 2794715"/>
              <a:gd name="connsiteY16" fmla="*/ 221517 h 1548041"/>
              <a:gd name="connsiteX17" fmla="*/ 558943 w 2794715"/>
              <a:gd name="connsiteY17" fmla="*/ 200911 h 1548041"/>
              <a:gd name="connsiteX18" fmla="*/ 569246 w 2794715"/>
              <a:gd name="connsiteY18" fmla="*/ 172577 h 1548041"/>
              <a:gd name="connsiteX19" fmla="*/ 618186 w 2794715"/>
              <a:gd name="connsiteY19" fmla="*/ 193183 h 1548041"/>
              <a:gd name="connsiteX20" fmla="*/ 672277 w 2794715"/>
              <a:gd name="connsiteY20" fmla="*/ 249850 h 1548041"/>
              <a:gd name="connsiteX21" fmla="*/ 726368 w 2794715"/>
              <a:gd name="connsiteY21" fmla="*/ 255002 h 1548041"/>
              <a:gd name="connsiteX22" fmla="*/ 746974 w 2794715"/>
              <a:gd name="connsiteY22" fmla="*/ 239547 h 1548041"/>
              <a:gd name="connsiteX23" fmla="*/ 793338 w 2794715"/>
              <a:gd name="connsiteY23" fmla="*/ 242123 h 1548041"/>
              <a:gd name="connsiteX24" fmla="*/ 829399 w 2794715"/>
              <a:gd name="connsiteY24" fmla="*/ 275608 h 1548041"/>
              <a:gd name="connsiteX25" fmla="*/ 844854 w 2794715"/>
              <a:gd name="connsiteY25" fmla="*/ 334851 h 1548041"/>
              <a:gd name="connsiteX26" fmla="*/ 886066 w 2794715"/>
              <a:gd name="connsiteY26" fmla="*/ 404397 h 1548041"/>
              <a:gd name="connsiteX27" fmla="*/ 883490 w 2794715"/>
              <a:gd name="connsiteY27" fmla="*/ 453337 h 1548041"/>
              <a:gd name="connsiteX28" fmla="*/ 906672 w 2794715"/>
              <a:gd name="connsiteY28" fmla="*/ 497125 h 1548041"/>
              <a:gd name="connsiteX29" fmla="*/ 955612 w 2794715"/>
              <a:gd name="connsiteY29" fmla="*/ 507428 h 1548041"/>
              <a:gd name="connsiteX30" fmla="*/ 983946 w 2794715"/>
              <a:gd name="connsiteY30" fmla="*/ 535761 h 1548041"/>
              <a:gd name="connsiteX31" fmla="*/ 1061219 w 2794715"/>
              <a:gd name="connsiteY31" fmla="*/ 564095 h 1548041"/>
              <a:gd name="connsiteX32" fmla="*/ 1107583 w 2794715"/>
              <a:gd name="connsiteY32" fmla="*/ 543489 h 1548041"/>
              <a:gd name="connsiteX33" fmla="*/ 1143644 w 2794715"/>
              <a:gd name="connsiteY33" fmla="*/ 543489 h 1548041"/>
              <a:gd name="connsiteX34" fmla="*/ 1171977 w 2794715"/>
              <a:gd name="connsiteY34" fmla="*/ 597580 h 1548041"/>
              <a:gd name="connsiteX35" fmla="*/ 1192583 w 2794715"/>
              <a:gd name="connsiteY35" fmla="*/ 638792 h 1548041"/>
              <a:gd name="connsiteX36" fmla="*/ 1228644 w 2794715"/>
              <a:gd name="connsiteY36" fmla="*/ 661974 h 1548041"/>
              <a:gd name="connsiteX37" fmla="*/ 1269857 w 2794715"/>
              <a:gd name="connsiteY37" fmla="*/ 659398 h 1548041"/>
              <a:gd name="connsiteX38" fmla="*/ 1313645 w 2794715"/>
              <a:gd name="connsiteY38" fmla="*/ 695459 h 1548041"/>
              <a:gd name="connsiteX39" fmla="*/ 1380615 w 2794715"/>
              <a:gd name="connsiteY39" fmla="*/ 718641 h 1548041"/>
              <a:gd name="connsiteX40" fmla="*/ 1452737 w 2794715"/>
              <a:gd name="connsiteY40" fmla="*/ 710914 h 1548041"/>
              <a:gd name="connsiteX41" fmla="*/ 1481070 w 2794715"/>
              <a:gd name="connsiteY41" fmla="*/ 692884 h 1548041"/>
              <a:gd name="connsiteX42" fmla="*/ 1496525 w 2794715"/>
              <a:gd name="connsiteY42" fmla="*/ 710914 h 1548041"/>
              <a:gd name="connsiteX43" fmla="*/ 1504252 w 2794715"/>
              <a:gd name="connsiteY43" fmla="*/ 746975 h 1548041"/>
              <a:gd name="connsiteX44" fmla="*/ 1553192 w 2794715"/>
              <a:gd name="connsiteY44" fmla="*/ 759854 h 1548041"/>
              <a:gd name="connsiteX45" fmla="*/ 1573798 w 2794715"/>
              <a:gd name="connsiteY45" fmla="*/ 788187 h 1548041"/>
              <a:gd name="connsiteX46" fmla="*/ 1604707 w 2794715"/>
              <a:gd name="connsiteY46" fmla="*/ 834551 h 1548041"/>
              <a:gd name="connsiteX47" fmla="*/ 1666526 w 2794715"/>
              <a:gd name="connsiteY47" fmla="*/ 850006 h 1548041"/>
              <a:gd name="connsiteX48" fmla="*/ 1736072 w 2794715"/>
              <a:gd name="connsiteY48" fmla="*/ 880915 h 1548041"/>
              <a:gd name="connsiteX49" fmla="*/ 1766981 w 2794715"/>
              <a:gd name="connsiteY49" fmla="*/ 875764 h 1548041"/>
              <a:gd name="connsiteX50" fmla="*/ 1800466 w 2794715"/>
              <a:gd name="connsiteY50" fmla="*/ 904097 h 1548041"/>
              <a:gd name="connsiteX51" fmla="*/ 1846830 w 2794715"/>
              <a:gd name="connsiteY51" fmla="*/ 911824 h 1548041"/>
              <a:gd name="connsiteX52" fmla="*/ 1870012 w 2794715"/>
              <a:gd name="connsiteY52" fmla="*/ 947885 h 1548041"/>
              <a:gd name="connsiteX53" fmla="*/ 1913800 w 2794715"/>
              <a:gd name="connsiteY53" fmla="*/ 983946 h 1548041"/>
              <a:gd name="connsiteX54" fmla="*/ 1975619 w 2794715"/>
              <a:gd name="connsiteY54" fmla="*/ 989098 h 1548041"/>
              <a:gd name="connsiteX55" fmla="*/ 1975619 w 2794715"/>
              <a:gd name="connsiteY55" fmla="*/ 989098 h 1548041"/>
              <a:gd name="connsiteX56" fmla="*/ 1996225 w 2794715"/>
              <a:gd name="connsiteY56" fmla="*/ 968491 h 1548041"/>
              <a:gd name="connsiteX57" fmla="*/ 2014256 w 2794715"/>
              <a:gd name="connsiteY57" fmla="*/ 989098 h 1548041"/>
              <a:gd name="connsiteX58" fmla="*/ 2014256 w 2794715"/>
              <a:gd name="connsiteY58" fmla="*/ 1030310 h 1548041"/>
              <a:gd name="connsiteX59" fmla="*/ 2047741 w 2794715"/>
              <a:gd name="connsiteY59" fmla="*/ 1050916 h 1548041"/>
              <a:gd name="connsiteX60" fmla="*/ 2086377 w 2794715"/>
              <a:gd name="connsiteY60" fmla="*/ 1050916 h 1548041"/>
              <a:gd name="connsiteX61" fmla="*/ 2127590 w 2794715"/>
              <a:gd name="connsiteY61" fmla="*/ 1076674 h 1548041"/>
              <a:gd name="connsiteX62" fmla="*/ 2135317 w 2794715"/>
              <a:gd name="connsiteY62" fmla="*/ 1128189 h 1548041"/>
              <a:gd name="connsiteX63" fmla="*/ 2163650 w 2794715"/>
              <a:gd name="connsiteY63" fmla="*/ 1153947 h 1548041"/>
              <a:gd name="connsiteX64" fmla="*/ 2163650 w 2794715"/>
              <a:gd name="connsiteY64" fmla="*/ 1177129 h 1548041"/>
              <a:gd name="connsiteX65" fmla="*/ 2207439 w 2794715"/>
              <a:gd name="connsiteY65" fmla="*/ 1205463 h 1548041"/>
              <a:gd name="connsiteX66" fmla="*/ 2202287 w 2794715"/>
              <a:gd name="connsiteY66" fmla="*/ 1254402 h 1548041"/>
              <a:gd name="connsiteX67" fmla="*/ 2240924 w 2794715"/>
              <a:gd name="connsiteY67" fmla="*/ 1290463 h 1548041"/>
              <a:gd name="connsiteX68" fmla="*/ 2287288 w 2794715"/>
              <a:gd name="connsiteY68" fmla="*/ 1326524 h 1548041"/>
              <a:gd name="connsiteX69" fmla="*/ 2331076 w 2794715"/>
              <a:gd name="connsiteY69" fmla="*/ 1313645 h 1548041"/>
              <a:gd name="connsiteX70" fmla="*/ 2385167 w 2794715"/>
              <a:gd name="connsiteY70" fmla="*/ 1344555 h 1548041"/>
              <a:gd name="connsiteX71" fmla="*/ 2416076 w 2794715"/>
              <a:gd name="connsiteY71" fmla="*/ 1321373 h 1548041"/>
              <a:gd name="connsiteX72" fmla="*/ 2467592 w 2794715"/>
              <a:gd name="connsiteY72" fmla="*/ 1347130 h 1548041"/>
              <a:gd name="connsiteX73" fmla="*/ 2511380 w 2794715"/>
              <a:gd name="connsiteY73" fmla="*/ 1393494 h 1548041"/>
              <a:gd name="connsiteX74" fmla="*/ 2550017 w 2794715"/>
              <a:gd name="connsiteY74" fmla="*/ 1465616 h 1548041"/>
              <a:gd name="connsiteX75" fmla="*/ 2570623 w 2794715"/>
              <a:gd name="connsiteY75" fmla="*/ 1478495 h 1548041"/>
              <a:gd name="connsiteX76" fmla="*/ 2588653 w 2794715"/>
              <a:gd name="connsiteY76" fmla="*/ 1509404 h 1548041"/>
              <a:gd name="connsiteX77" fmla="*/ 2611835 w 2794715"/>
              <a:gd name="connsiteY77" fmla="*/ 1548041 h 1548041"/>
              <a:gd name="connsiteX78" fmla="*/ 2640169 w 2794715"/>
              <a:gd name="connsiteY78" fmla="*/ 1548041 h 1548041"/>
              <a:gd name="connsiteX79" fmla="*/ 2663351 w 2794715"/>
              <a:gd name="connsiteY79" fmla="*/ 1519707 h 1548041"/>
              <a:gd name="connsiteX80" fmla="*/ 2699412 w 2794715"/>
              <a:gd name="connsiteY80" fmla="*/ 1483646 h 1548041"/>
              <a:gd name="connsiteX81" fmla="*/ 2696836 w 2794715"/>
              <a:gd name="connsiteY81" fmla="*/ 1442434 h 1548041"/>
              <a:gd name="connsiteX82" fmla="*/ 2712290 w 2794715"/>
              <a:gd name="connsiteY82" fmla="*/ 1419252 h 1548041"/>
              <a:gd name="connsiteX83" fmla="*/ 2709715 w 2794715"/>
              <a:gd name="connsiteY83" fmla="*/ 1347130 h 1548041"/>
              <a:gd name="connsiteX84" fmla="*/ 2735472 w 2794715"/>
              <a:gd name="connsiteY84" fmla="*/ 1305918 h 1548041"/>
              <a:gd name="connsiteX85" fmla="*/ 2714866 w 2794715"/>
              <a:gd name="connsiteY85" fmla="*/ 1272433 h 1548041"/>
              <a:gd name="connsiteX86" fmla="*/ 2743200 w 2794715"/>
              <a:gd name="connsiteY86" fmla="*/ 1233796 h 1548041"/>
              <a:gd name="connsiteX87" fmla="*/ 2750927 w 2794715"/>
              <a:gd name="connsiteY87" fmla="*/ 1200311 h 1548041"/>
              <a:gd name="connsiteX88" fmla="*/ 2714866 w 2794715"/>
              <a:gd name="connsiteY88" fmla="*/ 1148796 h 1548041"/>
              <a:gd name="connsiteX89" fmla="*/ 2653048 w 2794715"/>
              <a:gd name="connsiteY89" fmla="*/ 1099856 h 1548041"/>
              <a:gd name="connsiteX90" fmla="*/ 2640169 w 2794715"/>
              <a:gd name="connsiteY90" fmla="*/ 1050916 h 1548041"/>
              <a:gd name="connsiteX91" fmla="*/ 2629866 w 2794715"/>
              <a:gd name="connsiteY91" fmla="*/ 994249 h 1548041"/>
              <a:gd name="connsiteX92" fmla="*/ 2609259 w 2794715"/>
              <a:gd name="connsiteY92" fmla="*/ 958188 h 1548041"/>
              <a:gd name="connsiteX93" fmla="*/ 2622138 w 2794715"/>
              <a:gd name="connsiteY93" fmla="*/ 919552 h 1548041"/>
              <a:gd name="connsiteX94" fmla="*/ 2573199 w 2794715"/>
              <a:gd name="connsiteY94" fmla="*/ 798490 h 1548041"/>
              <a:gd name="connsiteX95" fmla="*/ 2573199 w 2794715"/>
              <a:gd name="connsiteY95" fmla="*/ 754702 h 1548041"/>
              <a:gd name="connsiteX96" fmla="*/ 2547441 w 2794715"/>
              <a:gd name="connsiteY96" fmla="*/ 690308 h 1548041"/>
              <a:gd name="connsiteX97" fmla="*/ 2544865 w 2794715"/>
              <a:gd name="connsiteY97" fmla="*/ 654247 h 1548041"/>
              <a:gd name="connsiteX98" fmla="*/ 2524259 w 2794715"/>
              <a:gd name="connsiteY98" fmla="*/ 615610 h 1548041"/>
              <a:gd name="connsiteX99" fmla="*/ 2444410 w 2794715"/>
              <a:gd name="connsiteY99" fmla="*/ 569246 h 1548041"/>
              <a:gd name="connsiteX100" fmla="*/ 2441834 w 2794715"/>
              <a:gd name="connsiteY100" fmla="*/ 533186 h 1548041"/>
              <a:gd name="connsiteX101" fmla="*/ 2410925 w 2794715"/>
              <a:gd name="connsiteY101" fmla="*/ 510004 h 1548041"/>
              <a:gd name="connsiteX102" fmla="*/ 2387743 w 2794715"/>
              <a:gd name="connsiteY102" fmla="*/ 510004 h 1548041"/>
              <a:gd name="connsiteX103" fmla="*/ 2343955 w 2794715"/>
              <a:gd name="connsiteY103" fmla="*/ 512579 h 1548041"/>
              <a:gd name="connsiteX104" fmla="*/ 2274409 w 2794715"/>
              <a:gd name="connsiteY104" fmla="*/ 473943 h 1548041"/>
              <a:gd name="connsiteX105" fmla="*/ 2222893 w 2794715"/>
              <a:gd name="connsiteY105" fmla="*/ 409548 h 1548041"/>
              <a:gd name="connsiteX106" fmla="*/ 2179105 w 2794715"/>
              <a:gd name="connsiteY106" fmla="*/ 386366 h 1548041"/>
              <a:gd name="connsiteX107" fmla="*/ 2173954 w 2794715"/>
              <a:gd name="connsiteY107" fmla="*/ 350306 h 1548041"/>
              <a:gd name="connsiteX108" fmla="*/ 2150772 w 2794715"/>
              <a:gd name="connsiteY108" fmla="*/ 301366 h 1548041"/>
              <a:gd name="connsiteX109" fmla="*/ 2109559 w 2794715"/>
              <a:gd name="connsiteY109" fmla="*/ 270457 h 1548041"/>
              <a:gd name="connsiteX110" fmla="*/ 2114711 w 2794715"/>
              <a:gd name="connsiteY110" fmla="*/ 226668 h 1548041"/>
              <a:gd name="connsiteX111" fmla="*/ 2150772 w 2794715"/>
              <a:gd name="connsiteY111" fmla="*/ 170001 h 1548041"/>
              <a:gd name="connsiteX112" fmla="*/ 2155923 w 2794715"/>
              <a:gd name="connsiteY112" fmla="*/ 105607 h 1548041"/>
              <a:gd name="connsiteX113" fmla="*/ 2184257 w 2794715"/>
              <a:gd name="connsiteY113" fmla="*/ 69546 h 1548041"/>
              <a:gd name="connsiteX114" fmla="*/ 2230621 w 2794715"/>
              <a:gd name="connsiteY114" fmla="*/ 46364 h 1548041"/>
              <a:gd name="connsiteX115" fmla="*/ 2253803 w 2794715"/>
              <a:gd name="connsiteY115" fmla="*/ 2576 h 1548041"/>
              <a:gd name="connsiteX116" fmla="*/ 2302742 w 2794715"/>
              <a:gd name="connsiteY116" fmla="*/ 0 h 1548041"/>
              <a:gd name="connsiteX117" fmla="*/ 2333652 w 2794715"/>
              <a:gd name="connsiteY117" fmla="*/ 15455 h 1548041"/>
              <a:gd name="connsiteX118" fmla="*/ 2408349 w 2794715"/>
              <a:gd name="connsiteY118" fmla="*/ 0 h 1548041"/>
              <a:gd name="connsiteX119" fmla="*/ 2444410 w 2794715"/>
              <a:gd name="connsiteY119" fmla="*/ 25758 h 1548041"/>
              <a:gd name="connsiteX120" fmla="*/ 2493350 w 2794715"/>
              <a:gd name="connsiteY120" fmla="*/ 18031 h 1548041"/>
              <a:gd name="connsiteX121" fmla="*/ 2544865 w 2794715"/>
              <a:gd name="connsiteY121" fmla="*/ 36061 h 1548041"/>
              <a:gd name="connsiteX122" fmla="*/ 2624714 w 2794715"/>
              <a:gd name="connsiteY122" fmla="*/ 74698 h 1548041"/>
              <a:gd name="connsiteX123" fmla="*/ 2748351 w 2794715"/>
              <a:gd name="connsiteY123" fmla="*/ 85001 h 1548041"/>
              <a:gd name="connsiteX124" fmla="*/ 2794715 w 2794715"/>
              <a:gd name="connsiteY124" fmla="*/ 74698 h 1548041"/>
              <a:gd name="connsiteX125" fmla="*/ 2776685 w 2794715"/>
              <a:gd name="connsiteY125" fmla="*/ 48940 h 1548041"/>
              <a:gd name="connsiteX126" fmla="*/ 2774109 w 2794715"/>
              <a:gd name="connsiteY126" fmla="*/ 18031 h 1548041"/>
              <a:gd name="connsiteX0" fmla="*/ 0 w 2758654"/>
              <a:gd name="connsiteY0" fmla="*/ 61819 h 1548041"/>
              <a:gd name="connsiteX1" fmla="*/ 25757 w 2758654"/>
              <a:gd name="connsiteY1" fmla="*/ 74698 h 1548041"/>
              <a:gd name="connsiteX2" fmla="*/ 38636 w 2758654"/>
              <a:gd name="connsiteY2" fmla="*/ 87577 h 1548041"/>
              <a:gd name="connsiteX3" fmla="*/ 79849 w 2758654"/>
              <a:gd name="connsiteY3" fmla="*/ 59243 h 1548041"/>
              <a:gd name="connsiteX4" fmla="*/ 103031 w 2758654"/>
              <a:gd name="connsiteY4" fmla="*/ 36061 h 1548041"/>
              <a:gd name="connsiteX5" fmla="*/ 139091 w 2758654"/>
              <a:gd name="connsiteY5" fmla="*/ 36061 h 1548041"/>
              <a:gd name="connsiteX6" fmla="*/ 177728 w 2758654"/>
              <a:gd name="connsiteY6" fmla="*/ 72122 h 1548041"/>
              <a:gd name="connsiteX7" fmla="*/ 180304 w 2758654"/>
              <a:gd name="connsiteY7" fmla="*/ 146819 h 1548041"/>
              <a:gd name="connsiteX8" fmla="*/ 224092 w 2758654"/>
              <a:gd name="connsiteY8" fmla="*/ 177729 h 1548041"/>
              <a:gd name="connsiteX9" fmla="*/ 296214 w 2758654"/>
              <a:gd name="connsiteY9" fmla="*/ 221517 h 1548041"/>
              <a:gd name="connsiteX10" fmla="*/ 342578 w 2758654"/>
              <a:gd name="connsiteY10" fmla="*/ 234396 h 1548041"/>
              <a:gd name="connsiteX11" fmla="*/ 370911 w 2758654"/>
              <a:gd name="connsiteY11" fmla="*/ 224093 h 1548041"/>
              <a:gd name="connsiteX12" fmla="*/ 401820 w 2758654"/>
              <a:gd name="connsiteY12" fmla="*/ 242123 h 1548041"/>
              <a:gd name="connsiteX13" fmla="*/ 443033 w 2758654"/>
              <a:gd name="connsiteY13" fmla="*/ 221517 h 1548041"/>
              <a:gd name="connsiteX14" fmla="*/ 458488 w 2758654"/>
              <a:gd name="connsiteY14" fmla="*/ 198335 h 1548041"/>
              <a:gd name="connsiteX15" fmla="*/ 489397 w 2758654"/>
              <a:gd name="connsiteY15" fmla="*/ 221517 h 1548041"/>
              <a:gd name="connsiteX16" fmla="*/ 522882 w 2758654"/>
              <a:gd name="connsiteY16" fmla="*/ 200911 h 1548041"/>
              <a:gd name="connsiteX17" fmla="*/ 533185 w 2758654"/>
              <a:gd name="connsiteY17" fmla="*/ 172577 h 1548041"/>
              <a:gd name="connsiteX18" fmla="*/ 582125 w 2758654"/>
              <a:gd name="connsiteY18" fmla="*/ 193183 h 1548041"/>
              <a:gd name="connsiteX19" fmla="*/ 636216 w 2758654"/>
              <a:gd name="connsiteY19" fmla="*/ 249850 h 1548041"/>
              <a:gd name="connsiteX20" fmla="*/ 690307 w 2758654"/>
              <a:gd name="connsiteY20" fmla="*/ 255002 h 1548041"/>
              <a:gd name="connsiteX21" fmla="*/ 710913 w 2758654"/>
              <a:gd name="connsiteY21" fmla="*/ 239547 h 1548041"/>
              <a:gd name="connsiteX22" fmla="*/ 757277 w 2758654"/>
              <a:gd name="connsiteY22" fmla="*/ 242123 h 1548041"/>
              <a:gd name="connsiteX23" fmla="*/ 793338 w 2758654"/>
              <a:gd name="connsiteY23" fmla="*/ 275608 h 1548041"/>
              <a:gd name="connsiteX24" fmla="*/ 808793 w 2758654"/>
              <a:gd name="connsiteY24" fmla="*/ 334851 h 1548041"/>
              <a:gd name="connsiteX25" fmla="*/ 850005 w 2758654"/>
              <a:gd name="connsiteY25" fmla="*/ 404397 h 1548041"/>
              <a:gd name="connsiteX26" fmla="*/ 847429 w 2758654"/>
              <a:gd name="connsiteY26" fmla="*/ 453337 h 1548041"/>
              <a:gd name="connsiteX27" fmla="*/ 870611 w 2758654"/>
              <a:gd name="connsiteY27" fmla="*/ 497125 h 1548041"/>
              <a:gd name="connsiteX28" fmla="*/ 919551 w 2758654"/>
              <a:gd name="connsiteY28" fmla="*/ 507428 h 1548041"/>
              <a:gd name="connsiteX29" fmla="*/ 947885 w 2758654"/>
              <a:gd name="connsiteY29" fmla="*/ 535761 h 1548041"/>
              <a:gd name="connsiteX30" fmla="*/ 1025158 w 2758654"/>
              <a:gd name="connsiteY30" fmla="*/ 564095 h 1548041"/>
              <a:gd name="connsiteX31" fmla="*/ 1071522 w 2758654"/>
              <a:gd name="connsiteY31" fmla="*/ 543489 h 1548041"/>
              <a:gd name="connsiteX32" fmla="*/ 1107583 w 2758654"/>
              <a:gd name="connsiteY32" fmla="*/ 543489 h 1548041"/>
              <a:gd name="connsiteX33" fmla="*/ 1135916 w 2758654"/>
              <a:gd name="connsiteY33" fmla="*/ 597580 h 1548041"/>
              <a:gd name="connsiteX34" fmla="*/ 1156522 w 2758654"/>
              <a:gd name="connsiteY34" fmla="*/ 638792 h 1548041"/>
              <a:gd name="connsiteX35" fmla="*/ 1192583 w 2758654"/>
              <a:gd name="connsiteY35" fmla="*/ 661974 h 1548041"/>
              <a:gd name="connsiteX36" fmla="*/ 1233796 w 2758654"/>
              <a:gd name="connsiteY36" fmla="*/ 659398 h 1548041"/>
              <a:gd name="connsiteX37" fmla="*/ 1277584 w 2758654"/>
              <a:gd name="connsiteY37" fmla="*/ 695459 h 1548041"/>
              <a:gd name="connsiteX38" fmla="*/ 1344554 w 2758654"/>
              <a:gd name="connsiteY38" fmla="*/ 718641 h 1548041"/>
              <a:gd name="connsiteX39" fmla="*/ 1416676 w 2758654"/>
              <a:gd name="connsiteY39" fmla="*/ 710914 h 1548041"/>
              <a:gd name="connsiteX40" fmla="*/ 1445009 w 2758654"/>
              <a:gd name="connsiteY40" fmla="*/ 692884 h 1548041"/>
              <a:gd name="connsiteX41" fmla="*/ 1460464 w 2758654"/>
              <a:gd name="connsiteY41" fmla="*/ 710914 h 1548041"/>
              <a:gd name="connsiteX42" fmla="*/ 1468191 w 2758654"/>
              <a:gd name="connsiteY42" fmla="*/ 746975 h 1548041"/>
              <a:gd name="connsiteX43" fmla="*/ 1517131 w 2758654"/>
              <a:gd name="connsiteY43" fmla="*/ 759854 h 1548041"/>
              <a:gd name="connsiteX44" fmla="*/ 1537737 w 2758654"/>
              <a:gd name="connsiteY44" fmla="*/ 788187 h 1548041"/>
              <a:gd name="connsiteX45" fmla="*/ 1568646 w 2758654"/>
              <a:gd name="connsiteY45" fmla="*/ 834551 h 1548041"/>
              <a:gd name="connsiteX46" fmla="*/ 1630465 w 2758654"/>
              <a:gd name="connsiteY46" fmla="*/ 850006 h 1548041"/>
              <a:gd name="connsiteX47" fmla="*/ 1700011 w 2758654"/>
              <a:gd name="connsiteY47" fmla="*/ 880915 h 1548041"/>
              <a:gd name="connsiteX48" fmla="*/ 1730920 w 2758654"/>
              <a:gd name="connsiteY48" fmla="*/ 875764 h 1548041"/>
              <a:gd name="connsiteX49" fmla="*/ 1764405 w 2758654"/>
              <a:gd name="connsiteY49" fmla="*/ 904097 h 1548041"/>
              <a:gd name="connsiteX50" fmla="*/ 1810769 w 2758654"/>
              <a:gd name="connsiteY50" fmla="*/ 911824 h 1548041"/>
              <a:gd name="connsiteX51" fmla="*/ 1833951 w 2758654"/>
              <a:gd name="connsiteY51" fmla="*/ 947885 h 1548041"/>
              <a:gd name="connsiteX52" fmla="*/ 1877739 w 2758654"/>
              <a:gd name="connsiteY52" fmla="*/ 983946 h 1548041"/>
              <a:gd name="connsiteX53" fmla="*/ 1939558 w 2758654"/>
              <a:gd name="connsiteY53" fmla="*/ 989098 h 1548041"/>
              <a:gd name="connsiteX54" fmla="*/ 1939558 w 2758654"/>
              <a:gd name="connsiteY54" fmla="*/ 989098 h 1548041"/>
              <a:gd name="connsiteX55" fmla="*/ 1960164 w 2758654"/>
              <a:gd name="connsiteY55" fmla="*/ 968491 h 1548041"/>
              <a:gd name="connsiteX56" fmla="*/ 1978195 w 2758654"/>
              <a:gd name="connsiteY56" fmla="*/ 989098 h 1548041"/>
              <a:gd name="connsiteX57" fmla="*/ 1978195 w 2758654"/>
              <a:gd name="connsiteY57" fmla="*/ 1030310 h 1548041"/>
              <a:gd name="connsiteX58" fmla="*/ 2011680 w 2758654"/>
              <a:gd name="connsiteY58" fmla="*/ 1050916 h 1548041"/>
              <a:gd name="connsiteX59" fmla="*/ 2050316 w 2758654"/>
              <a:gd name="connsiteY59" fmla="*/ 1050916 h 1548041"/>
              <a:gd name="connsiteX60" fmla="*/ 2091529 w 2758654"/>
              <a:gd name="connsiteY60" fmla="*/ 1076674 h 1548041"/>
              <a:gd name="connsiteX61" fmla="*/ 2099256 w 2758654"/>
              <a:gd name="connsiteY61" fmla="*/ 1128189 h 1548041"/>
              <a:gd name="connsiteX62" fmla="*/ 2127589 w 2758654"/>
              <a:gd name="connsiteY62" fmla="*/ 1153947 h 1548041"/>
              <a:gd name="connsiteX63" fmla="*/ 2127589 w 2758654"/>
              <a:gd name="connsiteY63" fmla="*/ 1177129 h 1548041"/>
              <a:gd name="connsiteX64" fmla="*/ 2171378 w 2758654"/>
              <a:gd name="connsiteY64" fmla="*/ 1205463 h 1548041"/>
              <a:gd name="connsiteX65" fmla="*/ 2166226 w 2758654"/>
              <a:gd name="connsiteY65" fmla="*/ 1254402 h 1548041"/>
              <a:gd name="connsiteX66" fmla="*/ 2204863 w 2758654"/>
              <a:gd name="connsiteY66" fmla="*/ 1290463 h 1548041"/>
              <a:gd name="connsiteX67" fmla="*/ 2251227 w 2758654"/>
              <a:gd name="connsiteY67" fmla="*/ 1326524 h 1548041"/>
              <a:gd name="connsiteX68" fmla="*/ 2295015 w 2758654"/>
              <a:gd name="connsiteY68" fmla="*/ 1313645 h 1548041"/>
              <a:gd name="connsiteX69" fmla="*/ 2349106 w 2758654"/>
              <a:gd name="connsiteY69" fmla="*/ 1344555 h 1548041"/>
              <a:gd name="connsiteX70" fmla="*/ 2380015 w 2758654"/>
              <a:gd name="connsiteY70" fmla="*/ 1321373 h 1548041"/>
              <a:gd name="connsiteX71" fmla="*/ 2431531 w 2758654"/>
              <a:gd name="connsiteY71" fmla="*/ 1347130 h 1548041"/>
              <a:gd name="connsiteX72" fmla="*/ 2475319 w 2758654"/>
              <a:gd name="connsiteY72" fmla="*/ 1393494 h 1548041"/>
              <a:gd name="connsiteX73" fmla="*/ 2513956 w 2758654"/>
              <a:gd name="connsiteY73" fmla="*/ 1465616 h 1548041"/>
              <a:gd name="connsiteX74" fmla="*/ 2534562 w 2758654"/>
              <a:gd name="connsiteY74" fmla="*/ 1478495 h 1548041"/>
              <a:gd name="connsiteX75" fmla="*/ 2552592 w 2758654"/>
              <a:gd name="connsiteY75" fmla="*/ 1509404 h 1548041"/>
              <a:gd name="connsiteX76" fmla="*/ 2575774 w 2758654"/>
              <a:gd name="connsiteY76" fmla="*/ 1548041 h 1548041"/>
              <a:gd name="connsiteX77" fmla="*/ 2604108 w 2758654"/>
              <a:gd name="connsiteY77" fmla="*/ 1548041 h 1548041"/>
              <a:gd name="connsiteX78" fmla="*/ 2627290 w 2758654"/>
              <a:gd name="connsiteY78" fmla="*/ 1519707 h 1548041"/>
              <a:gd name="connsiteX79" fmla="*/ 2663351 w 2758654"/>
              <a:gd name="connsiteY79" fmla="*/ 1483646 h 1548041"/>
              <a:gd name="connsiteX80" fmla="*/ 2660775 w 2758654"/>
              <a:gd name="connsiteY80" fmla="*/ 1442434 h 1548041"/>
              <a:gd name="connsiteX81" fmla="*/ 2676229 w 2758654"/>
              <a:gd name="connsiteY81" fmla="*/ 1419252 h 1548041"/>
              <a:gd name="connsiteX82" fmla="*/ 2673654 w 2758654"/>
              <a:gd name="connsiteY82" fmla="*/ 1347130 h 1548041"/>
              <a:gd name="connsiteX83" fmla="*/ 2699411 w 2758654"/>
              <a:gd name="connsiteY83" fmla="*/ 1305918 h 1548041"/>
              <a:gd name="connsiteX84" fmla="*/ 2678805 w 2758654"/>
              <a:gd name="connsiteY84" fmla="*/ 1272433 h 1548041"/>
              <a:gd name="connsiteX85" fmla="*/ 2707139 w 2758654"/>
              <a:gd name="connsiteY85" fmla="*/ 1233796 h 1548041"/>
              <a:gd name="connsiteX86" fmla="*/ 2714866 w 2758654"/>
              <a:gd name="connsiteY86" fmla="*/ 1200311 h 1548041"/>
              <a:gd name="connsiteX87" fmla="*/ 2678805 w 2758654"/>
              <a:gd name="connsiteY87" fmla="*/ 1148796 h 1548041"/>
              <a:gd name="connsiteX88" fmla="*/ 2616987 w 2758654"/>
              <a:gd name="connsiteY88" fmla="*/ 1099856 h 1548041"/>
              <a:gd name="connsiteX89" fmla="*/ 2604108 w 2758654"/>
              <a:gd name="connsiteY89" fmla="*/ 1050916 h 1548041"/>
              <a:gd name="connsiteX90" fmla="*/ 2593805 w 2758654"/>
              <a:gd name="connsiteY90" fmla="*/ 994249 h 1548041"/>
              <a:gd name="connsiteX91" fmla="*/ 2573198 w 2758654"/>
              <a:gd name="connsiteY91" fmla="*/ 958188 h 1548041"/>
              <a:gd name="connsiteX92" fmla="*/ 2586077 w 2758654"/>
              <a:gd name="connsiteY92" fmla="*/ 919552 h 1548041"/>
              <a:gd name="connsiteX93" fmla="*/ 2537138 w 2758654"/>
              <a:gd name="connsiteY93" fmla="*/ 798490 h 1548041"/>
              <a:gd name="connsiteX94" fmla="*/ 2537138 w 2758654"/>
              <a:gd name="connsiteY94" fmla="*/ 754702 h 1548041"/>
              <a:gd name="connsiteX95" fmla="*/ 2511380 w 2758654"/>
              <a:gd name="connsiteY95" fmla="*/ 690308 h 1548041"/>
              <a:gd name="connsiteX96" fmla="*/ 2508804 w 2758654"/>
              <a:gd name="connsiteY96" fmla="*/ 654247 h 1548041"/>
              <a:gd name="connsiteX97" fmla="*/ 2488198 w 2758654"/>
              <a:gd name="connsiteY97" fmla="*/ 615610 h 1548041"/>
              <a:gd name="connsiteX98" fmla="*/ 2408349 w 2758654"/>
              <a:gd name="connsiteY98" fmla="*/ 569246 h 1548041"/>
              <a:gd name="connsiteX99" fmla="*/ 2405773 w 2758654"/>
              <a:gd name="connsiteY99" fmla="*/ 533186 h 1548041"/>
              <a:gd name="connsiteX100" fmla="*/ 2374864 w 2758654"/>
              <a:gd name="connsiteY100" fmla="*/ 510004 h 1548041"/>
              <a:gd name="connsiteX101" fmla="*/ 2351682 w 2758654"/>
              <a:gd name="connsiteY101" fmla="*/ 510004 h 1548041"/>
              <a:gd name="connsiteX102" fmla="*/ 2307894 w 2758654"/>
              <a:gd name="connsiteY102" fmla="*/ 512579 h 1548041"/>
              <a:gd name="connsiteX103" fmla="*/ 2238348 w 2758654"/>
              <a:gd name="connsiteY103" fmla="*/ 473943 h 1548041"/>
              <a:gd name="connsiteX104" fmla="*/ 2186832 w 2758654"/>
              <a:gd name="connsiteY104" fmla="*/ 409548 h 1548041"/>
              <a:gd name="connsiteX105" fmla="*/ 2143044 w 2758654"/>
              <a:gd name="connsiteY105" fmla="*/ 386366 h 1548041"/>
              <a:gd name="connsiteX106" fmla="*/ 2137893 w 2758654"/>
              <a:gd name="connsiteY106" fmla="*/ 350306 h 1548041"/>
              <a:gd name="connsiteX107" fmla="*/ 2114711 w 2758654"/>
              <a:gd name="connsiteY107" fmla="*/ 301366 h 1548041"/>
              <a:gd name="connsiteX108" fmla="*/ 2073498 w 2758654"/>
              <a:gd name="connsiteY108" fmla="*/ 270457 h 1548041"/>
              <a:gd name="connsiteX109" fmla="*/ 2078650 w 2758654"/>
              <a:gd name="connsiteY109" fmla="*/ 226668 h 1548041"/>
              <a:gd name="connsiteX110" fmla="*/ 2114711 w 2758654"/>
              <a:gd name="connsiteY110" fmla="*/ 170001 h 1548041"/>
              <a:gd name="connsiteX111" fmla="*/ 2119862 w 2758654"/>
              <a:gd name="connsiteY111" fmla="*/ 105607 h 1548041"/>
              <a:gd name="connsiteX112" fmla="*/ 2148196 w 2758654"/>
              <a:gd name="connsiteY112" fmla="*/ 69546 h 1548041"/>
              <a:gd name="connsiteX113" fmla="*/ 2194560 w 2758654"/>
              <a:gd name="connsiteY113" fmla="*/ 46364 h 1548041"/>
              <a:gd name="connsiteX114" fmla="*/ 2217742 w 2758654"/>
              <a:gd name="connsiteY114" fmla="*/ 2576 h 1548041"/>
              <a:gd name="connsiteX115" fmla="*/ 2266681 w 2758654"/>
              <a:gd name="connsiteY115" fmla="*/ 0 h 1548041"/>
              <a:gd name="connsiteX116" fmla="*/ 2297591 w 2758654"/>
              <a:gd name="connsiteY116" fmla="*/ 15455 h 1548041"/>
              <a:gd name="connsiteX117" fmla="*/ 2372288 w 2758654"/>
              <a:gd name="connsiteY117" fmla="*/ 0 h 1548041"/>
              <a:gd name="connsiteX118" fmla="*/ 2408349 w 2758654"/>
              <a:gd name="connsiteY118" fmla="*/ 25758 h 1548041"/>
              <a:gd name="connsiteX119" fmla="*/ 2457289 w 2758654"/>
              <a:gd name="connsiteY119" fmla="*/ 18031 h 1548041"/>
              <a:gd name="connsiteX120" fmla="*/ 2508804 w 2758654"/>
              <a:gd name="connsiteY120" fmla="*/ 36061 h 1548041"/>
              <a:gd name="connsiteX121" fmla="*/ 2588653 w 2758654"/>
              <a:gd name="connsiteY121" fmla="*/ 74698 h 1548041"/>
              <a:gd name="connsiteX122" fmla="*/ 2712290 w 2758654"/>
              <a:gd name="connsiteY122" fmla="*/ 85001 h 1548041"/>
              <a:gd name="connsiteX123" fmla="*/ 2758654 w 2758654"/>
              <a:gd name="connsiteY123" fmla="*/ 74698 h 1548041"/>
              <a:gd name="connsiteX124" fmla="*/ 2740624 w 2758654"/>
              <a:gd name="connsiteY124" fmla="*/ 48940 h 1548041"/>
              <a:gd name="connsiteX125" fmla="*/ 2738048 w 2758654"/>
              <a:gd name="connsiteY125" fmla="*/ 18031 h 1548041"/>
              <a:gd name="connsiteX0" fmla="*/ 0 w 2732897"/>
              <a:gd name="connsiteY0" fmla="*/ 74698 h 1548041"/>
              <a:gd name="connsiteX1" fmla="*/ 12879 w 2732897"/>
              <a:gd name="connsiteY1" fmla="*/ 87577 h 1548041"/>
              <a:gd name="connsiteX2" fmla="*/ 54092 w 2732897"/>
              <a:gd name="connsiteY2" fmla="*/ 59243 h 1548041"/>
              <a:gd name="connsiteX3" fmla="*/ 77274 w 2732897"/>
              <a:gd name="connsiteY3" fmla="*/ 36061 h 1548041"/>
              <a:gd name="connsiteX4" fmla="*/ 113334 w 2732897"/>
              <a:gd name="connsiteY4" fmla="*/ 36061 h 1548041"/>
              <a:gd name="connsiteX5" fmla="*/ 151971 w 2732897"/>
              <a:gd name="connsiteY5" fmla="*/ 72122 h 1548041"/>
              <a:gd name="connsiteX6" fmla="*/ 154547 w 2732897"/>
              <a:gd name="connsiteY6" fmla="*/ 146819 h 1548041"/>
              <a:gd name="connsiteX7" fmla="*/ 198335 w 2732897"/>
              <a:gd name="connsiteY7" fmla="*/ 177729 h 1548041"/>
              <a:gd name="connsiteX8" fmla="*/ 270457 w 2732897"/>
              <a:gd name="connsiteY8" fmla="*/ 221517 h 1548041"/>
              <a:gd name="connsiteX9" fmla="*/ 316821 w 2732897"/>
              <a:gd name="connsiteY9" fmla="*/ 234396 h 1548041"/>
              <a:gd name="connsiteX10" fmla="*/ 345154 w 2732897"/>
              <a:gd name="connsiteY10" fmla="*/ 224093 h 1548041"/>
              <a:gd name="connsiteX11" fmla="*/ 376063 w 2732897"/>
              <a:gd name="connsiteY11" fmla="*/ 242123 h 1548041"/>
              <a:gd name="connsiteX12" fmla="*/ 417276 w 2732897"/>
              <a:gd name="connsiteY12" fmla="*/ 221517 h 1548041"/>
              <a:gd name="connsiteX13" fmla="*/ 432731 w 2732897"/>
              <a:gd name="connsiteY13" fmla="*/ 198335 h 1548041"/>
              <a:gd name="connsiteX14" fmla="*/ 463640 w 2732897"/>
              <a:gd name="connsiteY14" fmla="*/ 221517 h 1548041"/>
              <a:gd name="connsiteX15" fmla="*/ 497125 w 2732897"/>
              <a:gd name="connsiteY15" fmla="*/ 200911 h 1548041"/>
              <a:gd name="connsiteX16" fmla="*/ 507428 w 2732897"/>
              <a:gd name="connsiteY16" fmla="*/ 172577 h 1548041"/>
              <a:gd name="connsiteX17" fmla="*/ 556368 w 2732897"/>
              <a:gd name="connsiteY17" fmla="*/ 193183 h 1548041"/>
              <a:gd name="connsiteX18" fmla="*/ 610459 w 2732897"/>
              <a:gd name="connsiteY18" fmla="*/ 249850 h 1548041"/>
              <a:gd name="connsiteX19" fmla="*/ 664550 w 2732897"/>
              <a:gd name="connsiteY19" fmla="*/ 255002 h 1548041"/>
              <a:gd name="connsiteX20" fmla="*/ 685156 w 2732897"/>
              <a:gd name="connsiteY20" fmla="*/ 239547 h 1548041"/>
              <a:gd name="connsiteX21" fmla="*/ 731520 w 2732897"/>
              <a:gd name="connsiteY21" fmla="*/ 242123 h 1548041"/>
              <a:gd name="connsiteX22" fmla="*/ 767581 w 2732897"/>
              <a:gd name="connsiteY22" fmla="*/ 275608 h 1548041"/>
              <a:gd name="connsiteX23" fmla="*/ 783036 w 2732897"/>
              <a:gd name="connsiteY23" fmla="*/ 334851 h 1548041"/>
              <a:gd name="connsiteX24" fmla="*/ 824248 w 2732897"/>
              <a:gd name="connsiteY24" fmla="*/ 404397 h 1548041"/>
              <a:gd name="connsiteX25" fmla="*/ 821672 w 2732897"/>
              <a:gd name="connsiteY25" fmla="*/ 453337 h 1548041"/>
              <a:gd name="connsiteX26" fmla="*/ 844854 w 2732897"/>
              <a:gd name="connsiteY26" fmla="*/ 497125 h 1548041"/>
              <a:gd name="connsiteX27" fmla="*/ 893794 w 2732897"/>
              <a:gd name="connsiteY27" fmla="*/ 507428 h 1548041"/>
              <a:gd name="connsiteX28" fmla="*/ 922128 w 2732897"/>
              <a:gd name="connsiteY28" fmla="*/ 535761 h 1548041"/>
              <a:gd name="connsiteX29" fmla="*/ 999401 w 2732897"/>
              <a:gd name="connsiteY29" fmla="*/ 564095 h 1548041"/>
              <a:gd name="connsiteX30" fmla="*/ 1045765 w 2732897"/>
              <a:gd name="connsiteY30" fmla="*/ 543489 h 1548041"/>
              <a:gd name="connsiteX31" fmla="*/ 1081826 w 2732897"/>
              <a:gd name="connsiteY31" fmla="*/ 543489 h 1548041"/>
              <a:gd name="connsiteX32" fmla="*/ 1110159 w 2732897"/>
              <a:gd name="connsiteY32" fmla="*/ 597580 h 1548041"/>
              <a:gd name="connsiteX33" fmla="*/ 1130765 w 2732897"/>
              <a:gd name="connsiteY33" fmla="*/ 638792 h 1548041"/>
              <a:gd name="connsiteX34" fmla="*/ 1166826 w 2732897"/>
              <a:gd name="connsiteY34" fmla="*/ 661974 h 1548041"/>
              <a:gd name="connsiteX35" fmla="*/ 1208039 w 2732897"/>
              <a:gd name="connsiteY35" fmla="*/ 659398 h 1548041"/>
              <a:gd name="connsiteX36" fmla="*/ 1251827 w 2732897"/>
              <a:gd name="connsiteY36" fmla="*/ 695459 h 1548041"/>
              <a:gd name="connsiteX37" fmla="*/ 1318797 w 2732897"/>
              <a:gd name="connsiteY37" fmla="*/ 718641 h 1548041"/>
              <a:gd name="connsiteX38" fmla="*/ 1390919 w 2732897"/>
              <a:gd name="connsiteY38" fmla="*/ 710914 h 1548041"/>
              <a:gd name="connsiteX39" fmla="*/ 1419252 w 2732897"/>
              <a:gd name="connsiteY39" fmla="*/ 692884 h 1548041"/>
              <a:gd name="connsiteX40" fmla="*/ 1434707 w 2732897"/>
              <a:gd name="connsiteY40" fmla="*/ 710914 h 1548041"/>
              <a:gd name="connsiteX41" fmla="*/ 1442434 w 2732897"/>
              <a:gd name="connsiteY41" fmla="*/ 746975 h 1548041"/>
              <a:gd name="connsiteX42" fmla="*/ 1491374 w 2732897"/>
              <a:gd name="connsiteY42" fmla="*/ 759854 h 1548041"/>
              <a:gd name="connsiteX43" fmla="*/ 1511980 w 2732897"/>
              <a:gd name="connsiteY43" fmla="*/ 788187 h 1548041"/>
              <a:gd name="connsiteX44" fmla="*/ 1542889 w 2732897"/>
              <a:gd name="connsiteY44" fmla="*/ 834551 h 1548041"/>
              <a:gd name="connsiteX45" fmla="*/ 1604708 w 2732897"/>
              <a:gd name="connsiteY45" fmla="*/ 850006 h 1548041"/>
              <a:gd name="connsiteX46" fmla="*/ 1674254 w 2732897"/>
              <a:gd name="connsiteY46" fmla="*/ 880915 h 1548041"/>
              <a:gd name="connsiteX47" fmla="*/ 1705163 w 2732897"/>
              <a:gd name="connsiteY47" fmla="*/ 875764 h 1548041"/>
              <a:gd name="connsiteX48" fmla="*/ 1738648 w 2732897"/>
              <a:gd name="connsiteY48" fmla="*/ 904097 h 1548041"/>
              <a:gd name="connsiteX49" fmla="*/ 1785012 w 2732897"/>
              <a:gd name="connsiteY49" fmla="*/ 911824 h 1548041"/>
              <a:gd name="connsiteX50" fmla="*/ 1808194 w 2732897"/>
              <a:gd name="connsiteY50" fmla="*/ 947885 h 1548041"/>
              <a:gd name="connsiteX51" fmla="*/ 1851982 w 2732897"/>
              <a:gd name="connsiteY51" fmla="*/ 983946 h 1548041"/>
              <a:gd name="connsiteX52" fmla="*/ 1913801 w 2732897"/>
              <a:gd name="connsiteY52" fmla="*/ 989098 h 1548041"/>
              <a:gd name="connsiteX53" fmla="*/ 1913801 w 2732897"/>
              <a:gd name="connsiteY53" fmla="*/ 989098 h 1548041"/>
              <a:gd name="connsiteX54" fmla="*/ 1934407 w 2732897"/>
              <a:gd name="connsiteY54" fmla="*/ 968491 h 1548041"/>
              <a:gd name="connsiteX55" fmla="*/ 1952438 w 2732897"/>
              <a:gd name="connsiteY55" fmla="*/ 989098 h 1548041"/>
              <a:gd name="connsiteX56" fmla="*/ 1952438 w 2732897"/>
              <a:gd name="connsiteY56" fmla="*/ 1030310 h 1548041"/>
              <a:gd name="connsiteX57" fmla="*/ 1985923 w 2732897"/>
              <a:gd name="connsiteY57" fmla="*/ 1050916 h 1548041"/>
              <a:gd name="connsiteX58" fmla="*/ 2024559 w 2732897"/>
              <a:gd name="connsiteY58" fmla="*/ 1050916 h 1548041"/>
              <a:gd name="connsiteX59" fmla="*/ 2065772 w 2732897"/>
              <a:gd name="connsiteY59" fmla="*/ 1076674 h 1548041"/>
              <a:gd name="connsiteX60" fmla="*/ 2073499 w 2732897"/>
              <a:gd name="connsiteY60" fmla="*/ 1128189 h 1548041"/>
              <a:gd name="connsiteX61" fmla="*/ 2101832 w 2732897"/>
              <a:gd name="connsiteY61" fmla="*/ 1153947 h 1548041"/>
              <a:gd name="connsiteX62" fmla="*/ 2101832 w 2732897"/>
              <a:gd name="connsiteY62" fmla="*/ 1177129 h 1548041"/>
              <a:gd name="connsiteX63" fmla="*/ 2145621 w 2732897"/>
              <a:gd name="connsiteY63" fmla="*/ 1205463 h 1548041"/>
              <a:gd name="connsiteX64" fmla="*/ 2140469 w 2732897"/>
              <a:gd name="connsiteY64" fmla="*/ 1254402 h 1548041"/>
              <a:gd name="connsiteX65" fmla="*/ 2179106 w 2732897"/>
              <a:gd name="connsiteY65" fmla="*/ 1290463 h 1548041"/>
              <a:gd name="connsiteX66" fmla="*/ 2225470 w 2732897"/>
              <a:gd name="connsiteY66" fmla="*/ 1326524 h 1548041"/>
              <a:gd name="connsiteX67" fmla="*/ 2269258 w 2732897"/>
              <a:gd name="connsiteY67" fmla="*/ 1313645 h 1548041"/>
              <a:gd name="connsiteX68" fmla="*/ 2323349 w 2732897"/>
              <a:gd name="connsiteY68" fmla="*/ 1344555 h 1548041"/>
              <a:gd name="connsiteX69" fmla="*/ 2354258 w 2732897"/>
              <a:gd name="connsiteY69" fmla="*/ 1321373 h 1548041"/>
              <a:gd name="connsiteX70" fmla="*/ 2405774 w 2732897"/>
              <a:gd name="connsiteY70" fmla="*/ 1347130 h 1548041"/>
              <a:gd name="connsiteX71" fmla="*/ 2449562 w 2732897"/>
              <a:gd name="connsiteY71" fmla="*/ 1393494 h 1548041"/>
              <a:gd name="connsiteX72" fmla="*/ 2488199 w 2732897"/>
              <a:gd name="connsiteY72" fmla="*/ 1465616 h 1548041"/>
              <a:gd name="connsiteX73" fmla="*/ 2508805 w 2732897"/>
              <a:gd name="connsiteY73" fmla="*/ 1478495 h 1548041"/>
              <a:gd name="connsiteX74" fmla="*/ 2526835 w 2732897"/>
              <a:gd name="connsiteY74" fmla="*/ 1509404 h 1548041"/>
              <a:gd name="connsiteX75" fmla="*/ 2550017 w 2732897"/>
              <a:gd name="connsiteY75" fmla="*/ 1548041 h 1548041"/>
              <a:gd name="connsiteX76" fmla="*/ 2578351 w 2732897"/>
              <a:gd name="connsiteY76" fmla="*/ 1548041 h 1548041"/>
              <a:gd name="connsiteX77" fmla="*/ 2601533 w 2732897"/>
              <a:gd name="connsiteY77" fmla="*/ 1519707 h 1548041"/>
              <a:gd name="connsiteX78" fmla="*/ 2637594 w 2732897"/>
              <a:gd name="connsiteY78" fmla="*/ 1483646 h 1548041"/>
              <a:gd name="connsiteX79" fmla="*/ 2635018 w 2732897"/>
              <a:gd name="connsiteY79" fmla="*/ 1442434 h 1548041"/>
              <a:gd name="connsiteX80" fmla="*/ 2650472 w 2732897"/>
              <a:gd name="connsiteY80" fmla="*/ 1419252 h 1548041"/>
              <a:gd name="connsiteX81" fmla="*/ 2647897 w 2732897"/>
              <a:gd name="connsiteY81" fmla="*/ 1347130 h 1548041"/>
              <a:gd name="connsiteX82" fmla="*/ 2673654 w 2732897"/>
              <a:gd name="connsiteY82" fmla="*/ 1305918 h 1548041"/>
              <a:gd name="connsiteX83" fmla="*/ 2653048 w 2732897"/>
              <a:gd name="connsiteY83" fmla="*/ 1272433 h 1548041"/>
              <a:gd name="connsiteX84" fmla="*/ 2681382 w 2732897"/>
              <a:gd name="connsiteY84" fmla="*/ 1233796 h 1548041"/>
              <a:gd name="connsiteX85" fmla="*/ 2689109 w 2732897"/>
              <a:gd name="connsiteY85" fmla="*/ 1200311 h 1548041"/>
              <a:gd name="connsiteX86" fmla="*/ 2653048 w 2732897"/>
              <a:gd name="connsiteY86" fmla="*/ 1148796 h 1548041"/>
              <a:gd name="connsiteX87" fmla="*/ 2591230 w 2732897"/>
              <a:gd name="connsiteY87" fmla="*/ 1099856 h 1548041"/>
              <a:gd name="connsiteX88" fmla="*/ 2578351 w 2732897"/>
              <a:gd name="connsiteY88" fmla="*/ 1050916 h 1548041"/>
              <a:gd name="connsiteX89" fmla="*/ 2568048 w 2732897"/>
              <a:gd name="connsiteY89" fmla="*/ 994249 h 1548041"/>
              <a:gd name="connsiteX90" fmla="*/ 2547441 w 2732897"/>
              <a:gd name="connsiteY90" fmla="*/ 958188 h 1548041"/>
              <a:gd name="connsiteX91" fmla="*/ 2560320 w 2732897"/>
              <a:gd name="connsiteY91" fmla="*/ 919552 h 1548041"/>
              <a:gd name="connsiteX92" fmla="*/ 2511381 w 2732897"/>
              <a:gd name="connsiteY92" fmla="*/ 798490 h 1548041"/>
              <a:gd name="connsiteX93" fmla="*/ 2511381 w 2732897"/>
              <a:gd name="connsiteY93" fmla="*/ 754702 h 1548041"/>
              <a:gd name="connsiteX94" fmla="*/ 2485623 w 2732897"/>
              <a:gd name="connsiteY94" fmla="*/ 690308 h 1548041"/>
              <a:gd name="connsiteX95" fmla="*/ 2483047 w 2732897"/>
              <a:gd name="connsiteY95" fmla="*/ 654247 h 1548041"/>
              <a:gd name="connsiteX96" fmla="*/ 2462441 w 2732897"/>
              <a:gd name="connsiteY96" fmla="*/ 615610 h 1548041"/>
              <a:gd name="connsiteX97" fmla="*/ 2382592 w 2732897"/>
              <a:gd name="connsiteY97" fmla="*/ 569246 h 1548041"/>
              <a:gd name="connsiteX98" fmla="*/ 2380016 w 2732897"/>
              <a:gd name="connsiteY98" fmla="*/ 533186 h 1548041"/>
              <a:gd name="connsiteX99" fmla="*/ 2349107 w 2732897"/>
              <a:gd name="connsiteY99" fmla="*/ 510004 h 1548041"/>
              <a:gd name="connsiteX100" fmla="*/ 2325925 w 2732897"/>
              <a:gd name="connsiteY100" fmla="*/ 510004 h 1548041"/>
              <a:gd name="connsiteX101" fmla="*/ 2282137 w 2732897"/>
              <a:gd name="connsiteY101" fmla="*/ 512579 h 1548041"/>
              <a:gd name="connsiteX102" fmla="*/ 2212591 w 2732897"/>
              <a:gd name="connsiteY102" fmla="*/ 473943 h 1548041"/>
              <a:gd name="connsiteX103" fmla="*/ 2161075 w 2732897"/>
              <a:gd name="connsiteY103" fmla="*/ 409548 h 1548041"/>
              <a:gd name="connsiteX104" fmla="*/ 2117287 w 2732897"/>
              <a:gd name="connsiteY104" fmla="*/ 386366 h 1548041"/>
              <a:gd name="connsiteX105" fmla="*/ 2112136 w 2732897"/>
              <a:gd name="connsiteY105" fmla="*/ 350306 h 1548041"/>
              <a:gd name="connsiteX106" fmla="*/ 2088954 w 2732897"/>
              <a:gd name="connsiteY106" fmla="*/ 301366 h 1548041"/>
              <a:gd name="connsiteX107" fmla="*/ 2047741 w 2732897"/>
              <a:gd name="connsiteY107" fmla="*/ 270457 h 1548041"/>
              <a:gd name="connsiteX108" fmla="*/ 2052893 w 2732897"/>
              <a:gd name="connsiteY108" fmla="*/ 226668 h 1548041"/>
              <a:gd name="connsiteX109" fmla="*/ 2088954 w 2732897"/>
              <a:gd name="connsiteY109" fmla="*/ 170001 h 1548041"/>
              <a:gd name="connsiteX110" fmla="*/ 2094105 w 2732897"/>
              <a:gd name="connsiteY110" fmla="*/ 105607 h 1548041"/>
              <a:gd name="connsiteX111" fmla="*/ 2122439 w 2732897"/>
              <a:gd name="connsiteY111" fmla="*/ 69546 h 1548041"/>
              <a:gd name="connsiteX112" fmla="*/ 2168803 w 2732897"/>
              <a:gd name="connsiteY112" fmla="*/ 46364 h 1548041"/>
              <a:gd name="connsiteX113" fmla="*/ 2191985 w 2732897"/>
              <a:gd name="connsiteY113" fmla="*/ 2576 h 1548041"/>
              <a:gd name="connsiteX114" fmla="*/ 2240924 w 2732897"/>
              <a:gd name="connsiteY114" fmla="*/ 0 h 1548041"/>
              <a:gd name="connsiteX115" fmla="*/ 2271834 w 2732897"/>
              <a:gd name="connsiteY115" fmla="*/ 15455 h 1548041"/>
              <a:gd name="connsiteX116" fmla="*/ 2346531 w 2732897"/>
              <a:gd name="connsiteY116" fmla="*/ 0 h 1548041"/>
              <a:gd name="connsiteX117" fmla="*/ 2382592 w 2732897"/>
              <a:gd name="connsiteY117" fmla="*/ 25758 h 1548041"/>
              <a:gd name="connsiteX118" fmla="*/ 2431532 w 2732897"/>
              <a:gd name="connsiteY118" fmla="*/ 18031 h 1548041"/>
              <a:gd name="connsiteX119" fmla="*/ 2483047 w 2732897"/>
              <a:gd name="connsiteY119" fmla="*/ 36061 h 1548041"/>
              <a:gd name="connsiteX120" fmla="*/ 2562896 w 2732897"/>
              <a:gd name="connsiteY120" fmla="*/ 74698 h 1548041"/>
              <a:gd name="connsiteX121" fmla="*/ 2686533 w 2732897"/>
              <a:gd name="connsiteY121" fmla="*/ 85001 h 1548041"/>
              <a:gd name="connsiteX122" fmla="*/ 2732897 w 2732897"/>
              <a:gd name="connsiteY122" fmla="*/ 74698 h 1548041"/>
              <a:gd name="connsiteX123" fmla="*/ 2714867 w 2732897"/>
              <a:gd name="connsiteY123" fmla="*/ 48940 h 1548041"/>
              <a:gd name="connsiteX124" fmla="*/ 2712291 w 2732897"/>
              <a:gd name="connsiteY124" fmla="*/ 18031 h 1548041"/>
              <a:gd name="connsiteX0" fmla="*/ 0 w 2732897"/>
              <a:gd name="connsiteY0" fmla="*/ 74698 h 1548041"/>
              <a:gd name="connsiteX1" fmla="*/ 54092 w 2732897"/>
              <a:gd name="connsiteY1" fmla="*/ 59243 h 1548041"/>
              <a:gd name="connsiteX2" fmla="*/ 77274 w 2732897"/>
              <a:gd name="connsiteY2" fmla="*/ 36061 h 1548041"/>
              <a:gd name="connsiteX3" fmla="*/ 113334 w 2732897"/>
              <a:gd name="connsiteY3" fmla="*/ 36061 h 1548041"/>
              <a:gd name="connsiteX4" fmla="*/ 151971 w 2732897"/>
              <a:gd name="connsiteY4" fmla="*/ 72122 h 1548041"/>
              <a:gd name="connsiteX5" fmla="*/ 154547 w 2732897"/>
              <a:gd name="connsiteY5" fmla="*/ 146819 h 1548041"/>
              <a:gd name="connsiteX6" fmla="*/ 198335 w 2732897"/>
              <a:gd name="connsiteY6" fmla="*/ 177729 h 1548041"/>
              <a:gd name="connsiteX7" fmla="*/ 270457 w 2732897"/>
              <a:gd name="connsiteY7" fmla="*/ 221517 h 1548041"/>
              <a:gd name="connsiteX8" fmla="*/ 316821 w 2732897"/>
              <a:gd name="connsiteY8" fmla="*/ 234396 h 1548041"/>
              <a:gd name="connsiteX9" fmla="*/ 345154 w 2732897"/>
              <a:gd name="connsiteY9" fmla="*/ 224093 h 1548041"/>
              <a:gd name="connsiteX10" fmla="*/ 376063 w 2732897"/>
              <a:gd name="connsiteY10" fmla="*/ 242123 h 1548041"/>
              <a:gd name="connsiteX11" fmla="*/ 417276 w 2732897"/>
              <a:gd name="connsiteY11" fmla="*/ 221517 h 1548041"/>
              <a:gd name="connsiteX12" fmla="*/ 432731 w 2732897"/>
              <a:gd name="connsiteY12" fmla="*/ 198335 h 1548041"/>
              <a:gd name="connsiteX13" fmla="*/ 463640 w 2732897"/>
              <a:gd name="connsiteY13" fmla="*/ 221517 h 1548041"/>
              <a:gd name="connsiteX14" fmla="*/ 497125 w 2732897"/>
              <a:gd name="connsiteY14" fmla="*/ 200911 h 1548041"/>
              <a:gd name="connsiteX15" fmla="*/ 507428 w 2732897"/>
              <a:gd name="connsiteY15" fmla="*/ 172577 h 1548041"/>
              <a:gd name="connsiteX16" fmla="*/ 556368 w 2732897"/>
              <a:gd name="connsiteY16" fmla="*/ 193183 h 1548041"/>
              <a:gd name="connsiteX17" fmla="*/ 610459 w 2732897"/>
              <a:gd name="connsiteY17" fmla="*/ 249850 h 1548041"/>
              <a:gd name="connsiteX18" fmla="*/ 664550 w 2732897"/>
              <a:gd name="connsiteY18" fmla="*/ 255002 h 1548041"/>
              <a:gd name="connsiteX19" fmla="*/ 685156 w 2732897"/>
              <a:gd name="connsiteY19" fmla="*/ 239547 h 1548041"/>
              <a:gd name="connsiteX20" fmla="*/ 731520 w 2732897"/>
              <a:gd name="connsiteY20" fmla="*/ 242123 h 1548041"/>
              <a:gd name="connsiteX21" fmla="*/ 767581 w 2732897"/>
              <a:gd name="connsiteY21" fmla="*/ 275608 h 1548041"/>
              <a:gd name="connsiteX22" fmla="*/ 783036 w 2732897"/>
              <a:gd name="connsiteY22" fmla="*/ 334851 h 1548041"/>
              <a:gd name="connsiteX23" fmla="*/ 824248 w 2732897"/>
              <a:gd name="connsiteY23" fmla="*/ 404397 h 1548041"/>
              <a:gd name="connsiteX24" fmla="*/ 821672 w 2732897"/>
              <a:gd name="connsiteY24" fmla="*/ 453337 h 1548041"/>
              <a:gd name="connsiteX25" fmla="*/ 844854 w 2732897"/>
              <a:gd name="connsiteY25" fmla="*/ 497125 h 1548041"/>
              <a:gd name="connsiteX26" fmla="*/ 893794 w 2732897"/>
              <a:gd name="connsiteY26" fmla="*/ 507428 h 1548041"/>
              <a:gd name="connsiteX27" fmla="*/ 922128 w 2732897"/>
              <a:gd name="connsiteY27" fmla="*/ 535761 h 1548041"/>
              <a:gd name="connsiteX28" fmla="*/ 999401 w 2732897"/>
              <a:gd name="connsiteY28" fmla="*/ 564095 h 1548041"/>
              <a:gd name="connsiteX29" fmla="*/ 1045765 w 2732897"/>
              <a:gd name="connsiteY29" fmla="*/ 543489 h 1548041"/>
              <a:gd name="connsiteX30" fmla="*/ 1081826 w 2732897"/>
              <a:gd name="connsiteY30" fmla="*/ 543489 h 1548041"/>
              <a:gd name="connsiteX31" fmla="*/ 1110159 w 2732897"/>
              <a:gd name="connsiteY31" fmla="*/ 597580 h 1548041"/>
              <a:gd name="connsiteX32" fmla="*/ 1130765 w 2732897"/>
              <a:gd name="connsiteY32" fmla="*/ 638792 h 1548041"/>
              <a:gd name="connsiteX33" fmla="*/ 1166826 w 2732897"/>
              <a:gd name="connsiteY33" fmla="*/ 661974 h 1548041"/>
              <a:gd name="connsiteX34" fmla="*/ 1208039 w 2732897"/>
              <a:gd name="connsiteY34" fmla="*/ 659398 h 1548041"/>
              <a:gd name="connsiteX35" fmla="*/ 1251827 w 2732897"/>
              <a:gd name="connsiteY35" fmla="*/ 695459 h 1548041"/>
              <a:gd name="connsiteX36" fmla="*/ 1318797 w 2732897"/>
              <a:gd name="connsiteY36" fmla="*/ 718641 h 1548041"/>
              <a:gd name="connsiteX37" fmla="*/ 1390919 w 2732897"/>
              <a:gd name="connsiteY37" fmla="*/ 710914 h 1548041"/>
              <a:gd name="connsiteX38" fmla="*/ 1419252 w 2732897"/>
              <a:gd name="connsiteY38" fmla="*/ 692884 h 1548041"/>
              <a:gd name="connsiteX39" fmla="*/ 1434707 w 2732897"/>
              <a:gd name="connsiteY39" fmla="*/ 710914 h 1548041"/>
              <a:gd name="connsiteX40" fmla="*/ 1442434 w 2732897"/>
              <a:gd name="connsiteY40" fmla="*/ 746975 h 1548041"/>
              <a:gd name="connsiteX41" fmla="*/ 1491374 w 2732897"/>
              <a:gd name="connsiteY41" fmla="*/ 759854 h 1548041"/>
              <a:gd name="connsiteX42" fmla="*/ 1511980 w 2732897"/>
              <a:gd name="connsiteY42" fmla="*/ 788187 h 1548041"/>
              <a:gd name="connsiteX43" fmla="*/ 1542889 w 2732897"/>
              <a:gd name="connsiteY43" fmla="*/ 834551 h 1548041"/>
              <a:gd name="connsiteX44" fmla="*/ 1604708 w 2732897"/>
              <a:gd name="connsiteY44" fmla="*/ 850006 h 1548041"/>
              <a:gd name="connsiteX45" fmla="*/ 1674254 w 2732897"/>
              <a:gd name="connsiteY45" fmla="*/ 880915 h 1548041"/>
              <a:gd name="connsiteX46" fmla="*/ 1705163 w 2732897"/>
              <a:gd name="connsiteY46" fmla="*/ 875764 h 1548041"/>
              <a:gd name="connsiteX47" fmla="*/ 1738648 w 2732897"/>
              <a:gd name="connsiteY47" fmla="*/ 904097 h 1548041"/>
              <a:gd name="connsiteX48" fmla="*/ 1785012 w 2732897"/>
              <a:gd name="connsiteY48" fmla="*/ 911824 h 1548041"/>
              <a:gd name="connsiteX49" fmla="*/ 1808194 w 2732897"/>
              <a:gd name="connsiteY49" fmla="*/ 947885 h 1548041"/>
              <a:gd name="connsiteX50" fmla="*/ 1851982 w 2732897"/>
              <a:gd name="connsiteY50" fmla="*/ 983946 h 1548041"/>
              <a:gd name="connsiteX51" fmla="*/ 1913801 w 2732897"/>
              <a:gd name="connsiteY51" fmla="*/ 989098 h 1548041"/>
              <a:gd name="connsiteX52" fmla="*/ 1913801 w 2732897"/>
              <a:gd name="connsiteY52" fmla="*/ 989098 h 1548041"/>
              <a:gd name="connsiteX53" fmla="*/ 1934407 w 2732897"/>
              <a:gd name="connsiteY53" fmla="*/ 968491 h 1548041"/>
              <a:gd name="connsiteX54" fmla="*/ 1952438 w 2732897"/>
              <a:gd name="connsiteY54" fmla="*/ 989098 h 1548041"/>
              <a:gd name="connsiteX55" fmla="*/ 1952438 w 2732897"/>
              <a:gd name="connsiteY55" fmla="*/ 1030310 h 1548041"/>
              <a:gd name="connsiteX56" fmla="*/ 1985923 w 2732897"/>
              <a:gd name="connsiteY56" fmla="*/ 1050916 h 1548041"/>
              <a:gd name="connsiteX57" fmla="*/ 2024559 w 2732897"/>
              <a:gd name="connsiteY57" fmla="*/ 1050916 h 1548041"/>
              <a:gd name="connsiteX58" fmla="*/ 2065772 w 2732897"/>
              <a:gd name="connsiteY58" fmla="*/ 1076674 h 1548041"/>
              <a:gd name="connsiteX59" fmla="*/ 2073499 w 2732897"/>
              <a:gd name="connsiteY59" fmla="*/ 1128189 h 1548041"/>
              <a:gd name="connsiteX60" fmla="*/ 2101832 w 2732897"/>
              <a:gd name="connsiteY60" fmla="*/ 1153947 h 1548041"/>
              <a:gd name="connsiteX61" fmla="*/ 2101832 w 2732897"/>
              <a:gd name="connsiteY61" fmla="*/ 1177129 h 1548041"/>
              <a:gd name="connsiteX62" fmla="*/ 2145621 w 2732897"/>
              <a:gd name="connsiteY62" fmla="*/ 1205463 h 1548041"/>
              <a:gd name="connsiteX63" fmla="*/ 2140469 w 2732897"/>
              <a:gd name="connsiteY63" fmla="*/ 1254402 h 1548041"/>
              <a:gd name="connsiteX64" fmla="*/ 2179106 w 2732897"/>
              <a:gd name="connsiteY64" fmla="*/ 1290463 h 1548041"/>
              <a:gd name="connsiteX65" fmla="*/ 2225470 w 2732897"/>
              <a:gd name="connsiteY65" fmla="*/ 1326524 h 1548041"/>
              <a:gd name="connsiteX66" fmla="*/ 2269258 w 2732897"/>
              <a:gd name="connsiteY66" fmla="*/ 1313645 h 1548041"/>
              <a:gd name="connsiteX67" fmla="*/ 2323349 w 2732897"/>
              <a:gd name="connsiteY67" fmla="*/ 1344555 h 1548041"/>
              <a:gd name="connsiteX68" fmla="*/ 2354258 w 2732897"/>
              <a:gd name="connsiteY68" fmla="*/ 1321373 h 1548041"/>
              <a:gd name="connsiteX69" fmla="*/ 2405774 w 2732897"/>
              <a:gd name="connsiteY69" fmla="*/ 1347130 h 1548041"/>
              <a:gd name="connsiteX70" fmla="*/ 2449562 w 2732897"/>
              <a:gd name="connsiteY70" fmla="*/ 1393494 h 1548041"/>
              <a:gd name="connsiteX71" fmla="*/ 2488199 w 2732897"/>
              <a:gd name="connsiteY71" fmla="*/ 1465616 h 1548041"/>
              <a:gd name="connsiteX72" fmla="*/ 2508805 w 2732897"/>
              <a:gd name="connsiteY72" fmla="*/ 1478495 h 1548041"/>
              <a:gd name="connsiteX73" fmla="*/ 2526835 w 2732897"/>
              <a:gd name="connsiteY73" fmla="*/ 1509404 h 1548041"/>
              <a:gd name="connsiteX74" fmla="*/ 2550017 w 2732897"/>
              <a:gd name="connsiteY74" fmla="*/ 1548041 h 1548041"/>
              <a:gd name="connsiteX75" fmla="*/ 2578351 w 2732897"/>
              <a:gd name="connsiteY75" fmla="*/ 1548041 h 1548041"/>
              <a:gd name="connsiteX76" fmla="*/ 2601533 w 2732897"/>
              <a:gd name="connsiteY76" fmla="*/ 1519707 h 1548041"/>
              <a:gd name="connsiteX77" fmla="*/ 2637594 w 2732897"/>
              <a:gd name="connsiteY77" fmla="*/ 1483646 h 1548041"/>
              <a:gd name="connsiteX78" fmla="*/ 2635018 w 2732897"/>
              <a:gd name="connsiteY78" fmla="*/ 1442434 h 1548041"/>
              <a:gd name="connsiteX79" fmla="*/ 2650472 w 2732897"/>
              <a:gd name="connsiteY79" fmla="*/ 1419252 h 1548041"/>
              <a:gd name="connsiteX80" fmla="*/ 2647897 w 2732897"/>
              <a:gd name="connsiteY80" fmla="*/ 1347130 h 1548041"/>
              <a:gd name="connsiteX81" fmla="*/ 2673654 w 2732897"/>
              <a:gd name="connsiteY81" fmla="*/ 1305918 h 1548041"/>
              <a:gd name="connsiteX82" fmla="*/ 2653048 w 2732897"/>
              <a:gd name="connsiteY82" fmla="*/ 1272433 h 1548041"/>
              <a:gd name="connsiteX83" fmla="*/ 2681382 w 2732897"/>
              <a:gd name="connsiteY83" fmla="*/ 1233796 h 1548041"/>
              <a:gd name="connsiteX84" fmla="*/ 2689109 w 2732897"/>
              <a:gd name="connsiteY84" fmla="*/ 1200311 h 1548041"/>
              <a:gd name="connsiteX85" fmla="*/ 2653048 w 2732897"/>
              <a:gd name="connsiteY85" fmla="*/ 1148796 h 1548041"/>
              <a:gd name="connsiteX86" fmla="*/ 2591230 w 2732897"/>
              <a:gd name="connsiteY86" fmla="*/ 1099856 h 1548041"/>
              <a:gd name="connsiteX87" fmla="*/ 2578351 w 2732897"/>
              <a:gd name="connsiteY87" fmla="*/ 1050916 h 1548041"/>
              <a:gd name="connsiteX88" fmla="*/ 2568048 w 2732897"/>
              <a:gd name="connsiteY88" fmla="*/ 994249 h 1548041"/>
              <a:gd name="connsiteX89" fmla="*/ 2547441 w 2732897"/>
              <a:gd name="connsiteY89" fmla="*/ 958188 h 1548041"/>
              <a:gd name="connsiteX90" fmla="*/ 2560320 w 2732897"/>
              <a:gd name="connsiteY90" fmla="*/ 919552 h 1548041"/>
              <a:gd name="connsiteX91" fmla="*/ 2511381 w 2732897"/>
              <a:gd name="connsiteY91" fmla="*/ 798490 h 1548041"/>
              <a:gd name="connsiteX92" fmla="*/ 2511381 w 2732897"/>
              <a:gd name="connsiteY92" fmla="*/ 754702 h 1548041"/>
              <a:gd name="connsiteX93" fmla="*/ 2485623 w 2732897"/>
              <a:gd name="connsiteY93" fmla="*/ 690308 h 1548041"/>
              <a:gd name="connsiteX94" fmla="*/ 2483047 w 2732897"/>
              <a:gd name="connsiteY94" fmla="*/ 654247 h 1548041"/>
              <a:gd name="connsiteX95" fmla="*/ 2462441 w 2732897"/>
              <a:gd name="connsiteY95" fmla="*/ 615610 h 1548041"/>
              <a:gd name="connsiteX96" fmla="*/ 2382592 w 2732897"/>
              <a:gd name="connsiteY96" fmla="*/ 569246 h 1548041"/>
              <a:gd name="connsiteX97" fmla="*/ 2380016 w 2732897"/>
              <a:gd name="connsiteY97" fmla="*/ 533186 h 1548041"/>
              <a:gd name="connsiteX98" fmla="*/ 2349107 w 2732897"/>
              <a:gd name="connsiteY98" fmla="*/ 510004 h 1548041"/>
              <a:gd name="connsiteX99" fmla="*/ 2325925 w 2732897"/>
              <a:gd name="connsiteY99" fmla="*/ 510004 h 1548041"/>
              <a:gd name="connsiteX100" fmla="*/ 2282137 w 2732897"/>
              <a:gd name="connsiteY100" fmla="*/ 512579 h 1548041"/>
              <a:gd name="connsiteX101" fmla="*/ 2212591 w 2732897"/>
              <a:gd name="connsiteY101" fmla="*/ 473943 h 1548041"/>
              <a:gd name="connsiteX102" fmla="*/ 2161075 w 2732897"/>
              <a:gd name="connsiteY102" fmla="*/ 409548 h 1548041"/>
              <a:gd name="connsiteX103" fmla="*/ 2117287 w 2732897"/>
              <a:gd name="connsiteY103" fmla="*/ 386366 h 1548041"/>
              <a:gd name="connsiteX104" fmla="*/ 2112136 w 2732897"/>
              <a:gd name="connsiteY104" fmla="*/ 350306 h 1548041"/>
              <a:gd name="connsiteX105" fmla="*/ 2088954 w 2732897"/>
              <a:gd name="connsiteY105" fmla="*/ 301366 h 1548041"/>
              <a:gd name="connsiteX106" fmla="*/ 2047741 w 2732897"/>
              <a:gd name="connsiteY106" fmla="*/ 270457 h 1548041"/>
              <a:gd name="connsiteX107" fmla="*/ 2052893 w 2732897"/>
              <a:gd name="connsiteY107" fmla="*/ 226668 h 1548041"/>
              <a:gd name="connsiteX108" fmla="*/ 2088954 w 2732897"/>
              <a:gd name="connsiteY108" fmla="*/ 170001 h 1548041"/>
              <a:gd name="connsiteX109" fmla="*/ 2094105 w 2732897"/>
              <a:gd name="connsiteY109" fmla="*/ 105607 h 1548041"/>
              <a:gd name="connsiteX110" fmla="*/ 2122439 w 2732897"/>
              <a:gd name="connsiteY110" fmla="*/ 69546 h 1548041"/>
              <a:gd name="connsiteX111" fmla="*/ 2168803 w 2732897"/>
              <a:gd name="connsiteY111" fmla="*/ 46364 h 1548041"/>
              <a:gd name="connsiteX112" fmla="*/ 2191985 w 2732897"/>
              <a:gd name="connsiteY112" fmla="*/ 2576 h 1548041"/>
              <a:gd name="connsiteX113" fmla="*/ 2240924 w 2732897"/>
              <a:gd name="connsiteY113" fmla="*/ 0 h 1548041"/>
              <a:gd name="connsiteX114" fmla="*/ 2271834 w 2732897"/>
              <a:gd name="connsiteY114" fmla="*/ 15455 h 1548041"/>
              <a:gd name="connsiteX115" fmla="*/ 2346531 w 2732897"/>
              <a:gd name="connsiteY115" fmla="*/ 0 h 1548041"/>
              <a:gd name="connsiteX116" fmla="*/ 2382592 w 2732897"/>
              <a:gd name="connsiteY116" fmla="*/ 25758 h 1548041"/>
              <a:gd name="connsiteX117" fmla="*/ 2431532 w 2732897"/>
              <a:gd name="connsiteY117" fmla="*/ 18031 h 1548041"/>
              <a:gd name="connsiteX118" fmla="*/ 2483047 w 2732897"/>
              <a:gd name="connsiteY118" fmla="*/ 36061 h 1548041"/>
              <a:gd name="connsiteX119" fmla="*/ 2562896 w 2732897"/>
              <a:gd name="connsiteY119" fmla="*/ 74698 h 1548041"/>
              <a:gd name="connsiteX120" fmla="*/ 2686533 w 2732897"/>
              <a:gd name="connsiteY120" fmla="*/ 85001 h 1548041"/>
              <a:gd name="connsiteX121" fmla="*/ 2732897 w 2732897"/>
              <a:gd name="connsiteY121" fmla="*/ 74698 h 1548041"/>
              <a:gd name="connsiteX122" fmla="*/ 2714867 w 2732897"/>
              <a:gd name="connsiteY122" fmla="*/ 48940 h 1548041"/>
              <a:gd name="connsiteX123" fmla="*/ 2712291 w 2732897"/>
              <a:gd name="connsiteY123" fmla="*/ 18031 h 1548041"/>
              <a:gd name="connsiteX0" fmla="*/ 0 w 2732897"/>
              <a:gd name="connsiteY0" fmla="*/ 74698 h 1548041"/>
              <a:gd name="connsiteX1" fmla="*/ 77274 w 2732897"/>
              <a:gd name="connsiteY1" fmla="*/ 36061 h 1548041"/>
              <a:gd name="connsiteX2" fmla="*/ 113334 w 2732897"/>
              <a:gd name="connsiteY2" fmla="*/ 36061 h 1548041"/>
              <a:gd name="connsiteX3" fmla="*/ 151971 w 2732897"/>
              <a:gd name="connsiteY3" fmla="*/ 72122 h 1548041"/>
              <a:gd name="connsiteX4" fmla="*/ 154547 w 2732897"/>
              <a:gd name="connsiteY4" fmla="*/ 146819 h 1548041"/>
              <a:gd name="connsiteX5" fmla="*/ 198335 w 2732897"/>
              <a:gd name="connsiteY5" fmla="*/ 177729 h 1548041"/>
              <a:gd name="connsiteX6" fmla="*/ 270457 w 2732897"/>
              <a:gd name="connsiteY6" fmla="*/ 221517 h 1548041"/>
              <a:gd name="connsiteX7" fmla="*/ 316821 w 2732897"/>
              <a:gd name="connsiteY7" fmla="*/ 234396 h 1548041"/>
              <a:gd name="connsiteX8" fmla="*/ 345154 w 2732897"/>
              <a:gd name="connsiteY8" fmla="*/ 224093 h 1548041"/>
              <a:gd name="connsiteX9" fmla="*/ 376063 w 2732897"/>
              <a:gd name="connsiteY9" fmla="*/ 242123 h 1548041"/>
              <a:gd name="connsiteX10" fmla="*/ 417276 w 2732897"/>
              <a:gd name="connsiteY10" fmla="*/ 221517 h 1548041"/>
              <a:gd name="connsiteX11" fmla="*/ 432731 w 2732897"/>
              <a:gd name="connsiteY11" fmla="*/ 198335 h 1548041"/>
              <a:gd name="connsiteX12" fmla="*/ 463640 w 2732897"/>
              <a:gd name="connsiteY12" fmla="*/ 221517 h 1548041"/>
              <a:gd name="connsiteX13" fmla="*/ 497125 w 2732897"/>
              <a:gd name="connsiteY13" fmla="*/ 200911 h 1548041"/>
              <a:gd name="connsiteX14" fmla="*/ 507428 w 2732897"/>
              <a:gd name="connsiteY14" fmla="*/ 172577 h 1548041"/>
              <a:gd name="connsiteX15" fmla="*/ 556368 w 2732897"/>
              <a:gd name="connsiteY15" fmla="*/ 193183 h 1548041"/>
              <a:gd name="connsiteX16" fmla="*/ 610459 w 2732897"/>
              <a:gd name="connsiteY16" fmla="*/ 249850 h 1548041"/>
              <a:gd name="connsiteX17" fmla="*/ 664550 w 2732897"/>
              <a:gd name="connsiteY17" fmla="*/ 255002 h 1548041"/>
              <a:gd name="connsiteX18" fmla="*/ 685156 w 2732897"/>
              <a:gd name="connsiteY18" fmla="*/ 239547 h 1548041"/>
              <a:gd name="connsiteX19" fmla="*/ 731520 w 2732897"/>
              <a:gd name="connsiteY19" fmla="*/ 242123 h 1548041"/>
              <a:gd name="connsiteX20" fmla="*/ 767581 w 2732897"/>
              <a:gd name="connsiteY20" fmla="*/ 275608 h 1548041"/>
              <a:gd name="connsiteX21" fmla="*/ 783036 w 2732897"/>
              <a:gd name="connsiteY21" fmla="*/ 334851 h 1548041"/>
              <a:gd name="connsiteX22" fmla="*/ 824248 w 2732897"/>
              <a:gd name="connsiteY22" fmla="*/ 404397 h 1548041"/>
              <a:gd name="connsiteX23" fmla="*/ 821672 w 2732897"/>
              <a:gd name="connsiteY23" fmla="*/ 453337 h 1548041"/>
              <a:gd name="connsiteX24" fmla="*/ 844854 w 2732897"/>
              <a:gd name="connsiteY24" fmla="*/ 497125 h 1548041"/>
              <a:gd name="connsiteX25" fmla="*/ 893794 w 2732897"/>
              <a:gd name="connsiteY25" fmla="*/ 507428 h 1548041"/>
              <a:gd name="connsiteX26" fmla="*/ 922128 w 2732897"/>
              <a:gd name="connsiteY26" fmla="*/ 535761 h 1548041"/>
              <a:gd name="connsiteX27" fmla="*/ 999401 w 2732897"/>
              <a:gd name="connsiteY27" fmla="*/ 564095 h 1548041"/>
              <a:gd name="connsiteX28" fmla="*/ 1045765 w 2732897"/>
              <a:gd name="connsiteY28" fmla="*/ 543489 h 1548041"/>
              <a:gd name="connsiteX29" fmla="*/ 1081826 w 2732897"/>
              <a:gd name="connsiteY29" fmla="*/ 543489 h 1548041"/>
              <a:gd name="connsiteX30" fmla="*/ 1110159 w 2732897"/>
              <a:gd name="connsiteY30" fmla="*/ 597580 h 1548041"/>
              <a:gd name="connsiteX31" fmla="*/ 1130765 w 2732897"/>
              <a:gd name="connsiteY31" fmla="*/ 638792 h 1548041"/>
              <a:gd name="connsiteX32" fmla="*/ 1166826 w 2732897"/>
              <a:gd name="connsiteY32" fmla="*/ 661974 h 1548041"/>
              <a:gd name="connsiteX33" fmla="*/ 1208039 w 2732897"/>
              <a:gd name="connsiteY33" fmla="*/ 659398 h 1548041"/>
              <a:gd name="connsiteX34" fmla="*/ 1251827 w 2732897"/>
              <a:gd name="connsiteY34" fmla="*/ 695459 h 1548041"/>
              <a:gd name="connsiteX35" fmla="*/ 1318797 w 2732897"/>
              <a:gd name="connsiteY35" fmla="*/ 718641 h 1548041"/>
              <a:gd name="connsiteX36" fmla="*/ 1390919 w 2732897"/>
              <a:gd name="connsiteY36" fmla="*/ 710914 h 1548041"/>
              <a:gd name="connsiteX37" fmla="*/ 1419252 w 2732897"/>
              <a:gd name="connsiteY37" fmla="*/ 692884 h 1548041"/>
              <a:gd name="connsiteX38" fmla="*/ 1434707 w 2732897"/>
              <a:gd name="connsiteY38" fmla="*/ 710914 h 1548041"/>
              <a:gd name="connsiteX39" fmla="*/ 1442434 w 2732897"/>
              <a:gd name="connsiteY39" fmla="*/ 746975 h 1548041"/>
              <a:gd name="connsiteX40" fmla="*/ 1491374 w 2732897"/>
              <a:gd name="connsiteY40" fmla="*/ 759854 h 1548041"/>
              <a:gd name="connsiteX41" fmla="*/ 1511980 w 2732897"/>
              <a:gd name="connsiteY41" fmla="*/ 788187 h 1548041"/>
              <a:gd name="connsiteX42" fmla="*/ 1542889 w 2732897"/>
              <a:gd name="connsiteY42" fmla="*/ 834551 h 1548041"/>
              <a:gd name="connsiteX43" fmla="*/ 1604708 w 2732897"/>
              <a:gd name="connsiteY43" fmla="*/ 850006 h 1548041"/>
              <a:gd name="connsiteX44" fmla="*/ 1674254 w 2732897"/>
              <a:gd name="connsiteY44" fmla="*/ 880915 h 1548041"/>
              <a:gd name="connsiteX45" fmla="*/ 1705163 w 2732897"/>
              <a:gd name="connsiteY45" fmla="*/ 875764 h 1548041"/>
              <a:gd name="connsiteX46" fmla="*/ 1738648 w 2732897"/>
              <a:gd name="connsiteY46" fmla="*/ 904097 h 1548041"/>
              <a:gd name="connsiteX47" fmla="*/ 1785012 w 2732897"/>
              <a:gd name="connsiteY47" fmla="*/ 911824 h 1548041"/>
              <a:gd name="connsiteX48" fmla="*/ 1808194 w 2732897"/>
              <a:gd name="connsiteY48" fmla="*/ 947885 h 1548041"/>
              <a:gd name="connsiteX49" fmla="*/ 1851982 w 2732897"/>
              <a:gd name="connsiteY49" fmla="*/ 983946 h 1548041"/>
              <a:gd name="connsiteX50" fmla="*/ 1913801 w 2732897"/>
              <a:gd name="connsiteY50" fmla="*/ 989098 h 1548041"/>
              <a:gd name="connsiteX51" fmla="*/ 1913801 w 2732897"/>
              <a:gd name="connsiteY51" fmla="*/ 989098 h 1548041"/>
              <a:gd name="connsiteX52" fmla="*/ 1934407 w 2732897"/>
              <a:gd name="connsiteY52" fmla="*/ 968491 h 1548041"/>
              <a:gd name="connsiteX53" fmla="*/ 1952438 w 2732897"/>
              <a:gd name="connsiteY53" fmla="*/ 989098 h 1548041"/>
              <a:gd name="connsiteX54" fmla="*/ 1952438 w 2732897"/>
              <a:gd name="connsiteY54" fmla="*/ 1030310 h 1548041"/>
              <a:gd name="connsiteX55" fmla="*/ 1985923 w 2732897"/>
              <a:gd name="connsiteY55" fmla="*/ 1050916 h 1548041"/>
              <a:gd name="connsiteX56" fmla="*/ 2024559 w 2732897"/>
              <a:gd name="connsiteY56" fmla="*/ 1050916 h 1548041"/>
              <a:gd name="connsiteX57" fmla="*/ 2065772 w 2732897"/>
              <a:gd name="connsiteY57" fmla="*/ 1076674 h 1548041"/>
              <a:gd name="connsiteX58" fmla="*/ 2073499 w 2732897"/>
              <a:gd name="connsiteY58" fmla="*/ 1128189 h 1548041"/>
              <a:gd name="connsiteX59" fmla="*/ 2101832 w 2732897"/>
              <a:gd name="connsiteY59" fmla="*/ 1153947 h 1548041"/>
              <a:gd name="connsiteX60" fmla="*/ 2101832 w 2732897"/>
              <a:gd name="connsiteY60" fmla="*/ 1177129 h 1548041"/>
              <a:gd name="connsiteX61" fmla="*/ 2145621 w 2732897"/>
              <a:gd name="connsiteY61" fmla="*/ 1205463 h 1548041"/>
              <a:gd name="connsiteX62" fmla="*/ 2140469 w 2732897"/>
              <a:gd name="connsiteY62" fmla="*/ 1254402 h 1548041"/>
              <a:gd name="connsiteX63" fmla="*/ 2179106 w 2732897"/>
              <a:gd name="connsiteY63" fmla="*/ 1290463 h 1548041"/>
              <a:gd name="connsiteX64" fmla="*/ 2225470 w 2732897"/>
              <a:gd name="connsiteY64" fmla="*/ 1326524 h 1548041"/>
              <a:gd name="connsiteX65" fmla="*/ 2269258 w 2732897"/>
              <a:gd name="connsiteY65" fmla="*/ 1313645 h 1548041"/>
              <a:gd name="connsiteX66" fmla="*/ 2323349 w 2732897"/>
              <a:gd name="connsiteY66" fmla="*/ 1344555 h 1548041"/>
              <a:gd name="connsiteX67" fmla="*/ 2354258 w 2732897"/>
              <a:gd name="connsiteY67" fmla="*/ 1321373 h 1548041"/>
              <a:gd name="connsiteX68" fmla="*/ 2405774 w 2732897"/>
              <a:gd name="connsiteY68" fmla="*/ 1347130 h 1548041"/>
              <a:gd name="connsiteX69" fmla="*/ 2449562 w 2732897"/>
              <a:gd name="connsiteY69" fmla="*/ 1393494 h 1548041"/>
              <a:gd name="connsiteX70" fmla="*/ 2488199 w 2732897"/>
              <a:gd name="connsiteY70" fmla="*/ 1465616 h 1548041"/>
              <a:gd name="connsiteX71" fmla="*/ 2508805 w 2732897"/>
              <a:gd name="connsiteY71" fmla="*/ 1478495 h 1548041"/>
              <a:gd name="connsiteX72" fmla="*/ 2526835 w 2732897"/>
              <a:gd name="connsiteY72" fmla="*/ 1509404 h 1548041"/>
              <a:gd name="connsiteX73" fmla="*/ 2550017 w 2732897"/>
              <a:gd name="connsiteY73" fmla="*/ 1548041 h 1548041"/>
              <a:gd name="connsiteX74" fmla="*/ 2578351 w 2732897"/>
              <a:gd name="connsiteY74" fmla="*/ 1548041 h 1548041"/>
              <a:gd name="connsiteX75" fmla="*/ 2601533 w 2732897"/>
              <a:gd name="connsiteY75" fmla="*/ 1519707 h 1548041"/>
              <a:gd name="connsiteX76" fmla="*/ 2637594 w 2732897"/>
              <a:gd name="connsiteY76" fmla="*/ 1483646 h 1548041"/>
              <a:gd name="connsiteX77" fmla="*/ 2635018 w 2732897"/>
              <a:gd name="connsiteY77" fmla="*/ 1442434 h 1548041"/>
              <a:gd name="connsiteX78" fmla="*/ 2650472 w 2732897"/>
              <a:gd name="connsiteY78" fmla="*/ 1419252 h 1548041"/>
              <a:gd name="connsiteX79" fmla="*/ 2647897 w 2732897"/>
              <a:gd name="connsiteY79" fmla="*/ 1347130 h 1548041"/>
              <a:gd name="connsiteX80" fmla="*/ 2673654 w 2732897"/>
              <a:gd name="connsiteY80" fmla="*/ 1305918 h 1548041"/>
              <a:gd name="connsiteX81" fmla="*/ 2653048 w 2732897"/>
              <a:gd name="connsiteY81" fmla="*/ 1272433 h 1548041"/>
              <a:gd name="connsiteX82" fmla="*/ 2681382 w 2732897"/>
              <a:gd name="connsiteY82" fmla="*/ 1233796 h 1548041"/>
              <a:gd name="connsiteX83" fmla="*/ 2689109 w 2732897"/>
              <a:gd name="connsiteY83" fmla="*/ 1200311 h 1548041"/>
              <a:gd name="connsiteX84" fmla="*/ 2653048 w 2732897"/>
              <a:gd name="connsiteY84" fmla="*/ 1148796 h 1548041"/>
              <a:gd name="connsiteX85" fmla="*/ 2591230 w 2732897"/>
              <a:gd name="connsiteY85" fmla="*/ 1099856 h 1548041"/>
              <a:gd name="connsiteX86" fmla="*/ 2578351 w 2732897"/>
              <a:gd name="connsiteY86" fmla="*/ 1050916 h 1548041"/>
              <a:gd name="connsiteX87" fmla="*/ 2568048 w 2732897"/>
              <a:gd name="connsiteY87" fmla="*/ 994249 h 1548041"/>
              <a:gd name="connsiteX88" fmla="*/ 2547441 w 2732897"/>
              <a:gd name="connsiteY88" fmla="*/ 958188 h 1548041"/>
              <a:gd name="connsiteX89" fmla="*/ 2560320 w 2732897"/>
              <a:gd name="connsiteY89" fmla="*/ 919552 h 1548041"/>
              <a:gd name="connsiteX90" fmla="*/ 2511381 w 2732897"/>
              <a:gd name="connsiteY90" fmla="*/ 798490 h 1548041"/>
              <a:gd name="connsiteX91" fmla="*/ 2511381 w 2732897"/>
              <a:gd name="connsiteY91" fmla="*/ 754702 h 1548041"/>
              <a:gd name="connsiteX92" fmla="*/ 2485623 w 2732897"/>
              <a:gd name="connsiteY92" fmla="*/ 690308 h 1548041"/>
              <a:gd name="connsiteX93" fmla="*/ 2483047 w 2732897"/>
              <a:gd name="connsiteY93" fmla="*/ 654247 h 1548041"/>
              <a:gd name="connsiteX94" fmla="*/ 2462441 w 2732897"/>
              <a:gd name="connsiteY94" fmla="*/ 615610 h 1548041"/>
              <a:gd name="connsiteX95" fmla="*/ 2382592 w 2732897"/>
              <a:gd name="connsiteY95" fmla="*/ 569246 h 1548041"/>
              <a:gd name="connsiteX96" fmla="*/ 2380016 w 2732897"/>
              <a:gd name="connsiteY96" fmla="*/ 533186 h 1548041"/>
              <a:gd name="connsiteX97" fmla="*/ 2349107 w 2732897"/>
              <a:gd name="connsiteY97" fmla="*/ 510004 h 1548041"/>
              <a:gd name="connsiteX98" fmla="*/ 2325925 w 2732897"/>
              <a:gd name="connsiteY98" fmla="*/ 510004 h 1548041"/>
              <a:gd name="connsiteX99" fmla="*/ 2282137 w 2732897"/>
              <a:gd name="connsiteY99" fmla="*/ 512579 h 1548041"/>
              <a:gd name="connsiteX100" fmla="*/ 2212591 w 2732897"/>
              <a:gd name="connsiteY100" fmla="*/ 473943 h 1548041"/>
              <a:gd name="connsiteX101" fmla="*/ 2161075 w 2732897"/>
              <a:gd name="connsiteY101" fmla="*/ 409548 h 1548041"/>
              <a:gd name="connsiteX102" fmla="*/ 2117287 w 2732897"/>
              <a:gd name="connsiteY102" fmla="*/ 386366 h 1548041"/>
              <a:gd name="connsiteX103" fmla="*/ 2112136 w 2732897"/>
              <a:gd name="connsiteY103" fmla="*/ 350306 h 1548041"/>
              <a:gd name="connsiteX104" fmla="*/ 2088954 w 2732897"/>
              <a:gd name="connsiteY104" fmla="*/ 301366 h 1548041"/>
              <a:gd name="connsiteX105" fmla="*/ 2047741 w 2732897"/>
              <a:gd name="connsiteY105" fmla="*/ 270457 h 1548041"/>
              <a:gd name="connsiteX106" fmla="*/ 2052893 w 2732897"/>
              <a:gd name="connsiteY106" fmla="*/ 226668 h 1548041"/>
              <a:gd name="connsiteX107" fmla="*/ 2088954 w 2732897"/>
              <a:gd name="connsiteY107" fmla="*/ 170001 h 1548041"/>
              <a:gd name="connsiteX108" fmla="*/ 2094105 w 2732897"/>
              <a:gd name="connsiteY108" fmla="*/ 105607 h 1548041"/>
              <a:gd name="connsiteX109" fmla="*/ 2122439 w 2732897"/>
              <a:gd name="connsiteY109" fmla="*/ 69546 h 1548041"/>
              <a:gd name="connsiteX110" fmla="*/ 2168803 w 2732897"/>
              <a:gd name="connsiteY110" fmla="*/ 46364 h 1548041"/>
              <a:gd name="connsiteX111" fmla="*/ 2191985 w 2732897"/>
              <a:gd name="connsiteY111" fmla="*/ 2576 h 1548041"/>
              <a:gd name="connsiteX112" fmla="*/ 2240924 w 2732897"/>
              <a:gd name="connsiteY112" fmla="*/ 0 h 1548041"/>
              <a:gd name="connsiteX113" fmla="*/ 2271834 w 2732897"/>
              <a:gd name="connsiteY113" fmla="*/ 15455 h 1548041"/>
              <a:gd name="connsiteX114" fmla="*/ 2346531 w 2732897"/>
              <a:gd name="connsiteY114" fmla="*/ 0 h 1548041"/>
              <a:gd name="connsiteX115" fmla="*/ 2382592 w 2732897"/>
              <a:gd name="connsiteY115" fmla="*/ 25758 h 1548041"/>
              <a:gd name="connsiteX116" fmla="*/ 2431532 w 2732897"/>
              <a:gd name="connsiteY116" fmla="*/ 18031 h 1548041"/>
              <a:gd name="connsiteX117" fmla="*/ 2483047 w 2732897"/>
              <a:gd name="connsiteY117" fmla="*/ 36061 h 1548041"/>
              <a:gd name="connsiteX118" fmla="*/ 2562896 w 2732897"/>
              <a:gd name="connsiteY118" fmla="*/ 74698 h 1548041"/>
              <a:gd name="connsiteX119" fmla="*/ 2686533 w 2732897"/>
              <a:gd name="connsiteY119" fmla="*/ 85001 h 1548041"/>
              <a:gd name="connsiteX120" fmla="*/ 2732897 w 2732897"/>
              <a:gd name="connsiteY120" fmla="*/ 74698 h 1548041"/>
              <a:gd name="connsiteX121" fmla="*/ 2714867 w 2732897"/>
              <a:gd name="connsiteY121" fmla="*/ 48940 h 1548041"/>
              <a:gd name="connsiteX122" fmla="*/ 2712291 w 2732897"/>
              <a:gd name="connsiteY122" fmla="*/ 18031 h 1548041"/>
              <a:gd name="connsiteX0" fmla="*/ 0 w 2655623"/>
              <a:gd name="connsiteY0" fmla="*/ 36061 h 1548041"/>
              <a:gd name="connsiteX1" fmla="*/ 36060 w 2655623"/>
              <a:gd name="connsiteY1" fmla="*/ 36061 h 1548041"/>
              <a:gd name="connsiteX2" fmla="*/ 74697 w 2655623"/>
              <a:gd name="connsiteY2" fmla="*/ 72122 h 1548041"/>
              <a:gd name="connsiteX3" fmla="*/ 77273 w 2655623"/>
              <a:gd name="connsiteY3" fmla="*/ 146819 h 1548041"/>
              <a:gd name="connsiteX4" fmla="*/ 121061 w 2655623"/>
              <a:gd name="connsiteY4" fmla="*/ 177729 h 1548041"/>
              <a:gd name="connsiteX5" fmla="*/ 193183 w 2655623"/>
              <a:gd name="connsiteY5" fmla="*/ 221517 h 1548041"/>
              <a:gd name="connsiteX6" fmla="*/ 239547 w 2655623"/>
              <a:gd name="connsiteY6" fmla="*/ 234396 h 1548041"/>
              <a:gd name="connsiteX7" fmla="*/ 267880 w 2655623"/>
              <a:gd name="connsiteY7" fmla="*/ 224093 h 1548041"/>
              <a:gd name="connsiteX8" fmla="*/ 298789 w 2655623"/>
              <a:gd name="connsiteY8" fmla="*/ 242123 h 1548041"/>
              <a:gd name="connsiteX9" fmla="*/ 340002 w 2655623"/>
              <a:gd name="connsiteY9" fmla="*/ 221517 h 1548041"/>
              <a:gd name="connsiteX10" fmla="*/ 355457 w 2655623"/>
              <a:gd name="connsiteY10" fmla="*/ 198335 h 1548041"/>
              <a:gd name="connsiteX11" fmla="*/ 386366 w 2655623"/>
              <a:gd name="connsiteY11" fmla="*/ 221517 h 1548041"/>
              <a:gd name="connsiteX12" fmla="*/ 419851 w 2655623"/>
              <a:gd name="connsiteY12" fmla="*/ 200911 h 1548041"/>
              <a:gd name="connsiteX13" fmla="*/ 430154 w 2655623"/>
              <a:gd name="connsiteY13" fmla="*/ 172577 h 1548041"/>
              <a:gd name="connsiteX14" fmla="*/ 479094 w 2655623"/>
              <a:gd name="connsiteY14" fmla="*/ 193183 h 1548041"/>
              <a:gd name="connsiteX15" fmla="*/ 533185 w 2655623"/>
              <a:gd name="connsiteY15" fmla="*/ 249850 h 1548041"/>
              <a:gd name="connsiteX16" fmla="*/ 587276 w 2655623"/>
              <a:gd name="connsiteY16" fmla="*/ 255002 h 1548041"/>
              <a:gd name="connsiteX17" fmla="*/ 607882 w 2655623"/>
              <a:gd name="connsiteY17" fmla="*/ 239547 h 1548041"/>
              <a:gd name="connsiteX18" fmla="*/ 654246 w 2655623"/>
              <a:gd name="connsiteY18" fmla="*/ 242123 h 1548041"/>
              <a:gd name="connsiteX19" fmla="*/ 690307 w 2655623"/>
              <a:gd name="connsiteY19" fmla="*/ 275608 h 1548041"/>
              <a:gd name="connsiteX20" fmla="*/ 705762 w 2655623"/>
              <a:gd name="connsiteY20" fmla="*/ 334851 h 1548041"/>
              <a:gd name="connsiteX21" fmla="*/ 746974 w 2655623"/>
              <a:gd name="connsiteY21" fmla="*/ 404397 h 1548041"/>
              <a:gd name="connsiteX22" fmla="*/ 744398 w 2655623"/>
              <a:gd name="connsiteY22" fmla="*/ 453337 h 1548041"/>
              <a:gd name="connsiteX23" fmla="*/ 767580 w 2655623"/>
              <a:gd name="connsiteY23" fmla="*/ 497125 h 1548041"/>
              <a:gd name="connsiteX24" fmla="*/ 816520 w 2655623"/>
              <a:gd name="connsiteY24" fmla="*/ 507428 h 1548041"/>
              <a:gd name="connsiteX25" fmla="*/ 844854 w 2655623"/>
              <a:gd name="connsiteY25" fmla="*/ 535761 h 1548041"/>
              <a:gd name="connsiteX26" fmla="*/ 922127 w 2655623"/>
              <a:gd name="connsiteY26" fmla="*/ 564095 h 1548041"/>
              <a:gd name="connsiteX27" fmla="*/ 968491 w 2655623"/>
              <a:gd name="connsiteY27" fmla="*/ 543489 h 1548041"/>
              <a:gd name="connsiteX28" fmla="*/ 1004552 w 2655623"/>
              <a:gd name="connsiteY28" fmla="*/ 543489 h 1548041"/>
              <a:gd name="connsiteX29" fmla="*/ 1032885 w 2655623"/>
              <a:gd name="connsiteY29" fmla="*/ 597580 h 1548041"/>
              <a:gd name="connsiteX30" fmla="*/ 1053491 w 2655623"/>
              <a:gd name="connsiteY30" fmla="*/ 638792 h 1548041"/>
              <a:gd name="connsiteX31" fmla="*/ 1089552 w 2655623"/>
              <a:gd name="connsiteY31" fmla="*/ 661974 h 1548041"/>
              <a:gd name="connsiteX32" fmla="*/ 1130765 w 2655623"/>
              <a:gd name="connsiteY32" fmla="*/ 659398 h 1548041"/>
              <a:gd name="connsiteX33" fmla="*/ 1174553 w 2655623"/>
              <a:gd name="connsiteY33" fmla="*/ 695459 h 1548041"/>
              <a:gd name="connsiteX34" fmla="*/ 1241523 w 2655623"/>
              <a:gd name="connsiteY34" fmla="*/ 718641 h 1548041"/>
              <a:gd name="connsiteX35" fmla="*/ 1313645 w 2655623"/>
              <a:gd name="connsiteY35" fmla="*/ 710914 h 1548041"/>
              <a:gd name="connsiteX36" fmla="*/ 1341978 w 2655623"/>
              <a:gd name="connsiteY36" fmla="*/ 692884 h 1548041"/>
              <a:gd name="connsiteX37" fmla="*/ 1357433 w 2655623"/>
              <a:gd name="connsiteY37" fmla="*/ 710914 h 1548041"/>
              <a:gd name="connsiteX38" fmla="*/ 1365160 w 2655623"/>
              <a:gd name="connsiteY38" fmla="*/ 746975 h 1548041"/>
              <a:gd name="connsiteX39" fmla="*/ 1414100 w 2655623"/>
              <a:gd name="connsiteY39" fmla="*/ 759854 h 1548041"/>
              <a:gd name="connsiteX40" fmla="*/ 1434706 w 2655623"/>
              <a:gd name="connsiteY40" fmla="*/ 788187 h 1548041"/>
              <a:gd name="connsiteX41" fmla="*/ 1465615 w 2655623"/>
              <a:gd name="connsiteY41" fmla="*/ 834551 h 1548041"/>
              <a:gd name="connsiteX42" fmla="*/ 1527434 w 2655623"/>
              <a:gd name="connsiteY42" fmla="*/ 850006 h 1548041"/>
              <a:gd name="connsiteX43" fmla="*/ 1596980 w 2655623"/>
              <a:gd name="connsiteY43" fmla="*/ 880915 h 1548041"/>
              <a:gd name="connsiteX44" fmla="*/ 1627889 w 2655623"/>
              <a:gd name="connsiteY44" fmla="*/ 875764 h 1548041"/>
              <a:gd name="connsiteX45" fmla="*/ 1661374 w 2655623"/>
              <a:gd name="connsiteY45" fmla="*/ 904097 h 1548041"/>
              <a:gd name="connsiteX46" fmla="*/ 1707738 w 2655623"/>
              <a:gd name="connsiteY46" fmla="*/ 911824 h 1548041"/>
              <a:gd name="connsiteX47" fmla="*/ 1730920 w 2655623"/>
              <a:gd name="connsiteY47" fmla="*/ 947885 h 1548041"/>
              <a:gd name="connsiteX48" fmla="*/ 1774708 w 2655623"/>
              <a:gd name="connsiteY48" fmla="*/ 983946 h 1548041"/>
              <a:gd name="connsiteX49" fmla="*/ 1836527 w 2655623"/>
              <a:gd name="connsiteY49" fmla="*/ 989098 h 1548041"/>
              <a:gd name="connsiteX50" fmla="*/ 1836527 w 2655623"/>
              <a:gd name="connsiteY50" fmla="*/ 989098 h 1548041"/>
              <a:gd name="connsiteX51" fmla="*/ 1857133 w 2655623"/>
              <a:gd name="connsiteY51" fmla="*/ 968491 h 1548041"/>
              <a:gd name="connsiteX52" fmla="*/ 1875164 w 2655623"/>
              <a:gd name="connsiteY52" fmla="*/ 989098 h 1548041"/>
              <a:gd name="connsiteX53" fmla="*/ 1875164 w 2655623"/>
              <a:gd name="connsiteY53" fmla="*/ 1030310 h 1548041"/>
              <a:gd name="connsiteX54" fmla="*/ 1908649 w 2655623"/>
              <a:gd name="connsiteY54" fmla="*/ 1050916 h 1548041"/>
              <a:gd name="connsiteX55" fmla="*/ 1947285 w 2655623"/>
              <a:gd name="connsiteY55" fmla="*/ 1050916 h 1548041"/>
              <a:gd name="connsiteX56" fmla="*/ 1988498 w 2655623"/>
              <a:gd name="connsiteY56" fmla="*/ 1076674 h 1548041"/>
              <a:gd name="connsiteX57" fmla="*/ 1996225 w 2655623"/>
              <a:gd name="connsiteY57" fmla="*/ 1128189 h 1548041"/>
              <a:gd name="connsiteX58" fmla="*/ 2024558 w 2655623"/>
              <a:gd name="connsiteY58" fmla="*/ 1153947 h 1548041"/>
              <a:gd name="connsiteX59" fmla="*/ 2024558 w 2655623"/>
              <a:gd name="connsiteY59" fmla="*/ 1177129 h 1548041"/>
              <a:gd name="connsiteX60" fmla="*/ 2068347 w 2655623"/>
              <a:gd name="connsiteY60" fmla="*/ 1205463 h 1548041"/>
              <a:gd name="connsiteX61" fmla="*/ 2063195 w 2655623"/>
              <a:gd name="connsiteY61" fmla="*/ 1254402 h 1548041"/>
              <a:gd name="connsiteX62" fmla="*/ 2101832 w 2655623"/>
              <a:gd name="connsiteY62" fmla="*/ 1290463 h 1548041"/>
              <a:gd name="connsiteX63" fmla="*/ 2148196 w 2655623"/>
              <a:gd name="connsiteY63" fmla="*/ 1326524 h 1548041"/>
              <a:gd name="connsiteX64" fmla="*/ 2191984 w 2655623"/>
              <a:gd name="connsiteY64" fmla="*/ 1313645 h 1548041"/>
              <a:gd name="connsiteX65" fmla="*/ 2246075 w 2655623"/>
              <a:gd name="connsiteY65" fmla="*/ 1344555 h 1548041"/>
              <a:gd name="connsiteX66" fmla="*/ 2276984 w 2655623"/>
              <a:gd name="connsiteY66" fmla="*/ 1321373 h 1548041"/>
              <a:gd name="connsiteX67" fmla="*/ 2328500 w 2655623"/>
              <a:gd name="connsiteY67" fmla="*/ 1347130 h 1548041"/>
              <a:gd name="connsiteX68" fmla="*/ 2372288 w 2655623"/>
              <a:gd name="connsiteY68" fmla="*/ 1393494 h 1548041"/>
              <a:gd name="connsiteX69" fmla="*/ 2410925 w 2655623"/>
              <a:gd name="connsiteY69" fmla="*/ 1465616 h 1548041"/>
              <a:gd name="connsiteX70" fmla="*/ 2431531 w 2655623"/>
              <a:gd name="connsiteY70" fmla="*/ 1478495 h 1548041"/>
              <a:gd name="connsiteX71" fmla="*/ 2449561 w 2655623"/>
              <a:gd name="connsiteY71" fmla="*/ 1509404 h 1548041"/>
              <a:gd name="connsiteX72" fmla="*/ 2472743 w 2655623"/>
              <a:gd name="connsiteY72" fmla="*/ 1548041 h 1548041"/>
              <a:gd name="connsiteX73" fmla="*/ 2501077 w 2655623"/>
              <a:gd name="connsiteY73" fmla="*/ 1548041 h 1548041"/>
              <a:gd name="connsiteX74" fmla="*/ 2524259 w 2655623"/>
              <a:gd name="connsiteY74" fmla="*/ 1519707 h 1548041"/>
              <a:gd name="connsiteX75" fmla="*/ 2560320 w 2655623"/>
              <a:gd name="connsiteY75" fmla="*/ 1483646 h 1548041"/>
              <a:gd name="connsiteX76" fmla="*/ 2557744 w 2655623"/>
              <a:gd name="connsiteY76" fmla="*/ 1442434 h 1548041"/>
              <a:gd name="connsiteX77" fmla="*/ 2573198 w 2655623"/>
              <a:gd name="connsiteY77" fmla="*/ 1419252 h 1548041"/>
              <a:gd name="connsiteX78" fmla="*/ 2570623 w 2655623"/>
              <a:gd name="connsiteY78" fmla="*/ 1347130 h 1548041"/>
              <a:gd name="connsiteX79" fmla="*/ 2596380 w 2655623"/>
              <a:gd name="connsiteY79" fmla="*/ 1305918 h 1548041"/>
              <a:gd name="connsiteX80" fmla="*/ 2575774 w 2655623"/>
              <a:gd name="connsiteY80" fmla="*/ 1272433 h 1548041"/>
              <a:gd name="connsiteX81" fmla="*/ 2604108 w 2655623"/>
              <a:gd name="connsiteY81" fmla="*/ 1233796 h 1548041"/>
              <a:gd name="connsiteX82" fmla="*/ 2611835 w 2655623"/>
              <a:gd name="connsiteY82" fmla="*/ 1200311 h 1548041"/>
              <a:gd name="connsiteX83" fmla="*/ 2575774 w 2655623"/>
              <a:gd name="connsiteY83" fmla="*/ 1148796 h 1548041"/>
              <a:gd name="connsiteX84" fmla="*/ 2513956 w 2655623"/>
              <a:gd name="connsiteY84" fmla="*/ 1099856 h 1548041"/>
              <a:gd name="connsiteX85" fmla="*/ 2501077 w 2655623"/>
              <a:gd name="connsiteY85" fmla="*/ 1050916 h 1548041"/>
              <a:gd name="connsiteX86" fmla="*/ 2490774 w 2655623"/>
              <a:gd name="connsiteY86" fmla="*/ 994249 h 1548041"/>
              <a:gd name="connsiteX87" fmla="*/ 2470167 w 2655623"/>
              <a:gd name="connsiteY87" fmla="*/ 958188 h 1548041"/>
              <a:gd name="connsiteX88" fmla="*/ 2483046 w 2655623"/>
              <a:gd name="connsiteY88" fmla="*/ 919552 h 1548041"/>
              <a:gd name="connsiteX89" fmla="*/ 2434107 w 2655623"/>
              <a:gd name="connsiteY89" fmla="*/ 798490 h 1548041"/>
              <a:gd name="connsiteX90" fmla="*/ 2434107 w 2655623"/>
              <a:gd name="connsiteY90" fmla="*/ 754702 h 1548041"/>
              <a:gd name="connsiteX91" fmla="*/ 2408349 w 2655623"/>
              <a:gd name="connsiteY91" fmla="*/ 690308 h 1548041"/>
              <a:gd name="connsiteX92" fmla="*/ 2405773 w 2655623"/>
              <a:gd name="connsiteY92" fmla="*/ 654247 h 1548041"/>
              <a:gd name="connsiteX93" fmla="*/ 2385167 w 2655623"/>
              <a:gd name="connsiteY93" fmla="*/ 615610 h 1548041"/>
              <a:gd name="connsiteX94" fmla="*/ 2305318 w 2655623"/>
              <a:gd name="connsiteY94" fmla="*/ 569246 h 1548041"/>
              <a:gd name="connsiteX95" fmla="*/ 2302742 w 2655623"/>
              <a:gd name="connsiteY95" fmla="*/ 533186 h 1548041"/>
              <a:gd name="connsiteX96" fmla="*/ 2271833 w 2655623"/>
              <a:gd name="connsiteY96" fmla="*/ 510004 h 1548041"/>
              <a:gd name="connsiteX97" fmla="*/ 2248651 w 2655623"/>
              <a:gd name="connsiteY97" fmla="*/ 510004 h 1548041"/>
              <a:gd name="connsiteX98" fmla="*/ 2204863 w 2655623"/>
              <a:gd name="connsiteY98" fmla="*/ 512579 h 1548041"/>
              <a:gd name="connsiteX99" fmla="*/ 2135317 w 2655623"/>
              <a:gd name="connsiteY99" fmla="*/ 473943 h 1548041"/>
              <a:gd name="connsiteX100" fmla="*/ 2083801 w 2655623"/>
              <a:gd name="connsiteY100" fmla="*/ 409548 h 1548041"/>
              <a:gd name="connsiteX101" fmla="*/ 2040013 w 2655623"/>
              <a:gd name="connsiteY101" fmla="*/ 386366 h 1548041"/>
              <a:gd name="connsiteX102" fmla="*/ 2034862 w 2655623"/>
              <a:gd name="connsiteY102" fmla="*/ 350306 h 1548041"/>
              <a:gd name="connsiteX103" fmla="*/ 2011680 w 2655623"/>
              <a:gd name="connsiteY103" fmla="*/ 301366 h 1548041"/>
              <a:gd name="connsiteX104" fmla="*/ 1970467 w 2655623"/>
              <a:gd name="connsiteY104" fmla="*/ 270457 h 1548041"/>
              <a:gd name="connsiteX105" fmla="*/ 1975619 w 2655623"/>
              <a:gd name="connsiteY105" fmla="*/ 226668 h 1548041"/>
              <a:gd name="connsiteX106" fmla="*/ 2011680 w 2655623"/>
              <a:gd name="connsiteY106" fmla="*/ 170001 h 1548041"/>
              <a:gd name="connsiteX107" fmla="*/ 2016831 w 2655623"/>
              <a:gd name="connsiteY107" fmla="*/ 105607 h 1548041"/>
              <a:gd name="connsiteX108" fmla="*/ 2045165 w 2655623"/>
              <a:gd name="connsiteY108" fmla="*/ 69546 h 1548041"/>
              <a:gd name="connsiteX109" fmla="*/ 2091529 w 2655623"/>
              <a:gd name="connsiteY109" fmla="*/ 46364 h 1548041"/>
              <a:gd name="connsiteX110" fmla="*/ 2114711 w 2655623"/>
              <a:gd name="connsiteY110" fmla="*/ 2576 h 1548041"/>
              <a:gd name="connsiteX111" fmla="*/ 2163650 w 2655623"/>
              <a:gd name="connsiteY111" fmla="*/ 0 h 1548041"/>
              <a:gd name="connsiteX112" fmla="*/ 2194560 w 2655623"/>
              <a:gd name="connsiteY112" fmla="*/ 15455 h 1548041"/>
              <a:gd name="connsiteX113" fmla="*/ 2269257 w 2655623"/>
              <a:gd name="connsiteY113" fmla="*/ 0 h 1548041"/>
              <a:gd name="connsiteX114" fmla="*/ 2305318 w 2655623"/>
              <a:gd name="connsiteY114" fmla="*/ 25758 h 1548041"/>
              <a:gd name="connsiteX115" fmla="*/ 2354258 w 2655623"/>
              <a:gd name="connsiteY115" fmla="*/ 18031 h 1548041"/>
              <a:gd name="connsiteX116" fmla="*/ 2405773 w 2655623"/>
              <a:gd name="connsiteY116" fmla="*/ 36061 h 1548041"/>
              <a:gd name="connsiteX117" fmla="*/ 2485622 w 2655623"/>
              <a:gd name="connsiteY117" fmla="*/ 74698 h 1548041"/>
              <a:gd name="connsiteX118" fmla="*/ 2609259 w 2655623"/>
              <a:gd name="connsiteY118" fmla="*/ 85001 h 1548041"/>
              <a:gd name="connsiteX119" fmla="*/ 2655623 w 2655623"/>
              <a:gd name="connsiteY119" fmla="*/ 74698 h 1548041"/>
              <a:gd name="connsiteX120" fmla="*/ 2637593 w 2655623"/>
              <a:gd name="connsiteY120" fmla="*/ 48940 h 1548041"/>
              <a:gd name="connsiteX121" fmla="*/ 2635017 w 2655623"/>
              <a:gd name="connsiteY121" fmla="*/ 18031 h 1548041"/>
              <a:gd name="connsiteX0" fmla="*/ 0 w 2619563"/>
              <a:gd name="connsiteY0" fmla="*/ 36061 h 1548041"/>
              <a:gd name="connsiteX1" fmla="*/ 38637 w 2619563"/>
              <a:gd name="connsiteY1" fmla="*/ 72122 h 1548041"/>
              <a:gd name="connsiteX2" fmla="*/ 41213 w 2619563"/>
              <a:gd name="connsiteY2" fmla="*/ 146819 h 1548041"/>
              <a:gd name="connsiteX3" fmla="*/ 85001 w 2619563"/>
              <a:gd name="connsiteY3" fmla="*/ 177729 h 1548041"/>
              <a:gd name="connsiteX4" fmla="*/ 157123 w 2619563"/>
              <a:gd name="connsiteY4" fmla="*/ 221517 h 1548041"/>
              <a:gd name="connsiteX5" fmla="*/ 203487 w 2619563"/>
              <a:gd name="connsiteY5" fmla="*/ 234396 h 1548041"/>
              <a:gd name="connsiteX6" fmla="*/ 231820 w 2619563"/>
              <a:gd name="connsiteY6" fmla="*/ 224093 h 1548041"/>
              <a:gd name="connsiteX7" fmla="*/ 262729 w 2619563"/>
              <a:gd name="connsiteY7" fmla="*/ 242123 h 1548041"/>
              <a:gd name="connsiteX8" fmla="*/ 303942 w 2619563"/>
              <a:gd name="connsiteY8" fmla="*/ 221517 h 1548041"/>
              <a:gd name="connsiteX9" fmla="*/ 319397 w 2619563"/>
              <a:gd name="connsiteY9" fmla="*/ 198335 h 1548041"/>
              <a:gd name="connsiteX10" fmla="*/ 350306 w 2619563"/>
              <a:gd name="connsiteY10" fmla="*/ 221517 h 1548041"/>
              <a:gd name="connsiteX11" fmla="*/ 383791 w 2619563"/>
              <a:gd name="connsiteY11" fmla="*/ 200911 h 1548041"/>
              <a:gd name="connsiteX12" fmla="*/ 394094 w 2619563"/>
              <a:gd name="connsiteY12" fmla="*/ 172577 h 1548041"/>
              <a:gd name="connsiteX13" fmla="*/ 443034 w 2619563"/>
              <a:gd name="connsiteY13" fmla="*/ 193183 h 1548041"/>
              <a:gd name="connsiteX14" fmla="*/ 497125 w 2619563"/>
              <a:gd name="connsiteY14" fmla="*/ 249850 h 1548041"/>
              <a:gd name="connsiteX15" fmla="*/ 551216 w 2619563"/>
              <a:gd name="connsiteY15" fmla="*/ 255002 h 1548041"/>
              <a:gd name="connsiteX16" fmla="*/ 571822 w 2619563"/>
              <a:gd name="connsiteY16" fmla="*/ 239547 h 1548041"/>
              <a:gd name="connsiteX17" fmla="*/ 618186 w 2619563"/>
              <a:gd name="connsiteY17" fmla="*/ 242123 h 1548041"/>
              <a:gd name="connsiteX18" fmla="*/ 654247 w 2619563"/>
              <a:gd name="connsiteY18" fmla="*/ 275608 h 1548041"/>
              <a:gd name="connsiteX19" fmla="*/ 669702 w 2619563"/>
              <a:gd name="connsiteY19" fmla="*/ 334851 h 1548041"/>
              <a:gd name="connsiteX20" fmla="*/ 710914 w 2619563"/>
              <a:gd name="connsiteY20" fmla="*/ 404397 h 1548041"/>
              <a:gd name="connsiteX21" fmla="*/ 708338 w 2619563"/>
              <a:gd name="connsiteY21" fmla="*/ 453337 h 1548041"/>
              <a:gd name="connsiteX22" fmla="*/ 731520 w 2619563"/>
              <a:gd name="connsiteY22" fmla="*/ 497125 h 1548041"/>
              <a:gd name="connsiteX23" fmla="*/ 780460 w 2619563"/>
              <a:gd name="connsiteY23" fmla="*/ 507428 h 1548041"/>
              <a:gd name="connsiteX24" fmla="*/ 808794 w 2619563"/>
              <a:gd name="connsiteY24" fmla="*/ 535761 h 1548041"/>
              <a:gd name="connsiteX25" fmla="*/ 886067 w 2619563"/>
              <a:gd name="connsiteY25" fmla="*/ 564095 h 1548041"/>
              <a:gd name="connsiteX26" fmla="*/ 932431 w 2619563"/>
              <a:gd name="connsiteY26" fmla="*/ 543489 h 1548041"/>
              <a:gd name="connsiteX27" fmla="*/ 968492 w 2619563"/>
              <a:gd name="connsiteY27" fmla="*/ 543489 h 1548041"/>
              <a:gd name="connsiteX28" fmla="*/ 996825 w 2619563"/>
              <a:gd name="connsiteY28" fmla="*/ 597580 h 1548041"/>
              <a:gd name="connsiteX29" fmla="*/ 1017431 w 2619563"/>
              <a:gd name="connsiteY29" fmla="*/ 638792 h 1548041"/>
              <a:gd name="connsiteX30" fmla="*/ 1053492 w 2619563"/>
              <a:gd name="connsiteY30" fmla="*/ 661974 h 1548041"/>
              <a:gd name="connsiteX31" fmla="*/ 1094705 w 2619563"/>
              <a:gd name="connsiteY31" fmla="*/ 659398 h 1548041"/>
              <a:gd name="connsiteX32" fmla="*/ 1138493 w 2619563"/>
              <a:gd name="connsiteY32" fmla="*/ 695459 h 1548041"/>
              <a:gd name="connsiteX33" fmla="*/ 1205463 w 2619563"/>
              <a:gd name="connsiteY33" fmla="*/ 718641 h 1548041"/>
              <a:gd name="connsiteX34" fmla="*/ 1277585 w 2619563"/>
              <a:gd name="connsiteY34" fmla="*/ 710914 h 1548041"/>
              <a:gd name="connsiteX35" fmla="*/ 1305918 w 2619563"/>
              <a:gd name="connsiteY35" fmla="*/ 692884 h 1548041"/>
              <a:gd name="connsiteX36" fmla="*/ 1321373 w 2619563"/>
              <a:gd name="connsiteY36" fmla="*/ 710914 h 1548041"/>
              <a:gd name="connsiteX37" fmla="*/ 1329100 w 2619563"/>
              <a:gd name="connsiteY37" fmla="*/ 746975 h 1548041"/>
              <a:gd name="connsiteX38" fmla="*/ 1378040 w 2619563"/>
              <a:gd name="connsiteY38" fmla="*/ 759854 h 1548041"/>
              <a:gd name="connsiteX39" fmla="*/ 1398646 w 2619563"/>
              <a:gd name="connsiteY39" fmla="*/ 788187 h 1548041"/>
              <a:gd name="connsiteX40" fmla="*/ 1429555 w 2619563"/>
              <a:gd name="connsiteY40" fmla="*/ 834551 h 1548041"/>
              <a:gd name="connsiteX41" fmla="*/ 1491374 w 2619563"/>
              <a:gd name="connsiteY41" fmla="*/ 850006 h 1548041"/>
              <a:gd name="connsiteX42" fmla="*/ 1560920 w 2619563"/>
              <a:gd name="connsiteY42" fmla="*/ 880915 h 1548041"/>
              <a:gd name="connsiteX43" fmla="*/ 1591829 w 2619563"/>
              <a:gd name="connsiteY43" fmla="*/ 875764 h 1548041"/>
              <a:gd name="connsiteX44" fmla="*/ 1625314 w 2619563"/>
              <a:gd name="connsiteY44" fmla="*/ 904097 h 1548041"/>
              <a:gd name="connsiteX45" fmla="*/ 1671678 w 2619563"/>
              <a:gd name="connsiteY45" fmla="*/ 911824 h 1548041"/>
              <a:gd name="connsiteX46" fmla="*/ 1694860 w 2619563"/>
              <a:gd name="connsiteY46" fmla="*/ 947885 h 1548041"/>
              <a:gd name="connsiteX47" fmla="*/ 1738648 w 2619563"/>
              <a:gd name="connsiteY47" fmla="*/ 983946 h 1548041"/>
              <a:gd name="connsiteX48" fmla="*/ 1800467 w 2619563"/>
              <a:gd name="connsiteY48" fmla="*/ 989098 h 1548041"/>
              <a:gd name="connsiteX49" fmla="*/ 1800467 w 2619563"/>
              <a:gd name="connsiteY49" fmla="*/ 989098 h 1548041"/>
              <a:gd name="connsiteX50" fmla="*/ 1821073 w 2619563"/>
              <a:gd name="connsiteY50" fmla="*/ 968491 h 1548041"/>
              <a:gd name="connsiteX51" fmla="*/ 1839104 w 2619563"/>
              <a:gd name="connsiteY51" fmla="*/ 989098 h 1548041"/>
              <a:gd name="connsiteX52" fmla="*/ 1839104 w 2619563"/>
              <a:gd name="connsiteY52" fmla="*/ 1030310 h 1548041"/>
              <a:gd name="connsiteX53" fmla="*/ 1872589 w 2619563"/>
              <a:gd name="connsiteY53" fmla="*/ 1050916 h 1548041"/>
              <a:gd name="connsiteX54" fmla="*/ 1911225 w 2619563"/>
              <a:gd name="connsiteY54" fmla="*/ 1050916 h 1548041"/>
              <a:gd name="connsiteX55" fmla="*/ 1952438 w 2619563"/>
              <a:gd name="connsiteY55" fmla="*/ 1076674 h 1548041"/>
              <a:gd name="connsiteX56" fmla="*/ 1960165 w 2619563"/>
              <a:gd name="connsiteY56" fmla="*/ 1128189 h 1548041"/>
              <a:gd name="connsiteX57" fmla="*/ 1988498 w 2619563"/>
              <a:gd name="connsiteY57" fmla="*/ 1153947 h 1548041"/>
              <a:gd name="connsiteX58" fmla="*/ 1988498 w 2619563"/>
              <a:gd name="connsiteY58" fmla="*/ 1177129 h 1548041"/>
              <a:gd name="connsiteX59" fmla="*/ 2032287 w 2619563"/>
              <a:gd name="connsiteY59" fmla="*/ 1205463 h 1548041"/>
              <a:gd name="connsiteX60" fmla="*/ 2027135 w 2619563"/>
              <a:gd name="connsiteY60" fmla="*/ 1254402 h 1548041"/>
              <a:gd name="connsiteX61" fmla="*/ 2065772 w 2619563"/>
              <a:gd name="connsiteY61" fmla="*/ 1290463 h 1548041"/>
              <a:gd name="connsiteX62" fmla="*/ 2112136 w 2619563"/>
              <a:gd name="connsiteY62" fmla="*/ 1326524 h 1548041"/>
              <a:gd name="connsiteX63" fmla="*/ 2155924 w 2619563"/>
              <a:gd name="connsiteY63" fmla="*/ 1313645 h 1548041"/>
              <a:gd name="connsiteX64" fmla="*/ 2210015 w 2619563"/>
              <a:gd name="connsiteY64" fmla="*/ 1344555 h 1548041"/>
              <a:gd name="connsiteX65" fmla="*/ 2240924 w 2619563"/>
              <a:gd name="connsiteY65" fmla="*/ 1321373 h 1548041"/>
              <a:gd name="connsiteX66" fmla="*/ 2292440 w 2619563"/>
              <a:gd name="connsiteY66" fmla="*/ 1347130 h 1548041"/>
              <a:gd name="connsiteX67" fmla="*/ 2336228 w 2619563"/>
              <a:gd name="connsiteY67" fmla="*/ 1393494 h 1548041"/>
              <a:gd name="connsiteX68" fmla="*/ 2374865 w 2619563"/>
              <a:gd name="connsiteY68" fmla="*/ 1465616 h 1548041"/>
              <a:gd name="connsiteX69" fmla="*/ 2395471 w 2619563"/>
              <a:gd name="connsiteY69" fmla="*/ 1478495 h 1548041"/>
              <a:gd name="connsiteX70" fmla="*/ 2413501 w 2619563"/>
              <a:gd name="connsiteY70" fmla="*/ 1509404 h 1548041"/>
              <a:gd name="connsiteX71" fmla="*/ 2436683 w 2619563"/>
              <a:gd name="connsiteY71" fmla="*/ 1548041 h 1548041"/>
              <a:gd name="connsiteX72" fmla="*/ 2465017 w 2619563"/>
              <a:gd name="connsiteY72" fmla="*/ 1548041 h 1548041"/>
              <a:gd name="connsiteX73" fmla="*/ 2488199 w 2619563"/>
              <a:gd name="connsiteY73" fmla="*/ 1519707 h 1548041"/>
              <a:gd name="connsiteX74" fmla="*/ 2524260 w 2619563"/>
              <a:gd name="connsiteY74" fmla="*/ 1483646 h 1548041"/>
              <a:gd name="connsiteX75" fmla="*/ 2521684 w 2619563"/>
              <a:gd name="connsiteY75" fmla="*/ 1442434 h 1548041"/>
              <a:gd name="connsiteX76" fmla="*/ 2537138 w 2619563"/>
              <a:gd name="connsiteY76" fmla="*/ 1419252 h 1548041"/>
              <a:gd name="connsiteX77" fmla="*/ 2534563 w 2619563"/>
              <a:gd name="connsiteY77" fmla="*/ 1347130 h 1548041"/>
              <a:gd name="connsiteX78" fmla="*/ 2560320 w 2619563"/>
              <a:gd name="connsiteY78" fmla="*/ 1305918 h 1548041"/>
              <a:gd name="connsiteX79" fmla="*/ 2539714 w 2619563"/>
              <a:gd name="connsiteY79" fmla="*/ 1272433 h 1548041"/>
              <a:gd name="connsiteX80" fmla="*/ 2568048 w 2619563"/>
              <a:gd name="connsiteY80" fmla="*/ 1233796 h 1548041"/>
              <a:gd name="connsiteX81" fmla="*/ 2575775 w 2619563"/>
              <a:gd name="connsiteY81" fmla="*/ 1200311 h 1548041"/>
              <a:gd name="connsiteX82" fmla="*/ 2539714 w 2619563"/>
              <a:gd name="connsiteY82" fmla="*/ 1148796 h 1548041"/>
              <a:gd name="connsiteX83" fmla="*/ 2477896 w 2619563"/>
              <a:gd name="connsiteY83" fmla="*/ 1099856 h 1548041"/>
              <a:gd name="connsiteX84" fmla="*/ 2465017 w 2619563"/>
              <a:gd name="connsiteY84" fmla="*/ 1050916 h 1548041"/>
              <a:gd name="connsiteX85" fmla="*/ 2454714 w 2619563"/>
              <a:gd name="connsiteY85" fmla="*/ 994249 h 1548041"/>
              <a:gd name="connsiteX86" fmla="*/ 2434107 w 2619563"/>
              <a:gd name="connsiteY86" fmla="*/ 958188 h 1548041"/>
              <a:gd name="connsiteX87" fmla="*/ 2446986 w 2619563"/>
              <a:gd name="connsiteY87" fmla="*/ 919552 h 1548041"/>
              <a:gd name="connsiteX88" fmla="*/ 2398047 w 2619563"/>
              <a:gd name="connsiteY88" fmla="*/ 798490 h 1548041"/>
              <a:gd name="connsiteX89" fmla="*/ 2398047 w 2619563"/>
              <a:gd name="connsiteY89" fmla="*/ 754702 h 1548041"/>
              <a:gd name="connsiteX90" fmla="*/ 2372289 w 2619563"/>
              <a:gd name="connsiteY90" fmla="*/ 690308 h 1548041"/>
              <a:gd name="connsiteX91" fmla="*/ 2369713 w 2619563"/>
              <a:gd name="connsiteY91" fmla="*/ 654247 h 1548041"/>
              <a:gd name="connsiteX92" fmla="*/ 2349107 w 2619563"/>
              <a:gd name="connsiteY92" fmla="*/ 615610 h 1548041"/>
              <a:gd name="connsiteX93" fmla="*/ 2269258 w 2619563"/>
              <a:gd name="connsiteY93" fmla="*/ 569246 h 1548041"/>
              <a:gd name="connsiteX94" fmla="*/ 2266682 w 2619563"/>
              <a:gd name="connsiteY94" fmla="*/ 533186 h 1548041"/>
              <a:gd name="connsiteX95" fmla="*/ 2235773 w 2619563"/>
              <a:gd name="connsiteY95" fmla="*/ 510004 h 1548041"/>
              <a:gd name="connsiteX96" fmla="*/ 2212591 w 2619563"/>
              <a:gd name="connsiteY96" fmla="*/ 510004 h 1548041"/>
              <a:gd name="connsiteX97" fmla="*/ 2168803 w 2619563"/>
              <a:gd name="connsiteY97" fmla="*/ 512579 h 1548041"/>
              <a:gd name="connsiteX98" fmla="*/ 2099257 w 2619563"/>
              <a:gd name="connsiteY98" fmla="*/ 473943 h 1548041"/>
              <a:gd name="connsiteX99" fmla="*/ 2047741 w 2619563"/>
              <a:gd name="connsiteY99" fmla="*/ 409548 h 1548041"/>
              <a:gd name="connsiteX100" fmla="*/ 2003953 w 2619563"/>
              <a:gd name="connsiteY100" fmla="*/ 386366 h 1548041"/>
              <a:gd name="connsiteX101" fmla="*/ 1998802 w 2619563"/>
              <a:gd name="connsiteY101" fmla="*/ 350306 h 1548041"/>
              <a:gd name="connsiteX102" fmla="*/ 1975620 w 2619563"/>
              <a:gd name="connsiteY102" fmla="*/ 301366 h 1548041"/>
              <a:gd name="connsiteX103" fmla="*/ 1934407 w 2619563"/>
              <a:gd name="connsiteY103" fmla="*/ 270457 h 1548041"/>
              <a:gd name="connsiteX104" fmla="*/ 1939559 w 2619563"/>
              <a:gd name="connsiteY104" fmla="*/ 226668 h 1548041"/>
              <a:gd name="connsiteX105" fmla="*/ 1975620 w 2619563"/>
              <a:gd name="connsiteY105" fmla="*/ 170001 h 1548041"/>
              <a:gd name="connsiteX106" fmla="*/ 1980771 w 2619563"/>
              <a:gd name="connsiteY106" fmla="*/ 105607 h 1548041"/>
              <a:gd name="connsiteX107" fmla="*/ 2009105 w 2619563"/>
              <a:gd name="connsiteY107" fmla="*/ 69546 h 1548041"/>
              <a:gd name="connsiteX108" fmla="*/ 2055469 w 2619563"/>
              <a:gd name="connsiteY108" fmla="*/ 46364 h 1548041"/>
              <a:gd name="connsiteX109" fmla="*/ 2078651 w 2619563"/>
              <a:gd name="connsiteY109" fmla="*/ 2576 h 1548041"/>
              <a:gd name="connsiteX110" fmla="*/ 2127590 w 2619563"/>
              <a:gd name="connsiteY110" fmla="*/ 0 h 1548041"/>
              <a:gd name="connsiteX111" fmla="*/ 2158500 w 2619563"/>
              <a:gd name="connsiteY111" fmla="*/ 15455 h 1548041"/>
              <a:gd name="connsiteX112" fmla="*/ 2233197 w 2619563"/>
              <a:gd name="connsiteY112" fmla="*/ 0 h 1548041"/>
              <a:gd name="connsiteX113" fmla="*/ 2269258 w 2619563"/>
              <a:gd name="connsiteY113" fmla="*/ 25758 h 1548041"/>
              <a:gd name="connsiteX114" fmla="*/ 2318198 w 2619563"/>
              <a:gd name="connsiteY114" fmla="*/ 18031 h 1548041"/>
              <a:gd name="connsiteX115" fmla="*/ 2369713 w 2619563"/>
              <a:gd name="connsiteY115" fmla="*/ 36061 h 1548041"/>
              <a:gd name="connsiteX116" fmla="*/ 2449562 w 2619563"/>
              <a:gd name="connsiteY116" fmla="*/ 74698 h 1548041"/>
              <a:gd name="connsiteX117" fmla="*/ 2573199 w 2619563"/>
              <a:gd name="connsiteY117" fmla="*/ 85001 h 1548041"/>
              <a:gd name="connsiteX118" fmla="*/ 2619563 w 2619563"/>
              <a:gd name="connsiteY118" fmla="*/ 74698 h 1548041"/>
              <a:gd name="connsiteX119" fmla="*/ 2601533 w 2619563"/>
              <a:gd name="connsiteY119" fmla="*/ 48940 h 1548041"/>
              <a:gd name="connsiteX120" fmla="*/ 2598957 w 2619563"/>
              <a:gd name="connsiteY120" fmla="*/ 18031 h 1548041"/>
              <a:gd name="connsiteX0" fmla="*/ 0 w 2580926"/>
              <a:gd name="connsiteY0" fmla="*/ 72122 h 1548041"/>
              <a:gd name="connsiteX1" fmla="*/ 2576 w 2580926"/>
              <a:gd name="connsiteY1" fmla="*/ 146819 h 1548041"/>
              <a:gd name="connsiteX2" fmla="*/ 46364 w 2580926"/>
              <a:gd name="connsiteY2" fmla="*/ 177729 h 1548041"/>
              <a:gd name="connsiteX3" fmla="*/ 118486 w 2580926"/>
              <a:gd name="connsiteY3" fmla="*/ 221517 h 1548041"/>
              <a:gd name="connsiteX4" fmla="*/ 164850 w 2580926"/>
              <a:gd name="connsiteY4" fmla="*/ 234396 h 1548041"/>
              <a:gd name="connsiteX5" fmla="*/ 193183 w 2580926"/>
              <a:gd name="connsiteY5" fmla="*/ 224093 h 1548041"/>
              <a:gd name="connsiteX6" fmla="*/ 224092 w 2580926"/>
              <a:gd name="connsiteY6" fmla="*/ 242123 h 1548041"/>
              <a:gd name="connsiteX7" fmla="*/ 265305 w 2580926"/>
              <a:gd name="connsiteY7" fmla="*/ 221517 h 1548041"/>
              <a:gd name="connsiteX8" fmla="*/ 280760 w 2580926"/>
              <a:gd name="connsiteY8" fmla="*/ 198335 h 1548041"/>
              <a:gd name="connsiteX9" fmla="*/ 311669 w 2580926"/>
              <a:gd name="connsiteY9" fmla="*/ 221517 h 1548041"/>
              <a:gd name="connsiteX10" fmla="*/ 345154 w 2580926"/>
              <a:gd name="connsiteY10" fmla="*/ 200911 h 1548041"/>
              <a:gd name="connsiteX11" fmla="*/ 355457 w 2580926"/>
              <a:gd name="connsiteY11" fmla="*/ 172577 h 1548041"/>
              <a:gd name="connsiteX12" fmla="*/ 404397 w 2580926"/>
              <a:gd name="connsiteY12" fmla="*/ 193183 h 1548041"/>
              <a:gd name="connsiteX13" fmla="*/ 458488 w 2580926"/>
              <a:gd name="connsiteY13" fmla="*/ 249850 h 1548041"/>
              <a:gd name="connsiteX14" fmla="*/ 512579 w 2580926"/>
              <a:gd name="connsiteY14" fmla="*/ 255002 h 1548041"/>
              <a:gd name="connsiteX15" fmla="*/ 533185 w 2580926"/>
              <a:gd name="connsiteY15" fmla="*/ 239547 h 1548041"/>
              <a:gd name="connsiteX16" fmla="*/ 579549 w 2580926"/>
              <a:gd name="connsiteY16" fmla="*/ 242123 h 1548041"/>
              <a:gd name="connsiteX17" fmla="*/ 615610 w 2580926"/>
              <a:gd name="connsiteY17" fmla="*/ 275608 h 1548041"/>
              <a:gd name="connsiteX18" fmla="*/ 631065 w 2580926"/>
              <a:gd name="connsiteY18" fmla="*/ 334851 h 1548041"/>
              <a:gd name="connsiteX19" fmla="*/ 672277 w 2580926"/>
              <a:gd name="connsiteY19" fmla="*/ 404397 h 1548041"/>
              <a:gd name="connsiteX20" fmla="*/ 669701 w 2580926"/>
              <a:gd name="connsiteY20" fmla="*/ 453337 h 1548041"/>
              <a:gd name="connsiteX21" fmla="*/ 692883 w 2580926"/>
              <a:gd name="connsiteY21" fmla="*/ 497125 h 1548041"/>
              <a:gd name="connsiteX22" fmla="*/ 741823 w 2580926"/>
              <a:gd name="connsiteY22" fmla="*/ 507428 h 1548041"/>
              <a:gd name="connsiteX23" fmla="*/ 770157 w 2580926"/>
              <a:gd name="connsiteY23" fmla="*/ 535761 h 1548041"/>
              <a:gd name="connsiteX24" fmla="*/ 847430 w 2580926"/>
              <a:gd name="connsiteY24" fmla="*/ 564095 h 1548041"/>
              <a:gd name="connsiteX25" fmla="*/ 893794 w 2580926"/>
              <a:gd name="connsiteY25" fmla="*/ 543489 h 1548041"/>
              <a:gd name="connsiteX26" fmla="*/ 929855 w 2580926"/>
              <a:gd name="connsiteY26" fmla="*/ 543489 h 1548041"/>
              <a:gd name="connsiteX27" fmla="*/ 958188 w 2580926"/>
              <a:gd name="connsiteY27" fmla="*/ 597580 h 1548041"/>
              <a:gd name="connsiteX28" fmla="*/ 978794 w 2580926"/>
              <a:gd name="connsiteY28" fmla="*/ 638792 h 1548041"/>
              <a:gd name="connsiteX29" fmla="*/ 1014855 w 2580926"/>
              <a:gd name="connsiteY29" fmla="*/ 661974 h 1548041"/>
              <a:gd name="connsiteX30" fmla="*/ 1056068 w 2580926"/>
              <a:gd name="connsiteY30" fmla="*/ 659398 h 1548041"/>
              <a:gd name="connsiteX31" fmla="*/ 1099856 w 2580926"/>
              <a:gd name="connsiteY31" fmla="*/ 695459 h 1548041"/>
              <a:gd name="connsiteX32" fmla="*/ 1166826 w 2580926"/>
              <a:gd name="connsiteY32" fmla="*/ 718641 h 1548041"/>
              <a:gd name="connsiteX33" fmla="*/ 1238948 w 2580926"/>
              <a:gd name="connsiteY33" fmla="*/ 710914 h 1548041"/>
              <a:gd name="connsiteX34" fmla="*/ 1267281 w 2580926"/>
              <a:gd name="connsiteY34" fmla="*/ 692884 h 1548041"/>
              <a:gd name="connsiteX35" fmla="*/ 1282736 w 2580926"/>
              <a:gd name="connsiteY35" fmla="*/ 710914 h 1548041"/>
              <a:gd name="connsiteX36" fmla="*/ 1290463 w 2580926"/>
              <a:gd name="connsiteY36" fmla="*/ 746975 h 1548041"/>
              <a:gd name="connsiteX37" fmla="*/ 1339403 w 2580926"/>
              <a:gd name="connsiteY37" fmla="*/ 759854 h 1548041"/>
              <a:gd name="connsiteX38" fmla="*/ 1360009 w 2580926"/>
              <a:gd name="connsiteY38" fmla="*/ 788187 h 1548041"/>
              <a:gd name="connsiteX39" fmla="*/ 1390918 w 2580926"/>
              <a:gd name="connsiteY39" fmla="*/ 834551 h 1548041"/>
              <a:gd name="connsiteX40" fmla="*/ 1452737 w 2580926"/>
              <a:gd name="connsiteY40" fmla="*/ 850006 h 1548041"/>
              <a:gd name="connsiteX41" fmla="*/ 1522283 w 2580926"/>
              <a:gd name="connsiteY41" fmla="*/ 880915 h 1548041"/>
              <a:gd name="connsiteX42" fmla="*/ 1553192 w 2580926"/>
              <a:gd name="connsiteY42" fmla="*/ 875764 h 1548041"/>
              <a:gd name="connsiteX43" fmla="*/ 1586677 w 2580926"/>
              <a:gd name="connsiteY43" fmla="*/ 904097 h 1548041"/>
              <a:gd name="connsiteX44" fmla="*/ 1633041 w 2580926"/>
              <a:gd name="connsiteY44" fmla="*/ 911824 h 1548041"/>
              <a:gd name="connsiteX45" fmla="*/ 1656223 w 2580926"/>
              <a:gd name="connsiteY45" fmla="*/ 947885 h 1548041"/>
              <a:gd name="connsiteX46" fmla="*/ 1700011 w 2580926"/>
              <a:gd name="connsiteY46" fmla="*/ 983946 h 1548041"/>
              <a:gd name="connsiteX47" fmla="*/ 1761830 w 2580926"/>
              <a:gd name="connsiteY47" fmla="*/ 989098 h 1548041"/>
              <a:gd name="connsiteX48" fmla="*/ 1761830 w 2580926"/>
              <a:gd name="connsiteY48" fmla="*/ 989098 h 1548041"/>
              <a:gd name="connsiteX49" fmla="*/ 1782436 w 2580926"/>
              <a:gd name="connsiteY49" fmla="*/ 968491 h 1548041"/>
              <a:gd name="connsiteX50" fmla="*/ 1800467 w 2580926"/>
              <a:gd name="connsiteY50" fmla="*/ 989098 h 1548041"/>
              <a:gd name="connsiteX51" fmla="*/ 1800467 w 2580926"/>
              <a:gd name="connsiteY51" fmla="*/ 1030310 h 1548041"/>
              <a:gd name="connsiteX52" fmla="*/ 1833952 w 2580926"/>
              <a:gd name="connsiteY52" fmla="*/ 1050916 h 1548041"/>
              <a:gd name="connsiteX53" fmla="*/ 1872588 w 2580926"/>
              <a:gd name="connsiteY53" fmla="*/ 1050916 h 1548041"/>
              <a:gd name="connsiteX54" fmla="*/ 1913801 w 2580926"/>
              <a:gd name="connsiteY54" fmla="*/ 1076674 h 1548041"/>
              <a:gd name="connsiteX55" fmla="*/ 1921528 w 2580926"/>
              <a:gd name="connsiteY55" fmla="*/ 1128189 h 1548041"/>
              <a:gd name="connsiteX56" fmla="*/ 1949861 w 2580926"/>
              <a:gd name="connsiteY56" fmla="*/ 1153947 h 1548041"/>
              <a:gd name="connsiteX57" fmla="*/ 1949861 w 2580926"/>
              <a:gd name="connsiteY57" fmla="*/ 1177129 h 1548041"/>
              <a:gd name="connsiteX58" fmla="*/ 1993650 w 2580926"/>
              <a:gd name="connsiteY58" fmla="*/ 1205463 h 1548041"/>
              <a:gd name="connsiteX59" fmla="*/ 1988498 w 2580926"/>
              <a:gd name="connsiteY59" fmla="*/ 1254402 h 1548041"/>
              <a:gd name="connsiteX60" fmla="*/ 2027135 w 2580926"/>
              <a:gd name="connsiteY60" fmla="*/ 1290463 h 1548041"/>
              <a:gd name="connsiteX61" fmla="*/ 2073499 w 2580926"/>
              <a:gd name="connsiteY61" fmla="*/ 1326524 h 1548041"/>
              <a:gd name="connsiteX62" fmla="*/ 2117287 w 2580926"/>
              <a:gd name="connsiteY62" fmla="*/ 1313645 h 1548041"/>
              <a:gd name="connsiteX63" fmla="*/ 2171378 w 2580926"/>
              <a:gd name="connsiteY63" fmla="*/ 1344555 h 1548041"/>
              <a:gd name="connsiteX64" fmla="*/ 2202287 w 2580926"/>
              <a:gd name="connsiteY64" fmla="*/ 1321373 h 1548041"/>
              <a:gd name="connsiteX65" fmla="*/ 2253803 w 2580926"/>
              <a:gd name="connsiteY65" fmla="*/ 1347130 h 1548041"/>
              <a:gd name="connsiteX66" fmla="*/ 2297591 w 2580926"/>
              <a:gd name="connsiteY66" fmla="*/ 1393494 h 1548041"/>
              <a:gd name="connsiteX67" fmla="*/ 2336228 w 2580926"/>
              <a:gd name="connsiteY67" fmla="*/ 1465616 h 1548041"/>
              <a:gd name="connsiteX68" fmla="*/ 2356834 w 2580926"/>
              <a:gd name="connsiteY68" fmla="*/ 1478495 h 1548041"/>
              <a:gd name="connsiteX69" fmla="*/ 2374864 w 2580926"/>
              <a:gd name="connsiteY69" fmla="*/ 1509404 h 1548041"/>
              <a:gd name="connsiteX70" fmla="*/ 2398046 w 2580926"/>
              <a:gd name="connsiteY70" fmla="*/ 1548041 h 1548041"/>
              <a:gd name="connsiteX71" fmla="*/ 2426380 w 2580926"/>
              <a:gd name="connsiteY71" fmla="*/ 1548041 h 1548041"/>
              <a:gd name="connsiteX72" fmla="*/ 2449562 w 2580926"/>
              <a:gd name="connsiteY72" fmla="*/ 1519707 h 1548041"/>
              <a:gd name="connsiteX73" fmla="*/ 2485623 w 2580926"/>
              <a:gd name="connsiteY73" fmla="*/ 1483646 h 1548041"/>
              <a:gd name="connsiteX74" fmla="*/ 2483047 w 2580926"/>
              <a:gd name="connsiteY74" fmla="*/ 1442434 h 1548041"/>
              <a:gd name="connsiteX75" fmla="*/ 2498501 w 2580926"/>
              <a:gd name="connsiteY75" fmla="*/ 1419252 h 1548041"/>
              <a:gd name="connsiteX76" fmla="*/ 2495926 w 2580926"/>
              <a:gd name="connsiteY76" fmla="*/ 1347130 h 1548041"/>
              <a:gd name="connsiteX77" fmla="*/ 2521683 w 2580926"/>
              <a:gd name="connsiteY77" fmla="*/ 1305918 h 1548041"/>
              <a:gd name="connsiteX78" fmla="*/ 2501077 w 2580926"/>
              <a:gd name="connsiteY78" fmla="*/ 1272433 h 1548041"/>
              <a:gd name="connsiteX79" fmla="*/ 2529411 w 2580926"/>
              <a:gd name="connsiteY79" fmla="*/ 1233796 h 1548041"/>
              <a:gd name="connsiteX80" fmla="*/ 2537138 w 2580926"/>
              <a:gd name="connsiteY80" fmla="*/ 1200311 h 1548041"/>
              <a:gd name="connsiteX81" fmla="*/ 2501077 w 2580926"/>
              <a:gd name="connsiteY81" fmla="*/ 1148796 h 1548041"/>
              <a:gd name="connsiteX82" fmla="*/ 2439259 w 2580926"/>
              <a:gd name="connsiteY82" fmla="*/ 1099856 h 1548041"/>
              <a:gd name="connsiteX83" fmla="*/ 2426380 w 2580926"/>
              <a:gd name="connsiteY83" fmla="*/ 1050916 h 1548041"/>
              <a:gd name="connsiteX84" fmla="*/ 2416077 w 2580926"/>
              <a:gd name="connsiteY84" fmla="*/ 994249 h 1548041"/>
              <a:gd name="connsiteX85" fmla="*/ 2395470 w 2580926"/>
              <a:gd name="connsiteY85" fmla="*/ 958188 h 1548041"/>
              <a:gd name="connsiteX86" fmla="*/ 2408349 w 2580926"/>
              <a:gd name="connsiteY86" fmla="*/ 919552 h 1548041"/>
              <a:gd name="connsiteX87" fmla="*/ 2359410 w 2580926"/>
              <a:gd name="connsiteY87" fmla="*/ 798490 h 1548041"/>
              <a:gd name="connsiteX88" fmla="*/ 2359410 w 2580926"/>
              <a:gd name="connsiteY88" fmla="*/ 754702 h 1548041"/>
              <a:gd name="connsiteX89" fmla="*/ 2333652 w 2580926"/>
              <a:gd name="connsiteY89" fmla="*/ 690308 h 1548041"/>
              <a:gd name="connsiteX90" fmla="*/ 2331076 w 2580926"/>
              <a:gd name="connsiteY90" fmla="*/ 654247 h 1548041"/>
              <a:gd name="connsiteX91" fmla="*/ 2310470 w 2580926"/>
              <a:gd name="connsiteY91" fmla="*/ 615610 h 1548041"/>
              <a:gd name="connsiteX92" fmla="*/ 2230621 w 2580926"/>
              <a:gd name="connsiteY92" fmla="*/ 569246 h 1548041"/>
              <a:gd name="connsiteX93" fmla="*/ 2228045 w 2580926"/>
              <a:gd name="connsiteY93" fmla="*/ 533186 h 1548041"/>
              <a:gd name="connsiteX94" fmla="*/ 2197136 w 2580926"/>
              <a:gd name="connsiteY94" fmla="*/ 510004 h 1548041"/>
              <a:gd name="connsiteX95" fmla="*/ 2173954 w 2580926"/>
              <a:gd name="connsiteY95" fmla="*/ 510004 h 1548041"/>
              <a:gd name="connsiteX96" fmla="*/ 2130166 w 2580926"/>
              <a:gd name="connsiteY96" fmla="*/ 512579 h 1548041"/>
              <a:gd name="connsiteX97" fmla="*/ 2060620 w 2580926"/>
              <a:gd name="connsiteY97" fmla="*/ 473943 h 1548041"/>
              <a:gd name="connsiteX98" fmla="*/ 2009104 w 2580926"/>
              <a:gd name="connsiteY98" fmla="*/ 409548 h 1548041"/>
              <a:gd name="connsiteX99" fmla="*/ 1965316 w 2580926"/>
              <a:gd name="connsiteY99" fmla="*/ 386366 h 1548041"/>
              <a:gd name="connsiteX100" fmla="*/ 1960165 w 2580926"/>
              <a:gd name="connsiteY100" fmla="*/ 350306 h 1548041"/>
              <a:gd name="connsiteX101" fmla="*/ 1936983 w 2580926"/>
              <a:gd name="connsiteY101" fmla="*/ 301366 h 1548041"/>
              <a:gd name="connsiteX102" fmla="*/ 1895770 w 2580926"/>
              <a:gd name="connsiteY102" fmla="*/ 270457 h 1548041"/>
              <a:gd name="connsiteX103" fmla="*/ 1900922 w 2580926"/>
              <a:gd name="connsiteY103" fmla="*/ 226668 h 1548041"/>
              <a:gd name="connsiteX104" fmla="*/ 1936983 w 2580926"/>
              <a:gd name="connsiteY104" fmla="*/ 170001 h 1548041"/>
              <a:gd name="connsiteX105" fmla="*/ 1942134 w 2580926"/>
              <a:gd name="connsiteY105" fmla="*/ 105607 h 1548041"/>
              <a:gd name="connsiteX106" fmla="*/ 1970468 w 2580926"/>
              <a:gd name="connsiteY106" fmla="*/ 69546 h 1548041"/>
              <a:gd name="connsiteX107" fmla="*/ 2016832 w 2580926"/>
              <a:gd name="connsiteY107" fmla="*/ 46364 h 1548041"/>
              <a:gd name="connsiteX108" fmla="*/ 2040014 w 2580926"/>
              <a:gd name="connsiteY108" fmla="*/ 2576 h 1548041"/>
              <a:gd name="connsiteX109" fmla="*/ 2088953 w 2580926"/>
              <a:gd name="connsiteY109" fmla="*/ 0 h 1548041"/>
              <a:gd name="connsiteX110" fmla="*/ 2119863 w 2580926"/>
              <a:gd name="connsiteY110" fmla="*/ 15455 h 1548041"/>
              <a:gd name="connsiteX111" fmla="*/ 2194560 w 2580926"/>
              <a:gd name="connsiteY111" fmla="*/ 0 h 1548041"/>
              <a:gd name="connsiteX112" fmla="*/ 2230621 w 2580926"/>
              <a:gd name="connsiteY112" fmla="*/ 25758 h 1548041"/>
              <a:gd name="connsiteX113" fmla="*/ 2279561 w 2580926"/>
              <a:gd name="connsiteY113" fmla="*/ 18031 h 1548041"/>
              <a:gd name="connsiteX114" fmla="*/ 2331076 w 2580926"/>
              <a:gd name="connsiteY114" fmla="*/ 36061 h 1548041"/>
              <a:gd name="connsiteX115" fmla="*/ 2410925 w 2580926"/>
              <a:gd name="connsiteY115" fmla="*/ 74698 h 1548041"/>
              <a:gd name="connsiteX116" fmla="*/ 2534562 w 2580926"/>
              <a:gd name="connsiteY116" fmla="*/ 85001 h 1548041"/>
              <a:gd name="connsiteX117" fmla="*/ 2580926 w 2580926"/>
              <a:gd name="connsiteY117" fmla="*/ 74698 h 1548041"/>
              <a:gd name="connsiteX118" fmla="*/ 2562896 w 2580926"/>
              <a:gd name="connsiteY118" fmla="*/ 48940 h 1548041"/>
              <a:gd name="connsiteX119" fmla="*/ 2560320 w 2580926"/>
              <a:gd name="connsiteY119" fmla="*/ 18031 h 1548041"/>
              <a:gd name="connsiteX0" fmla="*/ 0 w 2578350"/>
              <a:gd name="connsiteY0" fmla="*/ 146819 h 1548041"/>
              <a:gd name="connsiteX1" fmla="*/ 43788 w 2578350"/>
              <a:gd name="connsiteY1" fmla="*/ 177729 h 1548041"/>
              <a:gd name="connsiteX2" fmla="*/ 115910 w 2578350"/>
              <a:gd name="connsiteY2" fmla="*/ 221517 h 1548041"/>
              <a:gd name="connsiteX3" fmla="*/ 162274 w 2578350"/>
              <a:gd name="connsiteY3" fmla="*/ 234396 h 1548041"/>
              <a:gd name="connsiteX4" fmla="*/ 190607 w 2578350"/>
              <a:gd name="connsiteY4" fmla="*/ 224093 h 1548041"/>
              <a:gd name="connsiteX5" fmla="*/ 221516 w 2578350"/>
              <a:gd name="connsiteY5" fmla="*/ 242123 h 1548041"/>
              <a:gd name="connsiteX6" fmla="*/ 262729 w 2578350"/>
              <a:gd name="connsiteY6" fmla="*/ 221517 h 1548041"/>
              <a:gd name="connsiteX7" fmla="*/ 278184 w 2578350"/>
              <a:gd name="connsiteY7" fmla="*/ 198335 h 1548041"/>
              <a:gd name="connsiteX8" fmla="*/ 309093 w 2578350"/>
              <a:gd name="connsiteY8" fmla="*/ 221517 h 1548041"/>
              <a:gd name="connsiteX9" fmla="*/ 342578 w 2578350"/>
              <a:gd name="connsiteY9" fmla="*/ 200911 h 1548041"/>
              <a:gd name="connsiteX10" fmla="*/ 352881 w 2578350"/>
              <a:gd name="connsiteY10" fmla="*/ 172577 h 1548041"/>
              <a:gd name="connsiteX11" fmla="*/ 401821 w 2578350"/>
              <a:gd name="connsiteY11" fmla="*/ 193183 h 1548041"/>
              <a:gd name="connsiteX12" fmla="*/ 455912 w 2578350"/>
              <a:gd name="connsiteY12" fmla="*/ 249850 h 1548041"/>
              <a:gd name="connsiteX13" fmla="*/ 510003 w 2578350"/>
              <a:gd name="connsiteY13" fmla="*/ 255002 h 1548041"/>
              <a:gd name="connsiteX14" fmla="*/ 530609 w 2578350"/>
              <a:gd name="connsiteY14" fmla="*/ 239547 h 1548041"/>
              <a:gd name="connsiteX15" fmla="*/ 576973 w 2578350"/>
              <a:gd name="connsiteY15" fmla="*/ 242123 h 1548041"/>
              <a:gd name="connsiteX16" fmla="*/ 613034 w 2578350"/>
              <a:gd name="connsiteY16" fmla="*/ 275608 h 1548041"/>
              <a:gd name="connsiteX17" fmla="*/ 628489 w 2578350"/>
              <a:gd name="connsiteY17" fmla="*/ 334851 h 1548041"/>
              <a:gd name="connsiteX18" fmla="*/ 669701 w 2578350"/>
              <a:gd name="connsiteY18" fmla="*/ 404397 h 1548041"/>
              <a:gd name="connsiteX19" fmla="*/ 667125 w 2578350"/>
              <a:gd name="connsiteY19" fmla="*/ 453337 h 1548041"/>
              <a:gd name="connsiteX20" fmla="*/ 690307 w 2578350"/>
              <a:gd name="connsiteY20" fmla="*/ 497125 h 1548041"/>
              <a:gd name="connsiteX21" fmla="*/ 739247 w 2578350"/>
              <a:gd name="connsiteY21" fmla="*/ 507428 h 1548041"/>
              <a:gd name="connsiteX22" fmla="*/ 767581 w 2578350"/>
              <a:gd name="connsiteY22" fmla="*/ 535761 h 1548041"/>
              <a:gd name="connsiteX23" fmla="*/ 844854 w 2578350"/>
              <a:gd name="connsiteY23" fmla="*/ 564095 h 1548041"/>
              <a:gd name="connsiteX24" fmla="*/ 891218 w 2578350"/>
              <a:gd name="connsiteY24" fmla="*/ 543489 h 1548041"/>
              <a:gd name="connsiteX25" fmla="*/ 927279 w 2578350"/>
              <a:gd name="connsiteY25" fmla="*/ 543489 h 1548041"/>
              <a:gd name="connsiteX26" fmla="*/ 955612 w 2578350"/>
              <a:gd name="connsiteY26" fmla="*/ 597580 h 1548041"/>
              <a:gd name="connsiteX27" fmla="*/ 976218 w 2578350"/>
              <a:gd name="connsiteY27" fmla="*/ 638792 h 1548041"/>
              <a:gd name="connsiteX28" fmla="*/ 1012279 w 2578350"/>
              <a:gd name="connsiteY28" fmla="*/ 661974 h 1548041"/>
              <a:gd name="connsiteX29" fmla="*/ 1053492 w 2578350"/>
              <a:gd name="connsiteY29" fmla="*/ 659398 h 1548041"/>
              <a:gd name="connsiteX30" fmla="*/ 1097280 w 2578350"/>
              <a:gd name="connsiteY30" fmla="*/ 695459 h 1548041"/>
              <a:gd name="connsiteX31" fmla="*/ 1164250 w 2578350"/>
              <a:gd name="connsiteY31" fmla="*/ 718641 h 1548041"/>
              <a:gd name="connsiteX32" fmla="*/ 1236372 w 2578350"/>
              <a:gd name="connsiteY32" fmla="*/ 710914 h 1548041"/>
              <a:gd name="connsiteX33" fmla="*/ 1264705 w 2578350"/>
              <a:gd name="connsiteY33" fmla="*/ 692884 h 1548041"/>
              <a:gd name="connsiteX34" fmla="*/ 1280160 w 2578350"/>
              <a:gd name="connsiteY34" fmla="*/ 710914 h 1548041"/>
              <a:gd name="connsiteX35" fmla="*/ 1287887 w 2578350"/>
              <a:gd name="connsiteY35" fmla="*/ 746975 h 1548041"/>
              <a:gd name="connsiteX36" fmla="*/ 1336827 w 2578350"/>
              <a:gd name="connsiteY36" fmla="*/ 759854 h 1548041"/>
              <a:gd name="connsiteX37" fmla="*/ 1357433 w 2578350"/>
              <a:gd name="connsiteY37" fmla="*/ 788187 h 1548041"/>
              <a:gd name="connsiteX38" fmla="*/ 1388342 w 2578350"/>
              <a:gd name="connsiteY38" fmla="*/ 834551 h 1548041"/>
              <a:gd name="connsiteX39" fmla="*/ 1450161 w 2578350"/>
              <a:gd name="connsiteY39" fmla="*/ 850006 h 1548041"/>
              <a:gd name="connsiteX40" fmla="*/ 1519707 w 2578350"/>
              <a:gd name="connsiteY40" fmla="*/ 880915 h 1548041"/>
              <a:gd name="connsiteX41" fmla="*/ 1550616 w 2578350"/>
              <a:gd name="connsiteY41" fmla="*/ 875764 h 1548041"/>
              <a:gd name="connsiteX42" fmla="*/ 1584101 w 2578350"/>
              <a:gd name="connsiteY42" fmla="*/ 904097 h 1548041"/>
              <a:gd name="connsiteX43" fmla="*/ 1630465 w 2578350"/>
              <a:gd name="connsiteY43" fmla="*/ 911824 h 1548041"/>
              <a:gd name="connsiteX44" fmla="*/ 1653647 w 2578350"/>
              <a:gd name="connsiteY44" fmla="*/ 947885 h 1548041"/>
              <a:gd name="connsiteX45" fmla="*/ 1697435 w 2578350"/>
              <a:gd name="connsiteY45" fmla="*/ 983946 h 1548041"/>
              <a:gd name="connsiteX46" fmla="*/ 1759254 w 2578350"/>
              <a:gd name="connsiteY46" fmla="*/ 989098 h 1548041"/>
              <a:gd name="connsiteX47" fmla="*/ 1759254 w 2578350"/>
              <a:gd name="connsiteY47" fmla="*/ 989098 h 1548041"/>
              <a:gd name="connsiteX48" fmla="*/ 1779860 w 2578350"/>
              <a:gd name="connsiteY48" fmla="*/ 968491 h 1548041"/>
              <a:gd name="connsiteX49" fmla="*/ 1797891 w 2578350"/>
              <a:gd name="connsiteY49" fmla="*/ 989098 h 1548041"/>
              <a:gd name="connsiteX50" fmla="*/ 1797891 w 2578350"/>
              <a:gd name="connsiteY50" fmla="*/ 1030310 h 1548041"/>
              <a:gd name="connsiteX51" fmla="*/ 1831376 w 2578350"/>
              <a:gd name="connsiteY51" fmla="*/ 1050916 h 1548041"/>
              <a:gd name="connsiteX52" fmla="*/ 1870012 w 2578350"/>
              <a:gd name="connsiteY52" fmla="*/ 1050916 h 1548041"/>
              <a:gd name="connsiteX53" fmla="*/ 1911225 w 2578350"/>
              <a:gd name="connsiteY53" fmla="*/ 1076674 h 1548041"/>
              <a:gd name="connsiteX54" fmla="*/ 1918952 w 2578350"/>
              <a:gd name="connsiteY54" fmla="*/ 1128189 h 1548041"/>
              <a:gd name="connsiteX55" fmla="*/ 1947285 w 2578350"/>
              <a:gd name="connsiteY55" fmla="*/ 1153947 h 1548041"/>
              <a:gd name="connsiteX56" fmla="*/ 1947285 w 2578350"/>
              <a:gd name="connsiteY56" fmla="*/ 1177129 h 1548041"/>
              <a:gd name="connsiteX57" fmla="*/ 1991074 w 2578350"/>
              <a:gd name="connsiteY57" fmla="*/ 1205463 h 1548041"/>
              <a:gd name="connsiteX58" fmla="*/ 1985922 w 2578350"/>
              <a:gd name="connsiteY58" fmla="*/ 1254402 h 1548041"/>
              <a:gd name="connsiteX59" fmla="*/ 2024559 w 2578350"/>
              <a:gd name="connsiteY59" fmla="*/ 1290463 h 1548041"/>
              <a:gd name="connsiteX60" fmla="*/ 2070923 w 2578350"/>
              <a:gd name="connsiteY60" fmla="*/ 1326524 h 1548041"/>
              <a:gd name="connsiteX61" fmla="*/ 2114711 w 2578350"/>
              <a:gd name="connsiteY61" fmla="*/ 1313645 h 1548041"/>
              <a:gd name="connsiteX62" fmla="*/ 2168802 w 2578350"/>
              <a:gd name="connsiteY62" fmla="*/ 1344555 h 1548041"/>
              <a:gd name="connsiteX63" fmla="*/ 2199711 w 2578350"/>
              <a:gd name="connsiteY63" fmla="*/ 1321373 h 1548041"/>
              <a:gd name="connsiteX64" fmla="*/ 2251227 w 2578350"/>
              <a:gd name="connsiteY64" fmla="*/ 1347130 h 1548041"/>
              <a:gd name="connsiteX65" fmla="*/ 2295015 w 2578350"/>
              <a:gd name="connsiteY65" fmla="*/ 1393494 h 1548041"/>
              <a:gd name="connsiteX66" fmla="*/ 2333652 w 2578350"/>
              <a:gd name="connsiteY66" fmla="*/ 1465616 h 1548041"/>
              <a:gd name="connsiteX67" fmla="*/ 2354258 w 2578350"/>
              <a:gd name="connsiteY67" fmla="*/ 1478495 h 1548041"/>
              <a:gd name="connsiteX68" fmla="*/ 2372288 w 2578350"/>
              <a:gd name="connsiteY68" fmla="*/ 1509404 h 1548041"/>
              <a:gd name="connsiteX69" fmla="*/ 2395470 w 2578350"/>
              <a:gd name="connsiteY69" fmla="*/ 1548041 h 1548041"/>
              <a:gd name="connsiteX70" fmla="*/ 2423804 w 2578350"/>
              <a:gd name="connsiteY70" fmla="*/ 1548041 h 1548041"/>
              <a:gd name="connsiteX71" fmla="*/ 2446986 w 2578350"/>
              <a:gd name="connsiteY71" fmla="*/ 1519707 h 1548041"/>
              <a:gd name="connsiteX72" fmla="*/ 2483047 w 2578350"/>
              <a:gd name="connsiteY72" fmla="*/ 1483646 h 1548041"/>
              <a:gd name="connsiteX73" fmla="*/ 2480471 w 2578350"/>
              <a:gd name="connsiteY73" fmla="*/ 1442434 h 1548041"/>
              <a:gd name="connsiteX74" fmla="*/ 2495925 w 2578350"/>
              <a:gd name="connsiteY74" fmla="*/ 1419252 h 1548041"/>
              <a:gd name="connsiteX75" fmla="*/ 2493350 w 2578350"/>
              <a:gd name="connsiteY75" fmla="*/ 1347130 h 1548041"/>
              <a:gd name="connsiteX76" fmla="*/ 2519107 w 2578350"/>
              <a:gd name="connsiteY76" fmla="*/ 1305918 h 1548041"/>
              <a:gd name="connsiteX77" fmla="*/ 2498501 w 2578350"/>
              <a:gd name="connsiteY77" fmla="*/ 1272433 h 1548041"/>
              <a:gd name="connsiteX78" fmla="*/ 2526835 w 2578350"/>
              <a:gd name="connsiteY78" fmla="*/ 1233796 h 1548041"/>
              <a:gd name="connsiteX79" fmla="*/ 2534562 w 2578350"/>
              <a:gd name="connsiteY79" fmla="*/ 1200311 h 1548041"/>
              <a:gd name="connsiteX80" fmla="*/ 2498501 w 2578350"/>
              <a:gd name="connsiteY80" fmla="*/ 1148796 h 1548041"/>
              <a:gd name="connsiteX81" fmla="*/ 2436683 w 2578350"/>
              <a:gd name="connsiteY81" fmla="*/ 1099856 h 1548041"/>
              <a:gd name="connsiteX82" fmla="*/ 2423804 w 2578350"/>
              <a:gd name="connsiteY82" fmla="*/ 1050916 h 1548041"/>
              <a:gd name="connsiteX83" fmla="*/ 2413501 w 2578350"/>
              <a:gd name="connsiteY83" fmla="*/ 994249 h 1548041"/>
              <a:gd name="connsiteX84" fmla="*/ 2392894 w 2578350"/>
              <a:gd name="connsiteY84" fmla="*/ 958188 h 1548041"/>
              <a:gd name="connsiteX85" fmla="*/ 2405773 w 2578350"/>
              <a:gd name="connsiteY85" fmla="*/ 919552 h 1548041"/>
              <a:gd name="connsiteX86" fmla="*/ 2356834 w 2578350"/>
              <a:gd name="connsiteY86" fmla="*/ 798490 h 1548041"/>
              <a:gd name="connsiteX87" fmla="*/ 2356834 w 2578350"/>
              <a:gd name="connsiteY87" fmla="*/ 754702 h 1548041"/>
              <a:gd name="connsiteX88" fmla="*/ 2331076 w 2578350"/>
              <a:gd name="connsiteY88" fmla="*/ 690308 h 1548041"/>
              <a:gd name="connsiteX89" fmla="*/ 2328500 w 2578350"/>
              <a:gd name="connsiteY89" fmla="*/ 654247 h 1548041"/>
              <a:gd name="connsiteX90" fmla="*/ 2307894 w 2578350"/>
              <a:gd name="connsiteY90" fmla="*/ 615610 h 1548041"/>
              <a:gd name="connsiteX91" fmla="*/ 2228045 w 2578350"/>
              <a:gd name="connsiteY91" fmla="*/ 569246 h 1548041"/>
              <a:gd name="connsiteX92" fmla="*/ 2225469 w 2578350"/>
              <a:gd name="connsiteY92" fmla="*/ 533186 h 1548041"/>
              <a:gd name="connsiteX93" fmla="*/ 2194560 w 2578350"/>
              <a:gd name="connsiteY93" fmla="*/ 510004 h 1548041"/>
              <a:gd name="connsiteX94" fmla="*/ 2171378 w 2578350"/>
              <a:gd name="connsiteY94" fmla="*/ 510004 h 1548041"/>
              <a:gd name="connsiteX95" fmla="*/ 2127590 w 2578350"/>
              <a:gd name="connsiteY95" fmla="*/ 512579 h 1548041"/>
              <a:gd name="connsiteX96" fmla="*/ 2058044 w 2578350"/>
              <a:gd name="connsiteY96" fmla="*/ 473943 h 1548041"/>
              <a:gd name="connsiteX97" fmla="*/ 2006528 w 2578350"/>
              <a:gd name="connsiteY97" fmla="*/ 409548 h 1548041"/>
              <a:gd name="connsiteX98" fmla="*/ 1962740 w 2578350"/>
              <a:gd name="connsiteY98" fmla="*/ 386366 h 1548041"/>
              <a:gd name="connsiteX99" fmla="*/ 1957589 w 2578350"/>
              <a:gd name="connsiteY99" fmla="*/ 350306 h 1548041"/>
              <a:gd name="connsiteX100" fmla="*/ 1934407 w 2578350"/>
              <a:gd name="connsiteY100" fmla="*/ 301366 h 1548041"/>
              <a:gd name="connsiteX101" fmla="*/ 1893194 w 2578350"/>
              <a:gd name="connsiteY101" fmla="*/ 270457 h 1548041"/>
              <a:gd name="connsiteX102" fmla="*/ 1898346 w 2578350"/>
              <a:gd name="connsiteY102" fmla="*/ 226668 h 1548041"/>
              <a:gd name="connsiteX103" fmla="*/ 1934407 w 2578350"/>
              <a:gd name="connsiteY103" fmla="*/ 170001 h 1548041"/>
              <a:gd name="connsiteX104" fmla="*/ 1939558 w 2578350"/>
              <a:gd name="connsiteY104" fmla="*/ 105607 h 1548041"/>
              <a:gd name="connsiteX105" fmla="*/ 1967892 w 2578350"/>
              <a:gd name="connsiteY105" fmla="*/ 69546 h 1548041"/>
              <a:gd name="connsiteX106" fmla="*/ 2014256 w 2578350"/>
              <a:gd name="connsiteY106" fmla="*/ 46364 h 1548041"/>
              <a:gd name="connsiteX107" fmla="*/ 2037438 w 2578350"/>
              <a:gd name="connsiteY107" fmla="*/ 2576 h 1548041"/>
              <a:gd name="connsiteX108" fmla="*/ 2086377 w 2578350"/>
              <a:gd name="connsiteY108" fmla="*/ 0 h 1548041"/>
              <a:gd name="connsiteX109" fmla="*/ 2117287 w 2578350"/>
              <a:gd name="connsiteY109" fmla="*/ 15455 h 1548041"/>
              <a:gd name="connsiteX110" fmla="*/ 2191984 w 2578350"/>
              <a:gd name="connsiteY110" fmla="*/ 0 h 1548041"/>
              <a:gd name="connsiteX111" fmla="*/ 2228045 w 2578350"/>
              <a:gd name="connsiteY111" fmla="*/ 25758 h 1548041"/>
              <a:gd name="connsiteX112" fmla="*/ 2276985 w 2578350"/>
              <a:gd name="connsiteY112" fmla="*/ 18031 h 1548041"/>
              <a:gd name="connsiteX113" fmla="*/ 2328500 w 2578350"/>
              <a:gd name="connsiteY113" fmla="*/ 36061 h 1548041"/>
              <a:gd name="connsiteX114" fmla="*/ 2408349 w 2578350"/>
              <a:gd name="connsiteY114" fmla="*/ 74698 h 1548041"/>
              <a:gd name="connsiteX115" fmla="*/ 2531986 w 2578350"/>
              <a:gd name="connsiteY115" fmla="*/ 85001 h 1548041"/>
              <a:gd name="connsiteX116" fmla="*/ 2578350 w 2578350"/>
              <a:gd name="connsiteY116" fmla="*/ 74698 h 1548041"/>
              <a:gd name="connsiteX117" fmla="*/ 2560320 w 2578350"/>
              <a:gd name="connsiteY117" fmla="*/ 48940 h 1548041"/>
              <a:gd name="connsiteX118" fmla="*/ 2557744 w 2578350"/>
              <a:gd name="connsiteY118" fmla="*/ 18031 h 1548041"/>
              <a:gd name="connsiteX0" fmla="*/ 0 w 2578350"/>
              <a:gd name="connsiteY0" fmla="*/ 146819 h 1548041"/>
              <a:gd name="connsiteX1" fmla="*/ 43788 w 2578350"/>
              <a:gd name="connsiteY1" fmla="*/ 177729 h 1548041"/>
              <a:gd name="connsiteX2" fmla="*/ 115910 w 2578350"/>
              <a:gd name="connsiteY2" fmla="*/ 221517 h 1548041"/>
              <a:gd name="connsiteX3" fmla="*/ 162274 w 2578350"/>
              <a:gd name="connsiteY3" fmla="*/ 234396 h 1548041"/>
              <a:gd name="connsiteX4" fmla="*/ 190607 w 2578350"/>
              <a:gd name="connsiteY4" fmla="*/ 224093 h 1548041"/>
              <a:gd name="connsiteX5" fmla="*/ 221516 w 2578350"/>
              <a:gd name="connsiteY5" fmla="*/ 242123 h 1548041"/>
              <a:gd name="connsiteX6" fmla="*/ 262729 w 2578350"/>
              <a:gd name="connsiteY6" fmla="*/ 221517 h 1548041"/>
              <a:gd name="connsiteX7" fmla="*/ 278184 w 2578350"/>
              <a:gd name="connsiteY7" fmla="*/ 198335 h 1548041"/>
              <a:gd name="connsiteX8" fmla="*/ 309093 w 2578350"/>
              <a:gd name="connsiteY8" fmla="*/ 221517 h 1548041"/>
              <a:gd name="connsiteX9" fmla="*/ 342578 w 2578350"/>
              <a:gd name="connsiteY9" fmla="*/ 200911 h 1548041"/>
              <a:gd name="connsiteX10" fmla="*/ 352881 w 2578350"/>
              <a:gd name="connsiteY10" fmla="*/ 172577 h 1548041"/>
              <a:gd name="connsiteX11" fmla="*/ 401821 w 2578350"/>
              <a:gd name="connsiteY11" fmla="*/ 193183 h 1548041"/>
              <a:gd name="connsiteX12" fmla="*/ 455912 w 2578350"/>
              <a:gd name="connsiteY12" fmla="*/ 249850 h 1548041"/>
              <a:gd name="connsiteX13" fmla="*/ 510003 w 2578350"/>
              <a:gd name="connsiteY13" fmla="*/ 255002 h 1548041"/>
              <a:gd name="connsiteX14" fmla="*/ 530609 w 2578350"/>
              <a:gd name="connsiteY14" fmla="*/ 239547 h 1548041"/>
              <a:gd name="connsiteX15" fmla="*/ 576973 w 2578350"/>
              <a:gd name="connsiteY15" fmla="*/ 242123 h 1548041"/>
              <a:gd name="connsiteX16" fmla="*/ 613034 w 2578350"/>
              <a:gd name="connsiteY16" fmla="*/ 275608 h 1548041"/>
              <a:gd name="connsiteX17" fmla="*/ 628489 w 2578350"/>
              <a:gd name="connsiteY17" fmla="*/ 334851 h 1548041"/>
              <a:gd name="connsiteX18" fmla="*/ 669701 w 2578350"/>
              <a:gd name="connsiteY18" fmla="*/ 404397 h 1548041"/>
              <a:gd name="connsiteX19" fmla="*/ 667125 w 2578350"/>
              <a:gd name="connsiteY19" fmla="*/ 453337 h 1548041"/>
              <a:gd name="connsiteX20" fmla="*/ 690307 w 2578350"/>
              <a:gd name="connsiteY20" fmla="*/ 497125 h 1548041"/>
              <a:gd name="connsiteX21" fmla="*/ 739247 w 2578350"/>
              <a:gd name="connsiteY21" fmla="*/ 507428 h 1548041"/>
              <a:gd name="connsiteX22" fmla="*/ 767581 w 2578350"/>
              <a:gd name="connsiteY22" fmla="*/ 535761 h 1548041"/>
              <a:gd name="connsiteX23" fmla="*/ 844854 w 2578350"/>
              <a:gd name="connsiteY23" fmla="*/ 564095 h 1548041"/>
              <a:gd name="connsiteX24" fmla="*/ 891218 w 2578350"/>
              <a:gd name="connsiteY24" fmla="*/ 543489 h 1548041"/>
              <a:gd name="connsiteX25" fmla="*/ 927279 w 2578350"/>
              <a:gd name="connsiteY25" fmla="*/ 543489 h 1548041"/>
              <a:gd name="connsiteX26" fmla="*/ 955612 w 2578350"/>
              <a:gd name="connsiteY26" fmla="*/ 597580 h 1548041"/>
              <a:gd name="connsiteX27" fmla="*/ 976218 w 2578350"/>
              <a:gd name="connsiteY27" fmla="*/ 638792 h 1548041"/>
              <a:gd name="connsiteX28" fmla="*/ 1012279 w 2578350"/>
              <a:gd name="connsiteY28" fmla="*/ 661974 h 1548041"/>
              <a:gd name="connsiteX29" fmla="*/ 1053492 w 2578350"/>
              <a:gd name="connsiteY29" fmla="*/ 659398 h 1548041"/>
              <a:gd name="connsiteX30" fmla="*/ 1097280 w 2578350"/>
              <a:gd name="connsiteY30" fmla="*/ 695459 h 1548041"/>
              <a:gd name="connsiteX31" fmla="*/ 1164250 w 2578350"/>
              <a:gd name="connsiteY31" fmla="*/ 718641 h 1548041"/>
              <a:gd name="connsiteX32" fmla="*/ 1236372 w 2578350"/>
              <a:gd name="connsiteY32" fmla="*/ 710914 h 1548041"/>
              <a:gd name="connsiteX33" fmla="*/ 1264705 w 2578350"/>
              <a:gd name="connsiteY33" fmla="*/ 692884 h 1548041"/>
              <a:gd name="connsiteX34" fmla="*/ 1280160 w 2578350"/>
              <a:gd name="connsiteY34" fmla="*/ 710914 h 1548041"/>
              <a:gd name="connsiteX35" fmla="*/ 1287887 w 2578350"/>
              <a:gd name="connsiteY35" fmla="*/ 746975 h 1548041"/>
              <a:gd name="connsiteX36" fmla="*/ 1336827 w 2578350"/>
              <a:gd name="connsiteY36" fmla="*/ 759854 h 1548041"/>
              <a:gd name="connsiteX37" fmla="*/ 1357433 w 2578350"/>
              <a:gd name="connsiteY37" fmla="*/ 788187 h 1548041"/>
              <a:gd name="connsiteX38" fmla="*/ 1388342 w 2578350"/>
              <a:gd name="connsiteY38" fmla="*/ 834551 h 1548041"/>
              <a:gd name="connsiteX39" fmla="*/ 1450161 w 2578350"/>
              <a:gd name="connsiteY39" fmla="*/ 850006 h 1548041"/>
              <a:gd name="connsiteX40" fmla="*/ 1519707 w 2578350"/>
              <a:gd name="connsiteY40" fmla="*/ 880915 h 1548041"/>
              <a:gd name="connsiteX41" fmla="*/ 1550616 w 2578350"/>
              <a:gd name="connsiteY41" fmla="*/ 875764 h 1548041"/>
              <a:gd name="connsiteX42" fmla="*/ 1584101 w 2578350"/>
              <a:gd name="connsiteY42" fmla="*/ 904097 h 1548041"/>
              <a:gd name="connsiteX43" fmla="*/ 1630465 w 2578350"/>
              <a:gd name="connsiteY43" fmla="*/ 911824 h 1548041"/>
              <a:gd name="connsiteX44" fmla="*/ 1653647 w 2578350"/>
              <a:gd name="connsiteY44" fmla="*/ 947885 h 1548041"/>
              <a:gd name="connsiteX45" fmla="*/ 1759254 w 2578350"/>
              <a:gd name="connsiteY45" fmla="*/ 989098 h 1548041"/>
              <a:gd name="connsiteX46" fmla="*/ 1759254 w 2578350"/>
              <a:gd name="connsiteY46" fmla="*/ 989098 h 1548041"/>
              <a:gd name="connsiteX47" fmla="*/ 1779860 w 2578350"/>
              <a:gd name="connsiteY47" fmla="*/ 968491 h 1548041"/>
              <a:gd name="connsiteX48" fmla="*/ 1797891 w 2578350"/>
              <a:gd name="connsiteY48" fmla="*/ 989098 h 1548041"/>
              <a:gd name="connsiteX49" fmla="*/ 1797891 w 2578350"/>
              <a:gd name="connsiteY49" fmla="*/ 1030310 h 1548041"/>
              <a:gd name="connsiteX50" fmla="*/ 1831376 w 2578350"/>
              <a:gd name="connsiteY50" fmla="*/ 1050916 h 1548041"/>
              <a:gd name="connsiteX51" fmla="*/ 1870012 w 2578350"/>
              <a:gd name="connsiteY51" fmla="*/ 1050916 h 1548041"/>
              <a:gd name="connsiteX52" fmla="*/ 1911225 w 2578350"/>
              <a:gd name="connsiteY52" fmla="*/ 1076674 h 1548041"/>
              <a:gd name="connsiteX53" fmla="*/ 1918952 w 2578350"/>
              <a:gd name="connsiteY53" fmla="*/ 1128189 h 1548041"/>
              <a:gd name="connsiteX54" fmla="*/ 1947285 w 2578350"/>
              <a:gd name="connsiteY54" fmla="*/ 1153947 h 1548041"/>
              <a:gd name="connsiteX55" fmla="*/ 1947285 w 2578350"/>
              <a:gd name="connsiteY55" fmla="*/ 1177129 h 1548041"/>
              <a:gd name="connsiteX56" fmla="*/ 1991074 w 2578350"/>
              <a:gd name="connsiteY56" fmla="*/ 1205463 h 1548041"/>
              <a:gd name="connsiteX57" fmla="*/ 1985922 w 2578350"/>
              <a:gd name="connsiteY57" fmla="*/ 1254402 h 1548041"/>
              <a:gd name="connsiteX58" fmla="*/ 2024559 w 2578350"/>
              <a:gd name="connsiteY58" fmla="*/ 1290463 h 1548041"/>
              <a:gd name="connsiteX59" fmla="*/ 2070923 w 2578350"/>
              <a:gd name="connsiteY59" fmla="*/ 1326524 h 1548041"/>
              <a:gd name="connsiteX60" fmla="*/ 2114711 w 2578350"/>
              <a:gd name="connsiteY60" fmla="*/ 1313645 h 1548041"/>
              <a:gd name="connsiteX61" fmla="*/ 2168802 w 2578350"/>
              <a:gd name="connsiteY61" fmla="*/ 1344555 h 1548041"/>
              <a:gd name="connsiteX62" fmla="*/ 2199711 w 2578350"/>
              <a:gd name="connsiteY62" fmla="*/ 1321373 h 1548041"/>
              <a:gd name="connsiteX63" fmla="*/ 2251227 w 2578350"/>
              <a:gd name="connsiteY63" fmla="*/ 1347130 h 1548041"/>
              <a:gd name="connsiteX64" fmla="*/ 2295015 w 2578350"/>
              <a:gd name="connsiteY64" fmla="*/ 1393494 h 1548041"/>
              <a:gd name="connsiteX65" fmla="*/ 2333652 w 2578350"/>
              <a:gd name="connsiteY65" fmla="*/ 1465616 h 1548041"/>
              <a:gd name="connsiteX66" fmla="*/ 2354258 w 2578350"/>
              <a:gd name="connsiteY66" fmla="*/ 1478495 h 1548041"/>
              <a:gd name="connsiteX67" fmla="*/ 2372288 w 2578350"/>
              <a:gd name="connsiteY67" fmla="*/ 1509404 h 1548041"/>
              <a:gd name="connsiteX68" fmla="*/ 2395470 w 2578350"/>
              <a:gd name="connsiteY68" fmla="*/ 1548041 h 1548041"/>
              <a:gd name="connsiteX69" fmla="*/ 2423804 w 2578350"/>
              <a:gd name="connsiteY69" fmla="*/ 1548041 h 1548041"/>
              <a:gd name="connsiteX70" fmla="*/ 2446986 w 2578350"/>
              <a:gd name="connsiteY70" fmla="*/ 1519707 h 1548041"/>
              <a:gd name="connsiteX71" fmla="*/ 2483047 w 2578350"/>
              <a:gd name="connsiteY71" fmla="*/ 1483646 h 1548041"/>
              <a:gd name="connsiteX72" fmla="*/ 2480471 w 2578350"/>
              <a:gd name="connsiteY72" fmla="*/ 1442434 h 1548041"/>
              <a:gd name="connsiteX73" fmla="*/ 2495925 w 2578350"/>
              <a:gd name="connsiteY73" fmla="*/ 1419252 h 1548041"/>
              <a:gd name="connsiteX74" fmla="*/ 2493350 w 2578350"/>
              <a:gd name="connsiteY74" fmla="*/ 1347130 h 1548041"/>
              <a:gd name="connsiteX75" fmla="*/ 2519107 w 2578350"/>
              <a:gd name="connsiteY75" fmla="*/ 1305918 h 1548041"/>
              <a:gd name="connsiteX76" fmla="*/ 2498501 w 2578350"/>
              <a:gd name="connsiteY76" fmla="*/ 1272433 h 1548041"/>
              <a:gd name="connsiteX77" fmla="*/ 2526835 w 2578350"/>
              <a:gd name="connsiteY77" fmla="*/ 1233796 h 1548041"/>
              <a:gd name="connsiteX78" fmla="*/ 2534562 w 2578350"/>
              <a:gd name="connsiteY78" fmla="*/ 1200311 h 1548041"/>
              <a:gd name="connsiteX79" fmla="*/ 2498501 w 2578350"/>
              <a:gd name="connsiteY79" fmla="*/ 1148796 h 1548041"/>
              <a:gd name="connsiteX80" fmla="*/ 2436683 w 2578350"/>
              <a:gd name="connsiteY80" fmla="*/ 1099856 h 1548041"/>
              <a:gd name="connsiteX81" fmla="*/ 2423804 w 2578350"/>
              <a:gd name="connsiteY81" fmla="*/ 1050916 h 1548041"/>
              <a:gd name="connsiteX82" fmla="*/ 2413501 w 2578350"/>
              <a:gd name="connsiteY82" fmla="*/ 994249 h 1548041"/>
              <a:gd name="connsiteX83" fmla="*/ 2392894 w 2578350"/>
              <a:gd name="connsiteY83" fmla="*/ 958188 h 1548041"/>
              <a:gd name="connsiteX84" fmla="*/ 2405773 w 2578350"/>
              <a:gd name="connsiteY84" fmla="*/ 919552 h 1548041"/>
              <a:gd name="connsiteX85" fmla="*/ 2356834 w 2578350"/>
              <a:gd name="connsiteY85" fmla="*/ 798490 h 1548041"/>
              <a:gd name="connsiteX86" fmla="*/ 2356834 w 2578350"/>
              <a:gd name="connsiteY86" fmla="*/ 754702 h 1548041"/>
              <a:gd name="connsiteX87" fmla="*/ 2331076 w 2578350"/>
              <a:gd name="connsiteY87" fmla="*/ 690308 h 1548041"/>
              <a:gd name="connsiteX88" fmla="*/ 2328500 w 2578350"/>
              <a:gd name="connsiteY88" fmla="*/ 654247 h 1548041"/>
              <a:gd name="connsiteX89" fmla="*/ 2307894 w 2578350"/>
              <a:gd name="connsiteY89" fmla="*/ 615610 h 1548041"/>
              <a:gd name="connsiteX90" fmla="*/ 2228045 w 2578350"/>
              <a:gd name="connsiteY90" fmla="*/ 569246 h 1548041"/>
              <a:gd name="connsiteX91" fmla="*/ 2225469 w 2578350"/>
              <a:gd name="connsiteY91" fmla="*/ 533186 h 1548041"/>
              <a:gd name="connsiteX92" fmla="*/ 2194560 w 2578350"/>
              <a:gd name="connsiteY92" fmla="*/ 510004 h 1548041"/>
              <a:gd name="connsiteX93" fmla="*/ 2171378 w 2578350"/>
              <a:gd name="connsiteY93" fmla="*/ 510004 h 1548041"/>
              <a:gd name="connsiteX94" fmla="*/ 2127590 w 2578350"/>
              <a:gd name="connsiteY94" fmla="*/ 512579 h 1548041"/>
              <a:gd name="connsiteX95" fmla="*/ 2058044 w 2578350"/>
              <a:gd name="connsiteY95" fmla="*/ 473943 h 1548041"/>
              <a:gd name="connsiteX96" fmla="*/ 2006528 w 2578350"/>
              <a:gd name="connsiteY96" fmla="*/ 409548 h 1548041"/>
              <a:gd name="connsiteX97" fmla="*/ 1962740 w 2578350"/>
              <a:gd name="connsiteY97" fmla="*/ 386366 h 1548041"/>
              <a:gd name="connsiteX98" fmla="*/ 1957589 w 2578350"/>
              <a:gd name="connsiteY98" fmla="*/ 350306 h 1548041"/>
              <a:gd name="connsiteX99" fmla="*/ 1934407 w 2578350"/>
              <a:gd name="connsiteY99" fmla="*/ 301366 h 1548041"/>
              <a:gd name="connsiteX100" fmla="*/ 1893194 w 2578350"/>
              <a:gd name="connsiteY100" fmla="*/ 270457 h 1548041"/>
              <a:gd name="connsiteX101" fmla="*/ 1898346 w 2578350"/>
              <a:gd name="connsiteY101" fmla="*/ 226668 h 1548041"/>
              <a:gd name="connsiteX102" fmla="*/ 1934407 w 2578350"/>
              <a:gd name="connsiteY102" fmla="*/ 170001 h 1548041"/>
              <a:gd name="connsiteX103" fmla="*/ 1939558 w 2578350"/>
              <a:gd name="connsiteY103" fmla="*/ 105607 h 1548041"/>
              <a:gd name="connsiteX104" fmla="*/ 1967892 w 2578350"/>
              <a:gd name="connsiteY104" fmla="*/ 69546 h 1548041"/>
              <a:gd name="connsiteX105" fmla="*/ 2014256 w 2578350"/>
              <a:gd name="connsiteY105" fmla="*/ 46364 h 1548041"/>
              <a:gd name="connsiteX106" fmla="*/ 2037438 w 2578350"/>
              <a:gd name="connsiteY106" fmla="*/ 2576 h 1548041"/>
              <a:gd name="connsiteX107" fmla="*/ 2086377 w 2578350"/>
              <a:gd name="connsiteY107" fmla="*/ 0 h 1548041"/>
              <a:gd name="connsiteX108" fmla="*/ 2117287 w 2578350"/>
              <a:gd name="connsiteY108" fmla="*/ 15455 h 1548041"/>
              <a:gd name="connsiteX109" fmla="*/ 2191984 w 2578350"/>
              <a:gd name="connsiteY109" fmla="*/ 0 h 1548041"/>
              <a:gd name="connsiteX110" fmla="*/ 2228045 w 2578350"/>
              <a:gd name="connsiteY110" fmla="*/ 25758 h 1548041"/>
              <a:gd name="connsiteX111" fmla="*/ 2276985 w 2578350"/>
              <a:gd name="connsiteY111" fmla="*/ 18031 h 1548041"/>
              <a:gd name="connsiteX112" fmla="*/ 2328500 w 2578350"/>
              <a:gd name="connsiteY112" fmla="*/ 36061 h 1548041"/>
              <a:gd name="connsiteX113" fmla="*/ 2408349 w 2578350"/>
              <a:gd name="connsiteY113" fmla="*/ 74698 h 1548041"/>
              <a:gd name="connsiteX114" fmla="*/ 2531986 w 2578350"/>
              <a:gd name="connsiteY114" fmla="*/ 85001 h 1548041"/>
              <a:gd name="connsiteX115" fmla="*/ 2578350 w 2578350"/>
              <a:gd name="connsiteY115" fmla="*/ 74698 h 1548041"/>
              <a:gd name="connsiteX116" fmla="*/ 2560320 w 2578350"/>
              <a:gd name="connsiteY116" fmla="*/ 48940 h 1548041"/>
              <a:gd name="connsiteX117" fmla="*/ 2557744 w 2578350"/>
              <a:gd name="connsiteY117" fmla="*/ 18031 h 1548041"/>
              <a:gd name="connsiteX0" fmla="*/ 0 w 2578350"/>
              <a:gd name="connsiteY0" fmla="*/ 146819 h 1548041"/>
              <a:gd name="connsiteX1" fmla="*/ 43788 w 2578350"/>
              <a:gd name="connsiteY1" fmla="*/ 177729 h 1548041"/>
              <a:gd name="connsiteX2" fmla="*/ 115910 w 2578350"/>
              <a:gd name="connsiteY2" fmla="*/ 221517 h 1548041"/>
              <a:gd name="connsiteX3" fmla="*/ 162274 w 2578350"/>
              <a:gd name="connsiteY3" fmla="*/ 234396 h 1548041"/>
              <a:gd name="connsiteX4" fmla="*/ 190607 w 2578350"/>
              <a:gd name="connsiteY4" fmla="*/ 224093 h 1548041"/>
              <a:gd name="connsiteX5" fmla="*/ 221516 w 2578350"/>
              <a:gd name="connsiteY5" fmla="*/ 242123 h 1548041"/>
              <a:gd name="connsiteX6" fmla="*/ 262729 w 2578350"/>
              <a:gd name="connsiteY6" fmla="*/ 221517 h 1548041"/>
              <a:gd name="connsiteX7" fmla="*/ 278184 w 2578350"/>
              <a:gd name="connsiteY7" fmla="*/ 198335 h 1548041"/>
              <a:gd name="connsiteX8" fmla="*/ 309093 w 2578350"/>
              <a:gd name="connsiteY8" fmla="*/ 221517 h 1548041"/>
              <a:gd name="connsiteX9" fmla="*/ 342578 w 2578350"/>
              <a:gd name="connsiteY9" fmla="*/ 200911 h 1548041"/>
              <a:gd name="connsiteX10" fmla="*/ 352881 w 2578350"/>
              <a:gd name="connsiteY10" fmla="*/ 172577 h 1548041"/>
              <a:gd name="connsiteX11" fmla="*/ 401821 w 2578350"/>
              <a:gd name="connsiteY11" fmla="*/ 193183 h 1548041"/>
              <a:gd name="connsiteX12" fmla="*/ 455912 w 2578350"/>
              <a:gd name="connsiteY12" fmla="*/ 249850 h 1548041"/>
              <a:gd name="connsiteX13" fmla="*/ 510003 w 2578350"/>
              <a:gd name="connsiteY13" fmla="*/ 255002 h 1548041"/>
              <a:gd name="connsiteX14" fmla="*/ 530609 w 2578350"/>
              <a:gd name="connsiteY14" fmla="*/ 239547 h 1548041"/>
              <a:gd name="connsiteX15" fmla="*/ 576973 w 2578350"/>
              <a:gd name="connsiteY15" fmla="*/ 242123 h 1548041"/>
              <a:gd name="connsiteX16" fmla="*/ 613034 w 2578350"/>
              <a:gd name="connsiteY16" fmla="*/ 275608 h 1548041"/>
              <a:gd name="connsiteX17" fmla="*/ 628489 w 2578350"/>
              <a:gd name="connsiteY17" fmla="*/ 334851 h 1548041"/>
              <a:gd name="connsiteX18" fmla="*/ 669701 w 2578350"/>
              <a:gd name="connsiteY18" fmla="*/ 404397 h 1548041"/>
              <a:gd name="connsiteX19" fmla="*/ 667125 w 2578350"/>
              <a:gd name="connsiteY19" fmla="*/ 453337 h 1548041"/>
              <a:gd name="connsiteX20" fmla="*/ 690307 w 2578350"/>
              <a:gd name="connsiteY20" fmla="*/ 497125 h 1548041"/>
              <a:gd name="connsiteX21" fmla="*/ 739247 w 2578350"/>
              <a:gd name="connsiteY21" fmla="*/ 507428 h 1548041"/>
              <a:gd name="connsiteX22" fmla="*/ 767581 w 2578350"/>
              <a:gd name="connsiteY22" fmla="*/ 535761 h 1548041"/>
              <a:gd name="connsiteX23" fmla="*/ 844854 w 2578350"/>
              <a:gd name="connsiteY23" fmla="*/ 564095 h 1548041"/>
              <a:gd name="connsiteX24" fmla="*/ 891218 w 2578350"/>
              <a:gd name="connsiteY24" fmla="*/ 543489 h 1548041"/>
              <a:gd name="connsiteX25" fmla="*/ 927279 w 2578350"/>
              <a:gd name="connsiteY25" fmla="*/ 543489 h 1548041"/>
              <a:gd name="connsiteX26" fmla="*/ 955612 w 2578350"/>
              <a:gd name="connsiteY26" fmla="*/ 597580 h 1548041"/>
              <a:gd name="connsiteX27" fmla="*/ 976218 w 2578350"/>
              <a:gd name="connsiteY27" fmla="*/ 638792 h 1548041"/>
              <a:gd name="connsiteX28" fmla="*/ 1012279 w 2578350"/>
              <a:gd name="connsiteY28" fmla="*/ 661974 h 1548041"/>
              <a:gd name="connsiteX29" fmla="*/ 1053492 w 2578350"/>
              <a:gd name="connsiteY29" fmla="*/ 659398 h 1548041"/>
              <a:gd name="connsiteX30" fmla="*/ 1097280 w 2578350"/>
              <a:gd name="connsiteY30" fmla="*/ 695459 h 1548041"/>
              <a:gd name="connsiteX31" fmla="*/ 1164250 w 2578350"/>
              <a:gd name="connsiteY31" fmla="*/ 718641 h 1548041"/>
              <a:gd name="connsiteX32" fmla="*/ 1236372 w 2578350"/>
              <a:gd name="connsiteY32" fmla="*/ 710914 h 1548041"/>
              <a:gd name="connsiteX33" fmla="*/ 1264705 w 2578350"/>
              <a:gd name="connsiteY33" fmla="*/ 692884 h 1548041"/>
              <a:gd name="connsiteX34" fmla="*/ 1280160 w 2578350"/>
              <a:gd name="connsiteY34" fmla="*/ 710914 h 1548041"/>
              <a:gd name="connsiteX35" fmla="*/ 1287887 w 2578350"/>
              <a:gd name="connsiteY35" fmla="*/ 746975 h 1548041"/>
              <a:gd name="connsiteX36" fmla="*/ 1336827 w 2578350"/>
              <a:gd name="connsiteY36" fmla="*/ 759854 h 1548041"/>
              <a:gd name="connsiteX37" fmla="*/ 1357433 w 2578350"/>
              <a:gd name="connsiteY37" fmla="*/ 788187 h 1548041"/>
              <a:gd name="connsiteX38" fmla="*/ 1388342 w 2578350"/>
              <a:gd name="connsiteY38" fmla="*/ 834551 h 1548041"/>
              <a:gd name="connsiteX39" fmla="*/ 1450161 w 2578350"/>
              <a:gd name="connsiteY39" fmla="*/ 850006 h 1548041"/>
              <a:gd name="connsiteX40" fmla="*/ 1519707 w 2578350"/>
              <a:gd name="connsiteY40" fmla="*/ 880915 h 1548041"/>
              <a:gd name="connsiteX41" fmla="*/ 1550616 w 2578350"/>
              <a:gd name="connsiteY41" fmla="*/ 875764 h 1548041"/>
              <a:gd name="connsiteX42" fmla="*/ 1584101 w 2578350"/>
              <a:gd name="connsiteY42" fmla="*/ 904097 h 1548041"/>
              <a:gd name="connsiteX43" fmla="*/ 1630465 w 2578350"/>
              <a:gd name="connsiteY43" fmla="*/ 911824 h 1548041"/>
              <a:gd name="connsiteX44" fmla="*/ 1655917 w 2578350"/>
              <a:gd name="connsiteY44" fmla="*/ 941074 h 1548041"/>
              <a:gd name="connsiteX45" fmla="*/ 1759254 w 2578350"/>
              <a:gd name="connsiteY45" fmla="*/ 989098 h 1548041"/>
              <a:gd name="connsiteX46" fmla="*/ 1759254 w 2578350"/>
              <a:gd name="connsiteY46" fmla="*/ 989098 h 1548041"/>
              <a:gd name="connsiteX47" fmla="*/ 1779860 w 2578350"/>
              <a:gd name="connsiteY47" fmla="*/ 968491 h 1548041"/>
              <a:gd name="connsiteX48" fmla="*/ 1797891 w 2578350"/>
              <a:gd name="connsiteY48" fmla="*/ 989098 h 1548041"/>
              <a:gd name="connsiteX49" fmla="*/ 1797891 w 2578350"/>
              <a:gd name="connsiteY49" fmla="*/ 1030310 h 1548041"/>
              <a:gd name="connsiteX50" fmla="*/ 1831376 w 2578350"/>
              <a:gd name="connsiteY50" fmla="*/ 1050916 h 1548041"/>
              <a:gd name="connsiteX51" fmla="*/ 1870012 w 2578350"/>
              <a:gd name="connsiteY51" fmla="*/ 1050916 h 1548041"/>
              <a:gd name="connsiteX52" fmla="*/ 1911225 w 2578350"/>
              <a:gd name="connsiteY52" fmla="*/ 1076674 h 1548041"/>
              <a:gd name="connsiteX53" fmla="*/ 1918952 w 2578350"/>
              <a:gd name="connsiteY53" fmla="*/ 1128189 h 1548041"/>
              <a:gd name="connsiteX54" fmla="*/ 1947285 w 2578350"/>
              <a:gd name="connsiteY54" fmla="*/ 1153947 h 1548041"/>
              <a:gd name="connsiteX55" fmla="*/ 1947285 w 2578350"/>
              <a:gd name="connsiteY55" fmla="*/ 1177129 h 1548041"/>
              <a:gd name="connsiteX56" fmla="*/ 1991074 w 2578350"/>
              <a:gd name="connsiteY56" fmla="*/ 1205463 h 1548041"/>
              <a:gd name="connsiteX57" fmla="*/ 1985922 w 2578350"/>
              <a:gd name="connsiteY57" fmla="*/ 1254402 h 1548041"/>
              <a:gd name="connsiteX58" fmla="*/ 2024559 w 2578350"/>
              <a:gd name="connsiteY58" fmla="*/ 1290463 h 1548041"/>
              <a:gd name="connsiteX59" fmla="*/ 2070923 w 2578350"/>
              <a:gd name="connsiteY59" fmla="*/ 1326524 h 1548041"/>
              <a:gd name="connsiteX60" fmla="*/ 2114711 w 2578350"/>
              <a:gd name="connsiteY60" fmla="*/ 1313645 h 1548041"/>
              <a:gd name="connsiteX61" fmla="*/ 2168802 w 2578350"/>
              <a:gd name="connsiteY61" fmla="*/ 1344555 h 1548041"/>
              <a:gd name="connsiteX62" fmla="*/ 2199711 w 2578350"/>
              <a:gd name="connsiteY62" fmla="*/ 1321373 h 1548041"/>
              <a:gd name="connsiteX63" fmla="*/ 2251227 w 2578350"/>
              <a:gd name="connsiteY63" fmla="*/ 1347130 h 1548041"/>
              <a:gd name="connsiteX64" fmla="*/ 2295015 w 2578350"/>
              <a:gd name="connsiteY64" fmla="*/ 1393494 h 1548041"/>
              <a:gd name="connsiteX65" fmla="*/ 2333652 w 2578350"/>
              <a:gd name="connsiteY65" fmla="*/ 1465616 h 1548041"/>
              <a:gd name="connsiteX66" fmla="*/ 2354258 w 2578350"/>
              <a:gd name="connsiteY66" fmla="*/ 1478495 h 1548041"/>
              <a:gd name="connsiteX67" fmla="*/ 2372288 w 2578350"/>
              <a:gd name="connsiteY67" fmla="*/ 1509404 h 1548041"/>
              <a:gd name="connsiteX68" fmla="*/ 2395470 w 2578350"/>
              <a:gd name="connsiteY68" fmla="*/ 1548041 h 1548041"/>
              <a:gd name="connsiteX69" fmla="*/ 2423804 w 2578350"/>
              <a:gd name="connsiteY69" fmla="*/ 1548041 h 1548041"/>
              <a:gd name="connsiteX70" fmla="*/ 2446986 w 2578350"/>
              <a:gd name="connsiteY70" fmla="*/ 1519707 h 1548041"/>
              <a:gd name="connsiteX71" fmla="*/ 2483047 w 2578350"/>
              <a:gd name="connsiteY71" fmla="*/ 1483646 h 1548041"/>
              <a:gd name="connsiteX72" fmla="*/ 2480471 w 2578350"/>
              <a:gd name="connsiteY72" fmla="*/ 1442434 h 1548041"/>
              <a:gd name="connsiteX73" fmla="*/ 2495925 w 2578350"/>
              <a:gd name="connsiteY73" fmla="*/ 1419252 h 1548041"/>
              <a:gd name="connsiteX74" fmla="*/ 2493350 w 2578350"/>
              <a:gd name="connsiteY74" fmla="*/ 1347130 h 1548041"/>
              <a:gd name="connsiteX75" fmla="*/ 2519107 w 2578350"/>
              <a:gd name="connsiteY75" fmla="*/ 1305918 h 1548041"/>
              <a:gd name="connsiteX76" fmla="*/ 2498501 w 2578350"/>
              <a:gd name="connsiteY76" fmla="*/ 1272433 h 1548041"/>
              <a:gd name="connsiteX77" fmla="*/ 2526835 w 2578350"/>
              <a:gd name="connsiteY77" fmla="*/ 1233796 h 1548041"/>
              <a:gd name="connsiteX78" fmla="*/ 2534562 w 2578350"/>
              <a:gd name="connsiteY78" fmla="*/ 1200311 h 1548041"/>
              <a:gd name="connsiteX79" fmla="*/ 2498501 w 2578350"/>
              <a:gd name="connsiteY79" fmla="*/ 1148796 h 1548041"/>
              <a:gd name="connsiteX80" fmla="*/ 2436683 w 2578350"/>
              <a:gd name="connsiteY80" fmla="*/ 1099856 h 1548041"/>
              <a:gd name="connsiteX81" fmla="*/ 2423804 w 2578350"/>
              <a:gd name="connsiteY81" fmla="*/ 1050916 h 1548041"/>
              <a:gd name="connsiteX82" fmla="*/ 2413501 w 2578350"/>
              <a:gd name="connsiteY82" fmla="*/ 994249 h 1548041"/>
              <a:gd name="connsiteX83" fmla="*/ 2392894 w 2578350"/>
              <a:gd name="connsiteY83" fmla="*/ 958188 h 1548041"/>
              <a:gd name="connsiteX84" fmla="*/ 2405773 w 2578350"/>
              <a:gd name="connsiteY84" fmla="*/ 919552 h 1548041"/>
              <a:gd name="connsiteX85" fmla="*/ 2356834 w 2578350"/>
              <a:gd name="connsiteY85" fmla="*/ 798490 h 1548041"/>
              <a:gd name="connsiteX86" fmla="*/ 2356834 w 2578350"/>
              <a:gd name="connsiteY86" fmla="*/ 754702 h 1548041"/>
              <a:gd name="connsiteX87" fmla="*/ 2331076 w 2578350"/>
              <a:gd name="connsiteY87" fmla="*/ 690308 h 1548041"/>
              <a:gd name="connsiteX88" fmla="*/ 2328500 w 2578350"/>
              <a:gd name="connsiteY88" fmla="*/ 654247 h 1548041"/>
              <a:gd name="connsiteX89" fmla="*/ 2307894 w 2578350"/>
              <a:gd name="connsiteY89" fmla="*/ 615610 h 1548041"/>
              <a:gd name="connsiteX90" fmla="*/ 2228045 w 2578350"/>
              <a:gd name="connsiteY90" fmla="*/ 569246 h 1548041"/>
              <a:gd name="connsiteX91" fmla="*/ 2225469 w 2578350"/>
              <a:gd name="connsiteY91" fmla="*/ 533186 h 1548041"/>
              <a:gd name="connsiteX92" fmla="*/ 2194560 w 2578350"/>
              <a:gd name="connsiteY92" fmla="*/ 510004 h 1548041"/>
              <a:gd name="connsiteX93" fmla="*/ 2171378 w 2578350"/>
              <a:gd name="connsiteY93" fmla="*/ 510004 h 1548041"/>
              <a:gd name="connsiteX94" fmla="*/ 2127590 w 2578350"/>
              <a:gd name="connsiteY94" fmla="*/ 512579 h 1548041"/>
              <a:gd name="connsiteX95" fmla="*/ 2058044 w 2578350"/>
              <a:gd name="connsiteY95" fmla="*/ 473943 h 1548041"/>
              <a:gd name="connsiteX96" fmla="*/ 2006528 w 2578350"/>
              <a:gd name="connsiteY96" fmla="*/ 409548 h 1548041"/>
              <a:gd name="connsiteX97" fmla="*/ 1962740 w 2578350"/>
              <a:gd name="connsiteY97" fmla="*/ 386366 h 1548041"/>
              <a:gd name="connsiteX98" fmla="*/ 1957589 w 2578350"/>
              <a:gd name="connsiteY98" fmla="*/ 350306 h 1548041"/>
              <a:gd name="connsiteX99" fmla="*/ 1934407 w 2578350"/>
              <a:gd name="connsiteY99" fmla="*/ 301366 h 1548041"/>
              <a:gd name="connsiteX100" fmla="*/ 1893194 w 2578350"/>
              <a:gd name="connsiteY100" fmla="*/ 270457 h 1548041"/>
              <a:gd name="connsiteX101" fmla="*/ 1898346 w 2578350"/>
              <a:gd name="connsiteY101" fmla="*/ 226668 h 1548041"/>
              <a:gd name="connsiteX102" fmla="*/ 1934407 w 2578350"/>
              <a:gd name="connsiteY102" fmla="*/ 170001 h 1548041"/>
              <a:gd name="connsiteX103" fmla="*/ 1939558 w 2578350"/>
              <a:gd name="connsiteY103" fmla="*/ 105607 h 1548041"/>
              <a:gd name="connsiteX104" fmla="*/ 1967892 w 2578350"/>
              <a:gd name="connsiteY104" fmla="*/ 69546 h 1548041"/>
              <a:gd name="connsiteX105" fmla="*/ 2014256 w 2578350"/>
              <a:gd name="connsiteY105" fmla="*/ 46364 h 1548041"/>
              <a:gd name="connsiteX106" fmla="*/ 2037438 w 2578350"/>
              <a:gd name="connsiteY106" fmla="*/ 2576 h 1548041"/>
              <a:gd name="connsiteX107" fmla="*/ 2086377 w 2578350"/>
              <a:gd name="connsiteY107" fmla="*/ 0 h 1548041"/>
              <a:gd name="connsiteX108" fmla="*/ 2117287 w 2578350"/>
              <a:gd name="connsiteY108" fmla="*/ 15455 h 1548041"/>
              <a:gd name="connsiteX109" fmla="*/ 2191984 w 2578350"/>
              <a:gd name="connsiteY109" fmla="*/ 0 h 1548041"/>
              <a:gd name="connsiteX110" fmla="*/ 2228045 w 2578350"/>
              <a:gd name="connsiteY110" fmla="*/ 25758 h 1548041"/>
              <a:gd name="connsiteX111" fmla="*/ 2276985 w 2578350"/>
              <a:gd name="connsiteY111" fmla="*/ 18031 h 1548041"/>
              <a:gd name="connsiteX112" fmla="*/ 2328500 w 2578350"/>
              <a:gd name="connsiteY112" fmla="*/ 36061 h 1548041"/>
              <a:gd name="connsiteX113" fmla="*/ 2408349 w 2578350"/>
              <a:gd name="connsiteY113" fmla="*/ 74698 h 1548041"/>
              <a:gd name="connsiteX114" fmla="*/ 2531986 w 2578350"/>
              <a:gd name="connsiteY114" fmla="*/ 85001 h 1548041"/>
              <a:gd name="connsiteX115" fmla="*/ 2578350 w 2578350"/>
              <a:gd name="connsiteY115" fmla="*/ 74698 h 1548041"/>
              <a:gd name="connsiteX116" fmla="*/ 2560320 w 2578350"/>
              <a:gd name="connsiteY116" fmla="*/ 48940 h 1548041"/>
              <a:gd name="connsiteX117" fmla="*/ 2557744 w 2578350"/>
              <a:gd name="connsiteY117" fmla="*/ 18031 h 1548041"/>
              <a:gd name="connsiteX0" fmla="*/ 0 w 2578350"/>
              <a:gd name="connsiteY0" fmla="*/ 146819 h 1548041"/>
              <a:gd name="connsiteX1" fmla="*/ 43788 w 2578350"/>
              <a:gd name="connsiteY1" fmla="*/ 177729 h 1548041"/>
              <a:gd name="connsiteX2" fmla="*/ 115910 w 2578350"/>
              <a:gd name="connsiteY2" fmla="*/ 221517 h 1548041"/>
              <a:gd name="connsiteX3" fmla="*/ 162274 w 2578350"/>
              <a:gd name="connsiteY3" fmla="*/ 234396 h 1548041"/>
              <a:gd name="connsiteX4" fmla="*/ 190607 w 2578350"/>
              <a:gd name="connsiteY4" fmla="*/ 224093 h 1548041"/>
              <a:gd name="connsiteX5" fmla="*/ 221516 w 2578350"/>
              <a:gd name="connsiteY5" fmla="*/ 242123 h 1548041"/>
              <a:gd name="connsiteX6" fmla="*/ 262729 w 2578350"/>
              <a:gd name="connsiteY6" fmla="*/ 221517 h 1548041"/>
              <a:gd name="connsiteX7" fmla="*/ 278184 w 2578350"/>
              <a:gd name="connsiteY7" fmla="*/ 198335 h 1548041"/>
              <a:gd name="connsiteX8" fmla="*/ 309093 w 2578350"/>
              <a:gd name="connsiteY8" fmla="*/ 221517 h 1548041"/>
              <a:gd name="connsiteX9" fmla="*/ 342578 w 2578350"/>
              <a:gd name="connsiteY9" fmla="*/ 200911 h 1548041"/>
              <a:gd name="connsiteX10" fmla="*/ 352881 w 2578350"/>
              <a:gd name="connsiteY10" fmla="*/ 172577 h 1548041"/>
              <a:gd name="connsiteX11" fmla="*/ 401821 w 2578350"/>
              <a:gd name="connsiteY11" fmla="*/ 193183 h 1548041"/>
              <a:gd name="connsiteX12" fmla="*/ 455912 w 2578350"/>
              <a:gd name="connsiteY12" fmla="*/ 249850 h 1548041"/>
              <a:gd name="connsiteX13" fmla="*/ 510003 w 2578350"/>
              <a:gd name="connsiteY13" fmla="*/ 255002 h 1548041"/>
              <a:gd name="connsiteX14" fmla="*/ 530609 w 2578350"/>
              <a:gd name="connsiteY14" fmla="*/ 239547 h 1548041"/>
              <a:gd name="connsiteX15" fmla="*/ 576973 w 2578350"/>
              <a:gd name="connsiteY15" fmla="*/ 242123 h 1548041"/>
              <a:gd name="connsiteX16" fmla="*/ 613034 w 2578350"/>
              <a:gd name="connsiteY16" fmla="*/ 275608 h 1548041"/>
              <a:gd name="connsiteX17" fmla="*/ 628489 w 2578350"/>
              <a:gd name="connsiteY17" fmla="*/ 334851 h 1548041"/>
              <a:gd name="connsiteX18" fmla="*/ 669701 w 2578350"/>
              <a:gd name="connsiteY18" fmla="*/ 404397 h 1548041"/>
              <a:gd name="connsiteX19" fmla="*/ 667125 w 2578350"/>
              <a:gd name="connsiteY19" fmla="*/ 453337 h 1548041"/>
              <a:gd name="connsiteX20" fmla="*/ 690307 w 2578350"/>
              <a:gd name="connsiteY20" fmla="*/ 497125 h 1548041"/>
              <a:gd name="connsiteX21" fmla="*/ 739247 w 2578350"/>
              <a:gd name="connsiteY21" fmla="*/ 507428 h 1548041"/>
              <a:gd name="connsiteX22" fmla="*/ 767581 w 2578350"/>
              <a:gd name="connsiteY22" fmla="*/ 535761 h 1548041"/>
              <a:gd name="connsiteX23" fmla="*/ 844854 w 2578350"/>
              <a:gd name="connsiteY23" fmla="*/ 564095 h 1548041"/>
              <a:gd name="connsiteX24" fmla="*/ 891218 w 2578350"/>
              <a:gd name="connsiteY24" fmla="*/ 543489 h 1548041"/>
              <a:gd name="connsiteX25" fmla="*/ 927279 w 2578350"/>
              <a:gd name="connsiteY25" fmla="*/ 543489 h 1548041"/>
              <a:gd name="connsiteX26" fmla="*/ 955612 w 2578350"/>
              <a:gd name="connsiteY26" fmla="*/ 597580 h 1548041"/>
              <a:gd name="connsiteX27" fmla="*/ 976218 w 2578350"/>
              <a:gd name="connsiteY27" fmla="*/ 638792 h 1548041"/>
              <a:gd name="connsiteX28" fmla="*/ 1012279 w 2578350"/>
              <a:gd name="connsiteY28" fmla="*/ 661974 h 1548041"/>
              <a:gd name="connsiteX29" fmla="*/ 1053492 w 2578350"/>
              <a:gd name="connsiteY29" fmla="*/ 659398 h 1548041"/>
              <a:gd name="connsiteX30" fmla="*/ 1097280 w 2578350"/>
              <a:gd name="connsiteY30" fmla="*/ 695459 h 1548041"/>
              <a:gd name="connsiteX31" fmla="*/ 1164250 w 2578350"/>
              <a:gd name="connsiteY31" fmla="*/ 718641 h 1548041"/>
              <a:gd name="connsiteX32" fmla="*/ 1236372 w 2578350"/>
              <a:gd name="connsiteY32" fmla="*/ 710914 h 1548041"/>
              <a:gd name="connsiteX33" fmla="*/ 1264705 w 2578350"/>
              <a:gd name="connsiteY33" fmla="*/ 692884 h 1548041"/>
              <a:gd name="connsiteX34" fmla="*/ 1280160 w 2578350"/>
              <a:gd name="connsiteY34" fmla="*/ 710914 h 1548041"/>
              <a:gd name="connsiteX35" fmla="*/ 1287887 w 2578350"/>
              <a:gd name="connsiteY35" fmla="*/ 746975 h 1548041"/>
              <a:gd name="connsiteX36" fmla="*/ 1336827 w 2578350"/>
              <a:gd name="connsiteY36" fmla="*/ 759854 h 1548041"/>
              <a:gd name="connsiteX37" fmla="*/ 1357433 w 2578350"/>
              <a:gd name="connsiteY37" fmla="*/ 788187 h 1548041"/>
              <a:gd name="connsiteX38" fmla="*/ 1388342 w 2578350"/>
              <a:gd name="connsiteY38" fmla="*/ 834551 h 1548041"/>
              <a:gd name="connsiteX39" fmla="*/ 1450161 w 2578350"/>
              <a:gd name="connsiteY39" fmla="*/ 850006 h 1548041"/>
              <a:gd name="connsiteX40" fmla="*/ 1519707 w 2578350"/>
              <a:gd name="connsiteY40" fmla="*/ 880915 h 1548041"/>
              <a:gd name="connsiteX41" fmla="*/ 1550616 w 2578350"/>
              <a:gd name="connsiteY41" fmla="*/ 875764 h 1548041"/>
              <a:gd name="connsiteX42" fmla="*/ 1584101 w 2578350"/>
              <a:gd name="connsiteY42" fmla="*/ 904097 h 1548041"/>
              <a:gd name="connsiteX43" fmla="*/ 1630465 w 2578350"/>
              <a:gd name="connsiteY43" fmla="*/ 911824 h 1548041"/>
              <a:gd name="connsiteX44" fmla="*/ 1655917 w 2578350"/>
              <a:gd name="connsiteY44" fmla="*/ 941074 h 1548041"/>
              <a:gd name="connsiteX45" fmla="*/ 1759254 w 2578350"/>
              <a:gd name="connsiteY45" fmla="*/ 989098 h 1548041"/>
              <a:gd name="connsiteX46" fmla="*/ 1759254 w 2578350"/>
              <a:gd name="connsiteY46" fmla="*/ 989098 h 1548041"/>
              <a:gd name="connsiteX47" fmla="*/ 1779860 w 2578350"/>
              <a:gd name="connsiteY47" fmla="*/ 968491 h 1548041"/>
              <a:gd name="connsiteX48" fmla="*/ 1797891 w 2578350"/>
              <a:gd name="connsiteY48" fmla="*/ 989098 h 1548041"/>
              <a:gd name="connsiteX49" fmla="*/ 1797891 w 2578350"/>
              <a:gd name="connsiteY49" fmla="*/ 1030310 h 1548041"/>
              <a:gd name="connsiteX50" fmla="*/ 1831376 w 2578350"/>
              <a:gd name="connsiteY50" fmla="*/ 1050916 h 1548041"/>
              <a:gd name="connsiteX51" fmla="*/ 1870012 w 2578350"/>
              <a:gd name="connsiteY51" fmla="*/ 1050916 h 1548041"/>
              <a:gd name="connsiteX52" fmla="*/ 1911225 w 2578350"/>
              <a:gd name="connsiteY52" fmla="*/ 1076674 h 1548041"/>
              <a:gd name="connsiteX53" fmla="*/ 1918952 w 2578350"/>
              <a:gd name="connsiteY53" fmla="*/ 1128189 h 1548041"/>
              <a:gd name="connsiteX54" fmla="*/ 1947285 w 2578350"/>
              <a:gd name="connsiteY54" fmla="*/ 1153947 h 1548041"/>
              <a:gd name="connsiteX55" fmla="*/ 1947285 w 2578350"/>
              <a:gd name="connsiteY55" fmla="*/ 1177129 h 1548041"/>
              <a:gd name="connsiteX56" fmla="*/ 1991074 w 2578350"/>
              <a:gd name="connsiteY56" fmla="*/ 1205463 h 1548041"/>
              <a:gd name="connsiteX57" fmla="*/ 1985922 w 2578350"/>
              <a:gd name="connsiteY57" fmla="*/ 1254402 h 1548041"/>
              <a:gd name="connsiteX58" fmla="*/ 2024559 w 2578350"/>
              <a:gd name="connsiteY58" fmla="*/ 1290463 h 1548041"/>
              <a:gd name="connsiteX59" fmla="*/ 2070923 w 2578350"/>
              <a:gd name="connsiteY59" fmla="*/ 1326524 h 1548041"/>
              <a:gd name="connsiteX60" fmla="*/ 2114711 w 2578350"/>
              <a:gd name="connsiteY60" fmla="*/ 1313645 h 1548041"/>
              <a:gd name="connsiteX61" fmla="*/ 2168802 w 2578350"/>
              <a:gd name="connsiteY61" fmla="*/ 1344555 h 1548041"/>
              <a:gd name="connsiteX62" fmla="*/ 2199711 w 2578350"/>
              <a:gd name="connsiteY62" fmla="*/ 1321373 h 1548041"/>
              <a:gd name="connsiteX63" fmla="*/ 2251227 w 2578350"/>
              <a:gd name="connsiteY63" fmla="*/ 1347130 h 1548041"/>
              <a:gd name="connsiteX64" fmla="*/ 2295015 w 2578350"/>
              <a:gd name="connsiteY64" fmla="*/ 1393494 h 1548041"/>
              <a:gd name="connsiteX65" fmla="*/ 2333652 w 2578350"/>
              <a:gd name="connsiteY65" fmla="*/ 1465616 h 1548041"/>
              <a:gd name="connsiteX66" fmla="*/ 2354258 w 2578350"/>
              <a:gd name="connsiteY66" fmla="*/ 1478495 h 1548041"/>
              <a:gd name="connsiteX67" fmla="*/ 2372288 w 2578350"/>
              <a:gd name="connsiteY67" fmla="*/ 1509404 h 1548041"/>
              <a:gd name="connsiteX68" fmla="*/ 2395470 w 2578350"/>
              <a:gd name="connsiteY68" fmla="*/ 1548041 h 1548041"/>
              <a:gd name="connsiteX69" fmla="*/ 2423804 w 2578350"/>
              <a:gd name="connsiteY69" fmla="*/ 1548041 h 1548041"/>
              <a:gd name="connsiteX70" fmla="*/ 2446986 w 2578350"/>
              <a:gd name="connsiteY70" fmla="*/ 1519707 h 1548041"/>
              <a:gd name="connsiteX71" fmla="*/ 2483047 w 2578350"/>
              <a:gd name="connsiteY71" fmla="*/ 1483646 h 1548041"/>
              <a:gd name="connsiteX72" fmla="*/ 2480471 w 2578350"/>
              <a:gd name="connsiteY72" fmla="*/ 1442434 h 1548041"/>
              <a:gd name="connsiteX73" fmla="*/ 2495925 w 2578350"/>
              <a:gd name="connsiteY73" fmla="*/ 1419252 h 1548041"/>
              <a:gd name="connsiteX74" fmla="*/ 2493350 w 2578350"/>
              <a:gd name="connsiteY74" fmla="*/ 1347130 h 1548041"/>
              <a:gd name="connsiteX75" fmla="*/ 2519107 w 2578350"/>
              <a:gd name="connsiteY75" fmla="*/ 1305918 h 1548041"/>
              <a:gd name="connsiteX76" fmla="*/ 2498501 w 2578350"/>
              <a:gd name="connsiteY76" fmla="*/ 1272433 h 1548041"/>
              <a:gd name="connsiteX77" fmla="*/ 2526835 w 2578350"/>
              <a:gd name="connsiteY77" fmla="*/ 1233796 h 1548041"/>
              <a:gd name="connsiteX78" fmla="*/ 2534562 w 2578350"/>
              <a:gd name="connsiteY78" fmla="*/ 1200311 h 1548041"/>
              <a:gd name="connsiteX79" fmla="*/ 2498501 w 2578350"/>
              <a:gd name="connsiteY79" fmla="*/ 1148796 h 1548041"/>
              <a:gd name="connsiteX80" fmla="*/ 2436683 w 2578350"/>
              <a:gd name="connsiteY80" fmla="*/ 1099856 h 1548041"/>
              <a:gd name="connsiteX81" fmla="*/ 2423804 w 2578350"/>
              <a:gd name="connsiteY81" fmla="*/ 1050916 h 1548041"/>
              <a:gd name="connsiteX82" fmla="*/ 2413501 w 2578350"/>
              <a:gd name="connsiteY82" fmla="*/ 994249 h 1548041"/>
              <a:gd name="connsiteX83" fmla="*/ 2392894 w 2578350"/>
              <a:gd name="connsiteY83" fmla="*/ 958188 h 1548041"/>
              <a:gd name="connsiteX84" fmla="*/ 2405773 w 2578350"/>
              <a:gd name="connsiteY84" fmla="*/ 919552 h 1548041"/>
              <a:gd name="connsiteX85" fmla="*/ 2356834 w 2578350"/>
              <a:gd name="connsiteY85" fmla="*/ 798490 h 1548041"/>
              <a:gd name="connsiteX86" fmla="*/ 2356834 w 2578350"/>
              <a:gd name="connsiteY86" fmla="*/ 754702 h 1548041"/>
              <a:gd name="connsiteX87" fmla="*/ 2331076 w 2578350"/>
              <a:gd name="connsiteY87" fmla="*/ 690308 h 1548041"/>
              <a:gd name="connsiteX88" fmla="*/ 2328500 w 2578350"/>
              <a:gd name="connsiteY88" fmla="*/ 654247 h 1548041"/>
              <a:gd name="connsiteX89" fmla="*/ 2307894 w 2578350"/>
              <a:gd name="connsiteY89" fmla="*/ 615610 h 1548041"/>
              <a:gd name="connsiteX90" fmla="*/ 2228045 w 2578350"/>
              <a:gd name="connsiteY90" fmla="*/ 569246 h 1548041"/>
              <a:gd name="connsiteX91" fmla="*/ 2225469 w 2578350"/>
              <a:gd name="connsiteY91" fmla="*/ 533186 h 1548041"/>
              <a:gd name="connsiteX92" fmla="*/ 2194560 w 2578350"/>
              <a:gd name="connsiteY92" fmla="*/ 510004 h 1548041"/>
              <a:gd name="connsiteX93" fmla="*/ 2171378 w 2578350"/>
              <a:gd name="connsiteY93" fmla="*/ 510004 h 1548041"/>
              <a:gd name="connsiteX94" fmla="*/ 2127590 w 2578350"/>
              <a:gd name="connsiteY94" fmla="*/ 512579 h 1548041"/>
              <a:gd name="connsiteX95" fmla="*/ 2058044 w 2578350"/>
              <a:gd name="connsiteY95" fmla="*/ 473943 h 1548041"/>
              <a:gd name="connsiteX96" fmla="*/ 2006528 w 2578350"/>
              <a:gd name="connsiteY96" fmla="*/ 409548 h 1548041"/>
              <a:gd name="connsiteX97" fmla="*/ 1962740 w 2578350"/>
              <a:gd name="connsiteY97" fmla="*/ 386366 h 1548041"/>
              <a:gd name="connsiteX98" fmla="*/ 1957589 w 2578350"/>
              <a:gd name="connsiteY98" fmla="*/ 350306 h 1548041"/>
              <a:gd name="connsiteX99" fmla="*/ 1934407 w 2578350"/>
              <a:gd name="connsiteY99" fmla="*/ 301366 h 1548041"/>
              <a:gd name="connsiteX100" fmla="*/ 1893194 w 2578350"/>
              <a:gd name="connsiteY100" fmla="*/ 270457 h 1548041"/>
              <a:gd name="connsiteX101" fmla="*/ 1898346 w 2578350"/>
              <a:gd name="connsiteY101" fmla="*/ 226668 h 1548041"/>
              <a:gd name="connsiteX102" fmla="*/ 1934407 w 2578350"/>
              <a:gd name="connsiteY102" fmla="*/ 170001 h 1548041"/>
              <a:gd name="connsiteX103" fmla="*/ 1939558 w 2578350"/>
              <a:gd name="connsiteY103" fmla="*/ 105607 h 1548041"/>
              <a:gd name="connsiteX104" fmla="*/ 1967892 w 2578350"/>
              <a:gd name="connsiteY104" fmla="*/ 69546 h 1548041"/>
              <a:gd name="connsiteX105" fmla="*/ 2014256 w 2578350"/>
              <a:gd name="connsiteY105" fmla="*/ 46364 h 1548041"/>
              <a:gd name="connsiteX106" fmla="*/ 2037438 w 2578350"/>
              <a:gd name="connsiteY106" fmla="*/ 2576 h 1548041"/>
              <a:gd name="connsiteX107" fmla="*/ 2086377 w 2578350"/>
              <a:gd name="connsiteY107" fmla="*/ 0 h 1548041"/>
              <a:gd name="connsiteX108" fmla="*/ 2117287 w 2578350"/>
              <a:gd name="connsiteY108" fmla="*/ 15455 h 1548041"/>
              <a:gd name="connsiteX109" fmla="*/ 2191984 w 2578350"/>
              <a:gd name="connsiteY109" fmla="*/ 0 h 1548041"/>
              <a:gd name="connsiteX110" fmla="*/ 2228045 w 2578350"/>
              <a:gd name="connsiteY110" fmla="*/ 25758 h 1548041"/>
              <a:gd name="connsiteX111" fmla="*/ 2276985 w 2578350"/>
              <a:gd name="connsiteY111" fmla="*/ 18031 h 1548041"/>
              <a:gd name="connsiteX112" fmla="*/ 2328500 w 2578350"/>
              <a:gd name="connsiteY112" fmla="*/ 36061 h 1548041"/>
              <a:gd name="connsiteX113" fmla="*/ 2408349 w 2578350"/>
              <a:gd name="connsiteY113" fmla="*/ 74698 h 1548041"/>
              <a:gd name="connsiteX114" fmla="*/ 2531986 w 2578350"/>
              <a:gd name="connsiteY114" fmla="*/ 85001 h 1548041"/>
              <a:gd name="connsiteX115" fmla="*/ 2578350 w 2578350"/>
              <a:gd name="connsiteY115" fmla="*/ 74698 h 1548041"/>
              <a:gd name="connsiteX116" fmla="*/ 2560320 w 2578350"/>
              <a:gd name="connsiteY116" fmla="*/ 48940 h 1548041"/>
              <a:gd name="connsiteX117" fmla="*/ 2557744 w 2578350"/>
              <a:gd name="connsiteY117" fmla="*/ 18031 h 1548041"/>
              <a:gd name="connsiteX0" fmla="*/ 0 w 2578350"/>
              <a:gd name="connsiteY0" fmla="*/ 146819 h 1548041"/>
              <a:gd name="connsiteX1" fmla="*/ 43788 w 2578350"/>
              <a:gd name="connsiteY1" fmla="*/ 177729 h 1548041"/>
              <a:gd name="connsiteX2" fmla="*/ 115910 w 2578350"/>
              <a:gd name="connsiteY2" fmla="*/ 221517 h 1548041"/>
              <a:gd name="connsiteX3" fmla="*/ 162274 w 2578350"/>
              <a:gd name="connsiteY3" fmla="*/ 234396 h 1548041"/>
              <a:gd name="connsiteX4" fmla="*/ 190607 w 2578350"/>
              <a:gd name="connsiteY4" fmla="*/ 224093 h 1548041"/>
              <a:gd name="connsiteX5" fmla="*/ 221516 w 2578350"/>
              <a:gd name="connsiteY5" fmla="*/ 242123 h 1548041"/>
              <a:gd name="connsiteX6" fmla="*/ 262729 w 2578350"/>
              <a:gd name="connsiteY6" fmla="*/ 221517 h 1548041"/>
              <a:gd name="connsiteX7" fmla="*/ 278184 w 2578350"/>
              <a:gd name="connsiteY7" fmla="*/ 198335 h 1548041"/>
              <a:gd name="connsiteX8" fmla="*/ 309093 w 2578350"/>
              <a:gd name="connsiteY8" fmla="*/ 221517 h 1548041"/>
              <a:gd name="connsiteX9" fmla="*/ 342578 w 2578350"/>
              <a:gd name="connsiteY9" fmla="*/ 200911 h 1548041"/>
              <a:gd name="connsiteX10" fmla="*/ 352881 w 2578350"/>
              <a:gd name="connsiteY10" fmla="*/ 172577 h 1548041"/>
              <a:gd name="connsiteX11" fmla="*/ 401821 w 2578350"/>
              <a:gd name="connsiteY11" fmla="*/ 193183 h 1548041"/>
              <a:gd name="connsiteX12" fmla="*/ 455912 w 2578350"/>
              <a:gd name="connsiteY12" fmla="*/ 249850 h 1548041"/>
              <a:gd name="connsiteX13" fmla="*/ 510003 w 2578350"/>
              <a:gd name="connsiteY13" fmla="*/ 255002 h 1548041"/>
              <a:gd name="connsiteX14" fmla="*/ 530609 w 2578350"/>
              <a:gd name="connsiteY14" fmla="*/ 239547 h 1548041"/>
              <a:gd name="connsiteX15" fmla="*/ 576973 w 2578350"/>
              <a:gd name="connsiteY15" fmla="*/ 242123 h 1548041"/>
              <a:gd name="connsiteX16" fmla="*/ 613034 w 2578350"/>
              <a:gd name="connsiteY16" fmla="*/ 275608 h 1548041"/>
              <a:gd name="connsiteX17" fmla="*/ 628489 w 2578350"/>
              <a:gd name="connsiteY17" fmla="*/ 334851 h 1548041"/>
              <a:gd name="connsiteX18" fmla="*/ 669701 w 2578350"/>
              <a:gd name="connsiteY18" fmla="*/ 404397 h 1548041"/>
              <a:gd name="connsiteX19" fmla="*/ 667125 w 2578350"/>
              <a:gd name="connsiteY19" fmla="*/ 453337 h 1548041"/>
              <a:gd name="connsiteX20" fmla="*/ 690307 w 2578350"/>
              <a:gd name="connsiteY20" fmla="*/ 497125 h 1548041"/>
              <a:gd name="connsiteX21" fmla="*/ 739247 w 2578350"/>
              <a:gd name="connsiteY21" fmla="*/ 507428 h 1548041"/>
              <a:gd name="connsiteX22" fmla="*/ 767581 w 2578350"/>
              <a:gd name="connsiteY22" fmla="*/ 535761 h 1548041"/>
              <a:gd name="connsiteX23" fmla="*/ 844854 w 2578350"/>
              <a:gd name="connsiteY23" fmla="*/ 564095 h 1548041"/>
              <a:gd name="connsiteX24" fmla="*/ 891218 w 2578350"/>
              <a:gd name="connsiteY24" fmla="*/ 543489 h 1548041"/>
              <a:gd name="connsiteX25" fmla="*/ 927279 w 2578350"/>
              <a:gd name="connsiteY25" fmla="*/ 543489 h 1548041"/>
              <a:gd name="connsiteX26" fmla="*/ 955612 w 2578350"/>
              <a:gd name="connsiteY26" fmla="*/ 597580 h 1548041"/>
              <a:gd name="connsiteX27" fmla="*/ 976218 w 2578350"/>
              <a:gd name="connsiteY27" fmla="*/ 638792 h 1548041"/>
              <a:gd name="connsiteX28" fmla="*/ 1012279 w 2578350"/>
              <a:gd name="connsiteY28" fmla="*/ 661974 h 1548041"/>
              <a:gd name="connsiteX29" fmla="*/ 1053492 w 2578350"/>
              <a:gd name="connsiteY29" fmla="*/ 659398 h 1548041"/>
              <a:gd name="connsiteX30" fmla="*/ 1097280 w 2578350"/>
              <a:gd name="connsiteY30" fmla="*/ 695459 h 1548041"/>
              <a:gd name="connsiteX31" fmla="*/ 1164250 w 2578350"/>
              <a:gd name="connsiteY31" fmla="*/ 718641 h 1548041"/>
              <a:gd name="connsiteX32" fmla="*/ 1236372 w 2578350"/>
              <a:gd name="connsiteY32" fmla="*/ 710914 h 1548041"/>
              <a:gd name="connsiteX33" fmla="*/ 1264705 w 2578350"/>
              <a:gd name="connsiteY33" fmla="*/ 692884 h 1548041"/>
              <a:gd name="connsiteX34" fmla="*/ 1280160 w 2578350"/>
              <a:gd name="connsiteY34" fmla="*/ 710914 h 1548041"/>
              <a:gd name="connsiteX35" fmla="*/ 1287887 w 2578350"/>
              <a:gd name="connsiteY35" fmla="*/ 746975 h 1548041"/>
              <a:gd name="connsiteX36" fmla="*/ 1336827 w 2578350"/>
              <a:gd name="connsiteY36" fmla="*/ 759854 h 1548041"/>
              <a:gd name="connsiteX37" fmla="*/ 1357433 w 2578350"/>
              <a:gd name="connsiteY37" fmla="*/ 788187 h 1548041"/>
              <a:gd name="connsiteX38" fmla="*/ 1388342 w 2578350"/>
              <a:gd name="connsiteY38" fmla="*/ 834551 h 1548041"/>
              <a:gd name="connsiteX39" fmla="*/ 1450161 w 2578350"/>
              <a:gd name="connsiteY39" fmla="*/ 850006 h 1548041"/>
              <a:gd name="connsiteX40" fmla="*/ 1519707 w 2578350"/>
              <a:gd name="connsiteY40" fmla="*/ 880915 h 1548041"/>
              <a:gd name="connsiteX41" fmla="*/ 1550616 w 2578350"/>
              <a:gd name="connsiteY41" fmla="*/ 875764 h 1548041"/>
              <a:gd name="connsiteX42" fmla="*/ 1584101 w 2578350"/>
              <a:gd name="connsiteY42" fmla="*/ 904097 h 1548041"/>
              <a:gd name="connsiteX43" fmla="*/ 1630465 w 2578350"/>
              <a:gd name="connsiteY43" fmla="*/ 911824 h 1548041"/>
              <a:gd name="connsiteX44" fmla="*/ 1655917 w 2578350"/>
              <a:gd name="connsiteY44" fmla="*/ 941074 h 1548041"/>
              <a:gd name="connsiteX45" fmla="*/ 1759254 w 2578350"/>
              <a:gd name="connsiteY45" fmla="*/ 989098 h 1548041"/>
              <a:gd name="connsiteX46" fmla="*/ 1759254 w 2578350"/>
              <a:gd name="connsiteY46" fmla="*/ 989098 h 1548041"/>
              <a:gd name="connsiteX47" fmla="*/ 1779860 w 2578350"/>
              <a:gd name="connsiteY47" fmla="*/ 968491 h 1548041"/>
              <a:gd name="connsiteX48" fmla="*/ 1797891 w 2578350"/>
              <a:gd name="connsiteY48" fmla="*/ 989098 h 1548041"/>
              <a:gd name="connsiteX49" fmla="*/ 1797891 w 2578350"/>
              <a:gd name="connsiteY49" fmla="*/ 1030310 h 1548041"/>
              <a:gd name="connsiteX50" fmla="*/ 1831376 w 2578350"/>
              <a:gd name="connsiteY50" fmla="*/ 1050916 h 1548041"/>
              <a:gd name="connsiteX51" fmla="*/ 1870012 w 2578350"/>
              <a:gd name="connsiteY51" fmla="*/ 1050916 h 1548041"/>
              <a:gd name="connsiteX52" fmla="*/ 1911225 w 2578350"/>
              <a:gd name="connsiteY52" fmla="*/ 1076674 h 1548041"/>
              <a:gd name="connsiteX53" fmla="*/ 1918952 w 2578350"/>
              <a:gd name="connsiteY53" fmla="*/ 1128189 h 1548041"/>
              <a:gd name="connsiteX54" fmla="*/ 1947285 w 2578350"/>
              <a:gd name="connsiteY54" fmla="*/ 1153947 h 1548041"/>
              <a:gd name="connsiteX55" fmla="*/ 1947285 w 2578350"/>
              <a:gd name="connsiteY55" fmla="*/ 1177129 h 1548041"/>
              <a:gd name="connsiteX56" fmla="*/ 1991074 w 2578350"/>
              <a:gd name="connsiteY56" fmla="*/ 1205463 h 1548041"/>
              <a:gd name="connsiteX57" fmla="*/ 1985922 w 2578350"/>
              <a:gd name="connsiteY57" fmla="*/ 1254402 h 1548041"/>
              <a:gd name="connsiteX58" fmla="*/ 2024559 w 2578350"/>
              <a:gd name="connsiteY58" fmla="*/ 1290463 h 1548041"/>
              <a:gd name="connsiteX59" fmla="*/ 2070923 w 2578350"/>
              <a:gd name="connsiteY59" fmla="*/ 1326524 h 1548041"/>
              <a:gd name="connsiteX60" fmla="*/ 2114711 w 2578350"/>
              <a:gd name="connsiteY60" fmla="*/ 1313645 h 1548041"/>
              <a:gd name="connsiteX61" fmla="*/ 2168802 w 2578350"/>
              <a:gd name="connsiteY61" fmla="*/ 1344555 h 1548041"/>
              <a:gd name="connsiteX62" fmla="*/ 2199711 w 2578350"/>
              <a:gd name="connsiteY62" fmla="*/ 1321373 h 1548041"/>
              <a:gd name="connsiteX63" fmla="*/ 2251227 w 2578350"/>
              <a:gd name="connsiteY63" fmla="*/ 1347130 h 1548041"/>
              <a:gd name="connsiteX64" fmla="*/ 2295015 w 2578350"/>
              <a:gd name="connsiteY64" fmla="*/ 1393494 h 1548041"/>
              <a:gd name="connsiteX65" fmla="*/ 2333652 w 2578350"/>
              <a:gd name="connsiteY65" fmla="*/ 1465616 h 1548041"/>
              <a:gd name="connsiteX66" fmla="*/ 2354258 w 2578350"/>
              <a:gd name="connsiteY66" fmla="*/ 1478495 h 1548041"/>
              <a:gd name="connsiteX67" fmla="*/ 2372288 w 2578350"/>
              <a:gd name="connsiteY67" fmla="*/ 1509404 h 1548041"/>
              <a:gd name="connsiteX68" fmla="*/ 2395470 w 2578350"/>
              <a:gd name="connsiteY68" fmla="*/ 1548041 h 1548041"/>
              <a:gd name="connsiteX69" fmla="*/ 2423804 w 2578350"/>
              <a:gd name="connsiteY69" fmla="*/ 1548041 h 1548041"/>
              <a:gd name="connsiteX70" fmla="*/ 2446986 w 2578350"/>
              <a:gd name="connsiteY70" fmla="*/ 1519707 h 1548041"/>
              <a:gd name="connsiteX71" fmla="*/ 2483047 w 2578350"/>
              <a:gd name="connsiteY71" fmla="*/ 1483646 h 1548041"/>
              <a:gd name="connsiteX72" fmla="*/ 2480471 w 2578350"/>
              <a:gd name="connsiteY72" fmla="*/ 1442434 h 1548041"/>
              <a:gd name="connsiteX73" fmla="*/ 2495925 w 2578350"/>
              <a:gd name="connsiteY73" fmla="*/ 1419252 h 1548041"/>
              <a:gd name="connsiteX74" fmla="*/ 2493350 w 2578350"/>
              <a:gd name="connsiteY74" fmla="*/ 1347130 h 1548041"/>
              <a:gd name="connsiteX75" fmla="*/ 2519107 w 2578350"/>
              <a:gd name="connsiteY75" fmla="*/ 1305918 h 1548041"/>
              <a:gd name="connsiteX76" fmla="*/ 2498501 w 2578350"/>
              <a:gd name="connsiteY76" fmla="*/ 1272433 h 1548041"/>
              <a:gd name="connsiteX77" fmla="*/ 2526835 w 2578350"/>
              <a:gd name="connsiteY77" fmla="*/ 1233796 h 1548041"/>
              <a:gd name="connsiteX78" fmla="*/ 2534562 w 2578350"/>
              <a:gd name="connsiteY78" fmla="*/ 1200311 h 1548041"/>
              <a:gd name="connsiteX79" fmla="*/ 2498501 w 2578350"/>
              <a:gd name="connsiteY79" fmla="*/ 1148796 h 1548041"/>
              <a:gd name="connsiteX80" fmla="*/ 2436683 w 2578350"/>
              <a:gd name="connsiteY80" fmla="*/ 1099856 h 1548041"/>
              <a:gd name="connsiteX81" fmla="*/ 2423804 w 2578350"/>
              <a:gd name="connsiteY81" fmla="*/ 1050916 h 1548041"/>
              <a:gd name="connsiteX82" fmla="*/ 2413501 w 2578350"/>
              <a:gd name="connsiteY82" fmla="*/ 994249 h 1548041"/>
              <a:gd name="connsiteX83" fmla="*/ 2392894 w 2578350"/>
              <a:gd name="connsiteY83" fmla="*/ 958188 h 1548041"/>
              <a:gd name="connsiteX84" fmla="*/ 2405773 w 2578350"/>
              <a:gd name="connsiteY84" fmla="*/ 919552 h 1548041"/>
              <a:gd name="connsiteX85" fmla="*/ 2356834 w 2578350"/>
              <a:gd name="connsiteY85" fmla="*/ 798490 h 1548041"/>
              <a:gd name="connsiteX86" fmla="*/ 2356834 w 2578350"/>
              <a:gd name="connsiteY86" fmla="*/ 754702 h 1548041"/>
              <a:gd name="connsiteX87" fmla="*/ 2331076 w 2578350"/>
              <a:gd name="connsiteY87" fmla="*/ 690308 h 1548041"/>
              <a:gd name="connsiteX88" fmla="*/ 2328500 w 2578350"/>
              <a:gd name="connsiteY88" fmla="*/ 654247 h 1548041"/>
              <a:gd name="connsiteX89" fmla="*/ 2307894 w 2578350"/>
              <a:gd name="connsiteY89" fmla="*/ 615610 h 1548041"/>
              <a:gd name="connsiteX90" fmla="*/ 2228045 w 2578350"/>
              <a:gd name="connsiteY90" fmla="*/ 569246 h 1548041"/>
              <a:gd name="connsiteX91" fmla="*/ 2225469 w 2578350"/>
              <a:gd name="connsiteY91" fmla="*/ 533186 h 1548041"/>
              <a:gd name="connsiteX92" fmla="*/ 2194560 w 2578350"/>
              <a:gd name="connsiteY92" fmla="*/ 510004 h 1548041"/>
              <a:gd name="connsiteX93" fmla="*/ 2171378 w 2578350"/>
              <a:gd name="connsiteY93" fmla="*/ 510004 h 1548041"/>
              <a:gd name="connsiteX94" fmla="*/ 2127590 w 2578350"/>
              <a:gd name="connsiteY94" fmla="*/ 512579 h 1548041"/>
              <a:gd name="connsiteX95" fmla="*/ 2058044 w 2578350"/>
              <a:gd name="connsiteY95" fmla="*/ 473943 h 1548041"/>
              <a:gd name="connsiteX96" fmla="*/ 2006528 w 2578350"/>
              <a:gd name="connsiteY96" fmla="*/ 409548 h 1548041"/>
              <a:gd name="connsiteX97" fmla="*/ 1962740 w 2578350"/>
              <a:gd name="connsiteY97" fmla="*/ 386366 h 1548041"/>
              <a:gd name="connsiteX98" fmla="*/ 1957589 w 2578350"/>
              <a:gd name="connsiteY98" fmla="*/ 350306 h 1548041"/>
              <a:gd name="connsiteX99" fmla="*/ 1934407 w 2578350"/>
              <a:gd name="connsiteY99" fmla="*/ 301366 h 1548041"/>
              <a:gd name="connsiteX100" fmla="*/ 1893194 w 2578350"/>
              <a:gd name="connsiteY100" fmla="*/ 270457 h 1548041"/>
              <a:gd name="connsiteX101" fmla="*/ 1898346 w 2578350"/>
              <a:gd name="connsiteY101" fmla="*/ 226668 h 1548041"/>
              <a:gd name="connsiteX102" fmla="*/ 1934407 w 2578350"/>
              <a:gd name="connsiteY102" fmla="*/ 170001 h 1548041"/>
              <a:gd name="connsiteX103" fmla="*/ 1939558 w 2578350"/>
              <a:gd name="connsiteY103" fmla="*/ 105607 h 1548041"/>
              <a:gd name="connsiteX104" fmla="*/ 1967892 w 2578350"/>
              <a:gd name="connsiteY104" fmla="*/ 69546 h 1548041"/>
              <a:gd name="connsiteX105" fmla="*/ 2014256 w 2578350"/>
              <a:gd name="connsiteY105" fmla="*/ 46364 h 1548041"/>
              <a:gd name="connsiteX106" fmla="*/ 2037438 w 2578350"/>
              <a:gd name="connsiteY106" fmla="*/ 2576 h 1548041"/>
              <a:gd name="connsiteX107" fmla="*/ 2086377 w 2578350"/>
              <a:gd name="connsiteY107" fmla="*/ 0 h 1548041"/>
              <a:gd name="connsiteX108" fmla="*/ 2117287 w 2578350"/>
              <a:gd name="connsiteY108" fmla="*/ 15455 h 1548041"/>
              <a:gd name="connsiteX109" fmla="*/ 2191984 w 2578350"/>
              <a:gd name="connsiteY109" fmla="*/ 0 h 1548041"/>
              <a:gd name="connsiteX110" fmla="*/ 2228045 w 2578350"/>
              <a:gd name="connsiteY110" fmla="*/ 25758 h 1548041"/>
              <a:gd name="connsiteX111" fmla="*/ 2276985 w 2578350"/>
              <a:gd name="connsiteY111" fmla="*/ 18031 h 1548041"/>
              <a:gd name="connsiteX112" fmla="*/ 2328500 w 2578350"/>
              <a:gd name="connsiteY112" fmla="*/ 36061 h 1548041"/>
              <a:gd name="connsiteX113" fmla="*/ 2408349 w 2578350"/>
              <a:gd name="connsiteY113" fmla="*/ 74698 h 1548041"/>
              <a:gd name="connsiteX114" fmla="*/ 2531986 w 2578350"/>
              <a:gd name="connsiteY114" fmla="*/ 85001 h 1548041"/>
              <a:gd name="connsiteX115" fmla="*/ 2578350 w 2578350"/>
              <a:gd name="connsiteY115" fmla="*/ 74698 h 1548041"/>
              <a:gd name="connsiteX116" fmla="*/ 2560320 w 2578350"/>
              <a:gd name="connsiteY116" fmla="*/ 48940 h 1548041"/>
              <a:gd name="connsiteX0" fmla="*/ 0 w 2578350"/>
              <a:gd name="connsiteY0" fmla="*/ 146819 h 1548041"/>
              <a:gd name="connsiteX1" fmla="*/ 43788 w 2578350"/>
              <a:gd name="connsiteY1" fmla="*/ 177729 h 1548041"/>
              <a:gd name="connsiteX2" fmla="*/ 115910 w 2578350"/>
              <a:gd name="connsiteY2" fmla="*/ 221517 h 1548041"/>
              <a:gd name="connsiteX3" fmla="*/ 162274 w 2578350"/>
              <a:gd name="connsiteY3" fmla="*/ 234396 h 1548041"/>
              <a:gd name="connsiteX4" fmla="*/ 190607 w 2578350"/>
              <a:gd name="connsiteY4" fmla="*/ 224093 h 1548041"/>
              <a:gd name="connsiteX5" fmla="*/ 221516 w 2578350"/>
              <a:gd name="connsiteY5" fmla="*/ 242123 h 1548041"/>
              <a:gd name="connsiteX6" fmla="*/ 262729 w 2578350"/>
              <a:gd name="connsiteY6" fmla="*/ 221517 h 1548041"/>
              <a:gd name="connsiteX7" fmla="*/ 278184 w 2578350"/>
              <a:gd name="connsiteY7" fmla="*/ 198335 h 1548041"/>
              <a:gd name="connsiteX8" fmla="*/ 309093 w 2578350"/>
              <a:gd name="connsiteY8" fmla="*/ 221517 h 1548041"/>
              <a:gd name="connsiteX9" fmla="*/ 342578 w 2578350"/>
              <a:gd name="connsiteY9" fmla="*/ 200911 h 1548041"/>
              <a:gd name="connsiteX10" fmla="*/ 352881 w 2578350"/>
              <a:gd name="connsiteY10" fmla="*/ 172577 h 1548041"/>
              <a:gd name="connsiteX11" fmla="*/ 401821 w 2578350"/>
              <a:gd name="connsiteY11" fmla="*/ 193183 h 1548041"/>
              <a:gd name="connsiteX12" fmla="*/ 455912 w 2578350"/>
              <a:gd name="connsiteY12" fmla="*/ 249850 h 1548041"/>
              <a:gd name="connsiteX13" fmla="*/ 510003 w 2578350"/>
              <a:gd name="connsiteY13" fmla="*/ 255002 h 1548041"/>
              <a:gd name="connsiteX14" fmla="*/ 530609 w 2578350"/>
              <a:gd name="connsiteY14" fmla="*/ 239547 h 1548041"/>
              <a:gd name="connsiteX15" fmla="*/ 576973 w 2578350"/>
              <a:gd name="connsiteY15" fmla="*/ 242123 h 1548041"/>
              <a:gd name="connsiteX16" fmla="*/ 613034 w 2578350"/>
              <a:gd name="connsiteY16" fmla="*/ 275608 h 1548041"/>
              <a:gd name="connsiteX17" fmla="*/ 628489 w 2578350"/>
              <a:gd name="connsiteY17" fmla="*/ 334851 h 1548041"/>
              <a:gd name="connsiteX18" fmla="*/ 669701 w 2578350"/>
              <a:gd name="connsiteY18" fmla="*/ 404397 h 1548041"/>
              <a:gd name="connsiteX19" fmla="*/ 667125 w 2578350"/>
              <a:gd name="connsiteY19" fmla="*/ 453337 h 1548041"/>
              <a:gd name="connsiteX20" fmla="*/ 690307 w 2578350"/>
              <a:gd name="connsiteY20" fmla="*/ 497125 h 1548041"/>
              <a:gd name="connsiteX21" fmla="*/ 739247 w 2578350"/>
              <a:gd name="connsiteY21" fmla="*/ 507428 h 1548041"/>
              <a:gd name="connsiteX22" fmla="*/ 767581 w 2578350"/>
              <a:gd name="connsiteY22" fmla="*/ 535761 h 1548041"/>
              <a:gd name="connsiteX23" fmla="*/ 844854 w 2578350"/>
              <a:gd name="connsiteY23" fmla="*/ 564095 h 1548041"/>
              <a:gd name="connsiteX24" fmla="*/ 891218 w 2578350"/>
              <a:gd name="connsiteY24" fmla="*/ 543489 h 1548041"/>
              <a:gd name="connsiteX25" fmla="*/ 927279 w 2578350"/>
              <a:gd name="connsiteY25" fmla="*/ 543489 h 1548041"/>
              <a:gd name="connsiteX26" fmla="*/ 955612 w 2578350"/>
              <a:gd name="connsiteY26" fmla="*/ 597580 h 1548041"/>
              <a:gd name="connsiteX27" fmla="*/ 976218 w 2578350"/>
              <a:gd name="connsiteY27" fmla="*/ 638792 h 1548041"/>
              <a:gd name="connsiteX28" fmla="*/ 1012279 w 2578350"/>
              <a:gd name="connsiteY28" fmla="*/ 661974 h 1548041"/>
              <a:gd name="connsiteX29" fmla="*/ 1053492 w 2578350"/>
              <a:gd name="connsiteY29" fmla="*/ 659398 h 1548041"/>
              <a:gd name="connsiteX30" fmla="*/ 1097280 w 2578350"/>
              <a:gd name="connsiteY30" fmla="*/ 695459 h 1548041"/>
              <a:gd name="connsiteX31" fmla="*/ 1164250 w 2578350"/>
              <a:gd name="connsiteY31" fmla="*/ 718641 h 1548041"/>
              <a:gd name="connsiteX32" fmla="*/ 1236372 w 2578350"/>
              <a:gd name="connsiteY32" fmla="*/ 710914 h 1548041"/>
              <a:gd name="connsiteX33" fmla="*/ 1264705 w 2578350"/>
              <a:gd name="connsiteY33" fmla="*/ 692884 h 1548041"/>
              <a:gd name="connsiteX34" fmla="*/ 1280160 w 2578350"/>
              <a:gd name="connsiteY34" fmla="*/ 710914 h 1548041"/>
              <a:gd name="connsiteX35" fmla="*/ 1287887 w 2578350"/>
              <a:gd name="connsiteY35" fmla="*/ 746975 h 1548041"/>
              <a:gd name="connsiteX36" fmla="*/ 1336827 w 2578350"/>
              <a:gd name="connsiteY36" fmla="*/ 759854 h 1548041"/>
              <a:gd name="connsiteX37" fmla="*/ 1357433 w 2578350"/>
              <a:gd name="connsiteY37" fmla="*/ 788187 h 1548041"/>
              <a:gd name="connsiteX38" fmla="*/ 1388342 w 2578350"/>
              <a:gd name="connsiteY38" fmla="*/ 834551 h 1548041"/>
              <a:gd name="connsiteX39" fmla="*/ 1450161 w 2578350"/>
              <a:gd name="connsiteY39" fmla="*/ 850006 h 1548041"/>
              <a:gd name="connsiteX40" fmla="*/ 1519707 w 2578350"/>
              <a:gd name="connsiteY40" fmla="*/ 880915 h 1548041"/>
              <a:gd name="connsiteX41" fmla="*/ 1550616 w 2578350"/>
              <a:gd name="connsiteY41" fmla="*/ 875764 h 1548041"/>
              <a:gd name="connsiteX42" fmla="*/ 1584101 w 2578350"/>
              <a:gd name="connsiteY42" fmla="*/ 904097 h 1548041"/>
              <a:gd name="connsiteX43" fmla="*/ 1630465 w 2578350"/>
              <a:gd name="connsiteY43" fmla="*/ 911824 h 1548041"/>
              <a:gd name="connsiteX44" fmla="*/ 1655917 w 2578350"/>
              <a:gd name="connsiteY44" fmla="*/ 941074 h 1548041"/>
              <a:gd name="connsiteX45" fmla="*/ 1759254 w 2578350"/>
              <a:gd name="connsiteY45" fmla="*/ 989098 h 1548041"/>
              <a:gd name="connsiteX46" fmla="*/ 1759254 w 2578350"/>
              <a:gd name="connsiteY46" fmla="*/ 989098 h 1548041"/>
              <a:gd name="connsiteX47" fmla="*/ 1779860 w 2578350"/>
              <a:gd name="connsiteY47" fmla="*/ 968491 h 1548041"/>
              <a:gd name="connsiteX48" fmla="*/ 1797891 w 2578350"/>
              <a:gd name="connsiteY48" fmla="*/ 989098 h 1548041"/>
              <a:gd name="connsiteX49" fmla="*/ 1797891 w 2578350"/>
              <a:gd name="connsiteY49" fmla="*/ 1030310 h 1548041"/>
              <a:gd name="connsiteX50" fmla="*/ 1831376 w 2578350"/>
              <a:gd name="connsiteY50" fmla="*/ 1050916 h 1548041"/>
              <a:gd name="connsiteX51" fmla="*/ 1870012 w 2578350"/>
              <a:gd name="connsiteY51" fmla="*/ 1050916 h 1548041"/>
              <a:gd name="connsiteX52" fmla="*/ 1911225 w 2578350"/>
              <a:gd name="connsiteY52" fmla="*/ 1076674 h 1548041"/>
              <a:gd name="connsiteX53" fmla="*/ 1918952 w 2578350"/>
              <a:gd name="connsiteY53" fmla="*/ 1128189 h 1548041"/>
              <a:gd name="connsiteX54" fmla="*/ 1947285 w 2578350"/>
              <a:gd name="connsiteY54" fmla="*/ 1153947 h 1548041"/>
              <a:gd name="connsiteX55" fmla="*/ 1947285 w 2578350"/>
              <a:gd name="connsiteY55" fmla="*/ 1177129 h 1548041"/>
              <a:gd name="connsiteX56" fmla="*/ 1991074 w 2578350"/>
              <a:gd name="connsiteY56" fmla="*/ 1205463 h 1548041"/>
              <a:gd name="connsiteX57" fmla="*/ 1985922 w 2578350"/>
              <a:gd name="connsiteY57" fmla="*/ 1254402 h 1548041"/>
              <a:gd name="connsiteX58" fmla="*/ 2024559 w 2578350"/>
              <a:gd name="connsiteY58" fmla="*/ 1290463 h 1548041"/>
              <a:gd name="connsiteX59" fmla="*/ 2070923 w 2578350"/>
              <a:gd name="connsiteY59" fmla="*/ 1326524 h 1548041"/>
              <a:gd name="connsiteX60" fmla="*/ 2114711 w 2578350"/>
              <a:gd name="connsiteY60" fmla="*/ 1313645 h 1548041"/>
              <a:gd name="connsiteX61" fmla="*/ 2168802 w 2578350"/>
              <a:gd name="connsiteY61" fmla="*/ 1344555 h 1548041"/>
              <a:gd name="connsiteX62" fmla="*/ 2199711 w 2578350"/>
              <a:gd name="connsiteY62" fmla="*/ 1321373 h 1548041"/>
              <a:gd name="connsiteX63" fmla="*/ 2251227 w 2578350"/>
              <a:gd name="connsiteY63" fmla="*/ 1347130 h 1548041"/>
              <a:gd name="connsiteX64" fmla="*/ 2295015 w 2578350"/>
              <a:gd name="connsiteY64" fmla="*/ 1393494 h 1548041"/>
              <a:gd name="connsiteX65" fmla="*/ 2333652 w 2578350"/>
              <a:gd name="connsiteY65" fmla="*/ 1465616 h 1548041"/>
              <a:gd name="connsiteX66" fmla="*/ 2354258 w 2578350"/>
              <a:gd name="connsiteY66" fmla="*/ 1478495 h 1548041"/>
              <a:gd name="connsiteX67" fmla="*/ 2372288 w 2578350"/>
              <a:gd name="connsiteY67" fmla="*/ 1509404 h 1548041"/>
              <a:gd name="connsiteX68" fmla="*/ 2395470 w 2578350"/>
              <a:gd name="connsiteY68" fmla="*/ 1548041 h 1548041"/>
              <a:gd name="connsiteX69" fmla="*/ 2423804 w 2578350"/>
              <a:gd name="connsiteY69" fmla="*/ 1548041 h 1548041"/>
              <a:gd name="connsiteX70" fmla="*/ 2446986 w 2578350"/>
              <a:gd name="connsiteY70" fmla="*/ 1519707 h 1548041"/>
              <a:gd name="connsiteX71" fmla="*/ 2483047 w 2578350"/>
              <a:gd name="connsiteY71" fmla="*/ 1483646 h 1548041"/>
              <a:gd name="connsiteX72" fmla="*/ 2480471 w 2578350"/>
              <a:gd name="connsiteY72" fmla="*/ 1442434 h 1548041"/>
              <a:gd name="connsiteX73" fmla="*/ 2495925 w 2578350"/>
              <a:gd name="connsiteY73" fmla="*/ 1419252 h 1548041"/>
              <a:gd name="connsiteX74" fmla="*/ 2493350 w 2578350"/>
              <a:gd name="connsiteY74" fmla="*/ 1347130 h 1548041"/>
              <a:gd name="connsiteX75" fmla="*/ 2519107 w 2578350"/>
              <a:gd name="connsiteY75" fmla="*/ 1305918 h 1548041"/>
              <a:gd name="connsiteX76" fmla="*/ 2498501 w 2578350"/>
              <a:gd name="connsiteY76" fmla="*/ 1272433 h 1548041"/>
              <a:gd name="connsiteX77" fmla="*/ 2526835 w 2578350"/>
              <a:gd name="connsiteY77" fmla="*/ 1233796 h 1548041"/>
              <a:gd name="connsiteX78" fmla="*/ 2534562 w 2578350"/>
              <a:gd name="connsiteY78" fmla="*/ 1200311 h 1548041"/>
              <a:gd name="connsiteX79" fmla="*/ 2498501 w 2578350"/>
              <a:gd name="connsiteY79" fmla="*/ 1148796 h 1548041"/>
              <a:gd name="connsiteX80" fmla="*/ 2436683 w 2578350"/>
              <a:gd name="connsiteY80" fmla="*/ 1099856 h 1548041"/>
              <a:gd name="connsiteX81" fmla="*/ 2423804 w 2578350"/>
              <a:gd name="connsiteY81" fmla="*/ 1050916 h 1548041"/>
              <a:gd name="connsiteX82" fmla="*/ 2413501 w 2578350"/>
              <a:gd name="connsiteY82" fmla="*/ 994249 h 1548041"/>
              <a:gd name="connsiteX83" fmla="*/ 2392894 w 2578350"/>
              <a:gd name="connsiteY83" fmla="*/ 958188 h 1548041"/>
              <a:gd name="connsiteX84" fmla="*/ 2405773 w 2578350"/>
              <a:gd name="connsiteY84" fmla="*/ 919552 h 1548041"/>
              <a:gd name="connsiteX85" fmla="*/ 2356834 w 2578350"/>
              <a:gd name="connsiteY85" fmla="*/ 798490 h 1548041"/>
              <a:gd name="connsiteX86" fmla="*/ 2356834 w 2578350"/>
              <a:gd name="connsiteY86" fmla="*/ 754702 h 1548041"/>
              <a:gd name="connsiteX87" fmla="*/ 2331076 w 2578350"/>
              <a:gd name="connsiteY87" fmla="*/ 690308 h 1548041"/>
              <a:gd name="connsiteX88" fmla="*/ 2328500 w 2578350"/>
              <a:gd name="connsiteY88" fmla="*/ 654247 h 1548041"/>
              <a:gd name="connsiteX89" fmla="*/ 2307894 w 2578350"/>
              <a:gd name="connsiteY89" fmla="*/ 615610 h 1548041"/>
              <a:gd name="connsiteX90" fmla="*/ 2228045 w 2578350"/>
              <a:gd name="connsiteY90" fmla="*/ 569246 h 1548041"/>
              <a:gd name="connsiteX91" fmla="*/ 2225469 w 2578350"/>
              <a:gd name="connsiteY91" fmla="*/ 533186 h 1548041"/>
              <a:gd name="connsiteX92" fmla="*/ 2194560 w 2578350"/>
              <a:gd name="connsiteY92" fmla="*/ 510004 h 1548041"/>
              <a:gd name="connsiteX93" fmla="*/ 2171378 w 2578350"/>
              <a:gd name="connsiteY93" fmla="*/ 510004 h 1548041"/>
              <a:gd name="connsiteX94" fmla="*/ 2127590 w 2578350"/>
              <a:gd name="connsiteY94" fmla="*/ 512579 h 1548041"/>
              <a:gd name="connsiteX95" fmla="*/ 2058044 w 2578350"/>
              <a:gd name="connsiteY95" fmla="*/ 473943 h 1548041"/>
              <a:gd name="connsiteX96" fmla="*/ 2006528 w 2578350"/>
              <a:gd name="connsiteY96" fmla="*/ 409548 h 1548041"/>
              <a:gd name="connsiteX97" fmla="*/ 1962740 w 2578350"/>
              <a:gd name="connsiteY97" fmla="*/ 386366 h 1548041"/>
              <a:gd name="connsiteX98" fmla="*/ 1957589 w 2578350"/>
              <a:gd name="connsiteY98" fmla="*/ 350306 h 1548041"/>
              <a:gd name="connsiteX99" fmla="*/ 1934407 w 2578350"/>
              <a:gd name="connsiteY99" fmla="*/ 301366 h 1548041"/>
              <a:gd name="connsiteX100" fmla="*/ 1893194 w 2578350"/>
              <a:gd name="connsiteY100" fmla="*/ 270457 h 1548041"/>
              <a:gd name="connsiteX101" fmla="*/ 1898346 w 2578350"/>
              <a:gd name="connsiteY101" fmla="*/ 226668 h 1548041"/>
              <a:gd name="connsiteX102" fmla="*/ 1934407 w 2578350"/>
              <a:gd name="connsiteY102" fmla="*/ 170001 h 1548041"/>
              <a:gd name="connsiteX103" fmla="*/ 1939558 w 2578350"/>
              <a:gd name="connsiteY103" fmla="*/ 105607 h 1548041"/>
              <a:gd name="connsiteX104" fmla="*/ 1967892 w 2578350"/>
              <a:gd name="connsiteY104" fmla="*/ 69546 h 1548041"/>
              <a:gd name="connsiteX105" fmla="*/ 2014256 w 2578350"/>
              <a:gd name="connsiteY105" fmla="*/ 46364 h 1548041"/>
              <a:gd name="connsiteX106" fmla="*/ 2037438 w 2578350"/>
              <a:gd name="connsiteY106" fmla="*/ 2576 h 1548041"/>
              <a:gd name="connsiteX107" fmla="*/ 2086377 w 2578350"/>
              <a:gd name="connsiteY107" fmla="*/ 0 h 1548041"/>
              <a:gd name="connsiteX108" fmla="*/ 2117287 w 2578350"/>
              <a:gd name="connsiteY108" fmla="*/ 15455 h 1548041"/>
              <a:gd name="connsiteX109" fmla="*/ 2191984 w 2578350"/>
              <a:gd name="connsiteY109" fmla="*/ 0 h 1548041"/>
              <a:gd name="connsiteX110" fmla="*/ 2228045 w 2578350"/>
              <a:gd name="connsiteY110" fmla="*/ 25758 h 1548041"/>
              <a:gd name="connsiteX111" fmla="*/ 2276985 w 2578350"/>
              <a:gd name="connsiteY111" fmla="*/ 18031 h 1548041"/>
              <a:gd name="connsiteX112" fmla="*/ 2328500 w 2578350"/>
              <a:gd name="connsiteY112" fmla="*/ 36061 h 1548041"/>
              <a:gd name="connsiteX113" fmla="*/ 2408349 w 2578350"/>
              <a:gd name="connsiteY113" fmla="*/ 74698 h 1548041"/>
              <a:gd name="connsiteX114" fmla="*/ 2531986 w 2578350"/>
              <a:gd name="connsiteY114" fmla="*/ 85001 h 1548041"/>
              <a:gd name="connsiteX115" fmla="*/ 2578350 w 2578350"/>
              <a:gd name="connsiteY115" fmla="*/ 74698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37438 w 2534562"/>
              <a:gd name="connsiteY106" fmla="*/ 2576 h 1548041"/>
              <a:gd name="connsiteX107" fmla="*/ 2086377 w 2534562"/>
              <a:gd name="connsiteY107" fmla="*/ 0 h 1548041"/>
              <a:gd name="connsiteX108" fmla="*/ 2117287 w 2534562"/>
              <a:gd name="connsiteY108" fmla="*/ 15455 h 1548041"/>
              <a:gd name="connsiteX109" fmla="*/ 2191984 w 2534562"/>
              <a:gd name="connsiteY109" fmla="*/ 0 h 1548041"/>
              <a:gd name="connsiteX110" fmla="*/ 2228045 w 2534562"/>
              <a:gd name="connsiteY110" fmla="*/ 25758 h 1548041"/>
              <a:gd name="connsiteX111" fmla="*/ 2276985 w 2534562"/>
              <a:gd name="connsiteY111" fmla="*/ 18031 h 1548041"/>
              <a:gd name="connsiteX112" fmla="*/ 2328500 w 2534562"/>
              <a:gd name="connsiteY112" fmla="*/ 36061 h 1548041"/>
              <a:gd name="connsiteX113" fmla="*/ 2408349 w 2534562"/>
              <a:gd name="connsiteY113" fmla="*/ 74698 h 1548041"/>
              <a:gd name="connsiteX114" fmla="*/ 2531986 w 2534562"/>
              <a:gd name="connsiteY114" fmla="*/ 85001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37438 w 2534562"/>
              <a:gd name="connsiteY106" fmla="*/ 2576 h 1548041"/>
              <a:gd name="connsiteX107" fmla="*/ 2086377 w 2534562"/>
              <a:gd name="connsiteY107" fmla="*/ 0 h 1548041"/>
              <a:gd name="connsiteX108" fmla="*/ 2117287 w 2534562"/>
              <a:gd name="connsiteY108" fmla="*/ 15455 h 1548041"/>
              <a:gd name="connsiteX109" fmla="*/ 2191984 w 2534562"/>
              <a:gd name="connsiteY109" fmla="*/ 0 h 1548041"/>
              <a:gd name="connsiteX110" fmla="*/ 2228045 w 2534562"/>
              <a:gd name="connsiteY110" fmla="*/ 25758 h 1548041"/>
              <a:gd name="connsiteX111" fmla="*/ 2276985 w 2534562"/>
              <a:gd name="connsiteY111" fmla="*/ 18031 h 1548041"/>
              <a:gd name="connsiteX112" fmla="*/ 2328500 w 2534562"/>
              <a:gd name="connsiteY112" fmla="*/ 36061 h 1548041"/>
              <a:gd name="connsiteX113" fmla="*/ 2408349 w 2534562"/>
              <a:gd name="connsiteY113" fmla="*/ 74698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37438 w 2534562"/>
              <a:gd name="connsiteY106" fmla="*/ 2576 h 1548041"/>
              <a:gd name="connsiteX107" fmla="*/ 2086377 w 2534562"/>
              <a:gd name="connsiteY107" fmla="*/ 0 h 1548041"/>
              <a:gd name="connsiteX108" fmla="*/ 2117287 w 2534562"/>
              <a:gd name="connsiteY108" fmla="*/ 15455 h 1548041"/>
              <a:gd name="connsiteX109" fmla="*/ 2191984 w 2534562"/>
              <a:gd name="connsiteY109" fmla="*/ 0 h 1548041"/>
              <a:gd name="connsiteX110" fmla="*/ 2228045 w 2534562"/>
              <a:gd name="connsiteY110" fmla="*/ 25758 h 1548041"/>
              <a:gd name="connsiteX111" fmla="*/ 2276985 w 2534562"/>
              <a:gd name="connsiteY111" fmla="*/ 18031 h 1548041"/>
              <a:gd name="connsiteX112" fmla="*/ 2328500 w 2534562"/>
              <a:gd name="connsiteY112" fmla="*/ 36061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37438 w 2534562"/>
              <a:gd name="connsiteY106" fmla="*/ 2576 h 1548041"/>
              <a:gd name="connsiteX107" fmla="*/ 2086377 w 2534562"/>
              <a:gd name="connsiteY107" fmla="*/ 0 h 1548041"/>
              <a:gd name="connsiteX108" fmla="*/ 2117287 w 2534562"/>
              <a:gd name="connsiteY108" fmla="*/ 15455 h 1548041"/>
              <a:gd name="connsiteX109" fmla="*/ 2191984 w 2534562"/>
              <a:gd name="connsiteY109" fmla="*/ 0 h 1548041"/>
              <a:gd name="connsiteX110" fmla="*/ 2228045 w 2534562"/>
              <a:gd name="connsiteY110" fmla="*/ 25758 h 1548041"/>
              <a:gd name="connsiteX111" fmla="*/ 2276985 w 2534562"/>
              <a:gd name="connsiteY111" fmla="*/ 18031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37438 w 2534562"/>
              <a:gd name="connsiteY106" fmla="*/ 2576 h 1548041"/>
              <a:gd name="connsiteX107" fmla="*/ 2086377 w 2534562"/>
              <a:gd name="connsiteY107" fmla="*/ 0 h 1548041"/>
              <a:gd name="connsiteX108" fmla="*/ 2117287 w 2534562"/>
              <a:gd name="connsiteY108" fmla="*/ 15455 h 1548041"/>
              <a:gd name="connsiteX109" fmla="*/ 2191984 w 2534562"/>
              <a:gd name="connsiteY109" fmla="*/ 0 h 1548041"/>
              <a:gd name="connsiteX110" fmla="*/ 2276985 w 2534562"/>
              <a:gd name="connsiteY110" fmla="*/ 18031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37438 w 2534562"/>
              <a:gd name="connsiteY106" fmla="*/ 2576 h 1548041"/>
              <a:gd name="connsiteX107" fmla="*/ 2086377 w 2534562"/>
              <a:gd name="connsiteY107" fmla="*/ 0 h 1548041"/>
              <a:gd name="connsiteX108" fmla="*/ 2117287 w 2534562"/>
              <a:gd name="connsiteY108" fmla="*/ 15455 h 1548041"/>
              <a:gd name="connsiteX109" fmla="*/ 2276985 w 2534562"/>
              <a:gd name="connsiteY109" fmla="*/ 18031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37438 w 2534562"/>
              <a:gd name="connsiteY106" fmla="*/ 2576 h 1548041"/>
              <a:gd name="connsiteX107" fmla="*/ 2086377 w 2534562"/>
              <a:gd name="connsiteY107" fmla="*/ 0 h 1548041"/>
              <a:gd name="connsiteX108" fmla="*/ 2117287 w 2534562"/>
              <a:gd name="connsiteY108" fmla="*/ 15455 h 1548041"/>
              <a:gd name="connsiteX109" fmla="*/ 2190512 w 2534562"/>
              <a:gd name="connsiteY109" fmla="*/ 21153 h 1548041"/>
              <a:gd name="connsiteX110" fmla="*/ 2276985 w 2534562"/>
              <a:gd name="connsiteY110" fmla="*/ 18031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37438 w 2534562"/>
              <a:gd name="connsiteY106" fmla="*/ 2576 h 1548041"/>
              <a:gd name="connsiteX107" fmla="*/ 2086377 w 2534562"/>
              <a:gd name="connsiteY107" fmla="*/ 0 h 1548041"/>
              <a:gd name="connsiteX108" fmla="*/ 2117287 w 2534562"/>
              <a:gd name="connsiteY108" fmla="*/ 15455 h 1548041"/>
              <a:gd name="connsiteX109" fmla="*/ 2276985 w 2534562"/>
              <a:gd name="connsiteY109" fmla="*/ 18031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37438 w 2534562"/>
              <a:gd name="connsiteY106" fmla="*/ 2576 h 1548041"/>
              <a:gd name="connsiteX107" fmla="*/ 2086377 w 2534562"/>
              <a:gd name="connsiteY107" fmla="*/ 0 h 1548041"/>
              <a:gd name="connsiteX108" fmla="*/ 2117287 w 2534562"/>
              <a:gd name="connsiteY108" fmla="*/ 15455 h 1548041"/>
              <a:gd name="connsiteX109" fmla="*/ 2243016 w 2534562"/>
              <a:gd name="connsiteY109" fmla="*/ 21153 h 1548041"/>
              <a:gd name="connsiteX110" fmla="*/ 2276985 w 2534562"/>
              <a:gd name="connsiteY110" fmla="*/ 18031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37438 w 2534562"/>
              <a:gd name="connsiteY106" fmla="*/ 2576 h 1548041"/>
              <a:gd name="connsiteX107" fmla="*/ 2086377 w 2534562"/>
              <a:gd name="connsiteY107" fmla="*/ 0 h 1548041"/>
              <a:gd name="connsiteX108" fmla="*/ 2117287 w 2534562"/>
              <a:gd name="connsiteY108" fmla="*/ 15455 h 1548041"/>
              <a:gd name="connsiteX109" fmla="*/ 2243016 w 2534562"/>
              <a:gd name="connsiteY109" fmla="*/ 21153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37438 w 2534562"/>
              <a:gd name="connsiteY106" fmla="*/ 2576 h 1548041"/>
              <a:gd name="connsiteX107" fmla="*/ 2086377 w 2534562"/>
              <a:gd name="connsiteY107" fmla="*/ 0 h 1548041"/>
              <a:gd name="connsiteX108" fmla="*/ 2117287 w 2534562"/>
              <a:gd name="connsiteY108" fmla="*/ 15455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86377 w 2534562"/>
              <a:gd name="connsiteY106" fmla="*/ 0 h 1548041"/>
              <a:gd name="connsiteX107" fmla="*/ 2117287 w 2534562"/>
              <a:gd name="connsiteY107" fmla="*/ 15455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0160 w 2534562"/>
              <a:gd name="connsiteY34" fmla="*/ 710914 h 1548041"/>
              <a:gd name="connsiteX35" fmla="*/ 1287887 w 2534562"/>
              <a:gd name="connsiteY35" fmla="*/ 746975 h 1548041"/>
              <a:gd name="connsiteX36" fmla="*/ 1336827 w 2534562"/>
              <a:gd name="connsiteY36" fmla="*/ 759854 h 1548041"/>
              <a:gd name="connsiteX37" fmla="*/ 1357433 w 2534562"/>
              <a:gd name="connsiteY37" fmla="*/ 788187 h 1548041"/>
              <a:gd name="connsiteX38" fmla="*/ 1388342 w 2534562"/>
              <a:gd name="connsiteY38" fmla="*/ 834551 h 1548041"/>
              <a:gd name="connsiteX39" fmla="*/ 1450161 w 2534562"/>
              <a:gd name="connsiteY39" fmla="*/ 850006 h 1548041"/>
              <a:gd name="connsiteX40" fmla="*/ 1519707 w 2534562"/>
              <a:gd name="connsiteY40" fmla="*/ 880915 h 1548041"/>
              <a:gd name="connsiteX41" fmla="*/ 1550616 w 2534562"/>
              <a:gd name="connsiteY41" fmla="*/ 875764 h 1548041"/>
              <a:gd name="connsiteX42" fmla="*/ 1584101 w 2534562"/>
              <a:gd name="connsiteY42" fmla="*/ 904097 h 1548041"/>
              <a:gd name="connsiteX43" fmla="*/ 1630465 w 2534562"/>
              <a:gd name="connsiteY43" fmla="*/ 911824 h 1548041"/>
              <a:gd name="connsiteX44" fmla="*/ 1655917 w 2534562"/>
              <a:gd name="connsiteY44" fmla="*/ 941074 h 1548041"/>
              <a:gd name="connsiteX45" fmla="*/ 1759254 w 2534562"/>
              <a:gd name="connsiteY45" fmla="*/ 989098 h 1548041"/>
              <a:gd name="connsiteX46" fmla="*/ 1759254 w 2534562"/>
              <a:gd name="connsiteY46" fmla="*/ 989098 h 1548041"/>
              <a:gd name="connsiteX47" fmla="*/ 1779860 w 2534562"/>
              <a:gd name="connsiteY47" fmla="*/ 968491 h 1548041"/>
              <a:gd name="connsiteX48" fmla="*/ 1797891 w 2534562"/>
              <a:gd name="connsiteY48" fmla="*/ 989098 h 1548041"/>
              <a:gd name="connsiteX49" fmla="*/ 1797891 w 2534562"/>
              <a:gd name="connsiteY49" fmla="*/ 1030310 h 1548041"/>
              <a:gd name="connsiteX50" fmla="*/ 1831376 w 2534562"/>
              <a:gd name="connsiteY50" fmla="*/ 1050916 h 1548041"/>
              <a:gd name="connsiteX51" fmla="*/ 1870012 w 2534562"/>
              <a:gd name="connsiteY51" fmla="*/ 1050916 h 1548041"/>
              <a:gd name="connsiteX52" fmla="*/ 1911225 w 2534562"/>
              <a:gd name="connsiteY52" fmla="*/ 1076674 h 1548041"/>
              <a:gd name="connsiteX53" fmla="*/ 1918952 w 2534562"/>
              <a:gd name="connsiteY53" fmla="*/ 1128189 h 1548041"/>
              <a:gd name="connsiteX54" fmla="*/ 1947285 w 2534562"/>
              <a:gd name="connsiteY54" fmla="*/ 1153947 h 1548041"/>
              <a:gd name="connsiteX55" fmla="*/ 1947285 w 2534562"/>
              <a:gd name="connsiteY55" fmla="*/ 1177129 h 1548041"/>
              <a:gd name="connsiteX56" fmla="*/ 1991074 w 2534562"/>
              <a:gd name="connsiteY56" fmla="*/ 1205463 h 1548041"/>
              <a:gd name="connsiteX57" fmla="*/ 1985922 w 2534562"/>
              <a:gd name="connsiteY57" fmla="*/ 1254402 h 1548041"/>
              <a:gd name="connsiteX58" fmla="*/ 2024559 w 2534562"/>
              <a:gd name="connsiteY58" fmla="*/ 1290463 h 1548041"/>
              <a:gd name="connsiteX59" fmla="*/ 2070923 w 2534562"/>
              <a:gd name="connsiteY59" fmla="*/ 1326524 h 1548041"/>
              <a:gd name="connsiteX60" fmla="*/ 2114711 w 2534562"/>
              <a:gd name="connsiteY60" fmla="*/ 1313645 h 1548041"/>
              <a:gd name="connsiteX61" fmla="*/ 2168802 w 2534562"/>
              <a:gd name="connsiteY61" fmla="*/ 1344555 h 1548041"/>
              <a:gd name="connsiteX62" fmla="*/ 2199711 w 2534562"/>
              <a:gd name="connsiteY62" fmla="*/ 1321373 h 1548041"/>
              <a:gd name="connsiteX63" fmla="*/ 2251227 w 2534562"/>
              <a:gd name="connsiteY63" fmla="*/ 1347130 h 1548041"/>
              <a:gd name="connsiteX64" fmla="*/ 2295015 w 2534562"/>
              <a:gd name="connsiteY64" fmla="*/ 1393494 h 1548041"/>
              <a:gd name="connsiteX65" fmla="*/ 2333652 w 2534562"/>
              <a:gd name="connsiteY65" fmla="*/ 1465616 h 1548041"/>
              <a:gd name="connsiteX66" fmla="*/ 2354258 w 2534562"/>
              <a:gd name="connsiteY66" fmla="*/ 1478495 h 1548041"/>
              <a:gd name="connsiteX67" fmla="*/ 2372288 w 2534562"/>
              <a:gd name="connsiteY67" fmla="*/ 1509404 h 1548041"/>
              <a:gd name="connsiteX68" fmla="*/ 2395470 w 2534562"/>
              <a:gd name="connsiteY68" fmla="*/ 1548041 h 1548041"/>
              <a:gd name="connsiteX69" fmla="*/ 2423804 w 2534562"/>
              <a:gd name="connsiteY69" fmla="*/ 1548041 h 1548041"/>
              <a:gd name="connsiteX70" fmla="*/ 2446986 w 2534562"/>
              <a:gd name="connsiteY70" fmla="*/ 1519707 h 1548041"/>
              <a:gd name="connsiteX71" fmla="*/ 2483047 w 2534562"/>
              <a:gd name="connsiteY71" fmla="*/ 1483646 h 1548041"/>
              <a:gd name="connsiteX72" fmla="*/ 2480471 w 2534562"/>
              <a:gd name="connsiteY72" fmla="*/ 1442434 h 1548041"/>
              <a:gd name="connsiteX73" fmla="*/ 2495925 w 2534562"/>
              <a:gd name="connsiteY73" fmla="*/ 1419252 h 1548041"/>
              <a:gd name="connsiteX74" fmla="*/ 2493350 w 2534562"/>
              <a:gd name="connsiteY74" fmla="*/ 1347130 h 1548041"/>
              <a:gd name="connsiteX75" fmla="*/ 2519107 w 2534562"/>
              <a:gd name="connsiteY75" fmla="*/ 1305918 h 1548041"/>
              <a:gd name="connsiteX76" fmla="*/ 2498501 w 2534562"/>
              <a:gd name="connsiteY76" fmla="*/ 1272433 h 1548041"/>
              <a:gd name="connsiteX77" fmla="*/ 2526835 w 2534562"/>
              <a:gd name="connsiteY77" fmla="*/ 1233796 h 1548041"/>
              <a:gd name="connsiteX78" fmla="*/ 2534562 w 2534562"/>
              <a:gd name="connsiteY78" fmla="*/ 1200311 h 1548041"/>
              <a:gd name="connsiteX79" fmla="*/ 2498501 w 2534562"/>
              <a:gd name="connsiteY79" fmla="*/ 1148796 h 1548041"/>
              <a:gd name="connsiteX80" fmla="*/ 2436683 w 2534562"/>
              <a:gd name="connsiteY80" fmla="*/ 1099856 h 1548041"/>
              <a:gd name="connsiteX81" fmla="*/ 2423804 w 2534562"/>
              <a:gd name="connsiteY81" fmla="*/ 1050916 h 1548041"/>
              <a:gd name="connsiteX82" fmla="*/ 2413501 w 2534562"/>
              <a:gd name="connsiteY82" fmla="*/ 994249 h 1548041"/>
              <a:gd name="connsiteX83" fmla="*/ 2392894 w 2534562"/>
              <a:gd name="connsiteY83" fmla="*/ 958188 h 1548041"/>
              <a:gd name="connsiteX84" fmla="*/ 2405773 w 2534562"/>
              <a:gd name="connsiteY84" fmla="*/ 919552 h 1548041"/>
              <a:gd name="connsiteX85" fmla="*/ 2356834 w 2534562"/>
              <a:gd name="connsiteY85" fmla="*/ 798490 h 1548041"/>
              <a:gd name="connsiteX86" fmla="*/ 2356834 w 2534562"/>
              <a:gd name="connsiteY86" fmla="*/ 754702 h 1548041"/>
              <a:gd name="connsiteX87" fmla="*/ 2331076 w 2534562"/>
              <a:gd name="connsiteY87" fmla="*/ 690308 h 1548041"/>
              <a:gd name="connsiteX88" fmla="*/ 2328500 w 2534562"/>
              <a:gd name="connsiteY88" fmla="*/ 654247 h 1548041"/>
              <a:gd name="connsiteX89" fmla="*/ 2307894 w 2534562"/>
              <a:gd name="connsiteY89" fmla="*/ 615610 h 1548041"/>
              <a:gd name="connsiteX90" fmla="*/ 2228045 w 2534562"/>
              <a:gd name="connsiteY90" fmla="*/ 569246 h 1548041"/>
              <a:gd name="connsiteX91" fmla="*/ 2225469 w 2534562"/>
              <a:gd name="connsiteY91" fmla="*/ 533186 h 1548041"/>
              <a:gd name="connsiteX92" fmla="*/ 2194560 w 2534562"/>
              <a:gd name="connsiteY92" fmla="*/ 510004 h 1548041"/>
              <a:gd name="connsiteX93" fmla="*/ 2171378 w 2534562"/>
              <a:gd name="connsiteY93" fmla="*/ 510004 h 1548041"/>
              <a:gd name="connsiteX94" fmla="*/ 2127590 w 2534562"/>
              <a:gd name="connsiteY94" fmla="*/ 512579 h 1548041"/>
              <a:gd name="connsiteX95" fmla="*/ 2058044 w 2534562"/>
              <a:gd name="connsiteY95" fmla="*/ 473943 h 1548041"/>
              <a:gd name="connsiteX96" fmla="*/ 2006528 w 2534562"/>
              <a:gd name="connsiteY96" fmla="*/ 409548 h 1548041"/>
              <a:gd name="connsiteX97" fmla="*/ 1962740 w 2534562"/>
              <a:gd name="connsiteY97" fmla="*/ 386366 h 1548041"/>
              <a:gd name="connsiteX98" fmla="*/ 1957589 w 2534562"/>
              <a:gd name="connsiteY98" fmla="*/ 350306 h 1548041"/>
              <a:gd name="connsiteX99" fmla="*/ 1934407 w 2534562"/>
              <a:gd name="connsiteY99" fmla="*/ 301366 h 1548041"/>
              <a:gd name="connsiteX100" fmla="*/ 1893194 w 2534562"/>
              <a:gd name="connsiteY100" fmla="*/ 270457 h 1548041"/>
              <a:gd name="connsiteX101" fmla="*/ 1898346 w 2534562"/>
              <a:gd name="connsiteY101" fmla="*/ 226668 h 1548041"/>
              <a:gd name="connsiteX102" fmla="*/ 1934407 w 2534562"/>
              <a:gd name="connsiteY102" fmla="*/ 170001 h 1548041"/>
              <a:gd name="connsiteX103" fmla="*/ 1939558 w 2534562"/>
              <a:gd name="connsiteY103" fmla="*/ 105607 h 1548041"/>
              <a:gd name="connsiteX104" fmla="*/ 1967892 w 2534562"/>
              <a:gd name="connsiteY104" fmla="*/ 69546 h 1548041"/>
              <a:gd name="connsiteX105" fmla="*/ 2014256 w 2534562"/>
              <a:gd name="connsiteY105" fmla="*/ 46364 h 1548041"/>
              <a:gd name="connsiteX106" fmla="*/ 2086377 w 2534562"/>
              <a:gd name="connsiteY106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7887 w 2534562"/>
              <a:gd name="connsiteY34" fmla="*/ 746975 h 1548041"/>
              <a:gd name="connsiteX35" fmla="*/ 1336827 w 2534562"/>
              <a:gd name="connsiteY35" fmla="*/ 759854 h 1548041"/>
              <a:gd name="connsiteX36" fmla="*/ 1357433 w 2534562"/>
              <a:gd name="connsiteY36" fmla="*/ 788187 h 1548041"/>
              <a:gd name="connsiteX37" fmla="*/ 1388342 w 2534562"/>
              <a:gd name="connsiteY37" fmla="*/ 834551 h 1548041"/>
              <a:gd name="connsiteX38" fmla="*/ 1450161 w 2534562"/>
              <a:gd name="connsiteY38" fmla="*/ 850006 h 1548041"/>
              <a:gd name="connsiteX39" fmla="*/ 1519707 w 2534562"/>
              <a:gd name="connsiteY39" fmla="*/ 880915 h 1548041"/>
              <a:gd name="connsiteX40" fmla="*/ 1550616 w 2534562"/>
              <a:gd name="connsiteY40" fmla="*/ 875764 h 1548041"/>
              <a:gd name="connsiteX41" fmla="*/ 1584101 w 2534562"/>
              <a:gd name="connsiteY41" fmla="*/ 904097 h 1548041"/>
              <a:gd name="connsiteX42" fmla="*/ 1630465 w 2534562"/>
              <a:gd name="connsiteY42" fmla="*/ 911824 h 1548041"/>
              <a:gd name="connsiteX43" fmla="*/ 1655917 w 2534562"/>
              <a:gd name="connsiteY43" fmla="*/ 941074 h 1548041"/>
              <a:gd name="connsiteX44" fmla="*/ 1759254 w 2534562"/>
              <a:gd name="connsiteY44" fmla="*/ 989098 h 1548041"/>
              <a:gd name="connsiteX45" fmla="*/ 1759254 w 2534562"/>
              <a:gd name="connsiteY45" fmla="*/ 989098 h 1548041"/>
              <a:gd name="connsiteX46" fmla="*/ 1779860 w 2534562"/>
              <a:gd name="connsiteY46" fmla="*/ 968491 h 1548041"/>
              <a:gd name="connsiteX47" fmla="*/ 1797891 w 2534562"/>
              <a:gd name="connsiteY47" fmla="*/ 989098 h 1548041"/>
              <a:gd name="connsiteX48" fmla="*/ 1797891 w 2534562"/>
              <a:gd name="connsiteY48" fmla="*/ 1030310 h 1548041"/>
              <a:gd name="connsiteX49" fmla="*/ 1831376 w 2534562"/>
              <a:gd name="connsiteY49" fmla="*/ 1050916 h 1548041"/>
              <a:gd name="connsiteX50" fmla="*/ 1870012 w 2534562"/>
              <a:gd name="connsiteY50" fmla="*/ 1050916 h 1548041"/>
              <a:gd name="connsiteX51" fmla="*/ 1911225 w 2534562"/>
              <a:gd name="connsiteY51" fmla="*/ 1076674 h 1548041"/>
              <a:gd name="connsiteX52" fmla="*/ 1918952 w 2534562"/>
              <a:gd name="connsiteY52" fmla="*/ 1128189 h 1548041"/>
              <a:gd name="connsiteX53" fmla="*/ 1947285 w 2534562"/>
              <a:gd name="connsiteY53" fmla="*/ 1153947 h 1548041"/>
              <a:gd name="connsiteX54" fmla="*/ 1947285 w 2534562"/>
              <a:gd name="connsiteY54" fmla="*/ 1177129 h 1548041"/>
              <a:gd name="connsiteX55" fmla="*/ 1991074 w 2534562"/>
              <a:gd name="connsiteY55" fmla="*/ 1205463 h 1548041"/>
              <a:gd name="connsiteX56" fmla="*/ 1985922 w 2534562"/>
              <a:gd name="connsiteY56" fmla="*/ 1254402 h 1548041"/>
              <a:gd name="connsiteX57" fmla="*/ 2024559 w 2534562"/>
              <a:gd name="connsiteY57" fmla="*/ 1290463 h 1548041"/>
              <a:gd name="connsiteX58" fmla="*/ 2070923 w 2534562"/>
              <a:gd name="connsiteY58" fmla="*/ 1326524 h 1548041"/>
              <a:gd name="connsiteX59" fmla="*/ 2114711 w 2534562"/>
              <a:gd name="connsiteY59" fmla="*/ 1313645 h 1548041"/>
              <a:gd name="connsiteX60" fmla="*/ 2168802 w 2534562"/>
              <a:gd name="connsiteY60" fmla="*/ 1344555 h 1548041"/>
              <a:gd name="connsiteX61" fmla="*/ 2199711 w 2534562"/>
              <a:gd name="connsiteY61" fmla="*/ 1321373 h 1548041"/>
              <a:gd name="connsiteX62" fmla="*/ 2251227 w 2534562"/>
              <a:gd name="connsiteY62" fmla="*/ 1347130 h 1548041"/>
              <a:gd name="connsiteX63" fmla="*/ 2295015 w 2534562"/>
              <a:gd name="connsiteY63" fmla="*/ 1393494 h 1548041"/>
              <a:gd name="connsiteX64" fmla="*/ 2333652 w 2534562"/>
              <a:gd name="connsiteY64" fmla="*/ 1465616 h 1548041"/>
              <a:gd name="connsiteX65" fmla="*/ 2354258 w 2534562"/>
              <a:gd name="connsiteY65" fmla="*/ 1478495 h 1548041"/>
              <a:gd name="connsiteX66" fmla="*/ 2372288 w 2534562"/>
              <a:gd name="connsiteY66" fmla="*/ 1509404 h 1548041"/>
              <a:gd name="connsiteX67" fmla="*/ 2395470 w 2534562"/>
              <a:gd name="connsiteY67" fmla="*/ 1548041 h 1548041"/>
              <a:gd name="connsiteX68" fmla="*/ 2423804 w 2534562"/>
              <a:gd name="connsiteY68" fmla="*/ 1548041 h 1548041"/>
              <a:gd name="connsiteX69" fmla="*/ 2446986 w 2534562"/>
              <a:gd name="connsiteY69" fmla="*/ 1519707 h 1548041"/>
              <a:gd name="connsiteX70" fmla="*/ 2483047 w 2534562"/>
              <a:gd name="connsiteY70" fmla="*/ 1483646 h 1548041"/>
              <a:gd name="connsiteX71" fmla="*/ 2480471 w 2534562"/>
              <a:gd name="connsiteY71" fmla="*/ 1442434 h 1548041"/>
              <a:gd name="connsiteX72" fmla="*/ 2495925 w 2534562"/>
              <a:gd name="connsiteY72" fmla="*/ 1419252 h 1548041"/>
              <a:gd name="connsiteX73" fmla="*/ 2493350 w 2534562"/>
              <a:gd name="connsiteY73" fmla="*/ 1347130 h 1548041"/>
              <a:gd name="connsiteX74" fmla="*/ 2519107 w 2534562"/>
              <a:gd name="connsiteY74" fmla="*/ 1305918 h 1548041"/>
              <a:gd name="connsiteX75" fmla="*/ 2498501 w 2534562"/>
              <a:gd name="connsiteY75" fmla="*/ 1272433 h 1548041"/>
              <a:gd name="connsiteX76" fmla="*/ 2526835 w 2534562"/>
              <a:gd name="connsiteY76" fmla="*/ 1233796 h 1548041"/>
              <a:gd name="connsiteX77" fmla="*/ 2534562 w 2534562"/>
              <a:gd name="connsiteY77" fmla="*/ 1200311 h 1548041"/>
              <a:gd name="connsiteX78" fmla="*/ 2498501 w 2534562"/>
              <a:gd name="connsiteY78" fmla="*/ 1148796 h 1548041"/>
              <a:gd name="connsiteX79" fmla="*/ 2436683 w 2534562"/>
              <a:gd name="connsiteY79" fmla="*/ 1099856 h 1548041"/>
              <a:gd name="connsiteX80" fmla="*/ 2423804 w 2534562"/>
              <a:gd name="connsiteY80" fmla="*/ 1050916 h 1548041"/>
              <a:gd name="connsiteX81" fmla="*/ 2413501 w 2534562"/>
              <a:gd name="connsiteY81" fmla="*/ 994249 h 1548041"/>
              <a:gd name="connsiteX82" fmla="*/ 2392894 w 2534562"/>
              <a:gd name="connsiteY82" fmla="*/ 958188 h 1548041"/>
              <a:gd name="connsiteX83" fmla="*/ 2405773 w 2534562"/>
              <a:gd name="connsiteY83" fmla="*/ 919552 h 1548041"/>
              <a:gd name="connsiteX84" fmla="*/ 2356834 w 2534562"/>
              <a:gd name="connsiteY84" fmla="*/ 798490 h 1548041"/>
              <a:gd name="connsiteX85" fmla="*/ 2356834 w 2534562"/>
              <a:gd name="connsiteY85" fmla="*/ 754702 h 1548041"/>
              <a:gd name="connsiteX86" fmla="*/ 2331076 w 2534562"/>
              <a:gd name="connsiteY86" fmla="*/ 690308 h 1548041"/>
              <a:gd name="connsiteX87" fmla="*/ 2328500 w 2534562"/>
              <a:gd name="connsiteY87" fmla="*/ 654247 h 1548041"/>
              <a:gd name="connsiteX88" fmla="*/ 2307894 w 2534562"/>
              <a:gd name="connsiteY88" fmla="*/ 615610 h 1548041"/>
              <a:gd name="connsiteX89" fmla="*/ 2228045 w 2534562"/>
              <a:gd name="connsiteY89" fmla="*/ 569246 h 1548041"/>
              <a:gd name="connsiteX90" fmla="*/ 2225469 w 2534562"/>
              <a:gd name="connsiteY90" fmla="*/ 533186 h 1548041"/>
              <a:gd name="connsiteX91" fmla="*/ 2194560 w 2534562"/>
              <a:gd name="connsiteY91" fmla="*/ 510004 h 1548041"/>
              <a:gd name="connsiteX92" fmla="*/ 2171378 w 2534562"/>
              <a:gd name="connsiteY92" fmla="*/ 510004 h 1548041"/>
              <a:gd name="connsiteX93" fmla="*/ 2127590 w 2534562"/>
              <a:gd name="connsiteY93" fmla="*/ 512579 h 1548041"/>
              <a:gd name="connsiteX94" fmla="*/ 2058044 w 2534562"/>
              <a:gd name="connsiteY94" fmla="*/ 473943 h 1548041"/>
              <a:gd name="connsiteX95" fmla="*/ 2006528 w 2534562"/>
              <a:gd name="connsiteY95" fmla="*/ 409548 h 1548041"/>
              <a:gd name="connsiteX96" fmla="*/ 1962740 w 2534562"/>
              <a:gd name="connsiteY96" fmla="*/ 386366 h 1548041"/>
              <a:gd name="connsiteX97" fmla="*/ 1957589 w 2534562"/>
              <a:gd name="connsiteY97" fmla="*/ 350306 h 1548041"/>
              <a:gd name="connsiteX98" fmla="*/ 1934407 w 2534562"/>
              <a:gd name="connsiteY98" fmla="*/ 301366 h 1548041"/>
              <a:gd name="connsiteX99" fmla="*/ 1893194 w 2534562"/>
              <a:gd name="connsiteY99" fmla="*/ 270457 h 1548041"/>
              <a:gd name="connsiteX100" fmla="*/ 1898346 w 2534562"/>
              <a:gd name="connsiteY100" fmla="*/ 226668 h 1548041"/>
              <a:gd name="connsiteX101" fmla="*/ 1934407 w 2534562"/>
              <a:gd name="connsiteY101" fmla="*/ 170001 h 1548041"/>
              <a:gd name="connsiteX102" fmla="*/ 1939558 w 2534562"/>
              <a:gd name="connsiteY102" fmla="*/ 105607 h 1548041"/>
              <a:gd name="connsiteX103" fmla="*/ 1967892 w 2534562"/>
              <a:gd name="connsiteY103" fmla="*/ 69546 h 1548041"/>
              <a:gd name="connsiteX104" fmla="*/ 2014256 w 2534562"/>
              <a:gd name="connsiteY104" fmla="*/ 46364 h 1548041"/>
              <a:gd name="connsiteX105" fmla="*/ 2086377 w 2534562"/>
              <a:gd name="connsiteY105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7887 w 2534562"/>
              <a:gd name="connsiteY34" fmla="*/ 746975 h 1548041"/>
              <a:gd name="connsiteX35" fmla="*/ 1336827 w 2534562"/>
              <a:gd name="connsiteY35" fmla="*/ 759854 h 1548041"/>
              <a:gd name="connsiteX36" fmla="*/ 1357433 w 2534562"/>
              <a:gd name="connsiteY36" fmla="*/ 788187 h 1548041"/>
              <a:gd name="connsiteX37" fmla="*/ 1388342 w 2534562"/>
              <a:gd name="connsiteY37" fmla="*/ 834551 h 1548041"/>
              <a:gd name="connsiteX38" fmla="*/ 1519707 w 2534562"/>
              <a:gd name="connsiteY38" fmla="*/ 880915 h 1548041"/>
              <a:gd name="connsiteX39" fmla="*/ 1550616 w 2534562"/>
              <a:gd name="connsiteY39" fmla="*/ 875764 h 1548041"/>
              <a:gd name="connsiteX40" fmla="*/ 1584101 w 2534562"/>
              <a:gd name="connsiteY40" fmla="*/ 904097 h 1548041"/>
              <a:gd name="connsiteX41" fmla="*/ 1630465 w 2534562"/>
              <a:gd name="connsiteY41" fmla="*/ 911824 h 1548041"/>
              <a:gd name="connsiteX42" fmla="*/ 1655917 w 2534562"/>
              <a:gd name="connsiteY42" fmla="*/ 941074 h 1548041"/>
              <a:gd name="connsiteX43" fmla="*/ 1759254 w 2534562"/>
              <a:gd name="connsiteY43" fmla="*/ 989098 h 1548041"/>
              <a:gd name="connsiteX44" fmla="*/ 1759254 w 2534562"/>
              <a:gd name="connsiteY44" fmla="*/ 989098 h 1548041"/>
              <a:gd name="connsiteX45" fmla="*/ 1779860 w 2534562"/>
              <a:gd name="connsiteY45" fmla="*/ 968491 h 1548041"/>
              <a:gd name="connsiteX46" fmla="*/ 1797891 w 2534562"/>
              <a:gd name="connsiteY46" fmla="*/ 989098 h 1548041"/>
              <a:gd name="connsiteX47" fmla="*/ 1797891 w 2534562"/>
              <a:gd name="connsiteY47" fmla="*/ 1030310 h 1548041"/>
              <a:gd name="connsiteX48" fmla="*/ 1831376 w 2534562"/>
              <a:gd name="connsiteY48" fmla="*/ 1050916 h 1548041"/>
              <a:gd name="connsiteX49" fmla="*/ 1870012 w 2534562"/>
              <a:gd name="connsiteY49" fmla="*/ 1050916 h 1548041"/>
              <a:gd name="connsiteX50" fmla="*/ 1911225 w 2534562"/>
              <a:gd name="connsiteY50" fmla="*/ 1076674 h 1548041"/>
              <a:gd name="connsiteX51" fmla="*/ 1918952 w 2534562"/>
              <a:gd name="connsiteY51" fmla="*/ 1128189 h 1548041"/>
              <a:gd name="connsiteX52" fmla="*/ 1947285 w 2534562"/>
              <a:gd name="connsiteY52" fmla="*/ 1153947 h 1548041"/>
              <a:gd name="connsiteX53" fmla="*/ 1947285 w 2534562"/>
              <a:gd name="connsiteY53" fmla="*/ 1177129 h 1548041"/>
              <a:gd name="connsiteX54" fmla="*/ 1991074 w 2534562"/>
              <a:gd name="connsiteY54" fmla="*/ 1205463 h 1548041"/>
              <a:gd name="connsiteX55" fmla="*/ 1985922 w 2534562"/>
              <a:gd name="connsiteY55" fmla="*/ 1254402 h 1548041"/>
              <a:gd name="connsiteX56" fmla="*/ 2024559 w 2534562"/>
              <a:gd name="connsiteY56" fmla="*/ 1290463 h 1548041"/>
              <a:gd name="connsiteX57" fmla="*/ 2070923 w 2534562"/>
              <a:gd name="connsiteY57" fmla="*/ 1326524 h 1548041"/>
              <a:gd name="connsiteX58" fmla="*/ 2114711 w 2534562"/>
              <a:gd name="connsiteY58" fmla="*/ 1313645 h 1548041"/>
              <a:gd name="connsiteX59" fmla="*/ 2168802 w 2534562"/>
              <a:gd name="connsiteY59" fmla="*/ 1344555 h 1548041"/>
              <a:gd name="connsiteX60" fmla="*/ 2199711 w 2534562"/>
              <a:gd name="connsiteY60" fmla="*/ 1321373 h 1548041"/>
              <a:gd name="connsiteX61" fmla="*/ 2251227 w 2534562"/>
              <a:gd name="connsiteY61" fmla="*/ 1347130 h 1548041"/>
              <a:gd name="connsiteX62" fmla="*/ 2295015 w 2534562"/>
              <a:gd name="connsiteY62" fmla="*/ 1393494 h 1548041"/>
              <a:gd name="connsiteX63" fmla="*/ 2333652 w 2534562"/>
              <a:gd name="connsiteY63" fmla="*/ 1465616 h 1548041"/>
              <a:gd name="connsiteX64" fmla="*/ 2354258 w 2534562"/>
              <a:gd name="connsiteY64" fmla="*/ 1478495 h 1548041"/>
              <a:gd name="connsiteX65" fmla="*/ 2372288 w 2534562"/>
              <a:gd name="connsiteY65" fmla="*/ 1509404 h 1548041"/>
              <a:gd name="connsiteX66" fmla="*/ 2395470 w 2534562"/>
              <a:gd name="connsiteY66" fmla="*/ 1548041 h 1548041"/>
              <a:gd name="connsiteX67" fmla="*/ 2423804 w 2534562"/>
              <a:gd name="connsiteY67" fmla="*/ 1548041 h 1548041"/>
              <a:gd name="connsiteX68" fmla="*/ 2446986 w 2534562"/>
              <a:gd name="connsiteY68" fmla="*/ 1519707 h 1548041"/>
              <a:gd name="connsiteX69" fmla="*/ 2483047 w 2534562"/>
              <a:gd name="connsiteY69" fmla="*/ 1483646 h 1548041"/>
              <a:gd name="connsiteX70" fmla="*/ 2480471 w 2534562"/>
              <a:gd name="connsiteY70" fmla="*/ 1442434 h 1548041"/>
              <a:gd name="connsiteX71" fmla="*/ 2495925 w 2534562"/>
              <a:gd name="connsiteY71" fmla="*/ 1419252 h 1548041"/>
              <a:gd name="connsiteX72" fmla="*/ 2493350 w 2534562"/>
              <a:gd name="connsiteY72" fmla="*/ 1347130 h 1548041"/>
              <a:gd name="connsiteX73" fmla="*/ 2519107 w 2534562"/>
              <a:gd name="connsiteY73" fmla="*/ 1305918 h 1548041"/>
              <a:gd name="connsiteX74" fmla="*/ 2498501 w 2534562"/>
              <a:gd name="connsiteY74" fmla="*/ 1272433 h 1548041"/>
              <a:gd name="connsiteX75" fmla="*/ 2526835 w 2534562"/>
              <a:gd name="connsiteY75" fmla="*/ 1233796 h 1548041"/>
              <a:gd name="connsiteX76" fmla="*/ 2534562 w 2534562"/>
              <a:gd name="connsiteY76" fmla="*/ 1200311 h 1548041"/>
              <a:gd name="connsiteX77" fmla="*/ 2498501 w 2534562"/>
              <a:gd name="connsiteY77" fmla="*/ 1148796 h 1548041"/>
              <a:gd name="connsiteX78" fmla="*/ 2436683 w 2534562"/>
              <a:gd name="connsiteY78" fmla="*/ 1099856 h 1548041"/>
              <a:gd name="connsiteX79" fmla="*/ 2423804 w 2534562"/>
              <a:gd name="connsiteY79" fmla="*/ 1050916 h 1548041"/>
              <a:gd name="connsiteX80" fmla="*/ 2413501 w 2534562"/>
              <a:gd name="connsiteY80" fmla="*/ 994249 h 1548041"/>
              <a:gd name="connsiteX81" fmla="*/ 2392894 w 2534562"/>
              <a:gd name="connsiteY81" fmla="*/ 958188 h 1548041"/>
              <a:gd name="connsiteX82" fmla="*/ 2405773 w 2534562"/>
              <a:gd name="connsiteY82" fmla="*/ 919552 h 1548041"/>
              <a:gd name="connsiteX83" fmla="*/ 2356834 w 2534562"/>
              <a:gd name="connsiteY83" fmla="*/ 798490 h 1548041"/>
              <a:gd name="connsiteX84" fmla="*/ 2356834 w 2534562"/>
              <a:gd name="connsiteY84" fmla="*/ 754702 h 1548041"/>
              <a:gd name="connsiteX85" fmla="*/ 2331076 w 2534562"/>
              <a:gd name="connsiteY85" fmla="*/ 690308 h 1548041"/>
              <a:gd name="connsiteX86" fmla="*/ 2328500 w 2534562"/>
              <a:gd name="connsiteY86" fmla="*/ 654247 h 1548041"/>
              <a:gd name="connsiteX87" fmla="*/ 2307894 w 2534562"/>
              <a:gd name="connsiteY87" fmla="*/ 615610 h 1548041"/>
              <a:gd name="connsiteX88" fmla="*/ 2228045 w 2534562"/>
              <a:gd name="connsiteY88" fmla="*/ 569246 h 1548041"/>
              <a:gd name="connsiteX89" fmla="*/ 2225469 w 2534562"/>
              <a:gd name="connsiteY89" fmla="*/ 533186 h 1548041"/>
              <a:gd name="connsiteX90" fmla="*/ 2194560 w 2534562"/>
              <a:gd name="connsiteY90" fmla="*/ 510004 h 1548041"/>
              <a:gd name="connsiteX91" fmla="*/ 2171378 w 2534562"/>
              <a:gd name="connsiteY91" fmla="*/ 510004 h 1548041"/>
              <a:gd name="connsiteX92" fmla="*/ 2127590 w 2534562"/>
              <a:gd name="connsiteY92" fmla="*/ 512579 h 1548041"/>
              <a:gd name="connsiteX93" fmla="*/ 2058044 w 2534562"/>
              <a:gd name="connsiteY93" fmla="*/ 473943 h 1548041"/>
              <a:gd name="connsiteX94" fmla="*/ 2006528 w 2534562"/>
              <a:gd name="connsiteY94" fmla="*/ 409548 h 1548041"/>
              <a:gd name="connsiteX95" fmla="*/ 1962740 w 2534562"/>
              <a:gd name="connsiteY95" fmla="*/ 386366 h 1548041"/>
              <a:gd name="connsiteX96" fmla="*/ 1957589 w 2534562"/>
              <a:gd name="connsiteY96" fmla="*/ 350306 h 1548041"/>
              <a:gd name="connsiteX97" fmla="*/ 1934407 w 2534562"/>
              <a:gd name="connsiteY97" fmla="*/ 301366 h 1548041"/>
              <a:gd name="connsiteX98" fmla="*/ 1893194 w 2534562"/>
              <a:gd name="connsiteY98" fmla="*/ 270457 h 1548041"/>
              <a:gd name="connsiteX99" fmla="*/ 1898346 w 2534562"/>
              <a:gd name="connsiteY99" fmla="*/ 226668 h 1548041"/>
              <a:gd name="connsiteX100" fmla="*/ 1934407 w 2534562"/>
              <a:gd name="connsiteY100" fmla="*/ 170001 h 1548041"/>
              <a:gd name="connsiteX101" fmla="*/ 1939558 w 2534562"/>
              <a:gd name="connsiteY101" fmla="*/ 105607 h 1548041"/>
              <a:gd name="connsiteX102" fmla="*/ 1967892 w 2534562"/>
              <a:gd name="connsiteY102" fmla="*/ 69546 h 1548041"/>
              <a:gd name="connsiteX103" fmla="*/ 2014256 w 2534562"/>
              <a:gd name="connsiteY103" fmla="*/ 46364 h 1548041"/>
              <a:gd name="connsiteX104" fmla="*/ 2086377 w 2534562"/>
              <a:gd name="connsiteY104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7887 w 2534562"/>
              <a:gd name="connsiteY34" fmla="*/ 746975 h 1548041"/>
              <a:gd name="connsiteX35" fmla="*/ 1336827 w 2534562"/>
              <a:gd name="connsiteY35" fmla="*/ 759854 h 1548041"/>
              <a:gd name="connsiteX36" fmla="*/ 1357433 w 2534562"/>
              <a:gd name="connsiteY36" fmla="*/ 788187 h 1548041"/>
              <a:gd name="connsiteX37" fmla="*/ 1388342 w 2534562"/>
              <a:gd name="connsiteY37" fmla="*/ 834551 h 1548041"/>
              <a:gd name="connsiteX38" fmla="*/ 1519707 w 2534562"/>
              <a:gd name="connsiteY38" fmla="*/ 880915 h 1548041"/>
              <a:gd name="connsiteX39" fmla="*/ 1550616 w 2534562"/>
              <a:gd name="connsiteY39" fmla="*/ 875764 h 1548041"/>
              <a:gd name="connsiteX40" fmla="*/ 1630465 w 2534562"/>
              <a:gd name="connsiteY40" fmla="*/ 911824 h 1548041"/>
              <a:gd name="connsiteX41" fmla="*/ 1655917 w 2534562"/>
              <a:gd name="connsiteY41" fmla="*/ 941074 h 1548041"/>
              <a:gd name="connsiteX42" fmla="*/ 1759254 w 2534562"/>
              <a:gd name="connsiteY42" fmla="*/ 989098 h 1548041"/>
              <a:gd name="connsiteX43" fmla="*/ 1759254 w 2534562"/>
              <a:gd name="connsiteY43" fmla="*/ 989098 h 1548041"/>
              <a:gd name="connsiteX44" fmla="*/ 1779860 w 2534562"/>
              <a:gd name="connsiteY44" fmla="*/ 968491 h 1548041"/>
              <a:gd name="connsiteX45" fmla="*/ 1797891 w 2534562"/>
              <a:gd name="connsiteY45" fmla="*/ 989098 h 1548041"/>
              <a:gd name="connsiteX46" fmla="*/ 1797891 w 2534562"/>
              <a:gd name="connsiteY46" fmla="*/ 1030310 h 1548041"/>
              <a:gd name="connsiteX47" fmla="*/ 1831376 w 2534562"/>
              <a:gd name="connsiteY47" fmla="*/ 1050916 h 1548041"/>
              <a:gd name="connsiteX48" fmla="*/ 1870012 w 2534562"/>
              <a:gd name="connsiteY48" fmla="*/ 1050916 h 1548041"/>
              <a:gd name="connsiteX49" fmla="*/ 1911225 w 2534562"/>
              <a:gd name="connsiteY49" fmla="*/ 1076674 h 1548041"/>
              <a:gd name="connsiteX50" fmla="*/ 1918952 w 2534562"/>
              <a:gd name="connsiteY50" fmla="*/ 1128189 h 1548041"/>
              <a:gd name="connsiteX51" fmla="*/ 1947285 w 2534562"/>
              <a:gd name="connsiteY51" fmla="*/ 1153947 h 1548041"/>
              <a:gd name="connsiteX52" fmla="*/ 1947285 w 2534562"/>
              <a:gd name="connsiteY52" fmla="*/ 1177129 h 1548041"/>
              <a:gd name="connsiteX53" fmla="*/ 1991074 w 2534562"/>
              <a:gd name="connsiteY53" fmla="*/ 1205463 h 1548041"/>
              <a:gd name="connsiteX54" fmla="*/ 1985922 w 2534562"/>
              <a:gd name="connsiteY54" fmla="*/ 1254402 h 1548041"/>
              <a:gd name="connsiteX55" fmla="*/ 2024559 w 2534562"/>
              <a:gd name="connsiteY55" fmla="*/ 1290463 h 1548041"/>
              <a:gd name="connsiteX56" fmla="*/ 2070923 w 2534562"/>
              <a:gd name="connsiteY56" fmla="*/ 1326524 h 1548041"/>
              <a:gd name="connsiteX57" fmla="*/ 2114711 w 2534562"/>
              <a:gd name="connsiteY57" fmla="*/ 1313645 h 1548041"/>
              <a:gd name="connsiteX58" fmla="*/ 2168802 w 2534562"/>
              <a:gd name="connsiteY58" fmla="*/ 1344555 h 1548041"/>
              <a:gd name="connsiteX59" fmla="*/ 2199711 w 2534562"/>
              <a:gd name="connsiteY59" fmla="*/ 1321373 h 1548041"/>
              <a:gd name="connsiteX60" fmla="*/ 2251227 w 2534562"/>
              <a:gd name="connsiteY60" fmla="*/ 1347130 h 1548041"/>
              <a:gd name="connsiteX61" fmla="*/ 2295015 w 2534562"/>
              <a:gd name="connsiteY61" fmla="*/ 1393494 h 1548041"/>
              <a:gd name="connsiteX62" fmla="*/ 2333652 w 2534562"/>
              <a:gd name="connsiteY62" fmla="*/ 1465616 h 1548041"/>
              <a:gd name="connsiteX63" fmla="*/ 2354258 w 2534562"/>
              <a:gd name="connsiteY63" fmla="*/ 1478495 h 1548041"/>
              <a:gd name="connsiteX64" fmla="*/ 2372288 w 2534562"/>
              <a:gd name="connsiteY64" fmla="*/ 1509404 h 1548041"/>
              <a:gd name="connsiteX65" fmla="*/ 2395470 w 2534562"/>
              <a:gd name="connsiteY65" fmla="*/ 1548041 h 1548041"/>
              <a:gd name="connsiteX66" fmla="*/ 2423804 w 2534562"/>
              <a:gd name="connsiteY66" fmla="*/ 1548041 h 1548041"/>
              <a:gd name="connsiteX67" fmla="*/ 2446986 w 2534562"/>
              <a:gd name="connsiteY67" fmla="*/ 1519707 h 1548041"/>
              <a:gd name="connsiteX68" fmla="*/ 2483047 w 2534562"/>
              <a:gd name="connsiteY68" fmla="*/ 1483646 h 1548041"/>
              <a:gd name="connsiteX69" fmla="*/ 2480471 w 2534562"/>
              <a:gd name="connsiteY69" fmla="*/ 1442434 h 1548041"/>
              <a:gd name="connsiteX70" fmla="*/ 2495925 w 2534562"/>
              <a:gd name="connsiteY70" fmla="*/ 1419252 h 1548041"/>
              <a:gd name="connsiteX71" fmla="*/ 2493350 w 2534562"/>
              <a:gd name="connsiteY71" fmla="*/ 1347130 h 1548041"/>
              <a:gd name="connsiteX72" fmla="*/ 2519107 w 2534562"/>
              <a:gd name="connsiteY72" fmla="*/ 1305918 h 1548041"/>
              <a:gd name="connsiteX73" fmla="*/ 2498501 w 2534562"/>
              <a:gd name="connsiteY73" fmla="*/ 1272433 h 1548041"/>
              <a:gd name="connsiteX74" fmla="*/ 2526835 w 2534562"/>
              <a:gd name="connsiteY74" fmla="*/ 1233796 h 1548041"/>
              <a:gd name="connsiteX75" fmla="*/ 2534562 w 2534562"/>
              <a:gd name="connsiteY75" fmla="*/ 1200311 h 1548041"/>
              <a:gd name="connsiteX76" fmla="*/ 2498501 w 2534562"/>
              <a:gd name="connsiteY76" fmla="*/ 1148796 h 1548041"/>
              <a:gd name="connsiteX77" fmla="*/ 2436683 w 2534562"/>
              <a:gd name="connsiteY77" fmla="*/ 1099856 h 1548041"/>
              <a:gd name="connsiteX78" fmla="*/ 2423804 w 2534562"/>
              <a:gd name="connsiteY78" fmla="*/ 1050916 h 1548041"/>
              <a:gd name="connsiteX79" fmla="*/ 2413501 w 2534562"/>
              <a:gd name="connsiteY79" fmla="*/ 994249 h 1548041"/>
              <a:gd name="connsiteX80" fmla="*/ 2392894 w 2534562"/>
              <a:gd name="connsiteY80" fmla="*/ 958188 h 1548041"/>
              <a:gd name="connsiteX81" fmla="*/ 2405773 w 2534562"/>
              <a:gd name="connsiteY81" fmla="*/ 919552 h 1548041"/>
              <a:gd name="connsiteX82" fmla="*/ 2356834 w 2534562"/>
              <a:gd name="connsiteY82" fmla="*/ 798490 h 1548041"/>
              <a:gd name="connsiteX83" fmla="*/ 2356834 w 2534562"/>
              <a:gd name="connsiteY83" fmla="*/ 754702 h 1548041"/>
              <a:gd name="connsiteX84" fmla="*/ 2331076 w 2534562"/>
              <a:gd name="connsiteY84" fmla="*/ 690308 h 1548041"/>
              <a:gd name="connsiteX85" fmla="*/ 2328500 w 2534562"/>
              <a:gd name="connsiteY85" fmla="*/ 654247 h 1548041"/>
              <a:gd name="connsiteX86" fmla="*/ 2307894 w 2534562"/>
              <a:gd name="connsiteY86" fmla="*/ 615610 h 1548041"/>
              <a:gd name="connsiteX87" fmla="*/ 2228045 w 2534562"/>
              <a:gd name="connsiteY87" fmla="*/ 569246 h 1548041"/>
              <a:gd name="connsiteX88" fmla="*/ 2225469 w 2534562"/>
              <a:gd name="connsiteY88" fmla="*/ 533186 h 1548041"/>
              <a:gd name="connsiteX89" fmla="*/ 2194560 w 2534562"/>
              <a:gd name="connsiteY89" fmla="*/ 510004 h 1548041"/>
              <a:gd name="connsiteX90" fmla="*/ 2171378 w 2534562"/>
              <a:gd name="connsiteY90" fmla="*/ 510004 h 1548041"/>
              <a:gd name="connsiteX91" fmla="*/ 2127590 w 2534562"/>
              <a:gd name="connsiteY91" fmla="*/ 512579 h 1548041"/>
              <a:gd name="connsiteX92" fmla="*/ 2058044 w 2534562"/>
              <a:gd name="connsiteY92" fmla="*/ 473943 h 1548041"/>
              <a:gd name="connsiteX93" fmla="*/ 2006528 w 2534562"/>
              <a:gd name="connsiteY93" fmla="*/ 409548 h 1548041"/>
              <a:gd name="connsiteX94" fmla="*/ 1962740 w 2534562"/>
              <a:gd name="connsiteY94" fmla="*/ 386366 h 1548041"/>
              <a:gd name="connsiteX95" fmla="*/ 1957589 w 2534562"/>
              <a:gd name="connsiteY95" fmla="*/ 350306 h 1548041"/>
              <a:gd name="connsiteX96" fmla="*/ 1934407 w 2534562"/>
              <a:gd name="connsiteY96" fmla="*/ 301366 h 1548041"/>
              <a:gd name="connsiteX97" fmla="*/ 1893194 w 2534562"/>
              <a:gd name="connsiteY97" fmla="*/ 270457 h 1548041"/>
              <a:gd name="connsiteX98" fmla="*/ 1898346 w 2534562"/>
              <a:gd name="connsiteY98" fmla="*/ 226668 h 1548041"/>
              <a:gd name="connsiteX99" fmla="*/ 1934407 w 2534562"/>
              <a:gd name="connsiteY99" fmla="*/ 170001 h 1548041"/>
              <a:gd name="connsiteX100" fmla="*/ 1939558 w 2534562"/>
              <a:gd name="connsiteY100" fmla="*/ 105607 h 1548041"/>
              <a:gd name="connsiteX101" fmla="*/ 1967892 w 2534562"/>
              <a:gd name="connsiteY101" fmla="*/ 69546 h 1548041"/>
              <a:gd name="connsiteX102" fmla="*/ 2014256 w 2534562"/>
              <a:gd name="connsiteY102" fmla="*/ 46364 h 1548041"/>
              <a:gd name="connsiteX103" fmla="*/ 2086377 w 2534562"/>
              <a:gd name="connsiteY103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7887 w 2534562"/>
              <a:gd name="connsiteY34" fmla="*/ 746975 h 1548041"/>
              <a:gd name="connsiteX35" fmla="*/ 1336827 w 2534562"/>
              <a:gd name="connsiteY35" fmla="*/ 759854 h 1548041"/>
              <a:gd name="connsiteX36" fmla="*/ 1357433 w 2534562"/>
              <a:gd name="connsiteY36" fmla="*/ 788187 h 1548041"/>
              <a:gd name="connsiteX37" fmla="*/ 1388342 w 2534562"/>
              <a:gd name="connsiteY37" fmla="*/ 834551 h 1548041"/>
              <a:gd name="connsiteX38" fmla="*/ 1519707 w 2534562"/>
              <a:gd name="connsiteY38" fmla="*/ 880915 h 1548041"/>
              <a:gd name="connsiteX39" fmla="*/ 1630465 w 2534562"/>
              <a:gd name="connsiteY39" fmla="*/ 911824 h 1548041"/>
              <a:gd name="connsiteX40" fmla="*/ 1655917 w 2534562"/>
              <a:gd name="connsiteY40" fmla="*/ 941074 h 1548041"/>
              <a:gd name="connsiteX41" fmla="*/ 1759254 w 2534562"/>
              <a:gd name="connsiteY41" fmla="*/ 989098 h 1548041"/>
              <a:gd name="connsiteX42" fmla="*/ 1759254 w 2534562"/>
              <a:gd name="connsiteY42" fmla="*/ 989098 h 1548041"/>
              <a:gd name="connsiteX43" fmla="*/ 1779860 w 2534562"/>
              <a:gd name="connsiteY43" fmla="*/ 968491 h 1548041"/>
              <a:gd name="connsiteX44" fmla="*/ 1797891 w 2534562"/>
              <a:gd name="connsiteY44" fmla="*/ 989098 h 1548041"/>
              <a:gd name="connsiteX45" fmla="*/ 1797891 w 2534562"/>
              <a:gd name="connsiteY45" fmla="*/ 1030310 h 1548041"/>
              <a:gd name="connsiteX46" fmla="*/ 1831376 w 2534562"/>
              <a:gd name="connsiteY46" fmla="*/ 1050916 h 1548041"/>
              <a:gd name="connsiteX47" fmla="*/ 1870012 w 2534562"/>
              <a:gd name="connsiteY47" fmla="*/ 1050916 h 1548041"/>
              <a:gd name="connsiteX48" fmla="*/ 1911225 w 2534562"/>
              <a:gd name="connsiteY48" fmla="*/ 1076674 h 1548041"/>
              <a:gd name="connsiteX49" fmla="*/ 1918952 w 2534562"/>
              <a:gd name="connsiteY49" fmla="*/ 1128189 h 1548041"/>
              <a:gd name="connsiteX50" fmla="*/ 1947285 w 2534562"/>
              <a:gd name="connsiteY50" fmla="*/ 1153947 h 1548041"/>
              <a:gd name="connsiteX51" fmla="*/ 1947285 w 2534562"/>
              <a:gd name="connsiteY51" fmla="*/ 1177129 h 1548041"/>
              <a:gd name="connsiteX52" fmla="*/ 1991074 w 2534562"/>
              <a:gd name="connsiteY52" fmla="*/ 1205463 h 1548041"/>
              <a:gd name="connsiteX53" fmla="*/ 1985922 w 2534562"/>
              <a:gd name="connsiteY53" fmla="*/ 1254402 h 1548041"/>
              <a:gd name="connsiteX54" fmla="*/ 2024559 w 2534562"/>
              <a:gd name="connsiteY54" fmla="*/ 1290463 h 1548041"/>
              <a:gd name="connsiteX55" fmla="*/ 2070923 w 2534562"/>
              <a:gd name="connsiteY55" fmla="*/ 1326524 h 1548041"/>
              <a:gd name="connsiteX56" fmla="*/ 2114711 w 2534562"/>
              <a:gd name="connsiteY56" fmla="*/ 1313645 h 1548041"/>
              <a:gd name="connsiteX57" fmla="*/ 2168802 w 2534562"/>
              <a:gd name="connsiteY57" fmla="*/ 1344555 h 1548041"/>
              <a:gd name="connsiteX58" fmla="*/ 2199711 w 2534562"/>
              <a:gd name="connsiteY58" fmla="*/ 1321373 h 1548041"/>
              <a:gd name="connsiteX59" fmla="*/ 2251227 w 2534562"/>
              <a:gd name="connsiteY59" fmla="*/ 1347130 h 1548041"/>
              <a:gd name="connsiteX60" fmla="*/ 2295015 w 2534562"/>
              <a:gd name="connsiteY60" fmla="*/ 1393494 h 1548041"/>
              <a:gd name="connsiteX61" fmla="*/ 2333652 w 2534562"/>
              <a:gd name="connsiteY61" fmla="*/ 1465616 h 1548041"/>
              <a:gd name="connsiteX62" fmla="*/ 2354258 w 2534562"/>
              <a:gd name="connsiteY62" fmla="*/ 1478495 h 1548041"/>
              <a:gd name="connsiteX63" fmla="*/ 2372288 w 2534562"/>
              <a:gd name="connsiteY63" fmla="*/ 1509404 h 1548041"/>
              <a:gd name="connsiteX64" fmla="*/ 2395470 w 2534562"/>
              <a:gd name="connsiteY64" fmla="*/ 1548041 h 1548041"/>
              <a:gd name="connsiteX65" fmla="*/ 2423804 w 2534562"/>
              <a:gd name="connsiteY65" fmla="*/ 1548041 h 1548041"/>
              <a:gd name="connsiteX66" fmla="*/ 2446986 w 2534562"/>
              <a:gd name="connsiteY66" fmla="*/ 1519707 h 1548041"/>
              <a:gd name="connsiteX67" fmla="*/ 2483047 w 2534562"/>
              <a:gd name="connsiteY67" fmla="*/ 1483646 h 1548041"/>
              <a:gd name="connsiteX68" fmla="*/ 2480471 w 2534562"/>
              <a:gd name="connsiteY68" fmla="*/ 1442434 h 1548041"/>
              <a:gd name="connsiteX69" fmla="*/ 2495925 w 2534562"/>
              <a:gd name="connsiteY69" fmla="*/ 1419252 h 1548041"/>
              <a:gd name="connsiteX70" fmla="*/ 2493350 w 2534562"/>
              <a:gd name="connsiteY70" fmla="*/ 1347130 h 1548041"/>
              <a:gd name="connsiteX71" fmla="*/ 2519107 w 2534562"/>
              <a:gd name="connsiteY71" fmla="*/ 1305918 h 1548041"/>
              <a:gd name="connsiteX72" fmla="*/ 2498501 w 2534562"/>
              <a:gd name="connsiteY72" fmla="*/ 1272433 h 1548041"/>
              <a:gd name="connsiteX73" fmla="*/ 2526835 w 2534562"/>
              <a:gd name="connsiteY73" fmla="*/ 1233796 h 1548041"/>
              <a:gd name="connsiteX74" fmla="*/ 2534562 w 2534562"/>
              <a:gd name="connsiteY74" fmla="*/ 1200311 h 1548041"/>
              <a:gd name="connsiteX75" fmla="*/ 2498501 w 2534562"/>
              <a:gd name="connsiteY75" fmla="*/ 1148796 h 1548041"/>
              <a:gd name="connsiteX76" fmla="*/ 2436683 w 2534562"/>
              <a:gd name="connsiteY76" fmla="*/ 1099856 h 1548041"/>
              <a:gd name="connsiteX77" fmla="*/ 2423804 w 2534562"/>
              <a:gd name="connsiteY77" fmla="*/ 1050916 h 1548041"/>
              <a:gd name="connsiteX78" fmla="*/ 2413501 w 2534562"/>
              <a:gd name="connsiteY78" fmla="*/ 994249 h 1548041"/>
              <a:gd name="connsiteX79" fmla="*/ 2392894 w 2534562"/>
              <a:gd name="connsiteY79" fmla="*/ 958188 h 1548041"/>
              <a:gd name="connsiteX80" fmla="*/ 2405773 w 2534562"/>
              <a:gd name="connsiteY80" fmla="*/ 919552 h 1548041"/>
              <a:gd name="connsiteX81" fmla="*/ 2356834 w 2534562"/>
              <a:gd name="connsiteY81" fmla="*/ 798490 h 1548041"/>
              <a:gd name="connsiteX82" fmla="*/ 2356834 w 2534562"/>
              <a:gd name="connsiteY82" fmla="*/ 754702 h 1548041"/>
              <a:gd name="connsiteX83" fmla="*/ 2331076 w 2534562"/>
              <a:gd name="connsiteY83" fmla="*/ 690308 h 1548041"/>
              <a:gd name="connsiteX84" fmla="*/ 2328500 w 2534562"/>
              <a:gd name="connsiteY84" fmla="*/ 654247 h 1548041"/>
              <a:gd name="connsiteX85" fmla="*/ 2307894 w 2534562"/>
              <a:gd name="connsiteY85" fmla="*/ 615610 h 1548041"/>
              <a:gd name="connsiteX86" fmla="*/ 2228045 w 2534562"/>
              <a:gd name="connsiteY86" fmla="*/ 569246 h 1548041"/>
              <a:gd name="connsiteX87" fmla="*/ 2225469 w 2534562"/>
              <a:gd name="connsiteY87" fmla="*/ 533186 h 1548041"/>
              <a:gd name="connsiteX88" fmla="*/ 2194560 w 2534562"/>
              <a:gd name="connsiteY88" fmla="*/ 510004 h 1548041"/>
              <a:gd name="connsiteX89" fmla="*/ 2171378 w 2534562"/>
              <a:gd name="connsiteY89" fmla="*/ 510004 h 1548041"/>
              <a:gd name="connsiteX90" fmla="*/ 2127590 w 2534562"/>
              <a:gd name="connsiteY90" fmla="*/ 512579 h 1548041"/>
              <a:gd name="connsiteX91" fmla="*/ 2058044 w 2534562"/>
              <a:gd name="connsiteY91" fmla="*/ 473943 h 1548041"/>
              <a:gd name="connsiteX92" fmla="*/ 2006528 w 2534562"/>
              <a:gd name="connsiteY92" fmla="*/ 409548 h 1548041"/>
              <a:gd name="connsiteX93" fmla="*/ 1962740 w 2534562"/>
              <a:gd name="connsiteY93" fmla="*/ 386366 h 1548041"/>
              <a:gd name="connsiteX94" fmla="*/ 1957589 w 2534562"/>
              <a:gd name="connsiteY94" fmla="*/ 350306 h 1548041"/>
              <a:gd name="connsiteX95" fmla="*/ 1934407 w 2534562"/>
              <a:gd name="connsiteY95" fmla="*/ 301366 h 1548041"/>
              <a:gd name="connsiteX96" fmla="*/ 1893194 w 2534562"/>
              <a:gd name="connsiteY96" fmla="*/ 270457 h 1548041"/>
              <a:gd name="connsiteX97" fmla="*/ 1898346 w 2534562"/>
              <a:gd name="connsiteY97" fmla="*/ 226668 h 1548041"/>
              <a:gd name="connsiteX98" fmla="*/ 1934407 w 2534562"/>
              <a:gd name="connsiteY98" fmla="*/ 170001 h 1548041"/>
              <a:gd name="connsiteX99" fmla="*/ 1939558 w 2534562"/>
              <a:gd name="connsiteY99" fmla="*/ 105607 h 1548041"/>
              <a:gd name="connsiteX100" fmla="*/ 1967892 w 2534562"/>
              <a:gd name="connsiteY100" fmla="*/ 69546 h 1548041"/>
              <a:gd name="connsiteX101" fmla="*/ 2014256 w 2534562"/>
              <a:gd name="connsiteY101" fmla="*/ 46364 h 1548041"/>
              <a:gd name="connsiteX102" fmla="*/ 2086377 w 2534562"/>
              <a:gd name="connsiteY102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7887 w 2534562"/>
              <a:gd name="connsiteY34" fmla="*/ 746975 h 1548041"/>
              <a:gd name="connsiteX35" fmla="*/ 1336827 w 2534562"/>
              <a:gd name="connsiteY35" fmla="*/ 759854 h 1548041"/>
              <a:gd name="connsiteX36" fmla="*/ 1357433 w 2534562"/>
              <a:gd name="connsiteY36" fmla="*/ 788187 h 1548041"/>
              <a:gd name="connsiteX37" fmla="*/ 1388342 w 2534562"/>
              <a:gd name="connsiteY37" fmla="*/ 834551 h 1548041"/>
              <a:gd name="connsiteX38" fmla="*/ 1630465 w 2534562"/>
              <a:gd name="connsiteY38" fmla="*/ 911824 h 1548041"/>
              <a:gd name="connsiteX39" fmla="*/ 1655917 w 2534562"/>
              <a:gd name="connsiteY39" fmla="*/ 941074 h 1548041"/>
              <a:gd name="connsiteX40" fmla="*/ 1759254 w 2534562"/>
              <a:gd name="connsiteY40" fmla="*/ 989098 h 1548041"/>
              <a:gd name="connsiteX41" fmla="*/ 1759254 w 2534562"/>
              <a:gd name="connsiteY41" fmla="*/ 989098 h 1548041"/>
              <a:gd name="connsiteX42" fmla="*/ 1779860 w 2534562"/>
              <a:gd name="connsiteY42" fmla="*/ 968491 h 1548041"/>
              <a:gd name="connsiteX43" fmla="*/ 1797891 w 2534562"/>
              <a:gd name="connsiteY43" fmla="*/ 989098 h 1548041"/>
              <a:gd name="connsiteX44" fmla="*/ 1797891 w 2534562"/>
              <a:gd name="connsiteY44" fmla="*/ 1030310 h 1548041"/>
              <a:gd name="connsiteX45" fmla="*/ 1831376 w 2534562"/>
              <a:gd name="connsiteY45" fmla="*/ 1050916 h 1548041"/>
              <a:gd name="connsiteX46" fmla="*/ 1870012 w 2534562"/>
              <a:gd name="connsiteY46" fmla="*/ 1050916 h 1548041"/>
              <a:gd name="connsiteX47" fmla="*/ 1911225 w 2534562"/>
              <a:gd name="connsiteY47" fmla="*/ 1076674 h 1548041"/>
              <a:gd name="connsiteX48" fmla="*/ 1918952 w 2534562"/>
              <a:gd name="connsiteY48" fmla="*/ 1128189 h 1548041"/>
              <a:gd name="connsiteX49" fmla="*/ 1947285 w 2534562"/>
              <a:gd name="connsiteY49" fmla="*/ 1153947 h 1548041"/>
              <a:gd name="connsiteX50" fmla="*/ 1947285 w 2534562"/>
              <a:gd name="connsiteY50" fmla="*/ 1177129 h 1548041"/>
              <a:gd name="connsiteX51" fmla="*/ 1991074 w 2534562"/>
              <a:gd name="connsiteY51" fmla="*/ 1205463 h 1548041"/>
              <a:gd name="connsiteX52" fmla="*/ 1985922 w 2534562"/>
              <a:gd name="connsiteY52" fmla="*/ 1254402 h 1548041"/>
              <a:gd name="connsiteX53" fmla="*/ 2024559 w 2534562"/>
              <a:gd name="connsiteY53" fmla="*/ 1290463 h 1548041"/>
              <a:gd name="connsiteX54" fmla="*/ 2070923 w 2534562"/>
              <a:gd name="connsiteY54" fmla="*/ 1326524 h 1548041"/>
              <a:gd name="connsiteX55" fmla="*/ 2114711 w 2534562"/>
              <a:gd name="connsiteY55" fmla="*/ 1313645 h 1548041"/>
              <a:gd name="connsiteX56" fmla="*/ 2168802 w 2534562"/>
              <a:gd name="connsiteY56" fmla="*/ 1344555 h 1548041"/>
              <a:gd name="connsiteX57" fmla="*/ 2199711 w 2534562"/>
              <a:gd name="connsiteY57" fmla="*/ 1321373 h 1548041"/>
              <a:gd name="connsiteX58" fmla="*/ 2251227 w 2534562"/>
              <a:gd name="connsiteY58" fmla="*/ 1347130 h 1548041"/>
              <a:gd name="connsiteX59" fmla="*/ 2295015 w 2534562"/>
              <a:gd name="connsiteY59" fmla="*/ 1393494 h 1548041"/>
              <a:gd name="connsiteX60" fmla="*/ 2333652 w 2534562"/>
              <a:gd name="connsiteY60" fmla="*/ 1465616 h 1548041"/>
              <a:gd name="connsiteX61" fmla="*/ 2354258 w 2534562"/>
              <a:gd name="connsiteY61" fmla="*/ 1478495 h 1548041"/>
              <a:gd name="connsiteX62" fmla="*/ 2372288 w 2534562"/>
              <a:gd name="connsiteY62" fmla="*/ 1509404 h 1548041"/>
              <a:gd name="connsiteX63" fmla="*/ 2395470 w 2534562"/>
              <a:gd name="connsiteY63" fmla="*/ 1548041 h 1548041"/>
              <a:gd name="connsiteX64" fmla="*/ 2423804 w 2534562"/>
              <a:gd name="connsiteY64" fmla="*/ 1548041 h 1548041"/>
              <a:gd name="connsiteX65" fmla="*/ 2446986 w 2534562"/>
              <a:gd name="connsiteY65" fmla="*/ 1519707 h 1548041"/>
              <a:gd name="connsiteX66" fmla="*/ 2483047 w 2534562"/>
              <a:gd name="connsiteY66" fmla="*/ 1483646 h 1548041"/>
              <a:gd name="connsiteX67" fmla="*/ 2480471 w 2534562"/>
              <a:gd name="connsiteY67" fmla="*/ 1442434 h 1548041"/>
              <a:gd name="connsiteX68" fmla="*/ 2495925 w 2534562"/>
              <a:gd name="connsiteY68" fmla="*/ 1419252 h 1548041"/>
              <a:gd name="connsiteX69" fmla="*/ 2493350 w 2534562"/>
              <a:gd name="connsiteY69" fmla="*/ 1347130 h 1548041"/>
              <a:gd name="connsiteX70" fmla="*/ 2519107 w 2534562"/>
              <a:gd name="connsiteY70" fmla="*/ 1305918 h 1548041"/>
              <a:gd name="connsiteX71" fmla="*/ 2498501 w 2534562"/>
              <a:gd name="connsiteY71" fmla="*/ 1272433 h 1548041"/>
              <a:gd name="connsiteX72" fmla="*/ 2526835 w 2534562"/>
              <a:gd name="connsiteY72" fmla="*/ 1233796 h 1548041"/>
              <a:gd name="connsiteX73" fmla="*/ 2534562 w 2534562"/>
              <a:gd name="connsiteY73" fmla="*/ 1200311 h 1548041"/>
              <a:gd name="connsiteX74" fmla="*/ 2498501 w 2534562"/>
              <a:gd name="connsiteY74" fmla="*/ 1148796 h 1548041"/>
              <a:gd name="connsiteX75" fmla="*/ 2436683 w 2534562"/>
              <a:gd name="connsiteY75" fmla="*/ 1099856 h 1548041"/>
              <a:gd name="connsiteX76" fmla="*/ 2423804 w 2534562"/>
              <a:gd name="connsiteY76" fmla="*/ 1050916 h 1548041"/>
              <a:gd name="connsiteX77" fmla="*/ 2413501 w 2534562"/>
              <a:gd name="connsiteY77" fmla="*/ 994249 h 1548041"/>
              <a:gd name="connsiteX78" fmla="*/ 2392894 w 2534562"/>
              <a:gd name="connsiteY78" fmla="*/ 958188 h 1548041"/>
              <a:gd name="connsiteX79" fmla="*/ 2405773 w 2534562"/>
              <a:gd name="connsiteY79" fmla="*/ 919552 h 1548041"/>
              <a:gd name="connsiteX80" fmla="*/ 2356834 w 2534562"/>
              <a:gd name="connsiteY80" fmla="*/ 798490 h 1548041"/>
              <a:gd name="connsiteX81" fmla="*/ 2356834 w 2534562"/>
              <a:gd name="connsiteY81" fmla="*/ 754702 h 1548041"/>
              <a:gd name="connsiteX82" fmla="*/ 2331076 w 2534562"/>
              <a:gd name="connsiteY82" fmla="*/ 690308 h 1548041"/>
              <a:gd name="connsiteX83" fmla="*/ 2328500 w 2534562"/>
              <a:gd name="connsiteY83" fmla="*/ 654247 h 1548041"/>
              <a:gd name="connsiteX84" fmla="*/ 2307894 w 2534562"/>
              <a:gd name="connsiteY84" fmla="*/ 615610 h 1548041"/>
              <a:gd name="connsiteX85" fmla="*/ 2228045 w 2534562"/>
              <a:gd name="connsiteY85" fmla="*/ 569246 h 1548041"/>
              <a:gd name="connsiteX86" fmla="*/ 2225469 w 2534562"/>
              <a:gd name="connsiteY86" fmla="*/ 533186 h 1548041"/>
              <a:gd name="connsiteX87" fmla="*/ 2194560 w 2534562"/>
              <a:gd name="connsiteY87" fmla="*/ 510004 h 1548041"/>
              <a:gd name="connsiteX88" fmla="*/ 2171378 w 2534562"/>
              <a:gd name="connsiteY88" fmla="*/ 510004 h 1548041"/>
              <a:gd name="connsiteX89" fmla="*/ 2127590 w 2534562"/>
              <a:gd name="connsiteY89" fmla="*/ 512579 h 1548041"/>
              <a:gd name="connsiteX90" fmla="*/ 2058044 w 2534562"/>
              <a:gd name="connsiteY90" fmla="*/ 473943 h 1548041"/>
              <a:gd name="connsiteX91" fmla="*/ 2006528 w 2534562"/>
              <a:gd name="connsiteY91" fmla="*/ 409548 h 1548041"/>
              <a:gd name="connsiteX92" fmla="*/ 1962740 w 2534562"/>
              <a:gd name="connsiteY92" fmla="*/ 386366 h 1548041"/>
              <a:gd name="connsiteX93" fmla="*/ 1957589 w 2534562"/>
              <a:gd name="connsiteY93" fmla="*/ 350306 h 1548041"/>
              <a:gd name="connsiteX94" fmla="*/ 1934407 w 2534562"/>
              <a:gd name="connsiteY94" fmla="*/ 301366 h 1548041"/>
              <a:gd name="connsiteX95" fmla="*/ 1893194 w 2534562"/>
              <a:gd name="connsiteY95" fmla="*/ 270457 h 1548041"/>
              <a:gd name="connsiteX96" fmla="*/ 1898346 w 2534562"/>
              <a:gd name="connsiteY96" fmla="*/ 226668 h 1548041"/>
              <a:gd name="connsiteX97" fmla="*/ 1934407 w 2534562"/>
              <a:gd name="connsiteY97" fmla="*/ 170001 h 1548041"/>
              <a:gd name="connsiteX98" fmla="*/ 1939558 w 2534562"/>
              <a:gd name="connsiteY98" fmla="*/ 105607 h 1548041"/>
              <a:gd name="connsiteX99" fmla="*/ 1967892 w 2534562"/>
              <a:gd name="connsiteY99" fmla="*/ 69546 h 1548041"/>
              <a:gd name="connsiteX100" fmla="*/ 2014256 w 2534562"/>
              <a:gd name="connsiteY100" fmla="*/ 46364 h 1548041"/>
              <a:gd name="connsiteX101" fmla="*/ 2086377 w 2534562"/>
              <a:gd name="connsiteY101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7887 w 2534562"/>
              <a:gd name="connsiteY34" fmla="*/ 746975 h 1548041"/>
              <a:gd name="connsiteX35" fmla="*/ 1336827 w 2534562"/>
              <a:gd name="connsiteY35" fmla="*/ 759854 h 1548041"/>
              <a:gd name="connsiteX36" fmla="*/ 1357433 w 2534562"/>
              <a:gd name="connsiteY36" fmla="*/ 788187 h 1548041"/>
              <a:gd name="connsiteX37" fmla="*/ 1388342 w 2534562"/>
              <a:gd name="connsiteY37" fmla="*/ 834551 h 1548041"/>
              <a:gd name="connsiteX38" fmla="*/ 1630465 w 2534562"/>
              <a:gd name="connsiteY38" fmla="*/ 911824 h 1548041"/>
              <a:gd name="connsiteX39" fmla="*/ 1759254 w 2534562"/>
              <a:gd name="connsiteY39" fmla="*/ 989098 h 1548041"/>
              <a:gd name="connsiteX40" fmla="*/ 1759254 w 2534562"/>
              <a:gd name="connsiteY40" fmla="*/ 989098 h 1548041"/>
              <a:gd name="connsiteX41" fmla="*/ 1779860 w 2534562"/>
              <a:gd name="connsiteY41" fmla="*/ 968491 h 1548041"/>
              <a:gd name="connsiteX42" fmla="*/ 1797891 w 2534562"/>
              <a:gd name="connsiteY42" fmla="*/ 989098 h 1548041"/>
              <a:gd name="connsiteX43" fmla="*/ 1797891 w 2534562"/>
              <a:gd name="connsiteY43" fmla="*/ 1030310 h 1548041"/>
              <a:gd name="connsiteX44" fmla="*/ 1831376 w 2534562"/>
              <a:gd name="connsiteY44" fmla="*/ 1050916 h 1548041"/>
              <a:gd name="connsiteX45" fmla="*/ 1870012 w 2534562"/>
              <a:gd name="connsiteY45" fmla="*/ 1050916 h 1548041"/>
              <a:gd name="connsiteX46" fmla="*/ 1911225 w 2534562"/>
              <a:gd name="connsiteY46" fmla="*/ 1076674 h 1548041"/>
              <a:gd name="connsiteX47" fmla="*/ 1918952 w 2534562"/>
              <a:gd name="connsiteY47" fmla="*/ 1128189 h 1548041"/>
              <a:gd name="connsiteX48" fmla="*/ 1947285 w 2534562"/>
              <a:gd name="connsiteY48" fmla="*/ 1153947 h 1548041"/>
              <a:gd name="connsiteX49" fmla="*/ 1947285 w 2534562"/>
              <a:gd name="connsiteY49" fmla="*/ 1177129 h 1548041"/>
              <a:gd name="connsiteX50" fmla="*/ 1991074 w 2534562"/>
              <a:gd name="connsiteY50" fmla="*/ 1205463 h 1548041"/>
              <a:gd name="connsiteX51" fmla="*/ 1985922 w 2534562"/>
              <a:gd name="connsiteY51" fmla="*/ 1254402 h 1548041"/>
              <a:gd name="connsiteX52" fmla="*/ 2024559 w 2534562"/>
              <a:gd name="connsiteY52" fmla="*/ 1290463 h 1548041"/>
              <a:gd name="connsiteX53" fmla="*/ 2070923 w 2534562"/>
              <a:gd name="connsiteY53" fmla="*/ 1326524 h 1548041"/>
              <a:gd name="connsiteX54" fmla="*/ 2114711 w 2534562"/>
              <a:gd name="connsiteY54" fmla="*/ 1313645 h 1548041"/>
              <a:gd name="connsiteX55" fmla="*/ 2168802 w 2534562"/>
              <a:gd name="connsiteY55" fmla="*/ 1344555 h 1548041"/>
              <a:gd name="connsiteX56" fmla="*/ 2199711 w 2534562"/>
              <a:gd name="connsiteY56" fmla="*/ 1321373 h 1548041"/>
              <a:gd name="connsiteX57" fmla="*/ 2251227 w 2534562"/>
              <a:gd name="connsiteY57" fmla="*/ 1347130 h 1548041"/>
              <a:gd name="connsiteX58" fmla="*/ 2295015 w 2534562"/>
              <a:gd name="connsiteY58" fmla="*/ 1393494 h 1548041"/>
              <a:gd name="connsiteX59" fmla="*/ 2333652 w 2534562"/>
              <a:gd name="connsiteY59" fmla="*/ 1465616 h 1548041"/>
              <a:gd name="connsiteX60" fmla="*/ 2354258 w 2534562"/>
              <a:gd name="connsiteY60" fmla="*/ 1478495 h 1548041"/>
              <a:gd name="connsiteX61" fmla="*/ 2372288 w 2534562"/>
              <a:gd name="connsiteY61" fmla="*/ 1509404 h 1548041"/>
              <a:gd name="connsiteX62" fmla="*/ 2395470 w 2534562"/>
              <a:gd name="connsiteY62" fmla="*/ 1548041 h 1548041"/>
              <a:gd name="connsiteX63" fmla="*/ 2423804 w 2534562"/>
              <a:gd name="connsiteY63" fmla="*/ 1548041 h 1548041"/>
              <a:gd name="connsiteX64" fmla="*/ 2446986 w 2534562"/>
              <a:gd name="connsiteY64" fmla="*/ 1519707 h 1548041"/>
              <a:gd name="connsiteX65" fmla="*/ 2483047 w 2534562"/>
              <a:gd name="connsiteY65" fmla="*/ 1483646 h 1548041"/>
              <a:gd name="connsiteX66" fmla="*/ 2480471 w 2534562"/>
              <a:gd name="connsiteY66" fmla="*/ 1442434 h 1548041"/>
              <a:gd name="connsiteX67" fmla="*/ 2495925 w 2534562"/>
              <a:gd name="connsiteY67" fmla="*/ 1419252 h 1548041"/>
              <a:gd name="connsiteX68" fmla="*/ 2493350 w 2534562"/>
              <a:gd name="connsiteY68" fmla="*/ 1347130 h 1548041"/>
              <a:gd name="connsiteX69" fmla="*/ 2519107 w 2534562"/>
              <a:gd name="connsiteY69" fmla="*/ 1305918 h 1548041"/>
              <a:gd name="connsiteX70" fmla="*/ 2498501 w 2534562"/>
              <a:gd name="connsiteY70" fmla="*/ 1272433 h 1548041"/>
              <a:gd name="connsiteX71" fmla="*/ 2526835 w 2534562"/>
              <a:gd name="connsiteY71" fmla="*/ 1233796 h 1548041"/>
              <a:gd name="connsiteX72" fmla="*/ 2534562 w 2534562"/>
              <a:gd name="connsiteY72" fmla="*/ 1200311 h 1548041"/>
              <a:gd name="connsiteX73" fmla="*/ 2498501 w 2534562"/>
              <a:gd name="connsiteY73" fmla="*/ 1148796 h 1548041"/>
              <a:gd name="connsiteX74" fmla="*/ 2436683 w 2534562"/>
              <a:gd name="connsiteY74" fmla="*/ 1099856 h 1548041"/>
              <a:gd name="connsiteX75" fmla="*/ 2423804 w 2534562"/>
              <a:gd name="connsiteY75" fmla="*/ 1050916 h 1548041"/>
              <a:gd name="connsiteX76" fmla="*/ 2413501 w 2534562"/>
              <a:gd name="connsiteY76" fmla="*/ 994249 h 1548041"/>
              <a:gd name="connsiteX77" fmla="*/ 2392894 w 2534562"/>
              <a:gd name="connsiteY77" fmla="*/ 958188 h 1548041"/>
              <a:gd name="connsiteX78" fmla="*/ 2405773 w 2534562"/>
              <a:gd name="connsiteY78" fmla="*/ 919552 h 1548041"/>
              <a:gd name="connsiteX79" fmla="*/ 2356834 w 2534562"/>
              <a:gd name="connsiteY79" fmla="*/ 798490 h 1548041"/>
              <a:gd name="connsiteX80" fmla="*/ 2356834 w 2534562"/>
              <a:gd name="connsiteY80" fmla="*/ 754702 h 1548041"/>
              <a:gd name="connsiteX81" fmla="*/ 2331076 w 2534562"/>
              <a:gd name="connsiteY81" fmla="*/ 690308 h 1548041"/>
              <a:gd name="connsiteX82" fmla="*/ 2328500 w 2534562"/>
              <a:gd name="connsiteY82" fmla="*/ 654247 h 1548041"/>
              <a:gd name="connsiteX83" fmla="*/ 2307894 w 2534562"/>
              <a:gd name="connsiteY83" fmla="*/ 615610 h 1548041"/>
              <a:gd name="connsiteX84" fmla="*/ 2228045 w 2534562"/>
              <a:gd name="connsiteY84" fmla="*/ 569246 h 1548041"/>
              <a:gd name="connsiteX85" fmla="*/ 2225469 w 2534562"/>
              <a:gd name="connsiteY85" fmla="*/ 533186 h 1548041"/>
              <a:gd name="connsiteX86" fmla="*/ 2194560 w 2534562"/>
              <a:gd name="connsiteY86" fmla="*/ 510004 h 1548041"/>
              <a:gd name="connsiteX87" fmla="*/ 2171378 w 2534562"/>
              <a:gd name="connsiteY87" fmla="*/ 510004 h 1548041"/>
              <a:gd name="connsiteX88" fmla="*/ 2127590 w 2534562"/>
              <a:gd name="connsiteY88" fmla="*/ 512579 h 1548041"/>
              <a:gd name="connsiteX89" fmla="*/ 2058044 w 2534562"/>
              <a:gd name="connsiteY89" fmla="*/ 473943 h 1548041"/>
              <a:gd name="connsiteX90" fmla="*/ 2006528 w 2534562"/>
              <a:gd name="connsiteY90" fmla="*/ 409548 h 1548041"/>
              <a:gd name="connsiteX91" fmla="*/ 1962740 w 2534562"/>
              <a:gd name="connsiteY91" fmla="*/ 386366 h 1548041"/>
              <a:gd name="connsiteX92" fmla="*/ 1957589 w 2534562"/>
              <a:gd name="connsiteY92" fmla="*/ 350306 h 1548041"/>
              <a:gd name="connsiteX93" fmla="*/ 1934407 w 2534562"/>
              <a:gd name="connsiteY93" fmla="*/ 301366 h 1548041"/>
              <a:gd name="connsiteX94" fmla="*/ 1893194 w 2534562"/>
              <a:gd name="connsiteY94" fmla="*/ 270457 h 1548041"/>
              <a:gd name="connsiteX95" fmla="*/ 1898346 w 2534562"/>
              <a:gd name="connsiteY95" fmla="*/ 226668 h 1548041"/>
              <a:gd name="connsiteX96" fmla="*/ 1934407 w 2534562"/>
              <a:gd name="connsiteY96" fmla="*/ 170001 h 1548041"/>
              <a:gd name="connsiteX97" fmla="*/ 1939558 w 2534562"/>
              <a:gd name="connsiteY97" fmla="*/ 105607 h 1548041"/>
              <a:gd name="connsiteX98" fmla="*/ 1967892 w 2534562"/>
              <a:gd name="connsiteY98" fmla="*/ 69546 h 1548041"/>
              <a:gd name="connsiteX99" fmla="*/ 2014256 w 2534562"/>
              <a:gd name="connsiteY99" fmla="*/ 46364 h 1548041"/>
              <a:gd name="connsiteX100" fmla="*/ 2086377 w 2534562"/>
              <a:gd name="connsiteY100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7887 w 2534562"/>
              <a:gd name="connsiteY34" fmla="*/ 746975 h 1548041"/>
              <a:gd name="connsiteX35" fmla="*/ 1336827 w 2534562"/>
              <a:gd name="connsiteY35" fmla="*/ 759854 h 1548041"/>
              <a:gd name="connsiteX36" fmla="*/ 1357433 w 2534562"/>
              <a:gd name="connsiteY36" fmla="*/ 788187 h 1548041"/>
              <a:gd name="connsiteX37" fmla="*/ 1388342 w 2534562"/>
              <a:gd name="connsiteY37" fmla="*/ 834551 h 1548041"/>
              <a:gd name="connsiteX38" fmla="*/ 1630465 w 2534562"/>
              <a:gd name="connsiteY38" fmla="*/ 911824 h 1548041"/>
              <a:gd name="connsiteX39" fmla="*/ 1759254 w 2534562"/>
              <a:gd name="connsiteY39" fmla="*/ 989098 h 1548041"/>
              <a:gd name="connsiteX40" fmla="*/ 1759254 w 2534562"/>
              <a:gd name="connsiteY40" fmla="*/ 989098 h 1548041"/>
              <a:gd name="connsiteX41" fmla="*/ 1779860 w 2534562"/>
              <a:gd name="connsiteY41" fmla="*/ 968491 h 1548041"/>
              <a:gd name="connsiteX42" fmla="*/ 1797891 w 2534562"/>
              <a:gd name="connsiteY42" fmla="*/ 1030310 h 1548041"/>
              <a:gd name="connsiteX43" fmla="*/ 1831376 w 2534562"/>
              <a:gd name="connsiteY43" fmla="*/ 1050916 h 1548041"/>
              <a:gd name="connsiteX44" fmla="*/ 1870012 w 2534562"/>
              <a:gd name="connsiteY44" fmla="*/ 1050916 h 1548041"/>
              <a:gd name="connsiteX45" fmla="*/ 1911225 w 2534562"/>
              <a:gd name="connsiteY45" fmla="*/ 1076674 h 1548041"/>
              <a:gd name="connsiteX46" fmla="*/ 1918952 w 2534562"/>
              <a:gd name="connsiteY46" fmla="*/ 1128189 h 1548041"/>
              <a:gd name="connsiteX47" fmla="*/ 1947285 w 2534562"/>
              <a:gd name="connsiteY47" fmla="*/ 1153947 h 1548041"/>
              <a:gd name="connsiteX48" fmla="*/ 1947285 w 2534562"/>
              <a:gd name="connsiteY48" fmla="*/ 1177129 h 1548041"/>
              <a:gd name="connsiteX49" fmla="*/ 1991074 w 2534562"/>
              <a:gd name="connsiteY49" fmla="*/ 1205463 h 1548041"/>
              <a:gd name="connsiteX50" fmla="*/ 1985922 w 2534562"/>
              <a:gd name="connsiteY50" fmla="*/ 1254402 h 1548041"/>
              <a:gd name="connsiteX51" fmla="*/ 2024559 w 2534562"/>
              <a:gd name="connsiteY51" fmla="*/ 1290463 h 1548041"/>
              <a:gd name="connsiteX52" fmla="*/ 2070923 w 2534562"/>
              <a:gd name="connsiteY52" fmla="*/ 1326524 h 1548041"/>
              <a:gd name="connsiteX53" fmla="*/ 2114711 w 2534562"/>
              <a:gd name="connsiteY53" fmla="*/ 1313645 h 1548041"/>
              <a:gd name="connsiteX54" fmla="*/ 2168802 w 2534562"/>
              <a:gd name="connsiteY54" fmla="*/ 1344555 h 1548041"/>
              <a:gd name="connsiteX55" fmla="*/ 2199711 w 2534562"/>
              <a:gd name="connsiteY55" fmla="*/ 1321373 h 1548041"/>
              <a:gd name="connsiteX56" fmla="*/ 2251227 w 2534562"/>
              <a:gd name="connsiteY56" fmla="*/ 1347130 h 1548041"/>
              <a:gd name="connsiteX57" fmla="*/ 2295015 w 2534562"/>
              <a:gd name="connsiteY57" fmla="*/ 1393494 h 1548041"/>
              <a:gd name="connsiteX58" fmla="*/ 2333652 w 2534562"/>
              <a:gd name="connsiteY58" fmla="*/ 1465616 h 1548041"/>
              <a:gd name="connsiteX59" fmla="*/ 2354258 w 2534562"/>
              <a:gd name="connsiteY59" fmla="*/ 1478495 h 1548041"/>
              <a:gd name="connsiteX60" fmla="*/ 2372288 w 2534562"/>
              <a:gd name="connsiteY60" fmla="*/ 1509404 h 1548041"/>
              <a:gd name="connsiteX61" fmla="*/ 2395470 w 2534562"/>
              <a:gd name="connsiteY61" fmla="*/ 1548041 h 1548041"/>
              <a:gd name="connsiteX62" fmla="*/ 2423804 w 2534562"/>
              <a:gd name="connsiteY62" fmla="*/ 1548041 h 1548041"/>
              <a:gd name="connsiteX63" fmla="*/ 2446986 w 2534562"/>
              <a:gd name="connsiteY63" fmla="*/ 1519707 h 1548041"/>
              <a:gd name="connsiteX64" fmla="*/ 2483047 w 2534562"/>
              <a:gd name="connsiteY64" fmla="*/ 1483646 h 1548041"/>
              <a:gd name="connsiteX65" fmla="*/ 2480471 w 2534562"/>
              <a:gd name="connsiteY65" fmla="*/ 1442434 h 1548041"/>
              <a:gd name="connsiteX66" fmla="*/ 2495925 w 2534562"/>
              <a:gd name="connsiteY66" fmla="*/ 1419252 h 1548041"/>
              <a:gd name="connsiteX67" fmla="*/ 2493350 w 2534562"/>
              <a:gd name="connsiteY67" fmla="*/ 1347130 h 1548041"/>
              <a:gd name="connsiteX68" fmla="*/ 2519107 w 2534562"/>
              <a:gd name="connsiteY68" fmla="*/ 1305918 h 1548041"/>
              <a:gd name="connsiteX69" fmla="*/ 2498501 w 2534562"/>
              <a:gd name="connsiteY69" fmla="*/ 1272433 h 1548041"/>
              <a:gd name="connsiteX70" fmla="*/ 2526835 w 2534562"/>
              <a:gd name="connsiteY70" fmla="*/ 1233796 h 1548041"/>
              <a:gd name="connsiteX71" fmla="*/ 2534562 w 2534562"/>
              <a:gd name="connsiteY71" fmla="*/ 1200311 h 1548041"/>
              <a:gd name="connsiteX72" fmla="*/ 2498501 w 2534562"/>
              <a:gd name="connsiteY72" fmla="*/ 1148796 h 1548041"/>
              <a:gd name="connsiteX73" fmla="*/ 2436683 w 2534562"/>
              <a:gd name="connsiteY73" fmla="*/ 1099856 h 1548041"/>
              <a:gd name="connsiteX74" fmla="*/ 2423804 w 2534562"/>
              <a:gd name="connsiteY74" fmla="*/ 1050916 h 1548041"/>
              <a:gd name="connsiteX75" fmla="*/ 2413501 w 2534562"/>
              <a:gd name="connsiteY75" fmla="*/ 994249 h 1548041"/>
              <a:gd name="connsiteX76" fmla="*/ 2392894 w 2534562"/>
              <a:gd name="connsiteY76" fmla="*/ 958188 h 1548041"/>
              <a:gd name="connsiteX77" fmla="*/ 2405773 w 2534562"/>
              <a:gd name="connsiteY77" fmla="*/ 919552 h 1548041"/>
              <a:gd name="connsiteX78" fmla="*/ 2356834 w 2534562"/>
              <a:gd name="connsiteY78" fmla="*/ 798490 h 1548041"/>
              <a:gd name="connsiteX79" fmla="*/ 2356834 w 2534562"/>
              <a:gd name="connsiteY79" fmla="*/ 754702 h 1548041"/>
              <a:gd name="connsiteX80" fmla="*/ 2331076 w 2534562"/>
              <a:gd name="connsiteY80" fmla="*/ 690308 h 1548041"/>
              <a:gd name="connsiteX81" fmla="*/ 2328500 w 2534562"/>
              <a:gd name="connsiteY81" fmla="*/ 654247 h 1548041"/>
              <a:gd name="connsiteX82" fmla="*/ 2307894 w 2534562"/>
              <a:gd name="connsiteY82" fmla="*/ 615610 h 1548041"/>
              <a:gd name="connsiteX83" fmla="*/ 2228045 w 2534562"/>
              <a:gd name="connsiteY83" fmla="*/ 569246 h 1548041"/>
              <a:gd name="connsiteX84" fmla="*/ 2225469 w 2534562"/>
              <a:gd name="connsiteY84" fmla="*/ 533186 h 1548041"/>
              <a:gd name="connsiteX85" fmla="*/ 2194560 w 2534562"/>
              <a:gd name="connsiteY85" fmla="*/ 510004 h 1548041"/>
              <a:gd name="connsiteX86" fmla="*/ 2171378 w 2534562"/>
              <a:gd name="connsiteY86" fmla="*/ 510004 h 1548041"/>
              <a:gd name="connsiteX87" fmla="*/ 2127590 w 2534562"/>
              <a:gd name="connsiteY87" fmla="*/ 512579 h 1548041"/>
              <a:gd name="connsiteX88" fmla="*/ 2058044 w 2534562"/>
              <a:gd name="connsiteY88" fmla="*/ 473943 h 1548041"/>
              <a:gd name="connsiteX89" fmla="*/ 2006528 w 2534562"/>
              <a:gd name="connsiteY89" fmla="*/ 409548 h 1548041"/>
              <a:gd name="connsiteX90" fmla="*/ 1962740 w 2534562"/>
              <a:gd name="connsiteY90" fmla="*/ 386366 h 1548041"/>
              <a:gd name="connsiteX91" fmla="*/ 1957589 w 2534562"/>
              <a:gd name="connsiteY91" fmla="*/ 350306 h 1548041"/>
              <a:gd name="connsiteX92" fmla="*/ 1934407 w 2534562"/>
              <a:gd name="connsiteY92" fmla="*/ 301366 h 1548041"/>
              <a:gd name="connsiteX93" fmla="*/ 1893194 w 2534562"/>
              <a:gd name="connsiteY93" fmla="*/ 270457 h 1548041"/>
              <a:gd name="connsiteX94" fmla="*/ 1898346 w 2534562"/>
              <a:gd name="connsiteY94" fmla="*/ 226668 h 1548041"/>
              <a:gd name="connsiteX95" fmla="*/ 1934407 w 2534562"/>
              <a:gd name="connsiteY95" fmla="*/ 170001 h 1548041"/>
              <a:gd name="connsiteX96" fmla="*/ 1939558 w 2534562"/>
              <a:gd name="connsiteY96" fmla="*/ 105607 h 1548041"/>
              <a:gd name="connsiteX97" fmla="*/ 1967892 w 2534562"/>
              <a:gd name="connsiteY97" fmla="*/ 69546 h 1548041"/>
              <a:gd name="connsiteX98" fmla="*/ 2014256 w 2534562"/>
              <a:gd name="connsiteY98" fmla="*/ 46364 h 1548041"/>
              <a:gd name="connsiteX99" fmla="*/ 2086377 w 2534562"/>
              <a:gd name="connsiteY99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7887 w 2534562"/>
              <a:gd name="connsiteY34" fmla="*/ 746975 h 1548041"/>
              <a:gd name="connsiteX35" fmla="*/ 1336827 w 2534562"/>
              <a:gd name="connsiteY35" fmla="*/ 759854 h 1548041"/>
              <a:gd name="connsiteX36" fmla="*/ 1357433 w 2534562"/>
              <a:gd name="connsiteY36" fmla="*/ 788187 h 1548041"/>
              <a:gd name="connsiteX37" fmla="*/ 1388342 w 2534562"/>
              <a:gd name="connsiteY37" fmla="*/ 834551 h 1548041"/>
              <a:gd name="connsiteX38" fmla="*/ 1630465 w 2534562"/>
              <a:gd name="connsiteY38" fmla="*/ 911824 h 1548041"/>
              <a:gd name="connsiteX39" fmla="*/ 1759254 w 2534562"/>
              <a:gd name="connsiteY39" fmla="*/ 989098 h 1548041"/>
              <a:gd name="connsiteX40" fmla="*/ 1759254 w 2534562"/>
              <a:gd name="connsiteY40" fmla="*/ 989098 h 1548041"/>
              <a:gd name="connsiteX41" fmla="*/ 1779860 w 2534562"/>
              <a:gd name="connsiteY41" fmla="*/ 968491 h 1548041"/>
              <a:gd name="connsiteX42" fmla="*/ 1831376 w 2534562"/>
              <a:gd name="connsiteY42" fmla="*/ 1050916 h 1548041"/>
              <a:gd name="connsiteX43" fmla="*/ 1870012 w 2534562"/>
              <a:gd name="connsiteY43" fmla="*/ 1050916 h 1548041"/>
              <a:gd name="connsiteX44" fmla="*/ 1911225 w 2534562"/>
              <a:gd name="connsiteY44" fmla="*/ 1076674 h 1548041"/>
              <a:gd name="connsiteX45" fmla="*/ 1918952 w 2534562"/>
              <a:gd name="connsiteY45" fmla="*/ 1128189 h 1548041"/>
              <a:gd name="connsiteX46" fmla="*/ 1947285 w 2534562"/>
              <a:gd name="connsiteY46" fmla="*/ 1153947 h 1548041"/>
              <a:gd name="connsiteX47" fmla="*/ 1947285 w 2534562"/>
              <a:gd name="connsiteY47" fmla="*/ 1177129 h 1548041"/>
              <a:gd name="connsiteX48" fmla="*/ 1991074 w 2534562"/>
              <a:gd name="connsiteY48" fmla="*/ 1205463 h 1548041"/>
              <a:gd name="connsiteX49" fmla="*/ 1985922 w 2534562"/>
              <a:gd name="connsiteY49" fmla="*/ 1254402 h 1548041"/>
              <a:gd name="connsiteX50" fmla="*/ 2024559 w 2534562"/>
              <a:gd name="connsiteY50" fmla="*/ 1290463 h 1548041"/>
              <a:gd name="connsiteX51" fmla="*/ 2070923 w 2534562"/>
              <a:gd name="connsiteY51" fmla="*/ 1326524 h 1548041"/>
              <a:gd name="connsiteX52" fmla="*/ 2114711 w 2534562"/>
              <a:gd name="connsiteY52" fmla="*/ 1313645 h 1548041"/>
              <a:gd name="connsiteX53" fmla="*/ 2168802 w 2534562"/>
              <a:gd name="connsiteY53" fmla="*/ 1344555 h 1548041"/>
              <a:gd name="connsiteX54" fmla="*/ 2199711 w 2534562"/>
              <a:gd name="connsiteY54" fmla="*/ 1321373 h 1548041"/>
              <a:gd name="connsiteX55" fmla="*/ 2251227 w 2534562"/>
              <a:gd name="connsiteY55" fmla="*/ 1347130 h 1548041"/>
              <a:gd name="connsiteX56" fmla="*/ 2295015 w 2534562"/>
              <a:gd name="connsiteY56" fmla="*/ 1393494 h 1548041"/>
              <a:gd name="connsiteX57" fmla="*/ 2333652 w 2534562"/>
              <a:gd name="connsiteY57" fmla="*/ 1465616 h 1548041"/>
              <a:gd name="connsiteX58" fmla="*/ 2354258 w 2534562"/>
              <a:gd name="connsiteY58" fmla="*/ 1478495 h 1548041"/>
              <a:gd name="connsiteX59" fmla="*/ 2372288 w 2534562"/>
              <a:gd name="connsiteY59" fmla="*/ 1509404 h 1548041"/>
              <a:gd name="connsiteX60" fmla="*/ 2395470 w 2534562"/>
              <a:gd name="connsiteY60" fmla="*/ 1548041 h 1548041"/>
              <a:gd name="connsiteX61" fmla="*/ 2423804 w 2534562"/>
              <a:gd name="connsiteY61" fmla="*/ 1548041 h 1548041"/>
              <a:gd name="connsiteX62" fmla="*/ 2446986 w 2534562"/>
              <a:gd name="connsiteY62" fmla="*/ 1519707 h 1548041"/>
              <a:gd name="connsiteX63" fmla="*/ 2483047 w 2534562"/>
              <a:gd name="connsiteY63" fmla="*/ 1483646 h 1548041"/>
              <a:gd name="connsiteX64" fmla="*/ 2480471 w 2534562"/>
              <a:gd name="connsiteY64" fmla="*/ 1442434 h 1548041"/>
              <a:gd name="connsiteX65" fmla="*/ 2495925 w 2534562"/>
              <a:gd name="connsiteY65" fmla="*/ 1419252 h 1548041"/>
              <a:gd name="connsiteX66" fmla="*/ 2493350 w 2534562"/>
              <a:gd name="connsiteY66" fmla="*/ 1347130 h 1548041"/>
              <a:gd name="connsiteX67" fmla="*/ 2519107 w 2534562"/>
              <a:gd name="connsiteY67" fmla="*/ 1305918 h 1548041"/>
              <a:gd name="connsiteX68" fmla="*/ 2498501 w 2534562"/>
              <a:gd name="connsiteY68" fmla="*/ 1272433 h 1548041"/>
              <a:gd name="connsiteX69" fmla="*/ 2526835 w 2534562"/>
              <a:gd name="connsiteY69" fmla="*/ 1233796 h 1548041"/>
              <a:gd name="connsiteX70" fmla="*/ 2534562 w 2534562"/>
              <a:gd name="connsiteY70" fmla="*/ 1200311 h 1548041"/>
              <a:gd name="connsiteX71" fmla="*/ 2498501 w 2534562"/>
              <a:gd name="connsiteY71" fmla="*/ 1148796 h 1548041"/>
              <a:gd name="connsiteX72" fmla="*/ 2436683 w 2534562"/>
              <a:gd name="connsiteY72" fmla="*/ 1099856 h 1548041"/>
              <a:gd name="connsiteX73" fmla="*/ 2423804 w 2534562"/>
              <a:gd name="connsiteY73" fmla="*/ 1050916 h 1548041"/>
              <a:gd name="connsiteX74" fmla="*/ 2413501 w 2534562"/>
              <a:gd name="connsiteY74" fmla="*/ 994249 h 1548041"/>
              <a:gd name="connsiteX75" fmla="*/ 2392894 w 2534562"/>
              <a:gd name="connsiteY75" fmla="*/ 958188 h 1548041"/>
              <a:gd name="connsiteX76" fmla="*/ 2405773 w 2534562"/>
              <a:gd name="connsiteY76" fmla="*/ 919552 h 1548041"/>
              <a:gd name="connsiteX77" fmla="*/ 2356834 w 2534562"/>
              <a:gd name="connsiteY77" fmla="*/ 798490 h 1548041"/>
              <a:gd name="connsiteX78" fmla="*/ 2356834 w 2534562"/>
              <a:gd name="connsiteY78" fmla="*/ 754702 h 1548041"/>
              <a:gd name="connsiteX79" fmla="*/ 2331076 w 2534562"/>
              <a:gd name="connsiteY79" fmla="*/ 690308 h 1548041"/>
              <a:gd name="connsiteX80" fmla="*/ 2328500 w 2534562"/>
              <a:gd name="connsiteY80" fmla="*/ 654247 h 1548041"/>
              <a:gd name="connsiteX81" fmla="*/ 2307894 w 2534562"/>
              <a:gd name="connsiteY81" fmla="*/ 615610 h 1548041"/>
              <a:gd name="connsiteX82" fmla="*/ 2228045 w 2534562"/>
              <a:gd name="connsiteY82" fmla="*/ 569246 h 1548041"/>
              <a:gd name="connsiteX83" fmla="*/ 2225469 w 2534562"/>
              <a:gd name="connsiteY83" fmla="*/ 533186 h 1548041"/>
              <a:gd name="connsiteX84" fmla="*/ 2194560 w 2534562"/>
              <a:gd name="connsiteY84" fmla="*/ 510004 h 1548041"/>
              <a:gd name="connsiteX85" fmla="*/ 2171378 w 2534562"/>
              <a:gd name="connsiteY85" fmla="*/ 510004 h 1548041"/>
              <a:gd name="connsiteX86" fmla="*/ 2127590 w 2534562"/>
              <a:gd name="connsiteY86" fmla="*/ 512579 h 1548041"/>
              <a:gd name="connsiteX87" fmla="*/ 2058044 w 2534562"/>
              <a:gd name="connsiteY87" fmla="*/ 473943 h 1548041"/>
              <a:gd name="connsiteX88" fmla="*/ 2006528 w 2534562"/>
              <a:gd name="connsiteY88" fmla="*/ 409548 h 1548041"/>
              <a:gd name="connsiteX89" fmla="*/ 1962740 w 2534562"/>
              <a:gd name="connsiteY89" fmla="*/ 386366 h 1548041"/>
              <a:gd name="connsiteX90" fmla="*/ 1957589 w 2534562"/>
              <a:gd name="connsiteY90" fmla="*/ 350306 h 1548041"/>
              <a:gd name="connsiteX91" fmla="*/ 1934407 w 2534562"/>
              <a:gd name="connsiteY91" fmla="*/ 301366 h 1548041"/>
              <a:gd name="connsiteX92" fmla="*/ 1893194 w 2534562"/>
              <a:gd name="connsiteY92" fmla="*/ 270457 h 1548041"/>
              <a:gd name="connsiteX93" fmla="*/ 1898346 w 2534562"/>
              <a:gd name="connsiteY93" fmla="*/ 226668 h 1548041"/>
              <a:gd name="connsiteX94" fmla="*/ 1934407 w 2534562"/>
              <a:gd name="connsiteY94" fmla="*/ 170001 h 1548041"/>
              <a:gd name="connsiteX95" fmla="*/ 1939558 w 2534562"/>
              <a:gd name="connsiteY95" fmla="*/ 105607 h 1548041"/>
              <a:gd name="connsiteX96" fmla="*/ 1967892 w 2534562"/>
              <a:gd name="connsiteY96" fmla="*/ 69546 h 1548041"/>
              <a:gd name="connsiteX97" fmla="*/ 2014256 w 2534562"/>
              <a:gd name="connsiteY97" fmla="*/ 46364 h 1548041"/>
              <a:gd name="connsiteX98" fmla="*/ 2086377 w 2534562"/>
              <a:gd name="connsiteY98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7887 w 2534562"/>
              <a:gd name="connsiteY34" fmla="*/ 746975 h 1548041"/>
              <a:gd name="connsiteX35" fmla="*/ 1336827 w 2534562"/>
              <a:gd name="connsiteY35" fmla="*/ 759854 h 1548041"/>
              <a:gd name="connsiteX36" fmla="*/ 1357433 w 2534562"/>
              <a:gd name="connsiteY36" fmla="*/ 788187 h 1548041"/>
              <a:gd name="connsiteX37" fmla="*/ 1388342 w 2534562"/>
              <a:gd name="connsiteY37" fmla="*/ 834551 h 1548041"/>
              <a:gd name="connsiteX38" fmla="*/ 1630465 w 2534562"/>
              <a:gd name="connsiteY38" fmla="*/ 911824 h 1548041"/>
              <a:gd name="connsiteX39" fmla="*/ 1759254 w 2534562"/>
              <a:gd name="connsiteY39" fmla="*/ 989098 h 1548041"/>
              <a:gd name="connsiteX40" fmla="*/ 1759254 w 2534562"/>
              <a:gd name="connsiteY40" fmla="*/ 989098 h 1548041"/>
              <a:gd name="connsiteX41" fmla="*/ 1779860 w 2534562"/>
              <a:gd name="connsiteY41" fmla="*/ 968491 h 1548041"/>
              <a:gd name="connsiteX42" fmla="*/ 1870012 w 2534562"/>
              <a:gd name="connsiteY42" fmla="*/ 1050916 h 1548041"/>
              <a:gd name="connsiteX43" fmla="*/ 1911225 w 2534562"/>
              <a:gd name="connsiteY43" fmla="*/ 1076674 h 1548041"/>
              <a:gd name="connsiteX44" fmla="*/ 1918952 w 2534562"/>
              <a:gd name="connsiteY44" fmla="*/ 1128189 h 1548041"/>
              <a:gd name="connsiteX45" fmla="*/ 1947285 w 2534562"/>
              <a:gd name="connsiteY45" fmla="*/ 1153947 h 1548041"/>
              <a:gd name="connsiteX46" fmla="*/ 1947285 w 2534562"/>
              <a:gd name="connsiteY46" fmla="*/ 1177129 h 1548041"/>
              <a:gd name="connsiteX47" fmla="*/ 1991074 w 2534562"/>
              <a:gd name="connsiteY47" fmla="*/ 1205463 h 1548041"/>
              <a:gd name="connsiteX48" fmla="*/ 1985922 w 2534562"/>
              <a:gd name="connsiteY48" fmla="*/ 1254402 h 1548041"/>
              <a:gd name="connsiteX49" fmla="*/ 2024559 w 2534562"/>
              <a:gd name="connsiteY49" fmla="*/ 1290463 h 1548041"/>
              <a:gd name="connsiteX50" fmla="*/ 2070923 w 2534562"/>
              <a:gd name="connsiteY50" fmla="*/ 1326524 h 1548041"/>
              <a:gd name="connsiteX51" fmla="*/ 2114711 w 2534562"/>
              <a:gd name="connsiteY51" fmla="*/ 1313645 h 1548041"/>
              <a:gd name="connsiteX52" fmla="*/ 2168802 w 2534562"/>
              <a:gd name="connsiteY52" fmla="*/ 1344555 h 1548041"/>
              <a:gd name="connsiteX53" fmla="*/ 2199711 w 2534562"/>
              <a:gd name="connsiteY53" fmla="*/ 1321373 h 1548041"/>
              <a:gd name="connsiteX54" fmla="*/ 2251227 w 2534562"/>
              <a:gd name="connsiteY54" fmla="*/ 1347130 h 1548041"/>
              <a:gd name="connsiteX55" fmla="*/ 2295015 w 2534562"/>
              <a:gd name="connsiteY55" fmla="*/ 1393494 h 1548041"/>
              <a:gd name="connsiteX56" fmla="*/ 2333652 w 2534562"/>
              <a:gd name="connsiteY56" fmla="*/ 1465616 h 1548041"/>
              <a:gd name="connsiteX57" fmla="*/ 2354258 w 2534562"/>
              <a:gd name="connsiteY57" fmla="*/ 1478495 h 1548041"/>
              <a:gd name="connsiteX58" fmla="*/ 2372288 w 2534562"/>
              <a:gd name="connsiteY58" fmla="*/ 1509404 h 1548041"/>
              <a:gd name="connsiteX59" fmla="*/ 2395470 w 2534562"/>
              <a:gd name="connsiteY59" fmla="*/ 1548041 h 1548041"/>
              <a:gd name="connsiteX60" fmla="*/ 2423804 w 2534562"/>
              <a:gd name="connsiteY60" fmla="*/ 1548041 h 1548041"/>
              <a:gd name="connsiteX61" fmla="*/ 2446986 w 2534562"/>
              <a:gd name="connsiteY61" fmla="*/ 1519707 h 1548041"/>
              <a:gd name="connsiteX62" fmla="*/ 2483047 w 2534562"/>
              <a:gd name="connsiteY62" fmla="*/ 1483646 h 1548041"/>
              <a:gd name="connsiteX63" fmla="*/ 2480471 w 2534562"/>
              <a:gd name="connsiteY63" fmla="*/ 1442434 h 1548041"/>
              <a:gd name="connsiteX64" fmla="*/ 2495925 w 2534562"/>
              <a:gd name="connsiteY64" fmla="*/ 1419252 h 1548041"/>
              <a:gd name="connsiteX65" fmla="*/ 2493350 w 2534562"/>
              <a:gd name="connsiteY65" fmla="*/ 1347130 h 1548041"/>
              <a:gd name="connsiteX66" fmla="*/ 2519107 w 2534562"/>
              <a:gd name="connsiteY66" fmla="*/ 1305918 h 1548041"/>
              <a:gd name="connsiteX67" fmla="*/ 2498501 w 2534562"/>
              <a:gd name="connsiteY67" fmla="*/ 1272433 h 1548041"/>
              <a:gd name="connsiteX68" fmla="*/ 2526835 w 2534562"/>
              <a:gd name="connsiteY68" fmla="*/ 1233796 h 1548041"/>
              <a:gd name="connsiteX69" fmla="*/ 2534562 w 2534562"/>
              <a:gd name="connsiteY69" fmla="*/ 1200311 h 1548041"/>
              <a:gd name="connsiteX70" fmla="*/ 2498501 w 2534562"/>
              <a:gd name="connsiteY70" fmla="*/ 1148796 h 1548041"/>
              <a:gd name="connsiteX71" fmla="*/ 2436683 w 2534562"/>
              <a:gd name="connsiteY71" fmla="*/ 1099856 h 1548041"/>
              <a:gd name="connsiteX72" fmla="*/ 2423804 w 2534562"/>
              <a:gd name="connsiteY72" fmla="*/ 1050916 h 1548041"/>
              <a:gd name="connsiteX73" fmla="*/ 2413501 w 2534562"/>
              <a:gd name="connsiteY73" fmla="*/ 994249 h 1548041"/>
              <a:gd name="connsiteX74" fmla="*/ 2392894 w 2534562"/>
              <a:gd name="connsiteY74" fmla="*/ 958188 h 1548041"/>
              <a:gd name="connsiteX75" fmla="*/ 2405773 w 2534562"/>
              <a:gd name="connsiteY75" fmla="*/ 919552 h 1548041"/>
              <a:gd name="connsiteX76" fmla="*/ 2356834 w 2534562"/>
              <a:gd name="connsiteY76" fmla="*/ 798490 h 1548041"/>
              <a:gd name="connsiteX77" fmla="*/ 2356834 w 2534562"/>
              <a:gd name="connsiteY77" fmla="*/ 754702 h 1548041"/>
              <a:gd name="connsiteX78" fmla="*/ 2331076 w 2534562"/>
              <a:gd name="connsiteY78" fmla="*/ 690308 h 1548041"/>
              <a:gd name="connsiteX79" fmla="*/ 2328500 w 2534562"/>
              <a:gd name="connsiteY79" fmla="*/ 654247 h 1548041"/>
              <a:gd name="connsiteX80" fmla="*/ 2307894 w 2534562"/>
              <a:gd name="connsiteY80" fmla="*/ 615610 h 1548041"/>
              <a:gd name="connsiteX81" fmla="*/ 2228045 w 2534562"/>
              <a:gd name="connsiteY81" fmla="*/ 569246 h 1548041"/>
              <a:gd name="connsiteX82" fmla="*/ 2225469 w 2534562"/>
              <a:gd name="connsiteY82" fmla="*/ 533186 h 1548041"/>
              <a:gd name="connsiteX83" fmla="*/ 2194560 w 2534562"/>
              <a:gd name="connsiteY83" fmla="*/ 510004 h 1548041"/>
              <a:gd name="connsiteX84" fmla="*/ 2171378 w 2534562"/>
              <a:gd name="connsiteY84" fmla="*/ 510004 h 1548041"/>
              <a:gd name="connsiteX85" fmla="*/ 2127590 w 2534562"/>
              <a:gd name="connsiteY85" fmla="*/ 512579 h 1548041"/>
              <a:gd name="connsiteX86" fmla="*/ 2058044 w 2534562"/>
              <a:gd name="connsiteY86" fmla="*/ 473943 h 1548041"/>
              <a:gd name="connsiteX87" fmla="*/ 2006528 w 2534562"/>
              <a:gd name="connsiteY87" fmla="*/ 409548 h 1548041"/>
              <a:gd name="connsiteX88" fmla="*/ 1962740 w 2534562"/>
              <a:gd name="connsiteY88" fmla="*/ 386366 h 1548041"/>
              <a:gd name="connsiteX89" fmla="*/ 1957589 w 2534562"/>
              <a:gd name="connsiteY89" fmla="*/ 350306 h 1548041"/>
              <a:gd name="connsiteX90" fmla="*/ 1934407 w 2534562"/>
              <a:gd name="connsiteY90" fmla="*/ 301366 h 1548041"/>
              <a:gd name="connsiteX91" fmla="*/ 1893194 w 2534562"/>
              <a:gd name="connsiteY91" fmla="*/ 270457 h 1548041"/>
              <a:gd name="connsiteX92" fmla="*/ 1898346 w 2534562"/>
              <a:gd name="connsiteY92" fmla="*/ 226668 h 1548041"/>
              <a:gd name="connsiteX93" fmla="*/ 1934407 w 2534562"/>
              <a:gd name="connsiteY93" fmla="*/ 170001 h 1548041"/>
              <a:gd name="connsiteX94" fmla="*/ 1939558 w 2534562"/>
              <a:gd name="connsiteY94" fmla="*/ 105607 h 1548041"/>
              <a:gd name="connsiteX95" fmla="*/ 1967892 w 2534562"/>
              <a:gd name="connsiteY95" fmla="*/ 69546 h 1548041"/>
              <a:gd name="connsiteX96" fmla="*/ 2014256 w 2534562"/>
              <a:gd name="connsiteY96" fmla="*/ 46364 h 1548041"/>
              <a:gd name="connsiteX97" fmla="*/ 2086377 w 2534562"/>
              <a:gd name="connsiteY97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12279 w 2534562"/>
              <a:gd name="connsiteY28" fmla="*/ 661974 h 1548041"/>
              <a:gd name="connsiteX29" fmla="*/ 1053492 w 2534562"/>
              <a:gd name="connsiteY29" fmla="*/ 659398 h 1548041"/>
              <a:gd name="connsiteX30" fmla="*/ 1097280 w 2534562"/>
              <a:gd name="connsiteY30" fmla="*/ 695459 h 1548041"/>
              <a:gd name="connsiteX31" fmla="*/ 1164250 w 2534562"/>
              <a:gd name="connsiteY31" fmla="*/ 718641 h 1548041"/>
              <a:gd name="connsiteX32" fmla="*/ 1236372 w 2534562"/>
              <a:gd name="connsiteY32" fmla="*/ 710914 h 1548041"/>
              <a:gd name="connsiteX33" fmla="*/ 1264705 w 2534562"/>
              <a:gd name="connsiteY33" fmla="*/ 692884 h 1548041"/>
              <a:gd name="connsiteX34" fmla="*/ 1287887 w 2534562"/>
              <a:gd name="connsiteY34" fmla="*/ 746975 h 1548041"/>
              <a:gd name="connsiteX35" fmla="*/ 1336827 w 2534562"/>
              <a:gd name="connsiteY35" fmla="*/ 759854 h 1548041"/>
              <a:gd name="connsiteX36" fmla="*/ 1357433 w 2534562"/>
              <a:gd name="connsiteY36" fmla="*/ 788187 h 1548041"/>
              <a:gd name="connsiteX37" fmla="*/ 1388342 w 2534562"/>
              <a:gd name="connsiteY37" fmla="*/ 834551 h 1548041"/>
              <a:gd name="connsiteX38" fmla="*/ 1630465 w 2534562"/>
              <a:gd name="connsiteY38" fmla="*/ 911824 h 1548041"/>
              <a:gd name="connsiteX39" fmla="*/ 1759254 w 2534562"/>
              <a:gd name="connsiteY39" fmla="*/ 989098 h 1548041"/>
              <a:gd name="connsiteX40" fmla="*/ 1759254 w 2534562"/>
              <a:gd name="connsiteY40" fmla="*/ 989098 h 1548041"/>
              <a:gd name="connsiteX41" fmla="*/ 1779860 w 2534562"/>
              <a:gd name="connsiteY41" fmla="*/ 968491 h 1548041"/>
              <a:gd name="connsiteX42" fmla="*/ 1870012 w 2534562"/>
              <a:gd name="connsiteY42" fmla="*/ 1050916 h 1548041"/>
              <a:gd name="connsiteX43" fmla="*/ 1918952 w 2534562"/>
              <a:gd name="connsiteY43" fmla="*/ 1128189 h 1548041"/>
              <a:gd name="connsiteX44" fmla="*/ 1947285 w 2534562"/>
              <a:gd name="connsiteY44" fmla="*/ 1153947 h 1548041"/>
              <a:gd name="connsiteX45" fmla="*/ 1947285 w 2534562"/>
              <a:gd name="connsiteY45" fmla="*/ 1177129 h 1548041"/>
              <a:gd name="connsiteX46" fmla="*/ 1991074 w 2534562"/>
              <a:gd name="connsiteY46" fmla="*/ 1205463 h 1548041"/>
              <a:gd name="connsiteX47" fmla="*/ 1985922 w 2534562"/>
              <a:gd name="connsiteY47" fmla="*/ 1254402 h 1548041"/>
              <a:gd name="connsiteX48" fmla="*/ 2024559 w 2534562"/>
              <a:gd name="connsiteY48" fmla="*/ 1290463 h 1548041"/>
              <a:gd name="connsiteX49" fmla="*/ 2070923 w 2534562"/>
              <a:gd name="connsiteY49" fmla="*/ 1326524 h 1548041"/>
              <a:gd name="connsiteX50" fmla="*/ 2114711 w 2534562"/>
              <a:gd name="connsiteY50" fmla="*/ 1313645 h 1548041"/>
              <a:gd name="connsiteX51" fmla="*/ 2168802 w 2534562"/>
              <a:gd name="connsiteY51" fmla="*/ 1344555 h 1548041"/>
              <a:gd name="connsiteX52" fmla="*/ 2199711 w 2534562"/>
              <a:gd name="connsiteY52" fmla="*/ 1321373 h 1548041"/>
              <a:gd name="connsiteX53" fmla="*/ 2251227 w 2534562"/>
              <a:gd name="connsiteY53" fmla="*/ 1347130 h 1548041"/>
              <a:gd name="connsiteX54" fmla="*/ 2295015 w 2534562"/>
              <a:gd name="connsiteY54" fmla="*/ 1393494 h 1548041"/>
              <a:gd name="connsiteX55" fmla="*/ 2333652 w 2534562"/>
              <a:gd name="connsiteY55" fmla="*/ 1465616 h 1548041"/>
              <a:gd name="connsiteX56" fmla="*/ 2354258 w 2534562"/>
              <a:gd name="connsiteY56" fmla="*/ 1478495 h 1548041"/>
              <a:gd name="connsiteX57" fmla="*/ 2372288 w 2534562"/>
              <a:gd name="connsiteY57" fmla="*/ 1509404 h 1548041"/>
              <a:gd name="connsiteX58" fmla="*/ 2395470 w 2534562"/>
              <a:gd name="connsiteY58" fmla="*/ 1548041 h 1548041"/>
              <a:gd name="connsiteX59" fmla="*/ 2423804 w 2534562"/>
              <a:gd name="connsiteY59" fmla="*/ 1548041 h 1548041"/>
              <a:gd name="connsiteX60" fmla="*/ 2446986 w 2534562"/>
              <a:gd name="connsiteY60" fmla="*/ 1519707 h 1548041"/>
              <a:gd name="connsiteX61" fmla="*/ 2483047 w 2534562"/>
              <a:gd name="connsiteY61" fmla="*/ 1483646 h 1548041"/>
              <a:gd name="connsiteX62" fmla="*/ 2480471 w 2534562"/>
              <a:gd name="connsiteY62" fmla="*/ 1442434 h 1548041"/>
              <a:gd name="connsiteX63" fmla="*/ 2495925 w 2534562"/>
              <a:gd name="connsiteY63" fmla="*/ 1419252 h 1548041"/>
              <a:gd name="connsiteX64" fmla="*/ 2493350 w 2534562"/>
              <a:gd name="connsiteY64" fmla="*/ 1347130 h 1548041"/>
              <a:gd name="connsiteX65" fmla="*/ 2519107 w 2534562"/>
              <a:gd name="connsiteY65" fmla="*/ 1305918 h 1548041"/>
              <a:gd name="connsiteX66" fmla="*/ 2498501 w 2534562"/>
              <a:gd name="connsiteY66" fmla="*/ 1272433 h 1548041"/>
              <a:gd name="connsiteX67" fmla="*/ 2526835 w 2534562"/>
              <a:gd name="connsiteY67" fmla="*/ 1233796 h 1548041"/>
              <a:gd name="connsiteX68" fmla="*/ 2534562 w 2534562"/>
              <a:gd name="connsiteY68" fmla="*/ 1200311 h 1548041"/>
              <a:gd name="connsiteX69" fmla="*/ 2498501 w 2534562"/>
              <a:gd name="connsiteY69" fmla="*/ 1148796 h 1548041"/>
              <a:gd name="connsiteX70" fmla="*/ 2436683 w 2534562"/>
              <a:gd name="connsiteY70" fmla="*/ 1099856 h 1548041"/>
              <a:gd name="connsiteX71" fmla="*/ 2423804 w 2534562"/>
              <a:gd name="connsiteY71" fmla="*/ 1050916 h 1548041"/>
              <a:gd name="connsiteX72" fmla="*/ 2413501 w 2534562"/>
              <a:gd name="connsiteY72" fmla="*/ 994249 h 1548041"/>
              <a:gd name="connsiteX73" fmla="*/ 2392894 w 2534562"/>
              <a:gd name="connsiteY73" fmla="*/ 958188 h 1548041"/>
              <a:gd name="connsiteX74" fmla="*/ 2405773 w 2534562"/>
              <a:gd name="connsiteY74" fmla="*/ 919552 h 1548041"/>
              <a:gd name="connsiteX75" fmla="*/ 2356834 w 2534562"/>
              <a:gd name="connsiteY75" fmla="*/ 798490 h 1548041"/>
              <a:gd name="connsiteX76" fmla="*/ 2356834 w 2534562"/>
              <a:gd name="connsiteY76" fmla="*/ 754702 h 1548041"/>
              <a:gd name="connsiteX77" fmla="*/ 2331076 w 2534562"/>
              <a:gd name="connsiteY77" fmla="*/ 690308 h 1548041"/>
              <a:gd name="connsiteX78" fmla="*/ 2328500 w 2534562"/>
              <a:gd name="connsiteY78" fmla="*/ 654247 h 1548041"/>
              <a:gd name="connsiteX79" fmla="*/ 2307894 w 2534562"/>
              <a:gd name="connsiteY79" fmla="*/ 615610 h 1548041"/>
              <a:gd name="connsiteX80" fmla="*/ 2228045 w 2534562"/>
              <a:gd name="connsiteY80" fmla="*/ 569246 h 1548041"/>
              <a:gd name="connsiteX81" fmla="*/ 2225469 w 2534562"/>
              <a:gd name="connsiteY81" fmla="*/ 533186 h 1548041"/>
              <a:gd name="connsiteX82" fmla="*/ 2194560 w 2534562"/>
              <a:gd name="connsiteY82" fmla="*/ 510004 h 1548041"/>
              <a:gd name="connsiteX83" fmla="*/ 2171378 w 2534562"/>
              <a:gd name="connsiteY83" fmla="*/ 510004 h 1548041"/>
              <a:gd name="connsiteX84" fmla="*/ 2127590 w 2534562"/>
              <a:gd name="connsiteY84" fmla="*/ 512579 h 1548041"/>
              <a:gd name="connsiteX85" fmla="*/ 2058044 w 2534562"/>
              <a:gd name="connsiteY85" fmla="*/ 473943 h 1548041"/>
              <a:gd name="connsiteX86" fmla="*/ 2006528 w 2534562"/>
              <a:gd name="connsiteY86" fmla="*/ 409548 h 1548041"/>
              <a:gd name="connsiteX87" fmla="*/ 1962740 w 2534562"/>
              <a:gd name="connsiteY87" fmla="*/ 386366 h 1548041"/>
              <a:gd name="connsiteX88" fmla="*/ 1957589 w 2534562"/>
              <a:gd name="connsiteY88" fmla="*/ 350306 h 1548041"/>
              <a:gd name="connsiteX89" fmla="*/ 1934407 w 2534562"/>
              <a:gd name="connsiteY89" fmla="*/ 301366 h 1548041"/>
              <a:gd name="connsiteX90" fmla="*/ 1893194 w 2534562"/>
              <a:gd name="connsiteY90" fmla="*/ 270457 h 1548041"/>
              <a:gd name="connsiteX91" fmla="*/ 1898346 w 2534562"/>
              <a:gd name="connsiteY91" fmla="*/ 226668 h 1548041"/>
              <a:gd name="connsiteX92" fmla="*/ 1934407 w 2534562"/>
              <a:gd name="connsiteY92" fmla="*/ 170001 h 1548041"/>
              <a:gd name="connsiteX93" fmla="*/ 1939558 w 2534562"/>
              <a:gd name="connsiteY93" fmla="*/ 105607 h 1548041"/>
              <a:gd name="connsiteX94" fmla="*/ 1967892 w 2534562"/>
              <a:gd name="connsiteY94" fmla="*/ 69546 h 1548041"/>
              <a:gd name="connsiteX95" fmla="*/ 2014256 w 2534562"/>
              <a:gd name="connsiteY95" fmla="*/ 46364 h 1548041"/>
              <a:gd name="connsiteX96" fmla="*/ 2086377 w 2534562"/>
              <a:gd name="connsiteY96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53492 w 2534562"/>
              <a:gd name="connsiteY28" fmla="*/ 659398 h 1548041"/>
              <a:gd name="connsiteX29" fmla="*/ 1097280 w 2534562"/>
              <a:gd name="connsiteY29" fmla="*/ 695459 h 1548041"/>
              <a:gd name="connsiteX30" fmla="*/ 1164250 w 2534562"/>
              <a:gd name="connsiteY30" fmla="*/ 718641 h 1548041"/>
              <a:gd name="connsiteX31" fmla="*/ 1236372 w 2534562"/>
              <a:gd name="connsiteY31" fmla="*/ 710914 h 1548041"/>
              <a:gd name="connsiteX32" fmla="*/ 1264705 w 2534562"/>
              <a:gd name="connsiteY32" fmla="*/ 692884 h 1548041"/>
              <a:gd name="connsiteX33" fmla="*/ 1287887 w 2534562"/>
              <a:gd name="connsiteY33" fmla="*/ 746975 h 1548041"/>
              <a:gd name="connsiteX34" fmla="*/ 1336827 w 2534562"/>
              <a:gd name="connsiteY34" fmla="*/ 759854 h 1548041"/>
              <a:gd name="connsiteX35" fmla="*/ 1357433 w 2534562"/>
              <a:gd name="connsiteY35" fmla="*/ 788187 h 1548041"/>
              <a:gd name="connsiteX36" fmla="*/ 1388342 w 2534562"/>
              <a:gd name="connsiteY36" fmla="*/ 834551 h 1548041"/>
              <a:gd name="connsiteX37" fmla="*/ 1630465 w 2534562"/>
              <a:gd name="connsiteY37" fmla="*/ 911824 h 1548041"/>
              <a:gd name="connsiteX38" fmla="*/ 1759254 w 2534562"/>
              <a:gd name="connsiteY38" fmla="*/ 989098 h 1548041"/>
              <a:gd name="connsiteX39" fmla="*/ 1759254 w 2534562"/>
              <a:gd name="connsiteY39" fmla="*/ 989098 h 1548041"/>
              <a:gd name="connsiteX40" fmla="*/ 1779860 w 2534562"/>
              <a:gd name="connsiteY40" fmla="*/ 968491 h 1548041"/>
              <a:gd name="connsiteX41" fmla="*/ 1870012 w 2534562"/>
              <a:gd name="connsiteY41" fmla="*/ 1050916 h 1548041"/>
              <a:gd name="connsiteX42" fmla="*/ 1918952 w 2534562"/>
              <a:gd name="connsiteY42" fmla="*/ 1128189 h 1548041"/>
              <a:gd name="connsiteX43" fmla="*/ 1947285 w 2534562"/>
              <a:gd name="connsiteY43" fmla="*/ 1153947 h 1548041"/>
              <a:gd name="connsiteX44" fmla="*/ 1947285 w 2534562"/>
              <a:gd name="connsiteY44" fmla="*/ 1177129 h 1548041"/>
              <a:gd name="connsiteX45" fmla="*/ 1991074 w 2534562"/>
              <a:gd name="connsiteY45" fmla="*/ 1205463 h 1548041"/>
              <a:gd name="connsiteX46" fmla="*/ 1985922 w 2534562"/>
              <a:gd name="connsiteY46" fmla="*/ 1254402 h 1548041"/>
              <a:gd name="connsiteX47" fmla="*/ 2024559 w 2534562"/>
              <a:gd name="connsiteY47" fmla="*/ 1290463 h 1548041"/>
              <a:gd name="connsiteX48" fmla="*/ 2070923 w 2534562"/>
              <a:gd name="connsiteY48" fmla="*/ 1326524 h 1548041"/>
              <a:gd name="connsiteX49" fmla="*/ 2114711 w 2534562"/>
              <a:gd name="connsiteY49" fmla="*/ 1313645 h 1548041"/>
              <a:gd name="connsiteX50" fmla="*/ 2168802 w 2534562"/>
              <a:gd name="connsiteY50" fmla="*/ 1344555 h 1548041"/>
              <a:gd name="connsiteX51" fmla="*/ 2199711 w 2534562"/>
              <a:gd name="connsiteY51" fmla="*/ 1321373 h 1548041"/>
              <a:gd name="connsiteX52" fmla="*/ 2251227 w 2534562"/>
              <a:gd name="connsiteY52" fmla="*/ 1347130 h 1548041"/>
              <a:gd name="connsiteX53" fmla="*/ 2295015 w 2534562"/>
              <a:gd name="connsiteY53" fmla="*/ 1393494 h 1548041"/>
              <a:gd name="connsiteX54" fmla="*/ 2333652 w 2534562"/>
              <a:gd name="connsiteY54" fmla="*/ 1465616 h 1548041"/>
              <a:gd name="connsiteX55" fmla="*/ 2354258 w 2534562"/>
              <a:gd name="connsiteY55" fmla="*/ 1478495 h 1548041"/>
              <a:gd name="connsiteX56" fmla="*/ 2372288 w 2534562"/>
              <a:gd name="connsiteY56" fmla="*/ 1509404 h 1548041"/>
              <a:gd name="connsiteX57" fmla="*/ 2395470 w 2534562"/>
              <a:gd name="connsiteY57" fmla="*/ 1548041 h 1548041"/>
              <a:gd name="connsiteX58" fmla="*/ 2423804 w 2534562"/>
              <a:gd name="connsiteY58" fmla="*/ 1548041 h 1548041"/>
              <a:gd name="connsiteX59" fmla="*/ 2446986 w 2534562"/>
              <a:gd name="connsiteY59" fmla="*/ 1519707 h 1548041"/>
              <a:gd name="connsiteX60" fmla="*/ 2483047 w 2534562"/>
              <a:gd name="connsiteY60" fmla="*/ 1483646 h 1548041"/>
              <a:gd name="connsiteX61" fmla="*/ 2480471 w 2534562"/>
              <a:gd name="connsiteY61" fmla="*/ 1442434 h 1548041"/>
              <a:gd name="connsiteX62" fmla="*/ 2495925 w 2534562"/>
              <a:gd name="connsiteY62" fmla="*/ 1419252 h 1548041"/>
              <a:gd name="connsiteX63" fmla="*/ 2493350 w 2534562"/>
              <a:gd name="connsiteY63" fmla="*/ 1347130 h 1548041"/>
              <a:gd name="connsiteX64" fmla="*/ 2519107 w 2534562"/>
              <a:gd name="connsiteY64" fmla="*/ 1305918 h 1548041"/>
              <a:gd name="connsiteX65" fmla="*/ 2498501 w 2534562"/>
              <a:gd name="connsiteY65" fmla="*/ 1272433 h 1548041"/>
              <a:gd name="connsiteX66" fmla="*/ 2526835 w 2534562"/>
              <a:gd name="connsiteY66" fmla="*/ 1233796 h 1548041"/>
              <a:gd name="connsiteX67" fmla="*/ 2534562 w 2534562"/>
              <a:gd name="connsiteY67" fmla="*/ 1200311 h 1548041"/>
              <a:gd name="connsiteX68" fmla="*/ 2498501 w 2534562"/>
              <a:gd name="connsiteY68" fmla="*/ 1148796 h 1548041"/>
              <a:gd name="connsiteX69" fmla="*/ 2436683 w 2534562"/>
              <a:gd name="connsiteY69" fmla="*/ 1099856 h 1548041"/>
              <a:gd name="connsiteX70" fmla="*/ 2423804 w 2534562"/>
              <a:gd name="connsiteY70" fmla="*/ 1050916 h 1548041"/>
              <a:gd name="connsiteX71" fmla="*/ 2413501 w 2534562"/>
              <a:gd name="connsiteY71" fmla="*/ 994249 h 1548041"/>
              <a:gd name="connsiteX72" fmla="*/ 2392894 w 2534562"/>
              <a:gd name="connsiteY72" fmla="*/ 958188 h 1548041"/>
              <a:gd name="connsiteX73" fmla="*/ 2405773 w 2534562"/>
              <a:gd name="connsiteY73" fmla="*/ 919552 h 1548041"/>
              <a:gd name="connsiteX74" fmla="*/ 2356834 w 2534562"/>
              <a:gd name="connsiteY74" fmla="*/ 798490 h 1548041"/>
              <a:gd name="connsiteX75" fmla="*/ 2356834 w 2534562"/>
              <a:gd name="connsiteY75" fmla="*/ 754702 h 1548041"/>
              <a:gd name="connsiteX76" fmla="*/ 2331076 w 2534562"/>
              <a:gd name="connsiteY76" fmla="*/ 690308 h 1548041"/>
              <a:gd name="connsiteX77" fmla="*/ 2328500 w 2534562"/>
              <a:gd name="connsiteY77" fmla="*/ 654247 h 1548041"/>
              <a:gd name="connsiteX78" fmla="*/ 2307894 w 2534562"/>
              <a:gd name="connsiteY78" fmla="*/ 615610 h 1548041"/>
              <a:gd name="connsiteX79" fmla="*/ 2228045 w 2534562"/>
              <a:gd name="connsiteY79" fmla="*/ 569246 h 1548041"/>
              <a:gd name="connsiteX80" fmla="*/ 2225469 w 2534562"/>
              <a:gd name="connsiteY80" fmla="*/ 533186 h 1548041"/>
              <a:gd name="connsiteX81" fmla="*/ 2194560 w 2534562"/>
              <a:gd name="connsiteY81" fmla="*/ 510004 h 1548041"/>
              <a:gd name="connsiteX82" fmla="*/ 2171378 w 2534562"/>
              <a:gd name="connsiteY82" fmla="*/ 510004 h 1548041"/>
              <a:gd name="connsiteX83" fmla="*/ 2127590 w 2534562"/>
              <a:gd name="connsiteY83" fmla="*/ 512579 h 1548041"/>
              <a:gd name="connsiteX84" fmla="*/ 2058044 w 2534562"/>
              <a:gd name="connsiteY84" fmla="*/ 473943 h 1548041"/>
              <a:gd name="connsiteX85" fmla="*/ 2006528 w 2534562"/>
              <a:gd name="connsiteY85" fmla="*/ 409548 h 1548041"/>
              <a:gd name="connsiteX86" fmla="*/ 1962740 w 2534562"/>
              <a:gd name="connsiteY86" fmla="*/ 386366 h 1548041"/>
              <a:gd name="connsiteX87" fmla="*/ 1957589 w 2534562"/>
              <a:gd name="connsiteY87" fmla="*/ 350306 h 1548041"/>
              <a:gd name="connsiteX88" fmla="*/ 1934407 w 2534562"/>
              <a:gd name="connsiteY88" fmla="*/ 301366 h 1548041"/>
              <a:gd name="connsiteX89" fmla="*/ 1893194 w 2534562"/>
              <a:gd name="connsiteY89" fmla="*/ 270457 h 1548041"/>
              <a:gd name="connsiteX90" fmla="*/ 1898346 w 2534562"/>
              <a:gd name="connsiteY90" fmla="*/ 226668 h 1548041"/>
              <a:gd name="connsiteX91" fmla="*/ 1934407 w 2534562"/>
              <a:gd name="connsiteY91" fmla="*/ 170001 h 1548041"/>
              <a:gd name="connsiteX92" fmla="*/ 1939558 w 2534562"/>
              <a:gd name="connsiteY92" fmla="*/ 105607 h 1548041"/>
              <a:gd name="connsiteX93" fmla="*/ 1967892 w 2534562"/>
              <a:gd name="connsiteY93" fmla="*/ 69546 h 1548041"/>
              <a:gd name="connsiteX94" fmla="*/ 2014256 w 2534562"/>
              <a:gd name="connsiteY94" fmla="*/ 46364 h 1548041"/>
              <a:gd name="connsiteX95" fmla="*/ 2086377 w 2534562"/>
              <a:gd name="connsiteY95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097280 w 2534562"/>
              <a:gd name="connsiteY28" fmla="*/ 695459 h 1548041"/>
              <a:gd name="connsiteX29" fmla="*/ 1164250 w 2534562"/>
              <a:gd name="connsiteY29" fmla="*/ 718641 h 1548041"/>
              <a:gd name="connsiteX30" fmla="*/ 1236372 w 2534562"/>
              <a:gd name="connsiteY30" fmla="*/ 710914 h 1548041"/>
              <a:gd name="connsiteX31" fmla="*/ 1264705 w 2534562"/>
              <a:gd name="connsiteY31" fmla="*/ 692884 h 1548041"/>
              <a:gd name="connsiteX32" fmla="*/ 1287887 w 2534562"/>
              <a:gd name="connsiteY32" fmla="*/ 746975 h 1548041"/>
              <a:gd name="connsiteX33" fmla="*/ 1336827 w 2534562"/>
              <a:gd name="connsiteY33" fmla="*/ 759854 h 1548041"/>
              <a:gd name="connsiteX34" fmla="*/ 1357433 w 2534562"/>
              <a:gd name="connsiteY34" fmla="*/ 788187 h 1548041"/>
              <a:gd name="connsiteX35" fmla="*/ 1388342 w 2534562"/>
              <a:gd name="connsiteY35" fmla="*/ 834551 h 1548041"/>
              <a:gd name="connsiteX36" fmla="*/ 1630465 w 2534562"/>
              <a:gd name="connsiteY36" fmla="*/ 911824 h 1548041"/>
              <a:gd name="connsiteX37" fmla="*/ 1759254 w 2534562"/>
              <a:gd name="connsiteY37" fmla="*/ 989098 h 1548041"/>
              <a:gd name="connsiteX38" fmla="*/ 1759254 w 2534562"/>
              <a:gd name="connsiteY38" fmla="*/ 989098 h 1548041"/>
              <a:gd name="connsiteX39" fmla="*/ 1779860 w 2534562"/>
              <a:gd name="connsiteY39" fmla="*/ 968491 h 1548041"/>
              <a:gd name="connsiteX40" fmla="*/ 1870012 w 2534562"/>
              <a:gd name="connsiteY40" fmla="*/ 1050916 h 1548041"/>
              <a:gd name="connsiteX41" fmla="*/ 1918952 w 2534562"/>
              <a:gd name="connsiteY41" fmla="*/ 1128189 h 1548041"/>
              <a:gd name="connsiteX42" fmla="*/ 1947285 w 2534562"/>
              <a:gd name="connsiteY42" fmla="*/ 1153947 h 1548041"/>
              <a:gd name="connsiteX43" fmla="*/ 1947285 w 2534562"/>
              <a:gd name="connsiteY43" fmla="*/ 1177129 h 1548041"/>
              <a:gd name="connsiteX44" fmla="*/ 1991074 w 2534562"/>
              <a:gd name="connsiteY44" fmla="*/ 1205463 h 1548041"/>
              <a:gd name="connsiteX45" fmla="*/ 1985922 w 2534562"/>
              <a:gd name="connsiteY45" fmla="*/ 1254402 h 1548041"/>
              <a:gd name="connsiteX46" fmla="*/ 2024559 w 2534562"/>
              <a:gd name="connsiteY46" fmla="*/ 1290463 h 1548041"/>
              <a:gd name="connsiteX47" fmla="*/ 2070923 w 2534562"/>
              <a:gd name="connsiteY47" fmla="*/ 1326524 h 1548041"/>
              <a:gd name="connsiteX48" fmla="*/ 2114711 w 2534562"/>
              <a:gd name="connsiteY48" fmla="*/ 1313645 h 1548041"/>
              <a:gd name="connsiteX49" fmla="*/ 2168802 w 2534562"/>
              <a:gd name="connsiteY49" fmla="*/ 1344555 h 1548041"/>
              <a:gd name="connsiteX50" fmla="*/ 2199711 w 2534562"/>
              <a:gd name="connsiteY50" fmla="*/ 1321373 h 1548041"/>
              <a:gd name="connsiteX51" fmla="*/ 2251227 w 2534562"/>
              <a:gd name="connsiteY51" fmla="*/ 1347130 h 1548041"/>
              <a:gd name="connsiteX52" fmla="*/ 2295015 w 2534562"/>
              <a:gd name="connsiteY52" fmla="*/ 1393494 h 1548041"/>
              <a:gd name="connsiteX53" fmla="*/ 2333652 w 2534562"/>
              <a:gd name="connsiteY53" fmla="*/ 1465616 h 1548041"/>
              <a:gd name="connsiteX54" fmla="*/ 2354258 w 2534562"/>
              <a:gd name="connsiteY54" fmla="*/ 1478495 h 1548041"/>
              <a:gd name="connsiteX55" fmla="*/ 2372288 w 2534562"/>
              <a:gd name="connsiteY55" fmla="*/ 1509404 h 1548041"/>
              <a:gd name="connsiteX56" fmla="*/ 2395470 w 2534562"/>
              <a:gd name="connsiteY56" fmla="*/ 1548041 h 1548041"/>
              <a:gd name="connsiteX57" fmla="*/ 2423804 w 2534562"/>
              <a:gd name="connsiteY57" fmla="*/ 1548041 h 1548041"/>
              <a:gd name="connsiteX58" fmla="*/ 2446986 w 2534562"/>
              <a:gd name="connsiteY58" fmla="*/ 1519707 h 1548041"/>
              <a:gd name="connsiteX59" fmla="*/ 2483047 w 2534562"/>
              <a:gd name="connsiteY59" fmla="*/ 1483646 h 1548041"/>
              <a:gd name="connsiteX60" fmla="*/ 2480471 w 2534562"/>
              <a:gd name="connsiteY60" fmla="*/ 1442434 h 1548041"/>
              <a:gd name="connsiteX61" fmla="*/ 2495925 w 2534562"/>
              <a:gd name="connsiteY61" fmla="*/ 1419252 h 1548041"/>
              <a:gd name="connsiteX62" fmla="*/ 2493350 w 2534562"/>
              <a:gd name="connsiteY62" fmla="*/ 1347130 h 1548041"/>
              <a:gd name="connsiteX63" fmla="*/ 2519107 w 2534562"/>
              <a:gd name="connsiteY63" fmla="*/ 1305918 h 1548041"/>
              <a:gd name="connsiteX64" fmla="*/ 2498501 w 2534562"/>
              <a:gd name="connsiteY64" fmla="*/ 1272433 h 1548041"/>
              <a:gd name="connsiteX65" fmla="*/ 2526835 w 2534562"/>
              <a:gd name="connsiteY65" fmla="*/ 1233796 h 1548041"/>
              <a:gd name="connsiteX66" fmla="*/ 2534562 w 2534562"/>
              <a:gd name="connsiteY66" fmla="*/ 1200311 h 1548041"/>
              <a:gd name="connsiteX67" fmla="*/ 2498501 w 2534562"/>
              <a:gd name="connsiteY67" fmla="*/ 1148796 h 1548041"/>
              <a:gd name="connsiteX68" fmla="*/ 2436683 w 2534562"/>
              <a:gd name="connsiteY68" fmla="*/ 1099856 h 1548041"/>
              <a:gd name="connsiteX69" fmla="*/ 2423804 w 2534562"/>
              <a:gd name="connsiteY69" fmla="*/ 1050916 h 1548041"/>
              <a:gd name="connsiteX70" fmla="*/ 2413501 w 2534562"/>
              <a:gd name="connsiteY70" fmla="*/ 994249 h 1548041"/>
              <a:gd name="connsiteX71" fmla="*/ 2392894 w 2534562"/>
              <a:gd name="connsiteY71" fmla="*/ 958188 h 1548041"/>
              <a:gd name="connsiteX72" fmla="*/ 2405773 w 2534562"/>
              <a:gd name="connsiteY72" fmla="*/ 919552 h 1548041"/>
              <a:gd name="connsiteX73" fmla="*/ 2356834 w 2534562"/>
              <a:gd name="connsiteY73" fmla="*/ 798490 h 1548041"/>
              <a:gd name="connsiteX74" fmla="*/ 2356834 w 2534562"/>
              <a:gd name="connsiteY74" fmla="*/ 754702 h 1548041"/>
              <a:gd name="connsiteX75" fmla="*/ 2331076 w 2534562"/>
              <a:gd name="connsiteY75" fmla="*/ 690308 h 1548041"/>
              <a:gd name="connsiteX76" fmla="*/ 2328500 w 2534562"/>
              <a:gd name="connsiteY76" fmla="*/ 654247 h 1548041"/>
              <a:gd name="connsiteX77" fmla="*/ 2307894 w 2534562"/>
              <a:gd name="connsiteY77" fmla="*/ 615610 h 1548041"/>
              <a:gd name="connsiteX78" fmla="*/ 2228045 w 2534562"/>
              <a:gd name="connsiteY78" fmla="*/ 569246 h 1548041"/>
              <a:gd name="connsiteX79" fmla="*/ 2225469 w 2534562"/>
              <a:gd name="connsiteY79" fmla="*/ 533186 h 1548041"/>
              <a:gd name="connsiteX80" fmla="*/ 2194560 w 2534562"/>
              <a:gd name="connsiteY80" fmla="*/ 510004 h 1548041"/>
              <a:gd name="connsiteX81" fmla="*/ 2171378 w 2534562"/>
              <a:gd name="connsiteY81" fmla="*/ 510004 h 1548041"/>
              <a:gd name="connsiteX82" fmla="*/ 2127590 w 2534562"/>
              <a:gd name="connsiteY82" fmla="*/ 512579 h 1548041"/>
              <a:gd name="connsiteX83" fmla="*/ 2058044 w 2534562"/>
              <a:gd name="connsiteY83" fmla="*/ 473943 h 1548041"/>
              <a:gd name="connsiteX84" fmla="*/ 2006528 w 2534562"/>
              <a:gd name="connsiteY84" fmla="*/ 409548 h 1548041"/>
              <a:gd name="connsiteX85" fmla="*/ 1962740 w 2534562"/>
              <a:gd name="connsiteY85" fmla="*/ 386366 h 1548041"/>
              <a:gd name="connsiteX86" fmla="*/ 1957589 w 2534562"/>
              <a:gd name="connsiteY86" fmla="*/ 350306 h 1548041"/>
              <a:gd name="connsiteX87" fmla="*/ 1934407 w 2534562"/>
              <a:gd name="connsiteY87" fmla="*/ 301366 h 1548041"/>
              <a:gd name="connsiteX88" fmla="*/ 1893194 w 2534562"/>
              <a:gd name="connsiteY88" fmla="*/ 270457 h 1548041"/>
              <a:gd name="connsiteX89" fmla="*/ 1898346 w 2534562"/>
              <a:gd name="connsiteY89" fmla="*/ 226668 h 1548041"/>
              <a:gd name="connsiteX90" fmla="*/ 1934407 w 2534562"/>
              <a:gd name="connsiteY90" fmla="*/ 170001 h 1548041"/>
              <a:gd name="connsiteX91" fmla="*/ 1939558 w 2534562"/>
              <a:gd name="connsiteY91" fmla="*/ 105607 h 1548041"/>
              <a:gd name="connsiteX92" fmla="*/ 1967892 w 2534562"/>
              <a:gd name="connsiteY92" fmla="*/ 69546 h 1548041"/>
              <a:gd name="connsiteX93" fmla="*/ 2014256 w 2534562"/>
              <a:gd name="connsiteY93" fmla="*/ 46364 h 1548041"/>
              <a:gd name="connsiteX94" fmla="*/ 2086377 w 2534562"/>
              <a:gd name="connsiteY94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164250 w 2534562"/>
              <a:gd name="connsiteY28" fmla="*/ 718641 h 1548041"/>
              <a:gd name="connsiteX29" fmla="*/ 1236372 w 2534562"/>
              <a:gd name="connsiteY29" fmla="*/ 710914 h 1548041"/>
              <a:gd name="connsiteX30" fmla="*/ 1264705 w 2534562"/>
              <a:gd name="connsiteY30" fmla="*/ 692884 h 1548041"/>
              <a:gd name="connsiteX31" fmla="*/ 1287887 w 2534562"/>
              <a:gd name="connsiteY31" fmla="*/ 746975 h 1548041"/>
              <a:gd name="connsiteX32" fmla="*/ 1336827 w 2534562"/>
              <a:gd name="connsiteY32" fmla="*/ 759854 h 1548041"/>
              <a:gd name="connsiteX33" fmla="*/ 1357433 w 2534562"/>
              <a:gd name="connsiteY33" fmla="*/ 788187 h 1548041"/>
              <a:gd name="connsiteX34" fmla="*/ 1388342 w 2534562"/>
              <a:gd name="connsiteY34" fmla="*/ 834551 h 1548041"/>
              <a:gd name="connsiteX35" fmla="*/ 1630465 w 2534562"/>
              <a:gd name="connsiteY35" fmla="*/ 911824 h 1548041"/>
              <a:gd name="connsiteX36" fmla="*/ 1759254 w 2534562"/>
              <a:gd name="connsiteY36" fmla="*/ 989098 h 1548041"/>
              <a:gd name="connsiteX37" fmla="*/ 1759254 w 2534562"/>
              <a:gd name="connsiteY37" fmla="*/ 989098 h 1548041"/>
              <a:gd name="connsiteX38" fmla="*/ 1779860 w 2534562"/>
              <a:gd name="connsiteY38" fmla="*/ 968491 h 1548041"/>
              <a:gd name="connsiteX39" fmla="*/ 1870012 w 2534562"/>
              <a:gd name="connsiteY39" fmla="*/ 1050916 h 1548041"/>
              <a:gd name="connsiteX40" fmla="*/ 1918952 w 2534562"/>
              <a:gd name="connsiteY40" fmla="*/ 1128189 h 1548041"/>
              <a:gd name="connsiteX41" fmla="*/ 1947285 w 2534562"/>
              <a:gd name="connsiteY41" fmla="*/ 1153947 h 1548041"/>
              <a:gd name="connsiteX42" fmla="*/ 1947285 w 2534562"/>
              <a:gd name="connsiteY42" fmla="*/ 1177129 h 1548041"/>
              <a:gd name="connsiteX43" fmla="*/ 1991074 w 2534562"/>
              <a:gd name="connsiteY43" fmla="*/ 1205463 h 1548041"/>
              <a:gd name="connsiteX44" fmla="*/ 1985922 w 2534562"/>
              <a:gd name="connsiteY44" fmla="*/ 1254402 h 1548041"/>
              <a:gd name="connsiteX45" fmla="*/ 2024559 w 2534562"/>
              <a:gd name="connsiteY45" fmla="*/ 1290463 h 1548041"/>
              <a:gd name="connsiteX46" fmla="*/ 2070923 w 2534562"/>
              <a:gd name="connsiteY46" fmla="*/ 1326524 h 1548041"/>
              <a:gd name="connsiteX47" fmla="*/ 2114711 w 2534562"/>
              <a:gd name="connsiteY47" fmla="*/ 1313645 h 1548041"/>
              <a:gd name="connsiteX48" fmla="*/ 2168802 w 2534562"/>
              <a:gd name="connsiteY48" fmla="*/ 1344555 h 1548041"/>
              <a:gd name="connsiteX49" fmla="*/ 2199711 w 2534562"/>
              <a:gd name="connsiteY49" fmla="*/ 1321373 h 1548041"/>
              <a:gd name="connsiteX50" fmla="*/ 2251227 w 2534562"/>
              <a:gd name="connsiteY50" fmla="*/ 1347130 h 1548041"/>
              <a:gd name="connsiteX51" fmla="*/ 2295015 w 2534562"/>
              <a:gd name="connsiteY51" fmla="*/ 1393494 h 1548041"/>
              <a:gd name="connsiteX52" fmla="*/ 2333652 w 2534562"/>
              <a:gd name="connsiteY52" fmla="*/ 1465616 h 1548041"/>
              <a:gd name="connsiteX53" fmla="*/ 2354258 w 2534562"/>
              <a:gd name="connsiteY53" fmla="*/ 1478495 h 1548041"/>
              <a:gd name="connsiteX54" fmla="*/ 2372288 w 2534562"/>
              <a:gd name="connsiteY54" fmla="*/ 1509404 h 1548041"/>
              <a:gd name="connsiteX55" fmla="*/ 2395470 w 2534562"/>
              <a:gd name="connsiteY55" fmla="*/ 1548041 h 1548041"/>
              <a:gd name="connsiteX56" fmla="*/ 2423804 w 2534562"/>
              <a:gd name="connsiteY56" fmla="*/ 1548041 h 1548041"/>
              <a:gd name="connsiteX57" fmla="*/ 2446986 w 2534562"/>
              <a:gd name="connsiteY57" fmla="*/ 1519707 h 1548041"/>
              <a:gd name="connsiteX58" fmla="*/ 2483047 w 2534562"/>
              <a:gd name="connsiteY58" fmla="*/ 1483646 h 1548041"/>
              <a:gd name="connsiteX59" fmla="*/ 2480471 w 2534562"/>
              <a:gd name="connsiteY59" fmla="*/ 1442434 h 1548041"/>
              <a:gd name="connsiteX60" fmla="*/ 2495925 w 2534562"/>
              <a:gd name="connsiteY60" fmla="*/ 1419252 h 1548041"/>
              <a:gd name="connsiteX61" fmla="*/ 2493350 w 2534562"/>
              <a:gd name="connsiteY61" fmla="*/ 1347130 h 1548041"/>
              <a:gd name="connsiteX62" fmla="*/ 2519107 w 2534562"/>
              <a:gd name="connsiteY62" fmla="*/ 1305918 h 1548041"/>
              <a:gd name="connsiteX63" fmla="*/ 2498501 w 2534562"/>
              <a:gd name="connsiteY63" fmla="*/ 1272433 h 1548041"/>
              <a:gd name="connsiteX64" fmla="*/ 2526835 w 2534562"/>
              <a:gd name="connsiteY64" fmla="*/ 1233796 h 1548041"/>
              <a:gd name="connsiteX65" fmla="*/ 2534562 w 2534562"/>
              <a:gd name="connsiteY65" fmla="*/ 1200311 h 1548041"/>
              <a:gd name="connsiteX66" fmla="*/ 2498501 w 2534562"/>
              <a:gd name="connsiteY66" fmla="*/ 1148796 h 1548041"/>
              <a:gd name="connsiteX67" fmla="*/ 2436683 w 2534562"/>
              <a:gd name="connsiteY67" fmla="*/ 1099856 h 1548041"/>
              <a:gd name="connsiteX68" fmla="*/ 2423804 w 2534562"/>
              <a:gd name="connsiteY68" fmla="*/ 1050916 h 1548041"/>
              <a:gd name="connsiteX69" fmla="*/ 2413501 w 2534562"/>
              <a:gd name="connsiteY69" fmla="*/ 994249 h 1548041"/>
              <a:gd name="connsiteX70" fmla="*/ 2392894 w 2534562"/>
              <a:gd name="connsiteY70" fmla="*/ 958188 h 1548041"/>
              <a:gd name="connsiteX71" fmla="*/ 2405773 w 2534562"/>
              <a:gd name="connsiteY71" fmla="*/ 919552 h 1548041"/>
              <a:gd name="connsiteX72" fmla="*/ 2356834 w 2534562"/>
              <a:gd name="connsiteY72" fmla="*/ 798490 h 1548041"/>
              <a:gd name="connsiteX73" fmla="*/ 2356834 w 2534562"/>
              <a:gd name="connsiteY73" fmla="*/ 754702 h 1548041"/>
              <a:gd name="connsiteX74" fmla="*/ 2331076 w 2534562"/>
              <a:gd name="connsiteY74" fmla="*/ 690308 h 1548041"/>
              <a:gd name="connsiteX75" fmla="*/ 2328500 w 2534562"/>
              <a:gd name="connsiteY75" fmla="*/ 654247 h 1548041"/>
              <a:gd name="connsiteX76" fmla="*/ 2307894 w 2534562"/>
              <a:gd name="connsiteY76" fmla="*/ 615610 h 1548041"/>
              <a:gd name="connsiteX77" fmla="*/ 2228045 w 2534562"/>
              <a:gd name="connsiteY77" fmla="*/ 569246 h 1548041"/>
              <a:gd name="connsiteX78" fmla="*/ 2225469 w 2534562"/>
              <a:gd name="connsiteY78" fmla="*/ 533186 h 1548041"/>
              <a:gd name="connsiteX79" fmla="*/ 2194560 w 2534562"/>
              <a:gd name="connsiteY79" fmla="*/ 510004 h 1548041"/>
              <a:gd name="connsiteX80" fmla="*/ 2171378 w 2534562"/>
              <a:gd name="connsiteY80" fmla="*/ 510004 h 1548041"/>
              <a:gd name="connsiteX81" fmla="*/ 2127590 w 2534562"/>
              <a:gd name="connsiteY81" fmla="*/ 512579 h 1548041"/>
              <a:gd name="connsiteX82" fmla="*/ 2058044 w 2534562"/>
              <a:gd name="connsiteY82" fmla="*/ 473943 h 1548041"/>
              <a:gd name="connsiteX83" fmla="*/ 2006528 w 2534562"/>
              <a:gd name="connsiteY83" fmla="*/ 409548 h 1548041"/>
              <a:gd name="connsiteX84" fmla="*/ 1962740 w 2534562"/>
              <a:gd name="connsiteY84" fmla="*/ 386366 h 1548041"/>
              <a:gd name="connsiteX85" fmla="*/ 1957589 w 2534562"/>
              <a:gd name="connsiteY85" fmla="*/ 350306 h 1548041"/>
              <a:gd name="connsiteX86" fmla="*/ 1934407 w 2534562"/>
              <a:gd name="connsiteY86" fmla="*/ 301366 h 1548041"/>
              <a:gd name="connsiteX87" fmla="*/ 1893194 w 2534562"/>
              <a:gd name="connsiteY87" fmla="*/ 270457 h 1548041"/>
              <a:gd name="connsiteX88" fmla="*/ 1898346 w 2534562"/>
              <a:gd name="connsiteY88" fmla="*/ 226668 h 1548041"/>
              <a:gd name="connsiteX89" fmla="*/ 1934407 w 2534562"/>
              <a:gd name="connsiteY89" fmla="*/ 170001 h 1548041"/>
              <a:gd name="connsiteX90" fmla="*/ 1939558 w 2534562"/>
              <a:gd name="connsiteY90" fmla="*/ 105607 h 1548041"/>
              <a:gd name="connsiteX91" fmla="*/ 1967892 w 2534562"/>
              <a:gd name="connsiteY91" fmla="*/ 69546 h 1548041"/>
              <a:gd name="connsiteX92" fmla="*/ 2014256 w 2534562"/>
              <a:gd name="connsiteY92" fmla="*/ 46364 h 1548041"/>
              <a:gd name="connsiteX93" fmla="*/ 2086377 w 2534562"/>
              <a:gd name="connsiteY93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164250 w 2534562"/>
              <a:gd name="connsiteY28" fmla="*/ 718641 h 1548041"/>
              <a:gd name="connsiteX29" fmla="*/ 1200442 w 2534562"/>
              <a:gd name="connsiteY29" fmla="*/ 711537 h 1548041"/>
              <a:gd name="connsiteX30" fmla="*/ 1236372 w 2534562"/>
              <a:gd name="connsiteY30" fmla="*/ 710914 h 1548041"/>
              <a:gd name="connsiteX31" fmla="*/ 1264705 w 2534562"/>
              <a:gd name="connsiteY31" fmla="*/ 692884 h 1548041"/>
              <a:gd name="connsiteX32" fmla="*/ 1287887 w 2534562"/>
              <a:gd name="connsiteY32" fmla="*/ 746975 h 1548041"/>
              <a:gd name="connsiteX33" fmla="*/ 1336827 w 2534562"/>
              <a:gd name="connsiteY33" fmla="*/ 759854 h 1548041"/>
              <a:gd name="connsiteX34" fmla="*/ 1357433 w 2534562"/>
              <a:gd name="connsiteY34" fmla="*/ 788187 h 1548041"/>
              <a:gd name="connsiteX35" fmla="*/ 1388342 w 2534562"/>
              <a:gd name="connsiteY35" fmla="*/ 834551 h 1548041"/>
              <a:gd name="connsiteX36" fmla="*/ 1630465 w 2534562"/>
              <a:gd name="connsiteY36" fmla="*/ 911824 h 1548041"/>
              <a:gd name="connsiteX37" fmla="*/ 1759254 w 2534562"/>
              <a:gd name="connsiteY37" fmla="*/ 989098 h 1548041"/>
              <a:gd name="connsiteX38" fmla="*/ 1759254 w 2534562"/>
              <a:gd name="connsiteY38" fmla="*/ 989098 h 1548041"/>
              <a:gd name="connsiteX39" fmla="*/ 1779860 w 2534562"/>
              <a:gd name="connsiteY39" fmla="*/ 968491 h 1548041"/>
              <a:gd name="connsiteX40" fmla="*/ 1870012 w 2534562"/>
              <a:gd name="connsiteY40" fmla="*/ 1050916 h 1548041"/>
              <a:gd name="connsiteX41" fmla="*/ 1918952 w 2534562"/>
              <a:gd name="connsiteY41" fmla="*/ 1128189 h 1548041"/>
              <a:gd name="connsiteX42" fmla="*/ 1947285 w 2534562"/>
              <a:gd name="connsiteY42" fmla="*/ 1153947 h 1548041"/>
              <a:gd name="connsiteX43" fmla="*/ 1947285 w 2534562"/>
              <a:gd name="connsiteY43" fmla="*/ 1177129 h 1548041"/>
              <a:gd name="connsiteX44" fmla="*/ 1991074 w 2534562"/>
              <a:gd name="connsiteY44" fmla="*/ 1205463 h 1548041"/>
              <a:gd name="connsiteX45" fmla="*/ 1985922 w 2534562"/>
              <a:gd name="connsiteY45" fmla="*/ 1254402 h 1548041"/>
              <a:gd name="connsiteX46" fmla="*/ 2024559 w 2534562"/>
              <a:gd name="connsiteY46" fmla="*/ 1290463 h 1548041"/>
              <a:gd name="connsiteX47" fmla="*/ 2070923 w 2534562"/>
              <a:gd name="connsiteY47" fmla="*/ 1326524 h 1548041"/>
              <a:gd name="connsiteX48" fmla="*/ 2114711 w 2534562"/>
              <a:gd name="connsiteY48" fmla="*/ 1313645 h 1548041"/>
              <a:gd name="connsiteX49" fmla="*/ 2168802 w 2534562"/>
              <a:gd name="connsiteY49" fmla="*/ 1344555 h 1548041"/>
              <a:gd name="connsiteX50" fmla="*/ 2199711 w 2534562"/>
              <a:gd name="connsiteY50" fmla="*/ 1321373 h 1548041"/>
              <a:gd name="connsiteX51" fmla="*/ 2251227 w 2534562"/>
              <a:gd name="connsiteY51" fmla="*/ 1347130 h 1548041"/>
              <a:gd name="connsiteX52" fmla="*/ 2295015 w 2534562"/>
              <a:gd name="connsiteY52" fmla="*/ 1393494 h 1548041"/>
              <a:gd name="connsiteX53" fmla="*/ 2333652 w 2534562"/>
              <a:gd name="connsiteY53" fmla="*/ 1465616 h 1548041"/>
              <a:gd name="connsiteX54" fmla="*/ 2354258 w 2534562"/>
              <a:gd name="connsiteY54" fmla="*/ 1478495 h 1548041"/>
              <a:gd name="connsiteX55" fmla="*/ 2372288 w 2534562"/>
              <a:gd name="connsiteY55" fmla="*/ 1509404 h 1548041"/>
              <a:gd name="connsiteX56" fmla="*/ 2395470 w 2534562"/>
              <a:gd name="connsiteY56" fmla="*/ 1548041 h 1548041"/>
              <a:gd name="connsiteX57" fmla="*/ 2423804 w 2534562"/>
              <a:gd name="connsiteY57" fmla="*/ 1548041 h 1548041"/>
              <a:gd name="connsiteX58" fmla="*/ 2446986 w 2534562"/>
              <a:gd name="connsiteY58" fmla="*/ 1519707 h 1548041"/>
              <a:gd name="connsiteX59" fmla="*/ 2483047 w 2534562"/>
              <a:gd name="connsiteY59" fmla="*/ 1483646 h 1548041"/>
              <a:gd name="connsiteX60" fmla="*/ 2480471 w 2534562"/>
              <a:gd name="connsiteY60" fmla="*/ 1442434 h 1548041"/>
              <a:gd name="connsiteX61" fmla="*/ 2495925 w 2534562"/>
              <a:gd name="connsiteY61" fmla="*/ 1419252 h 1548041"/>
              <a:gd name="connsiteX62" fmla="*/ 2493350 w 2534562"/>
              <a:gd name="connsiteY62" fmla="*/ 1347130 h 1548041"/>
              <a:gd name="connsiteX63" fmla="*/ 2519107 w 2534562"/>
              <a:gd name="connsiteY63" fmla="*/ 1305918 h 1548041"/>
              <a:gd name="connsiteX64" fmla="*/ 2498501 w 2534562"/>
              <a:gd name="connsiteY64" fmla="*/ 1272433 h 1548041"/>
              <a:gd name="connsiteX65" fmla="*/ 2526835 w 2534562"/>
              <a:gd name="connsiteY65" fmla="*/ 1233796 h 1548041"/>
              <a:gd name="connsiteX66" fmla="*/ 2534562 w 2534562"/>
              <a:gd name="connsiteY66" fmla="*/ 1200311 h 1548041"/>
              <a:gd name="connsiteX67" fmla="*/ 2498501 w 2534562"/>
              <a:gd name="connsiteY67" fmla="*/ 1148796 h 1548041"/>
              <a:gd name="connsiteX68" fmla="*/ 2436683 w 2534562"/>
              <a:gd name="connsiteY68" fmla="*/ 1099856 h 1548041"/>
              <a:gd name="connsiteX69" fmla="*/ 2423804 w 2534562"/>
              <a:gd name="connsiteY69" fmla="*/ 1050916 h 1548041"/>
              <a:gd name="connsiteX70" fmla="*/ 2413501 w 2534562"/>
              <a:gd name="connsiteY70" fmla="*/ 994249 h 1548041"/>
              <a:gd name="connsiteX71" fmla="*/ 2392894 w 2534562"/>
              <a:gd name="connsiteY71" fmla="*/ 958188 h 1548041"/>
              <a:gd name="connsiteX72" fmla="*/ 2405773 w 2534562"/>
              <a:gd name="connsiteY72" fmla="*/ 919552 h 1548041"/>
              <a:gd name="connsiteX73" fmla="*/ 2356834 w 2534562"/>
              <a:gd name="connsiteY73" fmla="*/ 798490 h 1548041"/>
              <a:gd name="connsiteX74" fmla="*/ 2356834 w 2534562"/>
              <a:gd name="connsiteY74" fmla="*/ 754702 h 1548041"/>
              <a:gd name="connsiteX75" fmla="*/ 2331076 w 2534562"/>
              <a:gd name="connsiteY75" fmla="*/ 690308 h 1548041"/>
              <a:gd name="connsiteX76" fmla="*/ 2328500 w 2534562"/>
              <a:gd name="connsiteY76" fmla="*/ 654247 h 1548041"/>
              <a:gd name="connsiteX77" fmla="*/ 2307894 w 2534562"/>
              <a:gd name="connsiteY77" fmla="*/ 615610 h 1548041"/>
              <a:gd name="connsiteX78" fmla="*/ 2228045 w 2534562"/>
              <a:gd name="connsiteY78" fmla="*/ 569246 h 1548041"/>
              <a:gd name="connsiteX79" fmla="*/ 2225469 w 2534562"/>
              <a:gd name="connsiteY79" fmla="*/ 533186 h 1548041"/>
              <a:gd name="connsiteX80" fmla="*/ 2194560 w 2534562"/>
              <a:gd name="connsiteY80" fmla="*/ 510004 h 1548041"/>
              <a:gd name="connsiteX81" fmla="*/ 2171378 w 2534562"/>
              <a:gd name="connsiteY81" fmla="*/ 510004 h 1548041"/>
              <a:gd name="connsiteX82" fmla="*/ 2127590 w 2534562"/>
              <a:gd name="connsiteY82" fmla="*/ 512579 h 1548041"/>
              <a:gd name="connsiteX83" fmla="*/ 2058044 w 2534562"/>
              <a:gd name="connsiteY83" fmla="*/ 473943 h 1548041"/>
              <a:gd name="connsiteX84" fmla="*/ 2006528 w 2534562"/>
              <a:gd name="connsiteY84" fmla="*/ 409548 h 1548041"/>
              <a:gd name="connsiteX85" fmla="*/ 1962740 w 2534562"/>
              <a:gd name="connsiteY85" fmla="*/ 386366 h 1548041"/>
              <a:gd name="connsiteX86" fmla="*/ 1957589 w 2534562"/>
              <a:gd name="connsiteY86" fmla="*/ 350306 h 1548041"/>
              <a:gd name="connsiteX87" fmla="*/ 1934407 w 2534562"/>
              <a:gd name="connsiteY87" fmla="*/ 301366 h 1548041"/>
              <a:gd name="connsiteX88" fmla="*/ 1893194 w 2534562"/>
              <a:gd name="connsiteY88" fmla="*/ 270457 h 1548041"/>
              <a:gd name="connsiteX89" fmla="*/ 1898346 w 2534562"/>
              <a:gd name="connsiteY89" fmla="*/ 226668 h 1548041"/>
              <a:gd name="connsiteX90" fmla="*/ 1934407 w 2534562"/>
              <a:gd name="connsiteY90" fmla="*/ 170001 h 1548041"/>
              <a:gd name="connsiteX91" fmla="*/ 1939558 w 2534562"/>
              <a:gd name="connsiteY91" fmla="*/ 105607 h 1548041"/>
              <a:gd name="connsiteX92" fmla="*/ 1967892 w 2534562"/>
              <a:gd name="connsiteY92" fmla="*/ 69546 h 1548041"/>
              <a:gd name="connsiteX93" fmla="*/ 2014256 w 2534562"/>
              <a:gd name="connsiteY93" fmla="*/ 46364 h 1548041"/>
              <a:gd name="connsiteX94" fmla="*/ 2086377 w 2534562"/>
              <a:gd name="connsiteY94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164250 w 2534562"/>
              <a:gd name="connsiteY28" fmla="*/ 718641 h 1548041"/>
              <a:gd name="connsiteX29" fmla="*/ 1200442 w 2534562"/>
              <a:gd name="connsiteY29" fmla="*/ 711537 h 1548041"/>
              <a:gd name="connsiteX30" fmla="*/ 1236372 w 2534562"/>
              <a:gd name="connsiteY30" fmla="*/ 710914 h 1548041"/>
              <a:gd name="connsiteX31" fmla="*/ 1287887 w 2534562"/>
              <a:gd name="connsiteY31" fmla="*/ 746975 h 1548041"/>
              <a:gd name="connsiteX32" fmla="*/ 1336827 w 2534562"/>
              <a:gd name="connsiteY32" fmla="*/ 759854 h 1548041"/>
              <a:gd name="connsiteX33" fmla="*/ 1357433 w 2534562"/>
              <a:gd name="connsiteY33" fmla="*/ 788187 h 1548041"/>
              <a:gd name="connsiteX34" fmla="*/ 1388342 w 2534562"/>
              <a:gd name="connsiteY34" fmla="*/ 834551 h 1548041"/>
              <a:gd name="connsiteX35" fmla="*/ 1630465 w 2534562"/>
              <a:gd name="connsiteY35" fmla="*/ 911824 h 1548041"/>
              <a:gd name="connsiteX36" fmla="*/ 1759254 w 2534562"/>
              <a:gd name="connsiteY36" fmla="*/ 989098 h 1548041"/>
              <a:gd name="connsiteX37" fmla="*/ 1759254 w 2534562"/>
              <a:gd name="connsiteY37" fmla="*/ 989098 h 1548041"/>
              <a:gd name="connsiteX38" fmla="*/ 1779860 w 2534562"/>
              <a:gd name="connsiteY38" fmla="*/ 968491 h 1548041"/>
              <a:gd name="connsiteX39" fmla="*/ 1870012 w 2534562"/>
              <a:gd name="connsiteY39" fmla="*/ 1050916 h 1548041"/>
              <a:gd name="connsiteX40" fmla="*/ 1918952 w 2534562"/>
              <a:gd name="connsiteY40" fmla="*/ 1128189 h 1548041"/>
              <a:gd name="connsiteX41" fmla="*/ 1947285 w 2534562"/>
              <a:gd name="connsiteY41" fmla="*/ 1153947 h 1548041"/>
              <a:gd name="connsiteX42" fmla="*/ 1947285 w 2534562"/>
              <a:gd name="connsiteY42" fmla="*/ 1177129 h 1548041"/>
              <a:gd name="connsiteX43" fmla="*/ 1991074 w 2534562"/>
              <a:gd name="connsiteY43" fmla="*/ 1205463 h 1548041"/>
              <a:gd name="connsiteX44" fmla="*/ 1985922 w 2534562"/>
              <a:gd name="connsiteY44" fmla="*/ 1254402 h 1548041"/>
              <a:gd name="connsiteX45" fmla="*/ 2024559 w 2534562"/>
              <a:gd name="connsiteY45" fmla="*/ 1290463 h 1548041"/>
              <a:gd name="connsiteX46" fmla="*/ 2070923 w 2534562"/>
              <a:gd name="connsiteY46" fmla="*/ 1326524 h 1548041"/>
              <a:gd name="connsiteX47" fmla="*/ 2114711 w 2534562"/>
              <a:gd name="connsiteY47" fmla="*/ 1313645 h 1548041"/>
              <a:gd name="connsiteX48" fmla="*/ 2168802 w 2534562"/>
              <a:gd name="connsiteY48" fmla="*/ 1344555 h 1548041"/>
              <a:gd name="connsiteX49" fmla="*/ 2199711 w 2534562"/>
              <a:gd name="connsiteY49" fmla="*/ 1321373 h 1548041"/>
              <a:gd name="connsiteX50" fmla="*/ 2251227 w 2534562"/>
              <a:gd name="connsiteY50" fmla="*/ 1347130 h 1548041"/>
              <a:gd name="connsiteX51" fmla="*/ 2295015 w 2534562"/>
              <a:gd name="connsiteY51" fmla="*/ 1393494 h 1548041"/>
              <a:gd name="connsiteX52" fmla="*/ 2333652 w 2534562"/>
              <a:gd name="connsiteY52" fmla="*/ 1465616 h 1548041"/>
              <a:gd name="connsiteX53" fmla="*/ 2354258 w 2534562"/>
              <a:gd name="connsiteY53" fmla="*/ 1478495 h 1548041"/>
              <a:gd name="connsiteX54" fmla="*/ 2372288 w 2534562"/>
              <a:gd name="connsiteY54" fmla="*/ 1509404 h 1548041"/>
              <a:gd name="connsiteX55" fmla="*/ 2395470 w 2534562"/>
              <a:gd name="connsiteY55" fmla="*/ 1548041 h 1548041"/>
              <a:gd name="connsiteX56" fmla="*/ 2423804 w 2534562"/>
              <a:gd name="connsiteY56" fmla="*/ 1548041 h 1548041"/>
              <a:gd name="connsiteX57" fmla="*/ 2446986 w 2534562"/>
              <a:gd name="connsiteY57" fmla="*/ 1519707 h 1548041"/>
              <a:gd name="connsiteX58" fmla="*/ 2483047 w 2534562"/>
              <a:gd name="connsiteY58" fmla="*/ 1483646 h 1548041"/>
              <a:gd name="connsiteX59" fmla="*/ 2480471 w 2534562"/>
              <a:gd name="connsiteY59" fmla="*/ 1442434 h 1548041"/>
              <a:gd name="connsiteX60" fmla="*/ 2495925 w 2534562"/>
              <a:gd name="connsiteY60" fmla="*/ 1419252 h 1548041"/>
              <a:gd name="connsiteX61" fmla="*/ 2493350 w 2534562"/>
              <a:gd name="connsiteY61" fmla="*/ 1347130 h 1548041"/>
              <a:gd name="connsiteX62" fmla="*/ 2519107 w 2534562"/>
              <a:gd name="connsiteY62" fmla="*/ 1305918 h 1548041"/>
              <a:gd name="connsiteX63" fmla="*/ 2498501 w 2534562"/>
              <a:gd name="connsiteY63" fmla="*/ 1272433 h 1548041"/>
              <a:gd name="connsiteX64" fmla="*/ 2526835 w 2534562"/>
              <a:gd name="connsiteY64" fmla="*/ 1233796 h 1548041"/>
              <a:gd name="connsiteX65" fmla="*/ 2534562 w 2534562"/>
              <a:gd name="connsiteY65" fmla="*/ 1200311 h 1548041"/>
              <a:gd name="connsiteX66" fmla="*/ 2498501 w 2534562"/>
              <a:gd name="connsiteY66" fmla="*/ 1148796 h 1548041"/>
              <a:gd name="connsiteX67" fmla="*/ 2436683 w 2534562"/>
              <a:gd name="connsiteY67" fmla="*/ 1099856 h 1548041"/>
              <a:gd name="connsiteX68" fmla="*/ 2423804 w 2534562"/>
              <a:gd name="connsiteY68" fmla="*/ 1050916 h 1548041"/>
              <a:gd name="connsiteX69" fmla="*/ 2413501 w 2534562"/>
              <a:gd name="connsiteY69" fmla="*/ 994249 h 1548041"/>
              <a:gd name="connsiteX70" fmla="*/ 2392894 w 2534562"/>
              <a:gd name="connsiteY70" fmla="*/ 958188 h 1548041"/>
              <a:gd name="connsiteX71" fmla="*/ 2405773 w 2534562"/>
              <a:gd name="connsiteY71" fmla="*/ 919552 h 1548041"/>
              <a:gd name="connsiteX72" fmla="*/ 2356834 w 2534562"/>
              <a:gd name="connsiteY72" fmla="*/ 798490 h 1548041"/>
              <a:gd name="connsiteX73" fmla="*/ 2356834 w 2534562"/>
              <a:gd name="connsiteY73" fmla="*/ 754702 h 1548041"/>
              <a:gd name="connsiteX74" fmla="*/ 2331076 w 2534562"/>
              <a:gd name="connsiteY74" fmla="*/ 690308 h 1548041"/>
              <a:gd name="connsiteX75" fmla="*/ 2328500 w 2534562"/>
              <a:gd name="connsiteY75" fmla="*/ 654247 h 1548041"/>
              <a:gd name="connsiteX76" fmla="*/ 2307894 w 2534562"/>
              <a:gd name="connsiteY76" fmla="*/ 615610 h 1548041"/>
              <a:gd name="connsiteX77" fmla="*/ 2228045 w 2534562"/>
              <a:gd name="connsiteY77" fmla="*/ 569246 h 1548041"/>
              <a:gd name="connsiteX78" fmla="*/ 2225469 w 2534562"/>
              <a:gd name="connsiteY78" fmla="*/ 533186 h 1548041"/>
              <a:gd name="connsiteX79" fmla="*/ 2194560 w 2534562"/>
              <a:gd name="connsiteY79" fmla="*/ 510004 h 1548041"/>
              <a:gd name="connsiteX80" fmla="*/ 2171378 w 2534562"/>
              <a:gd name="connsiteY80" fmla="*/ 510004 h 1548041"/>
              <a:gd name="connsiteX81" fmla="*/ 2127590 w 2534562"/>
              <a:gd name="connsiteY81" fmla="*/ 512579 h 1548041"/>
              <a:gd name="connsiteX82" fmla="*/ 2058044 w 2534562"/>
              <a:gd name="connsiteY82" fmla="*/ 473943 h 1548041"/>
              <a:gd name="connsiteX83" fmla="*/ 2006528 w 2534562"/>
              <a:gd name="connsiteY83" fmla="*/ 409548 h 1548041"/>
              <a:gd name="connsiteX84" fmla="*/ 1962740 w 2534562"/>
              <a:gd name="connsiteY84" fmla="*/ 386366 h 1548041"/>
              <a:gd name="connsiteX85" fmla="*/ 1957589 w 2534562"/>
              <a:gd name="connsiteY85" fmla="*/ 350306 h 1548041"/>
              <a:gd name="connsiteX86" fmla="*/ 1934407 w 2534562"/>
              <a:gd name="connsiteY86" fmla="*/ 301366 h 1548041"/>
              <a:gd name="connsiteX87" fmla="*/ 1893194 w 2534562"/>
              <a:gd name="connsiteY87" fmla="*/ 270457 h 1548041"/>
              <a:gd name="connsiteX88" fmla="*/ 1898346 w 2534562"/>
              <a:gd name="connsiteY88" fmla="*/ 226668 h 1548041"/>
              <a:gd name="connsiteX89" fmla="*/ 1934407 w 2534562"/>
              <a:gd name="connsiteY89" fmla="*/ 170001 h 1548041"/>
              <a:gd name="connsiteX90" fmla="*/ 1939558 w 2534562"/>
              <a:gd name="connsiteY90" fmla="*/ 105607 h 1548041"/>
              <a:gd name="connsiteX91" fmla="*/ 1967892 w 2534562"/>
              <a:gd name="connsiteY91" fmla="*/ 69546 h 1548041"/>
              <a:gd name="connsiteX92" fmla="*/ 2014256 w 2534562"/>
              <a:gd name="connsiteY92" fmla="*/ 46364 h 1548041"/>
              <a:gd name="connsiteX93" fmla="*/ 2086377 w 2534562"/>
              <a:gd name="connsiteY93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164250 w 2534562"/>
              <a:gd name="connsiteY28" fmla="*/ 718641 h 1548041"/>
              <a:gd name="connsiteX29" fmla="*/ 1236372 w 2534562"/>
              <a:gd name="connsiteY29" fmla="*/ 710914 h 1548041"/>
              <a:gd name="connsiteX30" fmla="*/ 1287887 w 2534562"/>
              <a:gd name="connsiteY30" fmla="*/ 746975 h 1548041"/>
              <a:gd name="connsiteX31" fmla="*/ 1336827 w 2534562"/>
              <a:gd name="connsiteY31" fmla="*/ 759854 h 1548041"/>
              <a:gd name="connsiteX32" fmla="*/ 1357433 w 2534562"/>
              <a:gd name="connsiteY32" fmla="*/ 788187 h 1548041"/>
              <a:gd name="connsiteX33" fmla="*/ 1388342 w 2534562"/>
              <a:gd name="connsiteY33" fmla="*/ 834551 h 1548041"/>
              <a:gd name="connsiteX34" fmla="*/ 1630465 w 2534562"/>
              <a:gd name="connsiteY34" fmla="*/ 911824 h 1548041"/>
              <a:gd name="connsiteX35" fmla="*/ 1759254 w 2534562"/>
              <a:gd name="connsiteY35" fmla="*/ 989098 h 1548041"/>
              <a:gd name="connsiteX36" fmla="*/ 1759254 w 2534562"/>
              <a:gd name="connsiteY36" fmla="*/ 989098 h 1548041"/>
              <a:gd name="connsiteX37" fmla="*/ 1779860 w 2534562"/>
              <a:gd name="connsiteY37" fmla="*/ 968491 h 1548041"/>
              <a:gd name="connsiteX38" fmla="*/ 1870012 w 2534562"/>
              <a:gd name="connsiteY38" fmla="*/ 1050916 h 1548041"/>
              <a:gd name="connsiteX39" fmla="*/ 1918952 w 2534562"/>
              <a:gd name="connsiteY39" fmla="*/ 1128189 h 1548041"/>
              <a:gd name="connsiteX40" fmla="*/ 1947285 w 2534562"/>
              <a:gd name="connsiteY40" fmla="*/ 1153947 h 1548041"/>
              <a:gd name="connsiteX41" fmla="*/ 1947285 w 2534562"/>
              <a:gd name="connsiteY41" fmla="*/ 1177129 h 1548041"/>
              <a:gd name="connsiteX42" fmla="*/ 1991074 w 2534562"/>
              <a:gd name="connsiteY42" fmla="*/ 1205463 h 1548041"/>
              <a:gd name="connsiteX43" fmla="*/ 1985922 w 2534562"/>
              <a:gd name="connsiteY43" fmla="*/ 1254402 h 1548041"/>
              <a:gd name="connsiteX44" fmla="*/ 2024559 w 2534562"/>
              <a:gd name="connsiteY44" fmla="*/ 1290463 h 1548041"/>
              <a:gd name="connsiteX45" fmla="*/ 2070923 w 2534562"/>
              <a:gd name="connsiteY45" fmla="*/ 1326524 h 1548041"/>
              <a:gd name="connsiteX46" fmla="*/ 2114711 w 2534562"/>
              <a:gd name="connsiteY46" fmla="*/ 1313645 h 1548041"/>
              <a:gd name="connsiteX47" fmla="*/ 2168802 w 2534562"/>
              <a:gd name="connsiteY47" fmla="*/ 1344555 h 1548041"/>
              <a:gd name="connsiteX48" fmla="*/ 2199711 w 2534562"/>
              <a:gd name="connsiteY48" fmla="*/ 1321373 h 1548041"/>
              <a:gd name="connsiteX49" fmla="*/ 2251227 w 2534562"/>
              <a:gd name="connsiteY49" fmla="*/ 1347130 h 1548041"/>
              <a:gd name="connsiteX50" fmla="*/ 2295015 w 2534562"/>
              <a:gd name="connsiteY50" fmla="*/ 1393494 h 1548041"/>
              <a:gd name="connsiteX51" fmla="*/ 2333652 w 2534562"/>
              <a:gd name="connsiteY51" fmla="*/ 1465616 h 1548041"/>
              <a:gd name="connsiteX52" fmla="*/ 2354258 w 2534562"/>
              <a:gd name="connsiteY52" fmla="*/ 1478495 h 1548041"/>
              <a:gd name="connsiteX53" fmla="*/ 2372288 w 2534562"/>
              <a:gd name="connsiteY53" fmla="*/ 1509404 h 1548041"/>
              <a:gd name="connsiteX54" fmla="*/ 2395470 w 2534562"/>
              <a:gd name="connsiteY54" fmla="*/ 1548041 h 1548041"/>
              <a:gd name="connsiteX55" fmla="*/ 2423804 w 2534562"/>
              <a:gd name="connsiteY55" fmla="*/ 1548041 h 1548041"/>
              <a:gd name="connsiteX56" fmla="*/ 2446986 w 2534562"/>
              <a:gd name="connsiteY56" fmla="*/ 1519707 h 1548041"/>
              <a:gd name="connsiteX57" fmla="*/ 2483047 w 2534562"/>
              <a:gd name="connsiteY57" fmla="*/ 1483646 h 1548041"/>
              <a:gd name="connsiteX58" fmla="*/ 2480471 w 2534562"/>
              <a:gd name="connsiteY58" fmla="*/ 1442434 h 1548041"/>
              <a:gd name="connsiteX59" fmla="*/ 2495925 w 2534562"/>
              <a:gd name="connsiteY59" fmla="*/ 1419252 h 1548041"/>
              <a:gd name="connsiteX60" fmla="*/ 2493350 w 2534562"/>
              <a:gd name="connsiteY60" fmla="*/ 1347130 h 1548041"/>
              <a:gd name="connsiteX61" fmla="*/ 2519107 w 2534562"/>
              <a:gd name="connsiteY61" fmla="*/ 1305918 h 1548041"/>
              <a:gd name="connsiteX62" fmla="*/ 2498501 w 2534562"/>
              <a:gd name="connsiteY62" fmla="*/ 1272433 h 1548041"/>
              <a:gd name="connsiteX63" fmla="*/ 2526835 w 2534562"/>
              <a:gd name="connsiteY63" fmla="*/ 1233796 h 1548041"/>
              <a:gd name="connsiteX64" fmla="*/ 2534562 w 2534562"/>
              <a:gd name="connsiteY64" fmla="*/ 1200311 h 1548041"/>
              <a:gd name="connsiteX65" fmla="*/ 2498501 w 2534562"/>
              <a:gd name="connsiteY65" fmla="*/ 1148796 h 1548041"/>
              <a:gd name="connsiteX66" fmla="*/ 2436683 w 2534562"/>
              <a:gd name="connsiteY66" fmla="*/ 1099856 h 1548041"/>
              <a:gd name="connsiteX67" fmla="*/ 2423804 w 2534562"/>
              <a:gd name="connsiteY67" fmla="*/ 1050916 h 1548041"/>
              <a:gd name="connsiteX68" fmla="*/ 2413501 w 2534562"/>
              <a:gd name="connsiteY68" fmla="*/ 994249 h 1548041"/>
              <a:gd name="connsiteX69" fmla="*/ 2392894 w 2534562"/>
              <a:gd name="connsiteY69" fmla="*/ 958188 h 1548041"/>
              <a:gd name="connsiteX70" fmla="*/ 2405773 w 2534562"/>
              <a:gd name="connsiteY70" fmla="*/ 919552 h 1548041"/>
              <a:gd name="connsiteX71" fmla="*/ 2356834 w 2534562"/>
              <a:gd name="connsiteY71" fmla="*/ 798490 h 1548041"/>
              <a:gd name="connsiteX72" fmla="*/ 2356834 w 2534562"/>
              <a:gd name="connsiteY72" fmla="*/ 754702 h 1548041"/>
              <a:gd name="connsiteX73" fmla="*/ 2331076 w 2534562"/>
              <a:gd name="connsiteY73" fmla="*/ 690308 h 1548041"/>
              <a:gd name="connsiteX74" fmla="*/ 2328500 w 2534562"/>
              <a:gd name="connsiteY74" fmla="*/ 654247 h 1548041"/>
              <a:gd name="connsiteX75" fmla="*/ 2307894 w 2534562"/>
              <a:gd name="connsiteY75" fmla="*/ 615610 h 1548041"/>
              <a:gd name="connsiteX76" fmla="*/ 2228045 w 2534562"/>
              <a:gd name="connsiteY76" fmla="*/ 569246 h 1548041"/>
              <a:gd name="connsiteX77" fmla="*/ 2225469 w 2534562"/>
              <a:gd name="connsiteY77" fmla="*/ 533186 h 1548041"/>
              <a:gd name="connsiteX78" fmla="*/ 2194560 w 2534562"/>
              <a:gd name="connsiteY78" fmla="*/ 510004 h 1548041"/>
              <a:gd name="connsiteX79" fmla="*/ 2171378 w 2534562"/>
              <a:gd name="connsiteY79" fmla="*/ 510004 h 1548041"/>
              <a:gd name="connsiteX80" fmla="*/ 2127590 w 2534562"/>
              <a:gd name="connsiteY80" fmla="*/ 512579 h 1548041"/>
              <a:gd name="connsiteX81" fmla="*/ 2058044 w 2534562"/>
              <a:gd name="connsiteY81" fmla="*/ 473943 h 1548041"/>
              <a:gd name="connsiteX82" fmla="*/ 2006528 w 2534562"/>
              <a:gd name="connsiteY82" fmla="*/ 409548 h 1548041"/>
              <a:gd name="connsiteX83" fmla="*/ 1962740 w 2534562"/>
              <a:gd name="connsiteY83" fmla="*/ 386366 h 1548041"/>
              <a:gd name="connsiteX84" fmla="*/ 1957589 w 2534562"/>
              <a:gd name="connsiteY84" fmla="*/ 350306 h 1548041"/>
              <a:gd name="connsiteX85" fmla="*/ 1934407 w 2534562"/>
              <a:gd name="connsiteY85" fmla="*/ 301366 h 1548041"/>
              <a:gd name="connsiteX86" fmla="*/ 1893194 w 2534562"/>
              <a:gd name="connsiteY86" fmla="*/ 270457 h 1548041"/>
              <a:gd name="connsiteX87" fmla="*/ 1898346 w 2534562"/>
              <a:gd name="connsiteY87" fmla="*/ 226668 h 1548041"/>
              <a:gd name="connsiteX88" fmla="*/ 1934407 w 2534562"/>
              <a:gd name="connsiteY88" fmla="*/ 170001 h 1548041"/>
              <a:gd name="connsiteX89" fmla="*/ 1939558 w 2534562"/>
              <a:gd name="connsiteY89" fmla="*/ 105607 h 1548041"/>
              <a:gd name="connsiteX90" fmla="*/ 1967892 w 2534562"/>
              <a:gd name="connsiteY90" fmla="*/ 69546 h 1548041"/>
              <a:gd name="connsiteX91" fmla="*/ 2014256 w 2534562"/>
              <a:gd name="connsiteY91" fmla="*/ 46364 h 1548041"/>
              <a:gd name="connsiteX92" fmla="*/ 2086377 w 2534562"/>
              <a:gd name="connsiteY92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236372 w 2534562"/>
              <a:gd name="connsiteY28" fmla="*/ 710914 h 1548041"/>
              <a:gd name="connsiteX29" fmla="*/ 1287887 w 2534562"/>
              <a:gd name="connsiteY29" fmla="*/ 746975 h 1548041"/>
              <a:gd name="connsiteX30" fmla="*/ 1336827 w 2534562"/>
              <a:gd name="connsiteY30" fmla="*/ 759854 h 1548041"/>
              <a:gd name="connsiteX31" fmla="*/ 1357433 w 2534562"/>
              <a:gd name="connsiteY31" fmla="*/ 788187 h 1548041"/>
              <a:gd name="connsiteX32" fmla="*/ 1388342 w 2534562"/>
              <a:gd name="connsiteY32" fmla="*/ 834551 h 1548041"/>
              <a:gd name="connsiteX33" fmla="*/ 1630465 w 2534562"/>
              <a:gd name="connsiteY33" fmla="*/ 911824 h 1548041"/>
              <a:gd name="connsiteX34" fmla="*/ 1759254 w 2534562"/>
              <a:gd name="connsiteY34" fmla="*/ 989098 h 1548041"/>
              <a:gd name="connsiteX35" fmla="*/ 1759254 w 2534562"/>
              <a:gd name="connsiteY35" fmla="*/ 989098 h 1548041"/>
              <a:gd name="connsiteX36" fmla="*/ 1779860 w 2534562"/>
              <a:gd name="connsiteY36" fmla="*/ 968491 h 1548041"/>
              <a:gd name="connsiteX37" fmla="*/ 1870012 w 2534562"/>
              <a:gd name="connsiteY37" fmla="*/ 1050916 h 1548041"/>
              <a:gd name="connsiteX38" fmla="*/ 1918952 w 2534562"/>
              <a:gd name="connsiteY38" fmla="*/ 1128189 h 1548041"/>
              <a:gd name="connsiteX39" fmla="*/ 1947285 w 2534562"/>
              <a:gd name="connsiteY39" fmla="*/ 1153947 h 1548041"/>
              <a:gd name="connsiteX40" fmla="*/ 1947285 w 2534562"/>
              <a:gd name="connsiteY40" fmla="*/ 1177129 h 1548041"/>
              <a:gd name="connsiteX41" fmla="*/ 1991074 w 2534562"/>
              <a:gd name="connsiteY41" fmla="*/ 1205463 h 1548041"/>
              <a:gd name="connsiteX42" fmla="*/ 1985922 w 2534562"/>
              <a:gd name="connsiteY42" fmla="*/ 1254402 h 1548041"/>
              <a:gd name="connsiteX43" fmla="*/ 2024559 w 2534562"/>
              <a:gd name="connsiteY43" fmla="*/ 1290463 h 1548041"/>
              <a:gd name="connsiteX44" fmla="*/ 2070923 w 2534562"/>
              <a:gd name="connsiteY44" fmla="*/ 1326524 h 1548041"/>
              <a:gd name="connsiteX45" fmla="*/ 2114711 w 2534562"/>
              <a:gd name="connsiteY45" fmla="*/ 1313645 h 1548041"/>
              <a:gd name="connsiteX46" fmla="*/ 2168802 w 2534562"/>
              <a:gd name="connsiteY46" fmla="*/ 1344555 h 1548041"/>
              <a:gd name="connsiteX47" fmla="*/ 2199711 w 2534562"/>
              <a:gd name="connsiteY47" fmla="*/ 1321373 h 1548041"/>
              <a:gd name="connsiteX48" fmla="*/ 2251227 w 2534562"/>
              <a:gd name="connsiteY48" fmla="*/ 1347130 h 1548041"/>
              <a:gd name="connsiteX49" fmla="*/ 2295015 w 2534562"/>
              <a:gd name="connsiteY49" fmla="*/ 1393494 h 1548041"/>
              <a:gd name="connsiteX50" fmla="*/ 2333652 w 2534562"/>
              <a:gd name="connsiteY50" fmla="*/ 1465616 h 1548041"/>
              <a:gd name="connsiteX51" fmla="*/ 2354258 w 2534562"/>
              <a:gd name="connsiteY51" fmla="*/ 1478495 h 1548041"/>
              <a:gd name="connsiteX52" fmla="*/ 2372288 w 2534562"/>
              <a:gd name="connsiteY52" fmla="*/ 1509404 h 1548041"/>
              <a:gd name="connsiteX53" fmla="*/ 2395470 w 2534562"/>
              <a:gd name="connsiteY53" fmla="*/ 1548041 h 1548041"/>
              <a:gd name="connsiteX54" fmla="*/ 2423804 w 2534562"/>
              <a:gd name="connsiteY54" fmla="*/ 1548041 h 1548041"/>
              <a:gd name="connsiteX55" fmla="*/ 2446986 w 2534562"/>
              <a:gd name="connsiteY55" fmla="*/ 1519707 h 1548041"/>
              <a:gd name="connsiteX56" fmla="*/ 2483047 w 2534562"/>
              <a:gd name="connsiteY56" fmla="*/ 1483646 h 1548041"/>
              <a:gd name="connsiteX57" fmla="*/ 2480471 w 2534562"/>
              <a:gd name="connsiteY57" fmla="*/ 1442434 h 1548041"/>
              <a:gd name="connsiteX58" fmla="*/ 2495925 w 2534562"/>
              <a:gd name="connsiteY58" fmla="*/ 1419252 h 1548041"/>
              <a:gd name="connsiteX59" fmla="*/ 2493350 w 2534562"/>
              <a:gd name="connsiteY59" fmla="*/ 1347130 h 1548041"/>
              <a:gd name="connsiteX60" fmla="*/ 2519107 w 2534562"/>
              <a:gd name="connsiteY60" fmla="*/ 1305918 h 1548041"/>
              <a:gd name="connsiteX61" fmla="*/ 2498501 w 2534562"/>
              <a:gd name="connsiteY61" fmla="*/ 1272433 h 1548041"/>
              <a:gd name="connsiteX62" fmla="*/ 2526835 w 2534562"/>
              <a:gd name="connsiteY62" fmla="*/ 1233796 h 1548041"/>
              <a:gd name="connsiteX63" fmla="*/ 2534562 w 2534562"/>
              <a:gd name="connsiteY63" fmla="*/ 1200311 h 1548041"/>
              <a:gd name="connsiteX64" fmla="*/ 2498501 w 2534562"/>
              <a:gd name="connsiteY64" fmla="*/ 1148796 h 1548041"/>
              <a:gd name="connsiteX65" fmla="*/ 2436683 w 2534562"/>
              <a:gd name="connsiteY65" fmla="*/ 1099856 h 1548041"/>
              <a:gd name="connsiteX66" fmla="*/ 2423804 w 2534562"/>
              <a:gd name="connsiteY66" fmla="*/ 1050916 h 1548041"/>
              <a:gd name="connsiteX67" fmla="*/ 2413501 w 2534562"/>
              <a:gd name="connsiteY67" fmla="*/ 994249 h 1548041"/>
              <a:gd name="connsiteX68" fmla="*/ 2392894 w 2534562"/>
              <a:gd name="connsiteY68" fmla="*/ 958188 h 1548041"/>
              <a:gd name="connsiteX69" fmla="*/ 2405773 w 2534562"/>
              <a:gd name="connsiteY69" fmla="*/ 919552 h 1548041"/>
              <a:gd name="connsiteX70" fmla="*/ 2356834 w 2534562"/>
              <a:gd name="connsiteY70" fmla="*/ 798490 h 1548041"/>
              <a:gd name="connsiteX71" fmla="*/ 2356834 w 2534562"/>
              <a:gd name="connsiteY71" fmla="*/ 754702 h 1548041"/>
              <a:gd name="connsiteX72" fmla="*/ 2331076 w 2534562"/>
              <a:gd name="connsiteY72" fmla="*/ 690308 h 1548041"/>
              <a:gd name="connsiteX73" fmla="*/ 2328500 w 2534562"/>
              <a:gd name="connsiteY73" fmla="*/ 654247 h 1548041"/>
              <a:gd name="connsiteX74" fmla="*/ 2307894 w 2534562"/>
              <a:gd name="connsiteY74" fmla="*/ 615610 h 1548041"/>
              <a:gd name="connsiteX75" fmla="*/ 2228045 w 2534562"/>
              <a:gd name="connsiteY75" fmla="*/ 569246 h 1548041"/>
              <a:gd name="connsiteX76" fmla="*/ 2225469 w 2534562"/>
              <a:gd name="connsiteY76" fmla="*/ 533186 h 1548041"/>
              <a:gd name="connsiteX77" fmla="*/ 2194560 w 2534562"/>
              <a:gd name="connsiteY77" fmla="*/ 510004 h 1548041"/>
              <a:gd name="connsiteX78" fmla="*/ 2171378 w 2534562"/>
              <a:gd name="connsiteY78" fmla="*/ 510004 h 1548041"/>
              <a:gd name="connsiteX79" fmla="*/ 2127590 w 2534562"/>
              <a:gd name="connsiteY79" fmla="*/ 512579 h 1548041"/>
              <a:gd name="connsiteX80" fmla="*/ 2058044 w 2534562"/>
              <a:gd name="connsiteY80" fmla="*/ 473943 h 1548041"/>
              <a:gd name="connsiteX81" fmla="*/ 2006528 w 2534562"/>
              <a:gd name="connsiteY81" fmla="*/ 409548 h 1548041"/>
              <a:gd name="connsiteX82" fmla="*/ 1962740 w 2534562"/>
              <a:gd name="connsiteY82" fmla="*/ 386366 h 1548041"/>
              <a:gd name="connsiteX83" fmla="*/ 1957589 w 2534562"/>
              <a:gd name="connsiteY83" fmla="*/ 350306 h 1548041"/>
              <a:gd name="connsiteX84" fmla="*/ 1934407 w 2534562"/>
              <a:gd name="connsiteY84" fmla="*/ 301366 h 1548041"/>
              <a:gd name="connsiteX85" fmla="*/ 1893194 w 2534562"/>
              <a:gd name="connsiteY85" fmla="*/ 270457 h 1548041"/>
              <a:gd name="connsiteX86" fmla="*/ 1898346 w 2534562"/>
              <a:gd name="connsiteY86" fmla="*/ 226668 h 1548041"/>
              <a:gd name="connsiteX87" fmla="*/ 1934407 w 2534562"/>
              <a:gd name="connsiteY87" fmla="*/ 170001 h 1548041"/>
              <a:gd name="connsiteX88" fmla="*/ 1939558 w 2534562"/>
              <a:gd name="connsiteY88" fmla="*/ 105607 h 1548041"/>
              <a:gd name="connsiteX89" fmla="*/ 1967892 w 2534562"/>
              <a:gd name="connsiteY89" fmla="*/ 69546 h 1548041"/>
              <a:gd name="connsiteX90" fmla="*/ 2014256 w 2534562"/>
              <a:gd name="connsiteY90" fmla="*/ 46364 h 1548041"/>
              <a:gd name="connsiteX91" fmla="*/ 2086377 w 2534562"/>
              <a:gd name="connsiteY91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287887 w 2534562"/>
              <a:gd name="connsiteY28" fmla="*/ 746975 h 1548041"/>
              <a:gd name="connsiteX29" fmla="*/ 1336827 w 2534562"/>
              <a:gd name="connsiteY29" fmla="*/ 759854 h 1548041"/>
              <a:gd name="connsiteX30" fmla="*/ 1357433 w 2534562"/>
              <a:gd name="connsiteY30" fmla="*/ 788187 h 1548041"/>
              <a:gd name="connsiteX31" fmla="*/ 1388342 w 2534562"/>
              <a:gd name="connsiteY31" fmla="*/ 834551 h 1548041"/>
              <a:gd name="connsiteX32" fmla="*/ 1630465 w 2534562"/>
              <a:gd name="connsiteY32" fmla="*/ 911824 h 1548041"/>
              <a:gd name="connsiteX33" fmla="*/ 1759254 w 2534562"/>
              <a:gd name="connsiteY33" fmla="*/ 989098 h 1548041"/>
              <a:gd name="connsiteX34" fmla="*/ 1759254 w 2534562"/>
              <a:gd name="connsiteY34" fmla="*/ 989098 h 1548041"/>
              <a:gd name="connsiteX35" fmla="*/ 1779860 w 2534562"/>
              <a:gd name="connsiteY35" fmla="*/ 968491 h 1548041"/>
              <a:gd name="connsiteX36" fmla="*/ 1870012 w 2534562"/>
              <a:gd name="connsiteY36" fmla="*/ 1050916 h 1548041"/>
              <a:gd name="connsiteX37" fmla="*/ 1918952 w 2534562"/>
              <a:gd name="connsiteY37" fmla="*/ 1128189 h 1548041"/>
              <a:gd name="connsiteX38" fmla="*/ 1947285 w 2534562"/>
              <a:gd name="connsiteY38" fmla="*/ 1153947 h 1548041"/>
              <a:gd name="connsiteX39" fmla="*/ 1947285 w 2534562"/>
              <a:gd name="connsiteY39" fmla="*/ 1177129 h 1548041"/>
              <a:gd name="connsiteX40" fmla="*/ 1991074 w 2534562"/>
              <a:gd name="connsiteY40" fmla="*/ 1205463 h 1548041"/>
              <a:gd name="connsiteX41" fmla="*/ 1985922 w 2534562"/>
              <a:gd name="connsiteY41" fmla="*/ 1254402 h 1548041"/>
              <a:gd name="connsiteX42" fmla="*/ 2024559 w 2534562"/>
              <a:gd name="connsiteY42" fmla="*/ 1290463 h 1548041"/>
              <a:gd name="connsiteX43" fmla="*/ 2070923 w 2534562"/>
              <a:gd name="connsiteY43" fmla="*/ 1326524 h 1548041"/>
              <a:gd name="connsiteX44" fmla="*/ 2114711 w 2534562"/>
              <a:gd name="connsiteY44" fmla="*/ 1313645 h 1548041"/>
              <a:gd name="connsiteX45" fmla="*/ 2168802 w 2534562"/>
              <a:gd name="connsiteY45" fmla="*/ 1344555 h 1548041"/>
              <a:gd name="connsiteX46" fmla="*/ 2199711 w 2534562"/>
              <a:gd name="connsiteY46" fmla="*/ 1321373 h 1548041"/>
              <a:gd name="connsiteX47" fmla="*/ 2251227 w 2534562"/>
              <a:gd name="connsiteY47" fmla="*/ 1347130 h 1548041"/>
              <a:gd name="connsiteX48" fmla="*/ 2295015 w 2534562"/>
              <a:gd name="connsiteY48" fmla="*/ 1393494 h 1548041"/>
              <a:gd name="connsiteX49" fmla="*/ 2333652 w 2534562"/>
              <a:gd name="connsiteY49" fmla="*/ 1465616 h 1548041"/>
              <a:gd name="connsiteX50" fmla="*/ 2354258 w 2534562"/>
              <a:gd name="connsiteY50" fmla="*/ 1478495 h 1548041"/>
              <a:gd name="connsiteX51" fmla="*/ 2372288 w 2534562"/>
              <a:gd name="connsiteY51" fmla="*/ 1509404 h 1548041"/>
              <a:gd name="connsiteX52" fmla="*/ 2395470 w 2534562"/>
              <a:gd name="connsiteY52" fmla="*/ 1548041 h 1548041"/>
              <a:gd name="connsiteX53" fmla="*/ 2423804 w 2534562"/>
              <a:gd name="connsiteY53" fmla="*/ 1548041 h 1548041"/>
              <a:gd name="connsiteX54" fmla="*/ 2446986 w 2534562"/>
              <a:gd name="connsiteY54" fmla="*/ 1519707 h 1548041"/>
              <a:gd name="connsiteX55" fmla="*/ 2483047 w 2534562"/>
              <a:gd name="connsiteY55" fmla="*/ 1483646 h 1548041"/>
              <a:gd name="connsiteX56" fmla="*/ 2480471 w 2534562"/>
              <a:gd name="connsiteY56" fmla="*/ 1442434 h 1548041"/>
              <a:gd name="connsiteX57" fmla="*/ 2495925 w 2534562"/>
              <a:gd name="connsiteY57" fmla="*/ 1419252 h 1548041"/>
              <a:gd name="connsiteX58" fmla="*/ 2493350 w 2534562"/>
              <a:gd name="connsiteY58" fmla="*/ 1347130 h 1548041"/>
              <a:gd name="connsiteX59" fmla="*/ 2519107 w 2534562"/>
              <a:gd name="connsiteY59" fmla="*/ 1305918 h 1548041"/>
              <a:gd name="connsiteX60" fmla="*/ 2498501 w 2534562"/>
              <a:gd name="connsiteY60" fmla="*/ 1272433 h 1548041"/>
              <a:gd name="connsiteX61" fmla="*/ 2526835 w 2534562"/>
              <a:gd name="connsiteY61" fmla="*/ 1233796 h 1548041"/>
              <a:gd name="connsiteX62" fmla="*/ 2534562 w 2534562"/>
              <a:gd name="connsiteY62" fmla="*/ 1200311 h 1548041"/>
              <a:gd name="connsiteX63" fmla="*/ 2498501 w 2534562"/>
              <a:gd name="connsiteY63" fmla="*/ 1148796 h 1548041"/>
              <a:gd name="connsiteX64" fmla="*/ 2436683 w 2534562"/>
              <a:gd name="connsiteY64" fmla="*/ 1099856 h 1548041"/>
              <a:gd name="connsiteX65" fmla="*/ 2423804 w 2534562"/>
              <a:gd name="connsiteY65" fmla="*/ 1050916 h 1548041"/>
              <a:gd name="connsiteX66" fmla="*/ 2413501 w 2534562"/>
              <a:gd name="connsiteY66" fmla="*/ 994249 h 1548041"/>
              <a:gd name="connsiteX67" fmla="*/ 2392894 w 2534562"/>
              <a:gd name="connsiteY67" fmla="*/ 958188 h 1548041"/>
              <a:gd name="connsiteX68" fmla="*/ 2405773 w 2534562"/>
              <a:gd name="connsiteY68" fmla="*/ 919552 h 1548041"/>
              <a:gd name="connsiteX69" fmla="*/ 2356834 w 2534562"/>
              <a:gd name="connsiteY69" fmla="*/ 798490 h 1548041"/>
              <a:gd name="connsiteX70" fmla="*/ 2356834 w 2534562"/>
              <a:gd name="connsiteY70" fmla="*/ 754702 h 1548041"/>
              <a:gd name="connsiteX71" fmla="*/ 2331076 w 2534562"/>
              <a:gd name="connsiteY71" fmla="*/ 690308 h 1548041"/>
              <a:gd name="connsiteX72" fmla="*/ 2328500 w 2534562"/>
              <a:gd name="connsiteY72" fmla="*/ 654247 h 1548041"/>
              <a:gd name="connsiteX73" fmla="*/ 2307894 w 2534562"/>
              <a:gd name="connsiteY73" fmla="*/ 615610 h 1548041"/>
              <a:gd name="connsiteX74" fmla="*/ 2228045 w 2534562"/>
              <a:gd name="connsiteY74" fmla="*/ 569246 h 1548041"/>
              <a:gd name="connsiteX75" fmla="*/ 2225469 w 2534562"/>
              <a:gd name="connsiteY75" fmla="*/ 533186 h 1548041"/>
              <a:gd name="connsiteX76" fmla="*/ 2194560 w 2534562"/>
              <a:gd name="connsiteY76" fmla="*/ 510004 h 1548041"/>
              <a:gd name="connsiteX77" fmla="*/ 2171378 w 2534562"/>
              <a:gd name="connsiteY77" fmla="*/ 510004 h 1548041"/>
              <a:gd name="connsiteX78" fmla="*/ 2127590 w 2534562"/>
              <a:gd name="connsiteY78" fmla="*/ 512579 h 1548041"/>
              <a:gd name="connsiteX79" fmla="*/ 2058044 w 2534562"/>
              <a:gd name="connsiteY79" fmla="*/ 473943 h 1548041"/>
              <a:gd name="connsiteX80" fmla="*/ 2006528 w 2534562"/>
              <a:gd name="connsiteY80" fmla="*/ 409548 h 1548041"/>
              <a:gd name="connsiteX81" fmla="*/ 1962740 w 2534562"/>
              <a:gd name="connsiteY81" fmla="*/ 386366 h 1548041"/>
              <a:gd name="connsiteX82" fmla="*/ 1957589 w 2534562"/>
              <a:gd name="connsiteY82" fmla="*/ 350306 h 1548041"/>
              <a:gd name="connsiteX83" fmla="*/ 1934407 w 2534562"/>
              <a:gd name="connsiteY83" fmla="*/ 301366 h 1548041"/>
              <a:gd name="connsiteX84" fmla="*/ 1893194 w 2534562"/>
              <a:gd name="connsiteY84" fmla="*/ 270457 h 1548041"/>
              <a:gd name="connsiteX85" fmla="*/ 1898346 w 2534562"/>
              <a:gd name="connsiteY85" fmla="*/ 226668 h 1548041"/>
              <a:gd name="connsiteX86" fmla="*/ 1934407 w 2534562"/>
              <a:gd name="connsiteY86" fmla="*/ 170001 h 1548041"/>
              <a:gd name="connsiteX87" fmla="*/ 1939558 w 2534562"/>
              <a:gd name="connsiteY87" fmla="*/ 105607 h 1548041"/>
              <a:gd name="connsiteX88" fmla="*/ 1967892 w 2534562"/>
              <a:gd name="connsiteY88" fmla="*/ 69546 h 1548041"/>
              <a:gd name="connsiteX89" fmla="*/ 2014256 w 2534562"/>
              <a:gd name="connsiteY89" fmla="*/ 46364 h 1548041"/>
              <a:gd name="connsiteX90" fmla="*/ 2086377 w 2534562"/>
              <a:gd name="connsiteY90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336827 w 2534562"/>
              <a:gd name="connsiteY28" fmla="*/ 759854 h 1548041"/>
              <a:gd name="connsiteX29" fmla="*/ 1357433 w 2534562"/>
              <a:gd name="connsiteY29" fmla="*/ 788187 h 1548041"/>
              <a:gd name="connsiteX30" fmla="*/ 1388342 w 2534562"/>
              <a:gd name="connsiteY30" fmla="*/ 834551 h 1548041"/>
              <a:gd name="connsiteX31" fmla="*/ 1630465 w 2534562"/>
              <a:gd name="connsiteY31" fmla="*/ 911824 h 1548041"/>
              <a:gd name="connsiteX32" fmla="*/ 1759254 w 2534562"/>
              <a:gd name="connsiteY32" fmla="*/ 989098 h 1548041"/>
              <a:gd name="connsiteX33" fmla="*/ 1759254 w 2534562"/>
              <a:gd name="connsiteY33" fmla="*/ 989098 h 1548041"/>
              <a:gd name="connsiteX34" fmla="*/ 1779860 w 2534562"/>
              <a:gd name="connsiteY34" fmla="*/ 968491 h 1548041"/>
              <a:gd name="connsiteX35" fmla="*/ 1870012 w 2534562"/>
              <a:gd name="connsiteY35" fmla="*/ 1050916 h 1548041"/>
              <a:gd name="connsiteX36" fmla="*/ 1918952 w 2534562"/>
              <a:gd name="connsiteY36" fmla="*/ 1128189 h 1548041"/>
              <a:gd name="connsiteX37" fmla="*/ 1947285 w 2534562"/>
              <a:gd name="connsiteY37" fmla="*/ 1153947 h 1548041"/>
              <a:gd name="connsiteX38" fmla="*/ 1947285 w 2534562"/>
              <a:gd name="connsiteY38" fmla="*/ 1177129 h 1548041"/>
              <a:gd name="connsiteX39" fmla="*/ 1991074 w 2534562"/>
              <a:gd name="connsiteY39" fmla="*/ 1205463 h 1548041"/>
              <a:gd name="connsiteX40" fmla="*/ 1985922 w 2534562"/>
              <a:gd name="connsiteY40" fmla="*/ 1254402 h 1548041"/>
              <a:gd name="connsiteX41" fmla="*/ 2024559 w 2534562"/>
              <a:gd name="connsiteY41" fmla="*/ 1290463 h 1548041"/>
              <a:gd name="connsiteX42" fmla="*/ 2070923 w 2534562"/>
              <a:gd name="connsiteY42" fmla="*/ 1326524 h 1548041"/>
              <a:gd name="connsiteX43" fmla="*/ 2114711 w 2534562"/>
              <a:gd name="connsiteY43" fmla="*/ 1313645 h 1548041"/>
              <a:gd name="connsiteX44" fmla="*/ 2168802 w 2534562"/>
              <a:gd name="connsiteY44" fmla="*/ 1344555 h 1548041"/>
              <a:gd name="connsiteX45" fmla="*/ 2199711 w 2534562"/>
              <a:gd name="connsiteY45" fmla="*/ 1321373 h 1548041"/>
              <a:gd name="connsiteX46" fmla="*/ 2251227 w 2534562"/>
              <a:gd name="connsiteY46" fmla="*/ 1347130 h 1548041"/>
              <a:gd name="connsiteX47" fmla="*/ 2295015 w 2534562"/>
              <a:gd name="connsiteY47" fmla="*/ 1393494 h 1548041"/>
              <a:gd name="connsiteX48" fmla="*/ 2333652 w 2534562"/>
              <a:gd name="connsiteY48" fmla="*/ 1465616 h 1548041"/>
              <a:gd name="connsiteX49" fmla="*/ 2354258 w 2534562"/>
              <a:gd name="connsiteY49" fmla="*/ 1478495 h 1548041"/>
              <a:gd name="connsiteX50" fmla="*/ 2372288 w 2534562"/>
              <a:gd name="connsiteY50" fmla="*/ 1509404 h 1548041"/>
              <a:gd name="connsiteX51" fmla="*/ 2395470 w 2534562"/>
              <a:gd name="connsiteY51" fmla="*/ 1548041 h 1548041"/>
              <a:gd name="connsiteX52" fmla="*/ 2423804 w 2534562"/>
              <a:gd name="connsiteY52" fmla="*/ 1548041 h 1548041"/>
              <a:gd name="connsiteX53" fmla="*/ 2446986 w 2534562"/>
              <a:gd name="connsiteY53" fmla="*/ 1519707 h 1548041"/>
              <a:gd name="connsiteX54" fmla="*/ 2483047 w 2534562"/>
              <a:gd name="connsiteY54" fmla="*/ 1483646 h 1548041"/>
              <a:gd name="connsiteX55" fmla="*/ 2480471 w 2534562"/>
              <a:gd name="connsiteY55" fmla="*/ 1442434 h 1548041"/>
              <a:gd name="connsiteX56" fmla="*/ 2495925 w 2534562"/>
              <a:gd name="connsiteY56" fmla="*/ 1419252 h 1548041"/>
              <a:gd name="connsiteX57" fmla="*/ 2493350 w 2534562"/>
              <a:gd name="connsiteY57" fmla="*/ 1347130 h 1548041"/>
              <a:gd name="connsiteX58" fmla="*/ 2519107 w 2534562"/>
              <a:gd name="connsiteY58" fmla="*/ 1305918 h 1548041"/>
              <a:gd name="connsiteX59" fmla="*/ 2498501 w 2534562"/>
              <a:gd name="connsiteY59" fmla="*/ 1272433 h 1548041"/>
              <a:gd name="connsiteX60" fmla="*/ 2526835 w 2534562"/>
              <a:gd name="connsiteY60" fmla="*/ 1233796 h 1548041"/>
              <a:gd name="connsiteX61" fmla="*/ 2534562 w 2534562"/>
              <a:gd name="connsiteY61" fmla="*/ 1200311 h 1548041"/>
              <a:gd name="connsiteX62" fmla="*/ 2498501 w 2534562"/>
              <a:gd name="connsiteY62" fmla="*/ 1148796 h 1548041"/>
              <a:gd name="connsiteX63" fmla="*/ 2436683 w 2534562"/>
              <a:gd name="connsiteY63" fmla="*/ 1099856 h 1548041"/>
              <a:gd name="connsiteX64" fmla="*/ 2423804 w 2534562"/>
              <a:gd name="connsiteY64" fmla="*/ 1050916 h 1548041"/>
              <a:gd name="connsiteX65" fmla="*/ 2413501 w 2534562"/>
              <a:gd name="connsiteY65" fmla="*/ 994249 h 1548041"/>
              <a:gd name="connsiteX66" fmla="*/ 2392894 w 2534562"/>
              <a:gd name="connsiteY66" fmla="*/ 958188 h 1548041"/>
              <a:gd name="connsiteX67" fmla="*/ 2405773 w 2534562"/>
              <a:gd name="connsiteY67" fmla="*/ 919552 h 1548041"/>
              <a:gd name="connsiteX68" fmla="*/ 2356834 w 2534562"/>
              <a:gd name="connsiteY68" fmla="*/ 798490 h 1548041"/>
              <a:gd name="connsiteX69" fmla="*/ 2356834 w 2534562"/>
              <a:gd name="connsiteY69" fmla="*/ 754702 h 1548041"/>
              <a:gd name="connsiteX70" fmla="*/ 2331076 w 2534562"/>
              <a:gd name="connsiteY70" fmla="*/ 690308 h 1548041"/>
              <a:gd name="connsiteX71" fmla="*/ 2328500 w 2534562"/>
              <a:gd name="connsiteY71" fmla="*/ 654247 h 1548041"/>
              <a:gd name="connsiteX72" fmla="*/ 2307894 w 2534562"/>
              <a:gd name="connsiteY72" fmla="*/ 615610 h 1548041"/>
              <a:gd name="connsiteX73" fmla="*/ 2228045 w 2534562"/>
              <a:gd name="connsiteY73" fmla="*/ 569246 h 1548041"/>
              <a:gd name="connsiteX74" fmla="*/ 2225469 w 2534562"/>
              <a:gd name="connsiteY74" fmla="*/ 533186 h 1548041"/>
              <a:gd name="connsiteX75" fmla="*/ 2194560 w 2534562"/>
              <a:gd name="connsiteY75" fmla="*/ 510004 h 1548041"/>
              <a:gd name="connsiteX76" fmla="*/ 2171378 w 2534562"/>
              <a:gd name="connsiteY76" fmla="*/ 510004 h 1548041"/>
              <a:gd name="connsiteX77" fmla="*/ 2127590 w 2534562"/>
              <a:gd name="connsiteY77" fmla="*/ 512579 h 1548041"/>
              <a:gd name="connsiteX78" fmla="*/ 2058044 w 2534562"/>
              <a:gd name="connsiteY78" fmla="*/ 473943 h 1548041"/>
              <a:gd name="connsiteX79" fmla="*/ 2006528 w 2534562"/>
              <a:gd name="connsiteY79" fmla="*/ 409548 h 1548041"/>
              <a:gd name="connsiteX80" fmla="*/ 1962740 w 2534562"/>
              <a:gd name="connsiteY80" fmla="*/ 386366 h 1548041"/>
              <a:gd name="connsiteX81" fmla="*/ 1957589 w 2534562"/>
              <a:gd name="connsiteY81" fmla="*/ 350306 h 1548041"/>
              <a:gd name="connsiteX82" fmla="*/ 1934407 w 2534562"/>
              <a:gd name="connsiteY82" fmla="*/ 301366 h 1548041"/>
              <a:gd name="connsiteX83" fmla="*/ 1893194 w 2534562"/>
              <a:gd name="connsiteY83" fmla="*/ 270457 h 1548041"/>
              <a:gd name="connsiteX84" fmla="*/ 1898346 w 2534562"/>
              <a:gd name="connsiteY84" fmla="*/ 226668 h 1548041"/>
              <a:gd name="connsiteX85" fmla="*/ 1934407 w 2534562"/>
              <a:gd name="connsiteY85" fmla="*/ 170001 h 1548041"/>
              <a:gd name="connsiteX86" fmla="*/ 1939558 w 2534562"/>
              <a:gd name="connsiteY86" fmla="*/ 105607 h 1548041"/>
              <a:gd name="connsiteX87" fmla="*/ 1967892 w 2534562"/>
              <a:gd name="connsiteY87" fmla="*/ 69546 h 1548041"/>
              <a:gd name="connsiteX88" fmla="*/ 2014256 w 2534562"/>
              <a:gd name="connsiteY88" fmla="*/ 46364 h 1548041"/>
              <a:gd name="connsiteX89" fmla="*/ 2086377 w 2534562"/>
              <a:gd name="connsiteY89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357433 w 2534562"/>
              <a:gd name="connsiteY28" fmla="*/ 788187 h 1548041"/>
              <a:gd name="connsiteX29" fmla="*/ 1388342 w 2534562"/>
              <a:gd name="connsiteY29" fmla="*/ 834551 h 1548041"/>
              <a:gd name="connsiteX30" fmla="*/ 1630465 w 2534562"/>
              <a:gd name="connsiteY30" fmla="*/ 911824 h 1548041"/>
              <a:gd name="connsiteX31" fmla="*/ 1759254 w 2534562"/>
              <a:gd name="connsiteY31" fmla="*/ 989098 h 1548041"/>
              <a:gd name="connsiteX32" fmla="*/ 1759254 w 2534562"/>
              <a:gd name="connsiteY32" fmla="*/ 989098 h 1548041"/>
              <a:gd name="connsiteX33" fmla="*/ 1779860 w 2534562"/>
              <a:gd name="connsiteY33" fmla="*/ 968491 h 1548041"/>
              <a:gd name="connsiteX34" fmla="*/ 1870012 w 2534562"/>
              <a:gd name="connsiteY34" fmla="*/ 1050916 h 1548041"/>
              <a:gd name="connsiteX35" fmla="*/ 1918952 w 2534562"/>
              <a:gd name="connsiteY35" fmla="*/ 1128189 h 1548041"/>
              <a:gd name="connsiteX36" fmla="*/ 1947285 w 2534562"/>
              <a:gd name="connsiteY36" fmla="*/ 1153947 h 1548041"/>
              <a:gd name="connsiteX37" fmla="*/ 1947285 w 2534562"/>
              <a:gd name="connsiteY37" fmla="*/ 1177129 h 1548041"/>
              <a:gd name="connsiteX38" fmla="*/ 1991074 w 2534562"/>
              <a:gd name="connsiteY38" fmla="*/ 1205463 h 1548041"/>
              <a:gd name="connsiteX39" fmla="*/ 1985922 w 2534562"/>
              <a:gd name="connsiteY39" fmla="*/ 1254402 h 1548041"/>
              <a:gd name="connsiteX40" fmla="*/ 2024559 w 2534562"/>
              <a:gd name="connsiteY40" fmla="*/ 1290463 h 1548041"/>
              <a:gd name="connsiteX41" fmla="*/ 2070923 w 2534562"/>
              <a:gd name="connsiteY41" fmla="*/ 1326524 h 1548041"/>
              <a:gd name="connsiteX42" fmla="*/ 2114711 w 2534562"/>
              <a:gd name="connsiteY42" fmla="*/ 1313645 h 1548041"/>
              <a:gd name="connsiteX43" fmla="*/ 2168802 w 2534562"/>
              <a:gd name="connsiteY43" fmla="*/ 1344555 h 1548041"/>
              <a:gd name="connsiteX44" fmla="*/ 2199711 w 2534562"/>
              <a:gd name="connsiteY44" fmla="*/ 1321373 h 1548041"/>
              <a:gd name="connsiteX45" fmla="*/ 2251227 w 2534562"/>
              <a:gd name="connsiteY45" fmla="*/ 1347130 h 1548041"/>
              <a:gd name="connsiteX46" fmla="*/ 2295015 w 2534562"/>
              <a:gd name="connsiteY46" fmla="*/ 1393494 h 1548041"/>
              <a:gd name="connsiteX47" fmla="*/ 2333652 w 2534562"/>
              <a:gd name="connsiteY47" fmla="*/ 1465616 h 1548041"/>
              <a:gd name="connsiteX48" fmla="*/ 2354258 w 2534562"/>
              <a:gd name="connsiteY48" fmla="*/ 1478495 h 1548041"/>
              <a:gd name="connsiteX49" fmla="*/ 2372288 w 2534562"/>
              <a:gd name="connsiteY49" fmla="*/ 1509404 h 1548041"/>
              <a:gd name="connsiteX50" fmla="*/ 2395470 w 2534562"/>
              <a:gd name="connsiteY50" fmla="*/ 1548041 h 1548041"/>
              <a:gd name="connsiteX51" fmla="*/ 2423804 w 2534562"/>
              <a:gd name="connsiteY51" fmla="*/ 1548041 h 1548041"/>
              <a:gd name="connsiteX52" fmla="*/ 2446986 w 2534562"/>
              <a:gd name="connsiteY52" fmla="*/ 1519707 h 1548041"/>
              <a:gd name="connsiteX53" fmla="*/ 2483047 w 2534562"/>
              <a:gd name="connsiteY53" fmla="*/ 1483646 h 1548041"/>
              <a:gd name="connsiteX54" fmla="*/ 2480471 w 2534562"/>
              <a:gd name="connsiteY54" fmla="*/ 1442434 h 1548041"/>
              <a:gd name="connsiteX55" fmla="*/ 2495925 w 2534562"/>
              <a:gd name="connsiteY55" fmla="*/ 1419252 h 1548041"/>
              <a:gd name="connsiteX56" fmla="*/ 2493350 w 2534562"/>
              <a:gd name="connsiteY56" fmla="*/ 1347130 h 1548041"/>
              <a:gd name="connsiteX57" fmla="*/ 2519107 w 2534562"/>
              <a:gd name="connsiteY57" fmla="*/ 1305918 h 1548041"/>
              <a:gd name="connsiteX58" fmla="*/ 2498501 w 2534562"/>
              <a:gd name="connsiteY58" fmla="*/ 1272433 h 1548041"/>
              <a:gd name="connsiteX59" fmla="*/ 2526835 w 2534562"/>
              <a:gd name="connsiteY59" fmla="*/ 1233796 h 1548041"/>
              <a:gd name="connsiteX60" fmla="*/ 2534562 w 2534562"/>
              <a:gd name="connsiteY60" fmla="*/ 1200311 h 1548041"/>
              <a:gd name="connsiteX61" fmla="*/ 2498501 w 2534562"/>
              <a:gd name="connsiteY61" fmla="*/ 1148796 h 1548041"/>
              <a:gd name="connsiteX62" fmla="*/ 2436683 w 2534562"/>
              <a:gd name="connsiteY62" fmla="*/ 1099856 h 1548041"/>
              <a:gd name="connsiteX63" fmla="*/ 2423804 w 2534562"/>
              <a:gd name="connsiteY63" fmla="*/ 1050916 h 1548041"/>
              <a:gd name="connsiteX64" fmla="*/ 2413501 w 2534562"/>
              <a:gd name="connsiteY64" fmla="*/ 994249 h 1548041"/>
              <a:gd name="connsiteX65" fmla="*/ 2392894 w 2534562"/>
              <a:gd name="connsiteY65" fmla="*/ 958188 h 1548041"/>
              <a:gd name="connsiteX66" fmla="*/ 2405773 w 2534562"/>
              <a:gd name="connsiteY66" fmla="*/ 919552 h 1548041"/>
              <a:gd name="connsiteX67" fmla="*/ 2356834 w 2534562"/>
              <a:gd name="connsiteY67" fmla="*/ 798490 h 1548041"/>
              <a:gd name="connsiteX68" fmla="*/ 2356834 w 2534562"/>
              <a:gd name="connsiteY68" fmla="*/ 754702 h 1548041"/>
              <a:gd name="connsiteX69" fmla="*/ 2331076 w 2534562"/>
              <a:gd name="connsiteY69" fmla="*/ 690308 h 1548041"/>
              <a:gd name="connsiteX70" fmla="*/ 2328500 w 2534562"/>
              <a:gd name="connsiteY70" fmla="*/ 654247 h 1548041"/>
              <a:gd name="connsiteX71" fmla="*/ 2307894 w 2534562"/>
              <a:gd name="connsiteY71" fmla="*/ 615610 h 1548041"/>
              <a:gd name="connsiteX72" fmla="*/ 2228045 w 2534562"/>
              <a:gd name="connsiteY72" fmla="*/ 569246 h 1548041"/>
              <a:gd name="connsiteX73" fmla="*/ 2225469 w 2534562"/>
              <a:gd name="connsiteY73" fmla="*/ 533186 h 1548041"/>
              <a:gd name="connsiteX74" fmla="*/ 2194560 w 2534562"/>
              <a:gd name="connsiteY74" fmla="*/ 510004 h 1548041"/>
              <a:gd name="connsiteX75" fmla="*/ 2171378 w 2534562"/>
              <a:gd name="connsiteY75" fmla="*/ 510004 h 1548041"/>
              <a:gd name="connsiteX76" fmla="*/ 2127590 w 2534562"/>
              <a:gd name="connsiteY76" fmla="*/ 512579 h 1548041"/>
              <a:gd name="connsiteX77" fmla="*/ 2058044 w 2534562"/>
              <a:gd name="connsiteY77" fmla="*/ 473943 h 1548041"/>
              <a:gd name="connsiteX78" fmla="*/ 2006528 w 2534562"/>
              <a:gd name="connsiteY78" fmla="*/ 409548 h 1548041"/>
              <a:gd name="connsiteX79" fmla="*/ 1962740 w 2534562"/>
              <a:gd name="connsiteY79" fmla="*/ 386366 h 1548041"/>
              <a:gd name="connsiteX80" fmla="*/ 1957589 w 2534562"/>
              <a:gd name="connsiteY80" fmla="*/ 350306 h 1548041"/>
              <a:gd name="connsiteX81" fmla="*/ 1934407 w 2534562"/>
              <a:gd name="connsiteY81" fmla="*/ 301366 h 1548041"/>
              <a:gd name="connsiteX82" fmla="*/ 1893194 w 2534562"/>
              <a:gd name="connsiteY82" fmla="*/ 270457 h 1548041"/>
              <a:gd name="connsiteX83" fmla="*/ 1898346 w 2534562"/>
              <a:gd name="connsiteY83" fmla="*/ 226668 h 1548041"/>
              <a:gd name="connsiteX84" fmla="*/ 1934407 w 2534562"/>
              <a:gd name="connsiteY84" fmla="*/ 170001 h 1548041"/>
              <a:gd name="connsiteX85" fmla="*/ 1939558 w 2534562"/>
              <a:gd name="connsiteY85" fmla="*/ 105607 h 1548041"/>
              <a:gd name="connsiteX86" fmla="*/ 1967892 w 2534562"/>
              <a:gd name="connsiteY86" fmla="*/ 69546 h 1548041"/>
              <a:gd name="connsiteX87" fmla="*/ 2014256 w 2534562"/>
              <a:gd name="connsiteY87" fmla="*/ 46364 h 1548041"/>
              <a:gd name="connsiteX88" fmla="*/ 2086377 w 2534562"/>
              <a:gd name="connsiteY88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388342 w 2534562"/>
              <a:gd name="connsiteY28" fmla="*/ 834551 h 1548041"/>
              <a:gd name="connsiteX29" fmla="*/ 1630465 w 2534562"/>
              <a:gd name="connsiteY29" fmla="*/ 911824 h 1548041"/>
              <a:gd name="connsiteX30" fmla="*/ 1759254 w 2534562"/>
              <a:gd name="connsiteY30" fmla="*/ 989098 h 1548041"/>
              <a:gd name="connsiteX31" fmla="*/ 1759254 w 2534562"/>
              <a:gd name="connsiteY31" fmla="*/ 989098 h 1548041"/>
              <a:gd name="connsiteX32" fmla="*/ 1779860 w 2534562"/>
              <a:gd name="connsiteY32" fmla="*/ 968491 h 1548041"/>
              <a:gd name="connsiteX33" fmla="*/ 1870012 w 2534562"/>
              <a:gd name="connsiteY33" fmla="*/ 1050916 h 1548041"/>
              <a:gd name="connsiteX34" fmla="*/ 1918952 w 2534562"/>
              <a:gd name="connsiteY34" fmla="*/ 1128189 h 1548041"/>
              <a:gd name="connsiteX35" fmla="*/ 1947285 w 2534562"/>
              <a:gd name="connsiteY35" fmla="*/ 1153947 h 1548041"/>
              <a:gd name="connsiteX36" fmla="*/ 1947285 w 2534562"/>
              <a:gd name="connsiteY36" fmla="*/ 1177129 h 1548041"/>
              <a:gd name="connsiteX37" fmla="*/ 1991074 w 2534562"/>
              <a:gd name="connsiteY37" fmla="*/ 1205463 h 1548041"/>
              <a:gd name="connsiteX38" fmla="*/ 1985922 w 2534562"/>
              <a:gd name="connsiteY38" fmla="*/ 1254402 h 1548041"/>
              <a:gd name="connsiteX39" fmla="*/ 2024559 w 2534562"/>
              <a:gd name="connsiteY39" fmla="*/ 1290463 h 1548041"/>
              <a:gd name="connsiteX40" fmla="*/ 2070923 w 2534562"/>
              <a:gd name="connsiteY40" fmla="*/ 1326524 h 1548041"/>
              <a:gd name="connsiteX41" fmla="*/ 2114711 w 2534562"/>
              <a:gd name="connsiteY41" fmla="*/ 1313645 h 1548041"/>
              <a:gd name="connsiteX42" fmla="*/ 2168802 w 2534562"/>
              <a:gd name="connsiteY42" fmla="*/ 1344555 h 1548041"/>
              <a:gd name="connsiteX43" fmla="*/ 2199711 w 2534562"/>
              <a:gd name="connsiteY43" fmla="*/ 1321373 h 1548041"/>
              <a:gd name="connsiteX44" fmla="*/ 2251227 w 2534562"/>
              <a:gd name="connsiteY44" fmla="*/ 1347130 h 1548041"/>
              <a:gd name="connsiteX45" fmla="*/ 2295015 w 2534562"/>
              <a:gd name="connsiteY45" fmla="*/ 1393494 h 1548041"/>
              <a:gd name="connsiteX46" fmla="*/ 2333652 w 2534562"/>
              <a:gd name="connsiteY46" fmla="*/ 1465616 h 1548041"/>
              <a:gd name="connsiteX47" fmla="*/ 2354258 w 2534562"/>
              <a:gd name="connsiteY47" fmla="*/ 1478495 h 1548041"/>
              <a:gd name="connsiteX48" fmla="*/ 2372288 w 2534562"/>
              <a:gd name="connsiteY48" fmla="*/ 1509404 h 1548041"/>
              <a:gd name="connsiteX49" fmla="*/ 2395470 w 2534562"/>
              <a:gd name="connsiteY49" fmla="*/ 1548041 h 1548041"/>
              <a:gd name="connsiteX50" fmla="*/ 2423804 w 2534562"/>
              <a:gd name="connsiteY50" fmla="*/ 1548041 h 1548041"/>
              <a:gd name="connsiteX51" fmla="*/ 2446986 w 2534562"/>
              <a:gd name="connsiteY51" fmla="*/ 1519707 h 1548041"/>
              <a:gd name="connsiteX52" fmla="*/ 2483047 w 2534562"/>
              <a:gd name="connsiteY52" fmla="*/ 1483646 h 1548041"/>
              <a:gd name="connsiteX53" fmla="*/ 2480471 w 2534562"/>
              <a:gd name="connsiteY53" fmla="*/ 1442434 h 1548041"/>
              <a:gd name="connsiteX54" fmla="*/ 2495925 w 2534562"/>
              <a:gd name="connsiteY54" fmla="*/ 1419252 h 1548041"/>
              <a:gd name="connsiteX55" fmla="*/ 2493350 w 2534562"/>
              <a:gd name="connsiteY55" fmla="*/ 1347130 h 1548041"/>
              <a:gd name="connsiteX56" fmla="*/ 2519107 w 2534562"/>
              <a:gd name="connsiteY56" fmla="*/ 1305918 h 1548041"/>
              <a:gd name="connsiteX57" fmla="*/ 2498501 w 2534562"/>
              <a:gd name="connsiteY57" fmla="*/ 1272433 h 1548041"/>
              <a:gd name="connsiteX58" fmla="*/ 2526835 w 2534562"/>
              <a:gd name="connsiteY58" fmla="*/ 1233796 h 1548041"/>
              <a:gd name="connsiteX59" fmla="*/ 2534562 w 2534562"/>
              <a:gd name="connsiteY59" fmla="*/ 1200311 h 1548041"/>
              <a:gd name="connsiteX60" fmla="*/ 2498501 w 2534562"/>
              <a:gd name="connsiteY60" fmla="*/ 1148796 h 1548041"/>
              <a:gd name="connsiteX61" fmla="*/ 2436683 w 2534562"/>
              <a:gd name="connsiteY61" fmla="*/ 1099856 h 1548041"/>
              <a:gd name="connsiteX62" fmla="*/ 2423804 w 2534562"/>
              <a:gd name="connsiteY62" fmla="*/ 1050916 h 1548041"/>
              <a:gd name="connsiteX63" fmla="*/ 2413501 w 2534562"/>
              <a:gd name="connsiteY63" fmla="*/ 994249 h 1548041"/>
              <a:gd name="connsiteX64" fmla="*/ 2392894 w 2534562"/>
              <a:gd name="connsiteY64" fmla="*/ 958188 h 1548041"/>
              <a:gd name="connsiteX65" fmla="*/ 2405773 w 2534562"/>
              <a:gd name="connsiteY65" fmla="*/ 919552 h 1548041"/>
              <a:gd name="connsiteX66" fmla="*/ 2356834 w 2534562"/>
              <a:gd name="connsiteY66" fmla="*/ 798490 h 1548041"/>
              <a:gd name="connsiteX67" fmla="*/ 2356834 w 2534562"/>
              <a:gd name="connsiteY67" fmla="*/ 754702 h 1548041"/>
              <a:gd name="connsiteX68" fmla="*/ 2331076 w 2534562"/>
              <a:gd name="connsiteY68" fmla="*/ 690308 h 1548041"/>
              <a:gd name="connsiteX69" fmla="*/ 2328500 w 2534562"/>
              <a:gd name="connsiteY69" fmla="*/ 654247 h 1548041"/>
              <a:gd name="connsiteX70" fmla="*/ 2307894 w 2534562"/>
              <a:gd name="connsiteY70" fmla="*/ 615610 h 1548041"/>
              <a:gd name="connsiteX71" fmla="*/ 2228045 w 2534562"/>
              <a:gd name="connsiteY71" fmla="*/ 569246 h 1548041"/>
              <a:gd name="connsiteX72" fmla="*/ 2225469 w 2534562"/>
              <a:gd name="connsiteY72" fmla="*/ 533186 h 1548041"/>
              <a:gd name="connsiteX73" fmla="*/ 2194560 w 2534562"/>
              <a:gd name="connsiteY73" fmla="*/ 510004 h 1548041"/>
              <a:gd name="connsiteX74" fmla="*/ 2171378 w 2534562"/>
              <a:gd name="connsiteY74" fmla="*/ 510004 h 1548041"/>
              <a:gd name="connsiteX75" fmla="*/ 2127590 w 2534562"/>
              <a:gd name="connsiteY75" fmla="*/ 512579 h 1548041"/>
              <a:gd name="connsiteX76" fmla="*/ 2058044 w 2534562"/>
              <a:gd name="connsiteY76" fmla="*/ 473943 h 1548041"/>
              <a:gd name="connsiteX77" fmla="*/ 2006528 w 2534562"/>
              <a:gd name="connsiteY77" fmla="*/ 409548 h 1548041"/>
              <a:gd name="connsiteX78" fmla="*/ 1962740 w 2534562"/>
              <a:gd name="connsiteY78" fmla="*/ 386366 h 1548041"/>
              <a:gd name="connsiteX79" fmla="*/ 1957589 w 2534562"/>
              <a:gd name="connsiteY79" fmla="*/ 350306 h 1548041"/>
              <a:gd name="connsiteX80" fmla="*/ 1934407 w 2534562"/>
              <a:gd name="connsiteY80" fmla="*/ 301366 h 1548041"/>
              <a:gd name="connsiteX81" fmla="*/ 1893194 w 2534562"/>
              <a:gd name="connsiteY81" fmla="*/ 270457 h 1548041"/>
              <a:gd name="connsiteX82" fmla="*/ 1898346 w 2534562"/>
              <a:gd name="connsiteY82" fmla="*/ 226668 h 1548041"/>
              <a:gd name="connsiteX83" fmla="*/ 1934407 w 2534562"/>
              <a:gd name="connsiteY83" fmla="*/ 170001 h 1548041"/>
              <a:gd name="connsiteX84" fmla="*/ 1939558 w 2534562"/>
              <a:gd name="connsiteY84" fmla="*/ 105607 h 1548041"/>
              <a:gd name="connsiteX85" fmla="*/ 1967892 w 2534562"/>
              <a:gd name="connsiteY85" fmla="*/ 69546 h 1548041"/>
              <a:gd name="connsiteX86" fmla="*/ 2014256 w 2534562"/>
              <a:gd name="connsiteY86" fmla="*/ 46364 h 1548041"/>
              <a:gd name="connsiteX87" fmla="*/ 2086377 w 2534562"/>
              <a:gd name="connsiteY87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388342 w 2534562"/>
              <a:gd name="connsiteY28" fmla="*/ 834551 h 1548041"/>
              <a:gd name="connsiteX29" fmla="*/ 1395456 w 2534562"/>
              <a:gd name="connsiteY29" fmla="*/ 838614 h 1548041"/>
              <a:gd name="connsiteX30" fmla="*/ 1630465 w 2534562"/>
              <a:gd name="connsiteY30" fmla="*/ 911824 h 1548041"/>
              <a:gd name="connsiteX31" fmla="*/ 1759254 w 2534562"/>
              <a:gd name="connsiteY31" fmla="*/ 989098 h 1548041"/>
              <a:gd name="connsiteX32" fmla="*/ 1759254 w 2534562"/>
              <a:gd name="connsiteY32" fmla="*/ 989098 h 1548041"/>
              <a:gd name="connsiteX33" fmla="*/ 1779860 w 2534562"/>
              <a:gd name="connsiteY33" fmla="*/ 968491 h 1548041"/>
              <a:gd name="connsiteX34" fmla="*/ 1870012 w 2534562"/>
              <a:gd name="connsiteY34" fmla="*/ 1050916 h 1548041"/>
              <a:gd name="connsiteX35" fmla="*/ 1918952 w 2534562"/>
              <a:gd name="connsiteY35" fmla="*/ 1128189 h 1548041"/>
              <a:gd name="connsiteX36" fmla="*/ 1947285 w 2534562"/>
              <a:gd name="connsiteY36" fmla="*/ 1153947 h 1548041"/>
              <a:gd name="connsiteX37" fmla="*/ 1947285 w 2534562"/>
              <a:gd name="connsiteY37" fmla="*/ 1177129 h 1548041"/>
              <a:gd name="connsiteX38" fmla="*/ 1991074 w 2534562"/>
              <a:gd name="connsiteY38" fmla="*/ 1205463 h 1548041"/>
              <a:gd name="connsiteX39" fmla="*/ 1985922 w 2534562"/>
              <a:gd name="connsiteY39" fmla="*/ 1254402 h 1548041"/>
              <a:gd name="connsiteX40" fmla="*/ 2024559 w 2534562"/>
              <a:gd name="connsiteY40" fmla="*/ 1290463 h 1548041"/>
              <a:gd name="connsiteX41" fmla="*/ 2070923 w 2534562"/>
              <a:gd name="connsiteY41" fmla="*/ 1326524 h 1548041"/>
              <a:gd name="connsiteX42" fmla="*/ 2114711 w 2534562"/>
              <a:gd name="connsiteY42" fmla="*/ 1313645 h 1548041"/>
              <a:gd name="connsiteX43" fmla="*/ 2168802 w 2534562"/>
              <a:gd name="connsiteY43" fmla="*/ 1344555 h 1548041"/>
              <a:gd name="connsiteX44" fmla="*/ 2199711 w 2534562"/>
              <a:gd name="connsiteY44" fmla="*/ 1321373 h 1548041"/>
              <a:gd name="connsiteX45" fmla="*/ 2251227 w 2534562"/>
              <a:gd name="connsiteY45" fmla="*/ 1347130 h 1548041"/>
              <a:gd name="connsiteX46" fmla="*/ 2295015 w 2534562"/>
              <a:gd name="connsiteY46" fmla="*/ 1393494 h 1548041"/>
              <a:gd name="connsiteX47" fmla="*/ 2333652 w 2534562"/>
              <a:gd name="connsiteY47" fmla="*/ 1465616 h 1548041"/>
              <a:gd name="connsiteX48" fmla="*/ 2354258 w 2534562"/>
              <a:gd name="connsiteY48" fmla="*/ 1478495 h 1548041"/>
              <a:gd name="connsiteX49" fmla="*/ 2372288 w 2534562"/>
              <a:gd name="connsiteY49" fmla="*/ 1509404 h 1548041"/>
              <a:gd name="connsiteX50" fmla="*/ 2395470 w 2534562"/>
              <a:gd name="connsiteY50" fmla="*/ 1548041 h 1548041"/>
              <a:gd name="connsiteX51" fmla="*/ 2423804 w 2534562"/>
              <a:gd name="connsiteY51" fmla="*/ 1548041 h 1548041"/>
              <a:gd name="connsiteX52" fmla="*/ 2446986 w 2534562"/>
              <a:gd name="connsiteY52" fmla="*/ 1519707 h 1548041"/>
              <a:gd name="connsiteX53" fmla="*/ 2483047 w 2534562"/>
              <a:gd name="connsiteY53" fmla="*/ 1483646 h 1548041"/>
              <a:gd name="connsiteX54" fmla="*/ 2480471 w 2534562"/>
              <a:gd name="connsiteY54" fmla="*/ 1442434 h 1548041"/>
              <a:gd name="connsiteX55" fmla="*/ 2495925 w 2534562"/>
              <a:gd name="connsiteY55" fmla="*/ 1419252 h 1548041"/>
              <a:gd name="connsiteX56" fmla="*/ 2493350 w 2534562"/>
              <a:gd name="connsiteY56" fmla="*/ 1347130 h 1548041"/>
              <a:gd name="connsiteX57" fmla="*/ 2519107 w 2534562"/>
              <a:gd name="connsiteY57" fmla="*/ 1305918 h 1548041"/>
              <a:gd name="connsiteX58" fmla="*/ 2498501 w 2534562"/>
              <a:gd name="connsiteY58" fmla="*/ 1272433 h 1548041"/>
              <a:gd name="connsiteX59" fmla="*/ 2526835 w 2534562"/>
              <a:gd name="connsiteY59" fmla="*/ 1233796 h 1548041"/>
              <a:gd name="connsiteX60" fmla="*/ 2534562 w 2534562"/>
              <a:gd name="connsiteY60" fmla="*/ 1200311 h 1548041"/>
              <a:gd name="connsiteX61" fmla="*/ 2498501 w 2534562"/>
              <a:gd name="connsiteY61" fmla="*/ 1148796 h 1548041"/>
              <a:gd name="connsiteX62" fmla="*/ 2436683 w 2534562"/>
              <a:gd name="connsiteY62" fmla="*/ 1099856 h 1548041"/>
              <a:gd name="connsiteX63" fmla="*/ 2423804 w 2534562"/>
              <a:gd name="connsiteY63" fmla="*/ 1050916 h 1548041"/>
              <a:gd name="connsiteX64" fmla="*/ 2413501 w 2534562"/>
              <a:gd name="connsiteY64" fmla="*/ 994249 h 1548041"/>
              <a:gd name="connsiteX65" fmla="*/ 2392894 w 2534562"/>
              <a:gd name="connsiteY65" fmla="*/ 958188 h 1548041"/>
              <a:gd name="connsiteX66" fmla="*/ 2405773 w 2534562"/>
              <a:gd name="connsiteY66" fmla="*/ 919552 h 1548041"/>
              <a:gd name="connsiteX67" fmla="*/ 2356834 w 2534562"/>
              <a:gd name="connsiteY67" fmla="*/ 798490 h 1548041"/>
              <a:gd name="connsiteX68" fmla="*/ 2356834 w 2534562"/>
              <a:gd name="connsiteY68" fmla="*/ 754702 h 1548041"/>
              <a:gd name="connsiteX69" fmla="*/ 2331076 w 2534562"/>
              <a:gd name="connsiteY69" fmla="*/ 690308 h 1548041"/>
              <a:gd name="connsiteX70" fmla="*/ 2328500 w 2534562"/>
              <a:gd name="connsiteY70" fmla="*/ 654247 h 1548041"/>
              <a:gd name="connsiteX71" fmla="*/ 2307894 w 2534562"/>
              <a:gd name="connsiteY71" fmla="*/ 615610 h 1548041"/>
              <a:gd name="connsiteX72" fmla="*/ 2228045 w 2534562"/>
              <a:gd name="connsiteY72" fmla="*/ 569246 h 1548041"/>
              <a:gd name="connsiteX73" fmla="*/ 2225469 w 2534562"/>
              <a:gd name="connsiteY73" fmla="*/ 533186 h 1548041"/>
              <a:gd name="connsiteX74" fmla="*/ 2194560 w 2534562"/>
              <a:gd name="connsiteY74" fmla="*/ 510004 h 1548041"/>
              <a:gd name="connsiteX75" fmla="*/ 2171378 w 2534562"/>
              <a:gd name="connsiteY75" fmla="*/ 510004 h 1548041"/>
              <a:gd name="connsiteX76" fmla="*/ 2127590 w 2534562"/>
              <a:gd name="connsiteY76" fmla="*/ 512579 h 1548041"/>
              <a:gd name="connsiteX77" fmla="*/ 2058044 w 2534562"/>
              <a:gd name="connsiteY77" fmla="*/ 473943 h 1548041"/>
              <a:gd name="connsiteX78" fmla="*/ 2006528 w 2534562"/>
              <a:gd name="connsiteY78" fmla="*/ 409548 h 1548041"/>
              <a:gd name="connsiteX79" fmla="*/ 1962740 w 2534562"/>
              <a:gd name="connsiteY79" fmla="*/ 386366 h 1548041"/>
              <a:gd name="connsiteX80" fmla="*/ 1957589 w 2534562"/>
              <a:gd name="connsiteY80" fmla="*/ 350306 h 1548041"/>
              <a:gd name="connsiteX81" fmla="*/ 1934407 w 2534562"/>
              <a:gd name="connsiteY81" fmla="*/ 301366 h 1548041"/>
              <a:gd name="connsiteX82" fmla="*/ 1893194 w 2534562"/>
              <a:gd name="connsiteY82" fmla="*/ 270457 h 1548041"/>
              <a:gd name="connsiteX83" fmla="*/ 1898346 w 2534562"/>
              <a:gd name="connsiteY83" fmla="*/ 226668 h 1548041"/>
              <a:gd name="connsiteX84" fmla="*/ 1934407 w 2534562"/>
              <a:gd name="connsiteY84" fmla="*/ 170001 h 1548041"/>
              <a:gd name="connsiteX85" fmla="*/ 1939558 w 2534562"/>
              <a:gd name="connsiteY85" fmla="*/ 105607 h 1548041"/>
              <a:gd name="connsiteX86" fmla="*/ 1967892 w 2534562"/>
              <a:gd name="connsiteY86" fmla="*/ 69546 h 1548041"/>
              <a:gd name="connsiteX87" fmla="*/ 2014256 w 2534562"/>
              <a:gd name="connsiteY87" fmla="*/ 46364 h 1548041"/>
              <a:gd name="connsiteX88" fmla="*/ 2086377 w 2534562"/>
              <a:gd name="connsiteY88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388342 w 2534562"/>
              <a:gd name="connsiteY28" fmla="*/ 834551 h 1548041"/>
              <a:gd name="connsiteX29" fmla="*/ 1630465 w 2534562"/>
              <a:gd name="connsiteY29" fmla="*/ 911824 h 1548041"/>
              <a:gd name="connsiteX30" fmla="*/ 1759254 w 2534562"/>
              <a:gd name="connsiteY30" fmla="*/ 989098 h 1548041"/>
              <a:gd name="connsiteX31" fmla="*/ 1759254 w 2534562"/>
              <a:gd name="connsiteY31" fmla="*/ 989098 h 1548041"/>
              <a:gd name="connsiteX32" fmla="*/ 1779860 w 2534562"/>
              <a:gd name="connsiteY32" fmla="*/ 968491 h 1548041"/>
              <a:gd name="connsiteX33" fmla="*/ 1870012 w 2534562"/>
              <a:gd name="connsiteY33" fmla="*/ 1050916 h 1548041"/>
              <a:gd name="connsiteX34" fmla="*/ 1918952 w 2534562"/>
              <a:gd name="connsiteY34" fmla="*/ 1128189 h 1548041"/>
              <a:gd name="connsiteX35" fmla="*/ 1947285 w 2534562"/>
              <a:gd name="connsiteY35" fmla="*/ 1153947 h 1548041"/>
              <a:gd name="connsiteX36" fmla="*/ 1947285 w 2534562"/>
              <a:gd name="connsiteY36" fmla="*/ 1177129 h 1548041"/>
              <a:gd name="connsiteX37" fmla="*/ 1991074 w 2534562"/>
              <a:gd name="connsiteY37" fmla="*/ 1205463 h 1548041"/>
              <a:gd name="connsiteX38" fmla="*/ 1985922 w 2534562"/>
              <a:gd name="connsiteY38" fmla="*/ 1254402 h 1548041"/>
              <a:gd name="connsiteX39" fmla="*/ 2024559 w 2534562"/>
              <a:gd name="connsiteY39" fmla="*/ 1290463 h 1548041"/>
              <a:gd name="connsiteX40" fmla="*/ 2070923 w 2534562"/>
              <a:gd name="connsiteY40" fmla="*/ 1326524 h 1548041"/>
              <a:gd name="connsiteX41" fmla="*/ 2114711 w 2534562"/>
              <a:gd name="connsiteY41" fmla="*/ 1313645 h 1548041"/>
              <a:gd name="connsiteX42" fmla="*/ 2168802 w 2534562"/>
              <a:gd name="connsiteY42" fmla="*/ 1344555 h 1548041"/>
              <a:gd name="connsiteX43" fmla="*/ 2199711 w 2534562"/>
              <a:gd name="connsiteY43" fmla="*/ 1321373 h 1548041"/>
              <a:gd name="connsiteX44" fmla="*/ 2251227 w 2534562"/>
              <a:gd name="connsiteY44" fmla="*/ 1347130 h 1548041"/>
              <a:gd name="connsiteX45" fmla="*/ 2295015 w 2534562"/>
              <a:gd name="connsiteY45" fmla="*/ 1393494 h 1548041"/>
              <a:gd name="connsiteX46" fmla="*/ 2333652 w 2534562"/>
              <a:gd name="connsiteY46" fmla="*/ 1465616 h 1548041"/>
              <a:gd name="connsiteX47" fmla="*/ 2354258 w 2534562"/>
              <a:gd name="connsiteY47" fmla="*/ 1478495 h 1548041"/>
              <a:gd name="connsiteX48" fmla="*/ 2372288 w 2534562"/>
              <a:gd name="connsiteY48" fmla="*/ 1509404 h 1548041"/>
              <a:gd name="connsiteX49" fmla="*/ 2395470 w 2534562"/>
              <a:gd name="connsiteY49" fmla="*/ 1548041 h 1548041"/>
              <a:gd name="connsiteX50" fmla="*/ 2423804 w 2534562"/>
              <a:gd name="connsiteY50" fmla="*/ 1548041 h 1548041"/>
              <a:gd name="connsiteX51" fmla="*/ 2446986 w 2534562"/>
              <a:gd name="connsiteY51" fmla="*/ 1519707 h 1548041"/>
              <a:gd name="connsiteX52" fmla="*/ 2483047 w 2534562"/>
              <a:gd name="connsiteY52" fmla="*/ 1483646 h 1548041"/>
              <a:gd name="connsiteX53" fmla="*/ 2480471 w 2534562"/>
              <a:gd name="connsiteY53" fmla="*/ 1442434 h 1548041"/>
              <a:gd name="connsiteX54" fmla="*/ 2495925 w 2534562"/>
              <a:gd name="connsiteY54" fmla="*/ 1419252 h 1548041"/>
              <a:gd name="connsiteX55" fmla="*/ 2493350 w 2534562"/>
              <a:gd name="connsiteY55" fmla="*/ 1347130 h 1548041"/>
              <a:gd name="connsiteX56" fmla="*/ 2519107 w 2534562"/>
              <a:gd name="connsiteY56" fmla="*/ 1305918 h 1548041"/>
              <a:gd name="connsiteX57" fmla="*/ 2498501 w 2534562"/>
              <a:gd name="connsiteY57" fmla="*/ 1272433 h 1548041"/>
              <a:gd name="connsiteX58" fmla="*/ 2526835 w 2534562"/>
              <a:gd name="connsiteY58" fmla="*/ 1233796 h 1548041"/>
              <a:gd name="connsiteX59" fmla="*/ 2534562 w 2534562"/>
              <a:gd name="connsiteY59" fmla="*/ 1200311 h 1548041"/>
              <a:gd name="connsiteX60" fmla="*/ 2498501 w 2534562"/>
              <a:gd name="connsiteY60" fmla="*/ 1148796 h 1548041"/>
              <a:gd name="connsiteX61" fmla="*/ 2436683 w 2534562"/>
              <a:gd name="connsiteY61" fmla="*/ 1099856 h 1548041"/>
              <a:gd name="connsiteX62" fmla="*/ 2423804 w 2534562"/>
              <a:gd name="connsiteY62" fmla="*/ 1050916 h 1548041"/>
              <a:gd name="connsiteX63" fmla="*/ 2413501 w 2534562"/>
              <a:gd name="connsiteY63" fmla="*/ 994249 h 1548041"/>
              <a:gd name="connsiteX64" fmla="*/ 2392894 w 2534562"/>
              <a:gd name="connsiteY64" fmla="*/ 958188 h 1548041"/>
              <a:gd name="connsiteX65" fmla="*/ 2405773 w 2534562"/>
              <a:gd name="connsiteY65" fmla="*/ 919552 h 1548041"/>
              <a:gd name="connsiteX66" fmla="*/ 2356834 w 2534562"/>
              <a:gd name="connsiteY66" fmla="*/ 798490 h 1548041"/>
              <a:gd name="connsiteX67" fmla="*/ 2356834 w 2534562"/>
              <a:gd name="connsiteY67" fmla="*/ 754702 h 1548041"/>
              <a:gd name="connsiteX68" fmla="*/ 2331076 w 2534562"/>
              <a:gd name="connsiteY68" fmla="*/ 690308 h 1548041"/>
              <a:gd name="connsiteX69" fmla="*/ 2328500 w 2534562"/>
              <a:gd name="connsiteY69" fmla="*/ 654247 h 1548041"/>
              <a:gd name="connsiteX70" fmla="*/ 2307894 w 2534562"/>
              <a:gd name="connsiteY70" fmla="*/ 615610 h 1548041"/>
              <a:gd name="connsiteX71" fmla="*/ 2228045 w 2534562"/>
              <a:gd name="connsiteY71" fmla="*/ 569246 h 1548041"/>
              <a:gd name="connsiteX72" fmla="*/ 2225469 w 2534562"/>
              <a:gd name="connsiteY72" fmla="*/ 533186 h 1548041"/>
              <a:gd name="connsiteX73" fmla="*/ 2194560 w 2534562"/>
              <a:gd name="connsiteY73" fmla="*/ 510004 h 1548041"/>
              <a:gd name="connsiteX74" fmla="*/ 2171378 w 2534562"/>
              <a:gd name="connsiteY74" fmla="*/ 510004 h 1548041"/>
              <a:gd name="connsiteX75" fmla="*/ 2127590 w 2534562"/>
              <a:gd name="connsiteY75" fmla="*/ 512579 h 1548041"/>
              <a:gd name="connsiteX76" fmla="*/ 2058044 w 2534562"/>
              <a:gd name="connsiteY76" fmla="*/ 473943 h 1548041"/>
              <a:gd name="connsiteX77" fmla="*/ 2006528 w 2534562"/>
              <a:gd name="connsiteY77" fmla="*/ 409548 h 1548041"/>
              <a:gd name="connsiteX78" fmla="*/ 1962740 w 2534562"/>
              <a:gd name="connsiteY78" fmla="*/ 386366 h 1548041"/>
              <a:gd name="connsiteX79" fmla="*/ 1957589 w 2534562"/>
              <a:gd name="connsiteY79" fmla="*/ 350306 h 1548041"/>
              <a:gd name="connsiteX80" fmla="*/ 1934407 w 2534562"/>
              <a:gd name="connsiteY80" fmla="*/ 301366 h 1548041"/>
              <a:gd name="connsiteX81" fmla="*/ 1893194 w 2534562"/>
              <a:gd name="connsiteY81" fmla="*/ 270457 h 1548041"/>
              <a:gd name="connsiteX82" fmla="*/ 1898346 w 2534562"/>
              <a:gd name="connsiteY82" fmla="*/ 226668 h 1548041"/>
              <a:gd name="connsiteX83" fmla="*/ 1934407 w 2534562"/>
              <a:gd name="connsiteY83" fmla="*/ 170001 h 1548041"/>
              <a:gd name="connsiteX84" fmla="*/ 1939558 w 2534562"/>
              <a:gd name="connsiteY84" fmla="*/ 105607 h 1548041"/>
              <a:gd name="connsiteX85" fmla="*/ 1967892 w 2534562"/>
              <a:gd name="connsiteY85" fmla="*/ 69546 h 1548041"/>
              <a:gd name="connsiteX86" fmla="*/ 2014256 w 2534562"/>
              <a:gd name="connsiteY86" fmla="*/ 46364 h 1548041"/>
              <a:gd name="connsiteX87" fmla="*/ 2086377 w 2534562"/>
              <a:gd name="connsiteY87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388342 w 2534562"/>
              <a:gd name="connsiteY28" fmla="*/ 834551 h 1548041"/>
              <a:gd name="connsiteX29" fmla="*/ 1397331 w 2534562"/>
              <a:gd name="connsiteY29" fmla="*/ 836717 h 1548041"/>
              <a:gd name="connsiteX30" fmla="*/ 1630465 w 2534562"/>
              <a:gd name="connsiteY30" fmla="*/ 911824 h 1548041"/>
              <a:gd name="connsiteX31" fmla="*/ 1759254 w 2534562"/>
              <a:gd name="connsiteY31" fmla="*/ 989098 h 1548041"/>
              <a:gd name="connsiteX32" fmla="*/ 1759254 w 2534562"/>
              <a:gd name="connsiteY32" fmla="*/ 989098 h 1548041"/>
              <a:gd name="connsiteX33" fmla="*/ 1779860 w 2534562"/>
              <a:gd name="connsiteY33" fmla="*/ 968491 h 1548041"/>
              <a:gd name="connsiteX34" fmla="*/ 1870012 w 2534562"/>
              <a:gd name="connsiteY34" fmla="*/ 1050916 h 1548041"/>
              <a:gd name="connsiteX35" fmla="*/ 1918952 w 2534562"/>
              <a:gd name="connsiteY35" fmla="*/ 1128189 h 1548041"/>
              <a:gd name="connsiteX36" fmla="*/ 1947285 w 2534562"/>
              <a:gd name="connsiteY36" fmla="*/ 1153947 h 1548041"/>
              <a:gd name="connsiteX37" fmla="*/ 1947285 w 2534562"/>
              <a:gd name="connsiteY37" fmla="*/ 1177129 h 1548041"/>
              <a:gd name="connsiteX38" fmla="*/ 1991074 w 2534562"/>
              <a:gd name="connsiteY38" fmla="*/ 1205463 h 1548041"/>
              <a:gd name="connsiteX39" fmla="*/ 1985922 w 2534562"/>
              <a:gd name="connsiteY39" fmla="*/ 1254402 h 1548041"/>
              <a:gd name="connsiteX40" fmla="*/ 2024559 w 2534562"/>
              <a:gd name="connsiteY40" fmla="*/ 1290463 h 1548041"/>
              <a:gd name="connsiteX41" fmla="*/ 2070923 w 2534562"/>
              <a:gd name="connsiteY41" fmla="*/ 1326524 h 1548041"/>
              <a:gd name="connsiteX42" fmla="*/ 2114711 w 2534562"/>
              <a:gd name="connsiteY42" fmla="*/ 1313645 h 1548041"/>
              <a:gd name="connsiteX43" fmla="*/ 2168802 w 2534562"/>
              <a:gd name="connsiteY43" fmla="*/ 1344555 h 1548041"/>
              <a:gd name="connsiteX44" fmla="*/ 2199711 w 2534562"/>
              <a:gd name="connsiteY44" fmla="*/ 1321373 h 1548041"/>
              <a:gd name="connsiteX45" fmla="*/ 2251227 w 2534562"/>
              <a:gd name="connsiteY45" fmla="*/ 1347130 h 1548041"/>
              <a:gd name="connsiteX46" fmla="*/ 2295015 w 2534562"/>
              <a:gd name="connsiteY46" fmla="*/ 1393494 h 1548041"/>
              <a:gd name="connsiteX47" fmla="*/ 2333652 w 2534562"/>
              <a:gd name="connsiteY47" fmla="*/ 1465616 h 1548041"/>
              <a:gd name="connsiteX48" fmla="*/ 2354258 w 2534562"/>
              <a:gd name="connsiteY48" fmla="*/ 1478495 h 1548041"/>
              <a:gd name="connsiteX49" fmla="*/ 2372288 w 2534562"/>
              <a:gd name="connsiteY49" fmla="*/ 1509404 h 1548041"/>
              <a:gd name="connsiteX50" fmla="*/ 2395470 w 2534562"/>
              <a:gd name="connsiteY50" fmla="*/ 1548041 h 1548041"/>
              <a:gd name="connsiteX51" fmla="*/ 2423804 w 2534562"/>
              <a:gd name="connsiteY51" fmla="*/ 1548041 h 1548041"/>
              <a:gd name="connsiteX52" fmla="*/ 2446986 w 2534562"/>
              <a:gd name="connsiteY52" fmla="*/ 1519707 h 1548041"/>
              <a:gd name="connsiteX53" fmla="*/ 2483047 w 2534562"/>
              <a:gd name="connsiteY53" fmla="*/ 1483646 h 1548041"/>
              <a:gd name="connsiteX54" fmla="*/ 2480471 w 2534562"/>
              <a:gd name="connsiteY54" fmla="*/ 1442434 h 1548041"/>
              <a:gd name="connsiteX55" fmla="*/ 2495925 w 2534562"/>
              <a:gd name="connsiteY55" fmla="*/ 1419252 h 1548041"/>
              <a:gd name="connsiteX56" fmla="*/ 2493350 w 2534562"/>
              <a:gd name="connsiteY56" fmla="*/ 1347130 h 1548041"/>
              <a:gd name="connsiteX57" fmla="*/ 2519107 w 2534562"/>
              <a:gd name="connsiteY57" fmla="*/ 1305918 h 1548041"/>
              <a:gd name="connsiteX58" fmla="*/ 2498501 w 2534562"/>
              <a:gd name="connsiteY58" fmla="*/ 1272433 h 1548041"/>
              <a:gd name="connsiteX59" fmla="*/ 2526835 w 2534562"/>
              <a:gd name="connsiteY59" fmla="*/ 1233796 h 1548041"/>
              <a:gd name="connsiteX60" fmla="*/ 2534562 w 2534562"/>
              <a:gd name="connsiteY60" fmla="*/ 1200311 h 1548041"/>
              <a:gd name="connsiteX61" fmla="*/ 2498501 w 2534562"/>
              <a:gd name="connsiteY61" fmla="*/ 1148796 h 1548041"/>
              <a:gd name="connsiteX62" fmla="*/ 2436683 w 2534562"/>
              <a:gd name="connsiteY62" fmla="*/ 1099856 h 1548041"/>
              <a:gd name="connsiteX63" fmla="*/ 2423804 w 2534562"/>
              <a:gd name="connsiteY63" fmla="*/ 1050916 h 1548041"/>
              <a:gd name="connsiteX64" fmla="*/ 2413501 w 2534562"/>
              <a:gd name="connsiteY64" fmla="*/ 994249 h 1548041"/>
              <a:gd name="connsiteX65" fmla="*/ 2392894 w 2534562"/>
              <a:gd name="connsiteY65" fmla="*/ 958188 h 1548041"/>
              <a:gd name="connsiteX66" fmla="*/ 2405773 w 2534562"/>
              <a:gd name="connsiteY66" fmla="*/ 919552 h 1548041"/>
              <a:gd name="connsiteX67" fmla="*/ 2356834 w 2534562"/>
              <a:gd name="connsiteY67" fmla="*/ 798490 h 1548041"/>
              <a:gd name="connsiteX68" fmla="*/ 2356834 w 2534562"/>
              <a:gd name="connsiteY68" fmla="*/ 754702 h 1548041"/>
              <a:gd name="connsiteX69" fmla="*/ 2331076 w 2534562"/>
              <a:gd name="connsiteY69" fmla="*/ 690308 h 1548041"/>
              <a:gd name="connsiteX70" fmla="*/ 2328500 w 2534562"/>
              <a:gd name="connsiteY70" fmla="*/ 654247 h 1548041"/>
              <a:gd name="connsiteX71" fmla="*/ 2307894 w 2534562"/>
              <a:gd name="connsiteY71" fmla="*/ 615610 h 1548041"/>
              <a:gd name="connsiteX72" fmla="*/ 2228045 w 2534562"/>
              <a:gd name="connsiteY72" fmla="*/ 569246 h 1548041"/>
              <a:gd name="connsiteX73" fmla="*/ 2225469 w 2534562"/>
              <a:gd name="connsiteY73" fmla="*/ 533186 h 1548041"/>
              <a:gd name="connsiteX74" fmla="*/ 2194560 w 2534562"/>
              <a:gd name="connsiteY74" fmla="*/ 510004 h 1548041"/>
              <a:gd name="connsiteX75" fmla="*/ 2171378 w 2534562"/>
              <a:gd name="connsiteY75" fmla="*/ 510004 h 1548041"/>
              <a:gd name="connsiteX76" fmla="*/ 2127590 w 2534562"/>
              <a:gd name="connsiteY76" fmla="*/ 512579 h 1548041"/>
              <a:gd name="connsiteX77" fmla="*/ 2058044 w 2534562"/>
              <a:gd name="connsiteY77" fmla="*/ 473943 h 1548041"/>
              <a:gd name="connsiteX78" fmla="*/ 2006528 w 2534562"/>
              <a:gd name="connsiteY78" fmla="*/ 409548 h 1548041"/>
              <a:gd name="connsiteX79" fmla="*/ 1962740 w 2534562"/>
              <a:gd name="connsiteY79" fmla="*/ 386366 h 1548041"/>
              <a:gd name="connsiteX80" fmla="*/ 1957589 w 2534562"/>
              <a:gd name="connsiteY80" fmla="*/ 350306 h 1548041"/>
              <a:gd name="connsiteX81" fmla="*/ 1934407 w 2534562"/>
              <a:gd name="connsiteY81" fmla="*/ 301366 h 1548041"/>
              <a:gd name="connsiteX82" fmla="*/ 1893194 w 2534562"/>
              <a:gd name="connsiteY82" fmla="*/ 270457 h 1548041"/>
              <a:gd name="connsiteX83" fmla="*/ 1898346 w 2534562"/>
              <a:gd name="connsiteY83" fmla="*/ 226668 h 1548041"/>
              <a:gd name="connsiteX84" fmla="*/ 1934407 w 2534562"/>
              <a:gd name="connsiteY84" fmla="*/ 170001 h 1548041"/>
              <a:gd name="connsiteX85" fmla="*/ 1939558 w 2534562"/>
              <a:gd name="connsiteY85" fmla="*/ 105607 h 1548041"/>
              <a:gd name="connsiteX86" fmla="*/ 1967892 w 2534562"/>
              <a:gd name="connsiteY86" fmla="*/ 69546 h 1548041"/>
              <a:gd name="connsiteX87" fmla="*/ 2014256 w 2534562"/>
              <a:gd name="connsiteY87" fmla="*/ 46364 h 1548041"/>
              <a:gd name="connsiteX88" fmla="*/ 2086377 w 2534562"/>
              <a:gd name="connsiteY88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397331 w 2534562"/>
              <a:gd name="connsiteY28" fmla="*/ 836717 h 1548041"/>
              <a:gd name="connsiteX29" fmla="*/ 1630465 w 2534562"/>
              <a:gd name="connsiteY29" fmla="*/ 911824 h 1548041"/>
              <a:gd name="connsiteX30" fmla="*/ 1759254 w 2534562"/>
              <a:gd name="connsiteY30" fmla="*/ 989098 h 1548041"/>
              <a:gd name="connsiteX31" fmla="*/ 1759254 w 2534562"/>
              <a:gd name="connsiteY31" fmla="*/ 989098 h 1548041"/>
              <a:gd name="connsiteX32" fmla="*/ 1779860 w 2534562"/>
              <a:gd name="connsiteY32" fmla="*/ 968491 h 1548041"/>
              <a:gd name="connsiteX33" fmla="*/ 1870012 w 2534562"/>
              <a:gd name="connsiteY33" fmla="*/ 1050916 h 1548041"/>
              <a:gd name="connsiteX34" fmla="*/ 1918952 w 2534562"/>
              <a:gd name="connsiteY34" fmla="*/ 1128189 h 1548041"/>
              <a:gd name="connsiteX35" fmla="*/ 1947285 w 2534562"/>
              <a:gd name="connsiteY35" fmla="*/ 1153947 h 1548041"/>
              <a:gd name="connsiteX36" fmla="*/ 1947285 w 2534562"/>
              <a:gd name="connsiteY36" fmla="*/ 1177129 h 1548041"/>
              <a:gd name="connsiteX37" fmla="*/ 1991074 w 2534562"/>
              <a:gd name="connsiteY37" fmla="*/ 1205463 h 1548041"/>
              <a:gd name="connsiteX38" fmla="*/ 1985922 w 2534562"/>
              <a:gd name="connsiteY38" fmla="*/ 1254402 h 1548041"/>
              <a:gd name="connsiteX39" fmla="*/ 2024559 w 2534562"/>
              <a:gd name="connsiteY39" fmla="*/ 1290463 h 1548041"/>
              <a:gd name="connsiteX40" fmla="*/ 2070923 w 2534562"/>
              <a:gd name="connsiteY40" fmla="*/ 1326524 h 1548041"/>
              <a:gd name="connsiteX41" fmla="*/ 2114711 w 2534562"/>
              <a:gd name="connsiteY41" fmla="*/ 1313645 h 1548041"/>
              <a:gd name="connsiteX42" fmla="*/ 2168802 w 2534562"/>
              <a:gd name="connsiteY42" fmla="*/ 1344555 h 1548041"/>
              <a:gd name="connsiteX43" fmla="*/ 2199711 w 2534562"/>
              <a:gd name="connsiteY43" fmla="*/ 1321373 h 1548041"/>
              <a:gd name="connsiteX44" fmla="*/ 2251227 w 2534562"/>
              <a:gd name="connsiteY44" fmla="*/ 1347130 h 1548041"/>
              <a:gd name="connsiteX45" fmla="*/ 2295015 w 2534562"/>
              <a:gd name="connsiteY45" fmla="*/ 1393494 h 1548041"/>
              <a:gd name="connsiteX46" fmla="*/ 2333652 w 2534562"/>
              <a:gd name="connsiteY46" fmla="*/ 1465616 h 1548041"/>
              <a:gd name="connsiteX47" fmla="*/ 2354258 w 2534562"/>
              <a:gd name="connsiteY47" fmla="*/ 1478495 h 1548041"/>
              <a:gd name="connsiteX48" fmla="*/ 2372288 w 2534562"/>
              <a:gd name="connsiteY48" fmla="*/ 1509404 h 1548041"/>
              <a:gd name="connsiteX49" fmla="*/ 2395470 w 2534562"/>
              <a:gd name="connsiteY49" fmla="*/ 1548041 h 1548041"/>
              <a:gd name="connsiteX50" fmla="*/ 2423804 w 2534562"/>
              <a:gd name="connsiteY50" fmla="*/ 1548041 h 1548041"/>
              <a:gd name="connsiteX51" fmla="*/ 2446986 w 2534562"/>
              <a:gd name="connsiteY51" fmla="*/ 1519707 h 1548041"/>
              <a:gd name="connsiteX52" fmla="*/ 2483047 w 2534562"/>
              <a:gd name="connsiteY52" fmla="*/ 1483646 h 1548041"/>
              <a:gd name="connsiteX53" fmla="*/ 2480471 w 2534562"/>
              <a:gd name="connsiteY53" fmla="*/ 1442434 h 1548041"/>
              <a:gd name="connsiteX54" fmla="*/ 2495925 w 2534562"/>
              <a:gd name="connsiteY54" fmla="*/ 1419252 h 1548041"/>
              <a:gd name="connsiteX55" fmla="*/ 2493350 w 2534562"/>
              <a:gd name="connsiteY55" fmla="*/ 1347130 h 1548041"/>
              <a:gd name="connsiteX56" fmla="*/ 2519107 w 2534562"/>
              <a:gd name="connsiteY56" fmla="*/ 1305918 h 1548041"/>
              <a:gd name="connsiteX57" fmla="*/ 2498501 w 2534562"/>
              <a:gd name="connsiteY57" fmla="*/ 1272433 h 1548041"/>
              <a:gd name="connsiteX58" fmla="*/ 2526835 w 2534562"/>
              <a:gd name="connsiteY58" fmla="*/ 1233796 h 1548041"/>
              <a:gd name="connsiteX59" fmla="*/ 2534562 w 2534562"/>
              <a:gd name="connsiteY59" fmla="*/ 1200311 h 1548041"/>
              <a:gd name="connsiteX60" fmla="*/ 2498501 w 2534562"/>
              <a:gd name="connsiteY60" fmla="*/ 1148796 h 1548041"/>
              <a:gd name="connsiteX61" fmla="*/ 2436683 w 2534562"/>
              <a:gd name="connsiteY61" fmla="*/ 1099856 h 1548041"/>
              <a:gd name="connsiteX62" fmla="*/ 2423804 w 2534562"/>
              <a:gd name="connsiteY62" fmla="*/ 1050916 h 1548041"/>
              <a:gd name="connsiteX63" fmla="*/ 2413501 w 2534562"/>
              <a:gd name="connsiteY63" fmla="*/ 994249 h 1548041"/>
              <a:gd name="connsiteX64" fmla="*/ 2392894 w 2534562"/>
              <a:gd name="connsiteY64" fmla="*/ 958188 h 1548041"/>
              <a:gd name="connsiteX65" fmla="*/ 2405773 w 2534562"/>
              <a:gd name="connsiteY65" fmla="*/ 919552 h 1548041"/>
              <a:gd name="connsiteX66" fmla="*/ 2356834 w 2534562"/>
              <a:gd name="connsiteY66" fmla="*/ 798490 h 1548041"/>
              <a:gd name="connsiteX67" fmla="*/ 2356834 w 2534562"/>
              <a:gd name="connsiteY67" fmla="*/ 754702 h 1548041"/>
              <a:gd name="connsiteX68" fmla="*/ 2331076 w 2534562"/>
              <a:gd name="connsiteY68" fmla="*/ 690308 h 1548041"/>
              <a:gd name="connsiteX69" fmla="*/ 2328500 w 2534562"/>
              <a:gd name="connsiteY69" fmla="*/ 654247 h 1548041"/>
              <a:gd name="connsiteX70" fmla="*/ 2307894 w 2534562"/>
              <a:gd name="connsiteY70" fmla="*/ 615610 h 1548041"/>
              <a:gd name="connsiteX71" fmla="*/ 2228045 w 2534562"/>
              <a:gd name="connsiteY71" fmla="*/ 569246 h 1548041"/>
              <a:gd name="connsiteX72" fmla="*/ 2225469 w 2534562"/>
              <a:gd name="connsiteY72" fmla="*/ 533186 h 1548041"/>
              <a:gd name="connsiteX73" fmla="*/ 2194560 w 2534562"/>
              <a:gd name="connsiteY73" fmla="*/ 510004 h 1548041"/>
              <a:gd name="connsiteX74" fmla="*/ 2171378 w 2534562"/>
              <a:gd name="connsiteY74" fmla="*/ 510004 h 1548041"/>
              <a:gd name="connsiteX75" fmla="*/ 2127590 w 2534562"/>
              <a:gd name="connsiteY75" fmla="*/ 512579 h 1548041"/>
              <a:gd name="connsiteX76" fmla="*/ 2058044 w 2534562"/>
              <a:gd name="connsiteY76" fmla="*/ 473943 h 1548041"/>
              <a:gd name="connsiteX77" fmla="*/ 2006528 w 2534562"/>
              <a:gd name="connsiteY77" fmla="*/ 409548 h 1548041"/>
              <a:gd name="connsiteX78" fmla="*/ 1962740 w 2534562"/>
              <a:gd name="connsiteY78" fmla="*/ 386366 h 1548041"/>
              <a:gd name="connsiteX79" fmla="*/ 1957589 w 2534562"/>
              <a:gd name="connsiteY79" fmla="*/ 350306 h 1548041"/>
              <a:gd name="connsiteX80" fmla="*/ 1934407 w 2534562"/>
              <a:gd name="connsiteY80" fmla="*/ 301366 h 1548041"/>
              <a:gd name="connsiteX81" fmla="*/ 1893194 w 2534562"/>
              <a:gd name="connsiteY81" fmla="*/ 270457 h 1548041"/>
              <a:gd name="connsiteX82" fmla="*/ 1898346 w 2534562"/>
              <a:gd name="connsiteY82" fmla="*/ 226668 h 1548041"/>
              <a:gd name="connsiteX83" fmla="*/ 1934407 w 2534562"/>
              <a:gd name="connsiteY83" fmla="*/ 170001 h 1548041"/>
              <a:gd name="connsiteX84" fmla="*/ 1939558 w 2534562"/>
              <a:gd name="connsiteY84" fmla="*/ 105607 h 1548041"/>
              <a:gd name="connsiteX85" fmla="*/ 1967892 w 2534562"/>
              <a:gd name="connsiteY85" fmla="*/ 69546 h 1548041"/>
              <a:gd name="connsiteX86" fmla="*/ 2014256 w 2534562"/>
              <a:gd name="connsiteY86" fmla="*/ 46364 h 1548041"/>
              <a:gd name="connsiteX87" fmla="*/ 2086377 w 2534562"/>
              <a:gd name="connsiteY87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387956 w 2534562"/>
              <a:gd name="connsiteY28" fmla="*/ 832923 h 1548041"/>
              <a:gd name="connsiteX29" fmla="*/ 1397331 w 2534562"/>
              <a:gd name="connsiteY29" fmla="*/ 836717 h 1548041"/>
              <a:gd name="connsiteX30" fmla="*/ 1630465 w 2534562"/>
              <a:gd name="connsiteY30" fmla="*/ 911824 h 1548041"/>
              <a:gd name="connsiteX31" fmla="*/ 1759254 w 2534562"/>
              <a:gd name="connsiteY31" fmla="*/ 989098 h 1548041"/>
              <a:gd name="connsiteX32" fmla="*/ 1759254 w 2534562"/>
              <a:gd name="connsiteY32" fmla="*/ 989098 h 1548041"/>
              <a:gd name="connsiteX33" fmla="*/ 1779860 w 2534562"/>
              <a:gd name="connsiteY33" fmla="*/ 968491 h 1548041"/>
              <a:gd name="connsiteX34" fmla="*/ 1870012 w 2534562"/>
              <a:gd name="connsiteY34" fmla="*/ 1050916 h 1548041"/>
              <a:gd name="connsiteX35" fmla="*/ 1918952 w 2534562"/>
              <a:gd name="connsiteY35" fmla="*/ 1128189 h 1548041"/>
              <a:gd name="connsiteX36" fmla="*/ 1947285 w 2534562"/>
              <a:gd name="connsiteY36" fmla="*/ 1153947 h 1548041"/>
              <a:gd name="connsiteX37" fmla="*/ 1947285 w 2534562"/>
              <a:gd name="connsiteY37" fmla="*/ 1177129 h 1548041"/>
              <a:gd name="connsiteX38" fmla="*/ 1991074 w 2534562"/>
              <a:gd name="connsiteY38" fmla="*/ 1205463 h 1548041"/>
              <a:gd name="connsiteX39" fmla="*/ 1985922 w 2534562"/>
              <a:gd name="connsiteY39" fmla="*/ 1254402 h 1548041"/>
              <a:gd name="connsiteX40" fmla="*/ 2024559 w 2534562"/>
              <a:gd name="connsiteY40" fmla="*/ 1290463 h 1548041"/>
              <a:gd name="connsiteX41" fmla="*/ 2070923 w 2534562"/>
              <a:gd name="connsiteY41" fmla="*/ 1326524 h 1548041"/>
              <a:gd name="connsiteX42" fmla="*/ 2114711 w 2534562"/>
              <a:gd name="connsiteY42" fmla="*/ 1313645 h 1548041"/>
              <a:gd name="connsiteX43" fmla="*/ 2168802 w 2534562"/>
              <a:gd name="connsiteY43" fmla="*/ 1344555 h 1548041"/>
              <a:gd name="connsiteX44" fmla="*/ 2199711 w 2534562"/>
              <a:gd name="connsiteY44" fmla="*/ 1321373 h 1548041"/>
              <a:gd name="connsiteX45" fmla="*/ 2251227 w 2534562"/>
              <a:gd name="connsiteY45" fmla="*/ 1347130 h 1548041"/>
              <a:gd name="connsiteX46" fmla="*/ 2295015 w 2534562"/>
              <a:gd name="connsiteY46" fmla="*/ 1393494 h 1548041"/>
              <a:gd name="connsiteX47" fmla="*/ 2333652 w 2534562"/>
              <a:gd name="connsiteY47" fmla="*/ 1465616 h 1548041"/>
              <a:gd name="connsiteX48" fmla="*/ 2354258 w 2534562"/>
              <a:gd name="connsiteY48" fmla="*/ 1478495 h 1548041"/>
              <a:gd name="connsiteX49" fmla="*/ 2372288 w 2534562"/>
              <a:gd name="connsiteY49" fmla="*/ 1509404 h 1548041"/>
              <a:gd name="connsiteX50" fmla="*/ 2395470 w 2534562"/>
              <a:gd name="connsiteY50" fmla="*/ 1548041 h 1548041"/>
              <a:gd name="connsiteX51" fmla="*/ 2423804 w 2534562"/>
              <a:gd name="connsiteY51" fmla="*/ 1548041 h 1548041"/>
              <a:gd name="connsiteX52" fmla="*/ 2446986 w 2534562"/>
              <a:gd name="connsiteY52" fmla="*/ 1519707 h 1548041"/>
              <a:gd name="connsiteX53" fmla="*/ 2483047 w 2534562"/>
              <a:gd name="connsiteY53" fmla="*/ 1483646 h 1548041"/>
              <a:gd name="connsiteX54" fmla="*/ 2480471 w 2534562"/>
              <a:gd name="connsiteY54" fmla="*/ 1442434 h 1548041"/>
              <a:gd name="connsiteX55" fmla="*/ 2495925 w 2534562"/>
              <a:gd name="connsiteY55" fmla="*/ 1419252 h 1548041"/>
              <a:gd name="connsiteX56" fmla="*/ 2493350 w 2534562"/>
              <a:gd name="connsiteY56" fmla="*/ 1347130 h 1548041"/>
              <a:gd name="connsiteX57" fmla="*/ 2519107 w 2534562"/>
              <a:gd name="connsiteY57" fmla="*/ 1305918 h 1548041"/>
              <a:gd name="connsiteX58" fmla="*/ 2498501 w 2534562"/>
              <a:gd name="connsiteY58" fmla="*/ 1272433 h 1548041"/>
              <a:gd name="connsiteX59" fmla="*/ 2526835 w 2534562"/>
              <a:gd name="connsiteY59" fmla="*/ 1233796 h 1548041"/>
              <a:gd name="connsiteX60" fmla="*/ 2534562 w 2534562"/>
              <a:gd name="connsiteY60" fmla="*/ 1200311 h 1548041"/>
              <a:gd name="connsiteX61" fmla="*/ 2498501 w 2534562"/>
              <a:gd name="connsiteY61" fmla="*/ 1148796 h 1548041"/>
              <a:gd name="connsiteX62" fmla="*/ 2436683 w 2534562"/>
              <a:gd name="connsiteY62" fmla="*/ 1099856 h 1548041"/>
              <a:gd name="connsiteX63" fmla="*/ 2423804 w 2534562"/>
              <a:gd name="connsiteY63" fmla="*/ 1050916 h 1548041"/>
              <a:gd name="connsiteX64" fmla="*/ 2413501 w 2534562"/>
              <a:gd name="connsiteY64" fmla="*/ 994249 h 1548041"/>
              <a:gd name="connsiteX65" fmla="*/ 2392894 w 2534562"/>
              <a:gd name="connsiteY65" fmla="*/ 958188 h 1548041"/>
              <a:gd name="connsiteX66" fmla="*/ 2405773 w 2534562"/>
              <a:gd name="connsiteY66" fmla="*/ 919552 h 1548041"/>
              <a:gd name="connsiteX67" fmla="*/ 2356834 w 2534562"/>
              <a:gd name="connsiteY67" fmla="*/ 798490 h 1548041"/>
              <a:gd name="connsiteX68" fmla="*/ 2356834 w 2534562"/>
              <a:gd name="connsiteY68" fmla="*/ 754702 h 1548041"/>
              <a:gd name="connsiteX69" fmla="*/ 2331076 w 2534562"/>
              <a:gd name="connsiteY69" fmla="*/ 690308 h 1548041"/>
              <a:gd name="connsiteX70" fmla="*/ 2328500 w 2534562"/>
              <a:gd name="connsiteY70" fmla="*/ 654247 h 1548041"/>
              <a:gd name="connsiteX71" fmla="*/ 2307894 w 2534562"/>
              <a:gd name="connsiteY71" fmla="*/ 615610 h 1548041"/>
              <a:gd name="connsiteX72" fmla="*/ 2228045 w 2534562"/>
              <a:gd name="connsiteY72" fmla="*/ 569246 h 1548041"/>
              <a:gd name="connsiteX73" fmla="*/ 2225469 w 2534562"/>
              <a:gd name="connsiteY73" fmla="*/ 533186 h 1548041"/>
              <a:gd name="connsiteX74" fmla="*/ 2194560 w 2534562"/>
              <a:gd name="connsiteY74" fmla="*/ 510004 h 1548041"/>
              <a:gd name="connsiteX75" fmla="*/ 2171378 w 2534562"/>
              <a:gd name="connsiteY75" fmla="*/ 510004 h 1548041"/>
              <a:gd name="connsiteX76" fmla="*/ 2127590 w 2534562"/>
              <a:gd name="connsiteY76" fmla="*/ 512579 h 1548041"/>
              <a:gd name="connsiteX77" fmla="*/ 2058044 w 2534562"/>
              <a:gd name="connsiteY77" fmla="*/ 473943 h 1548041"/>
              <a:gd name="connsiteX78" fmla="*/ 2006528 w 2534562"/>
              <a:gd name="connsiteY78" fmla="*/ 409548 h 1548041"/>
              <a:gd name="connsiteX79" fmla="*/ 1962740 w 2534562"/>
              <a:gd name="connsiteY79" fmla="*/ 386366 h 1548041"/>
              <a:gd name="connsiteX80" fmla="*/ 1957589 w 2534562"/>
              <a:gd name="connsiteY80" fmla="*/ 350306 h 1548041"/>
              <a:gd name="connsiteX81" fmla="*/ 1934407 w 2534562"/>
              <a:gd name="connsiteY81" fmla="*/ 301366 h 1548041"/>
              <a:gd name="connsiteX82" fmla="*/ 1893194 w 2534562"/>
              <a:gd name="connsiteY82" fmla="*/ 270457 h 1548041"/>
              <a:gd name="connsiteX83" fmla="*/ 1898346 w 2534562"/>
              <a:gd name="connsiteY83" fmla="*/ 226668 h 1548041"/>
              <a:gd name="connsiteX84" fmla="*/ 1934407 w 2534562"/>
              <a:gd name="connsiteY84" fmla="*/ 170001 h 1548041"/>
              <a:gd name="connsiteX85" fmla="*/ 1939558 w 2534562"/>
              <a:gd name="connsiteY85" fmla="*/ 105607 h 1548041"/>
              <a:gd name="connsiteX86" fmla="*/ 1967892 w 2534562"/>
              <a:gd name="connsiteY86" fmla="*/ 69546 h 1548041"/>
              <a:gd name="connsiteX87" fmla="*/ 2014256 w 2534562"/>
              <a:gd name="connsiteY87" fmla="*/ 46364 h 1548041"/>
              <a:gd name="connsiteX88" fmla="*/ 2086377 w 2534562"/>
              <a:gd name="connsiteY88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387956 w 2534562"/>
              <a:gd name="connsiteY28" fmla="*/ 832923 h 1548041"/>
              <a:gd name="connsiteX29" fmla="*/ 1630465 w 2534562"/>
              <a:gd name="connsiteY29" fmla="*/ 911824 h 1548041"/>
              <a:gd name="connsiteX30" fmla="*/ 1759254 w 2534562"/>
              <a:gd name="connsiteY30" fmla="*/ 989098 h 1548041"/>
              <a:gd name="connsiteX31" fmla="*/ 1759254 w 2534562"/>
              <a:gd name="connsiteY31" fmla="*/ 989098 h 1548041"/>
              <a:gd name="connsiteX32" fmla="*/ 1779860 w 2534562"/>
              <a:gd name="connsiteY32" fmla="*/ 968491 h 1548041"/>
              <a:gd name="connsiteX33" fmla="*/ 1870012 w 2534562"/>
              <a:gd name="connsiteY33" fmla="*/ 1050916 h 1548041"/>
              <a:gd name="connsiteX34" fmla="*/ 1918952 w 2534562"/>
              <a:gd name="connsiteY34" fmla="*/ 1128189 h 1548041"/>
              <a:gd name="connsiteX35" fmla="*/ 1947285 w 2534562"/>
              <a:gd name="connsiteY35" fmla="*/ 1153947 h 1548041"/>
              <a:gd name="connsiteX36" fmla="*/ 1947285 w 2534562"/>
              <a:gd name="connsiteY36" fmla="*/ 1177129 h 1548041"/>
              <a:gd name="connsiteX37" fmla="*/ 1991074 w 2534562"/>
              <a:gd name="connsiteY37" fmla="*/ 1205463 h 1548041"/>
              <a:gd name="connsiteX38" fmla="*/ 1985922 w 2534562"/>
              <a:gd name="connsiteY38" fmla="*/ 1254402 h 1548041"/>
              <a:gd name="connsiteX39" fmla="*/ 2024559 w 2534562"/>
              <a:gd name="connsiteY39" fmla="*/ 1290463 h 1548041"/>
              <a:gd name="connsiteX40" fmla="*/ 2070923 w 2534562"/>
              <a:gd name="connsiteY40" fmla="*/ 1326524 h 1548041"/>
              <a:gd name="connsiteX41" fmla="*/ 2114711 w 2534562"/>
              <a:gd name="connsiteY41" fmla="*/ 1313645 h 1548041"/>
              <a:gd name="connsiteX42" fmla="*/ 2168802 w 2534562"/>
              <a:gd name="connsiteY42" fmla="*/ 1344555 h 1548041"/>
              <a:gd name="connsiteX43" fmla="*/ 2199711 w 2534562"/>
              <a:gd name="connsiteY43" fmla="*/ 1321373 h 1548041"/>
              <a:gd name="connsiteX44" fmla="*/ 2251227 w 2534562"/>
              <a:gd name="connsiteY44" fmla="*/ 1347130 h 1548041"/>
              <a:gd name="connsiteX45" fmla="*/ 2295015 w 2534562"/>
              <a:gd name="connsiteY45" fmla="*/ 1393494 h 1548041"/>
              <a:gd name="connsiteX46" fmla="*/ 2333652 w 2534562"/>
              <a:gd name="connsiteY46" fmla="*/ 1465616 h 1548041"/>
              <a:gd name="connsiteX47" fmla="*/ 2354258 w 2534562"/>
              <a:gd name="connsiteY47" fmla="*/ 1478495 h 1548041"/>
              <a:gd name="connsiteX48" fmla="*/ 2372288 w 2534562"/>
              <a:gd name="connsiteY48" fmla="*/ 1509404 h 1548041"/>
              <a:gd name="connsiteX49" fmla="*/ 2395470 w 2534562"/>
              <a:gd name="connsiteY49" fmla="*/ 1548041 h 1548041"/>
              <a:gd name="connsiteX50" fmla="*/ 2423804 w 2534562"/>
              <a:gd name="connsiteY50" fmla="*/ 1548041 h 1548041"/>
              <a:gd name="connsiteX51" fmla="*/ 2446986 w 2534562"/>
              <a:gd name="connsiteY51" fmla="*/ 1519707 h 1548041"/>
              <a:gd name="connsiteX52" fmla="*/ 2483047 w 2534562"/>
              <a:gd name="connsiteY52" fmla="*/ 1483646 h 1548041"/>
              <a:gd name="connsiteX53" fmla="*/ 2480471 w 2534562"/>
              <a:gd name="connsiteY53" fmla="*/ 1442434 h 1548041"/>
              <a:gd name="connsiteX54" fmla="*/ 2495925 w 2534562"/>
              <a:gd name="connsiteY54" fmla="*/ 1419252 h 1548041"/>
              <a:gd name="connsiteX55" fmla="*/ 2493350 w 2534562"/>
              <a:gd name="connsiteY55" fmla="*/ 1347130 h 1548041"/>
              <a:gd name="connsiteX56" fmla="*/ 2519107 w 2534562"/>
              <a:gd name="connsiteY56" fmla="*/ 1305918 h 1548041"/>
              <a:gd name="connsiteX57" fmla="*/ 2498501 w 2534562"/>
              <a:gd name="connsiteY57" fmla="*/ 1272433 h 1548041"/>
              <a:gd name="connsiteX58" fmla="*/ 2526835 w 2534562"/>
              <a:gd name="connsiteY58" fmla="*/ 1233796 h 1548041"/>
              <a:gd name="connsiteX59" fmla="*/ 2534562 w 2534562"/>
              <a:gd name="connsiteY59" fmla="*/ 1200311 h 1548041"/>
              <a:gd name="connsiteX60" fmla="*/ 2498501 w 2534562"/>
              <a:gd name="connsiteY60" fmla="*/ 1148796 h 1548041"/>
              <a:gd name="connsiteX61" fmla="*/ 2436683 w 2534562"/>
              <a:gd name="connsiteY61" fmla="*/ 1099856 h 1548041"/>
              <a:gd name="connsiteX62" fmla="*/ 2423804 w 2534562"/>
              <a:gd name="connsiteY62" fmla="*/ 1050916 h 1548041"/>
              <a:gd name="connsiteX63" fmla="*/ 2413501 w 2534562"/>
              <a:gd name="connsiteY63" fmla="*/ 994249 h 1548041"/>
              <a:gd name="connsiteX64" fmla="*/ 2392894 w 2534562"/>
              <a:gd name="connsiteY64" fmla="*/ 958188 h 1548041"/>
              <a:gd name="connsiteX65" fmla="*/ 2405773 w 2534562"/>
              <a:gd name="connsiteY65" fmla="*/ 919552 h 1548041"/>
              <a:gd name="connsiteX66" fmla="*/ 2356834 w 2534562"/>
              <a:gd name="connsiteY66" fmla="*/ 798490 h 1548041"/>
              <a:gd name="connsiteX67" fmla="*/ 2356834 w 2534562"/>
              <a:gd name="connsiteY67" fmla="*/ 754702 h 1548041"/>
              <a:gd name="connsiteX68" fmla="*/ 2331076 w 2534562"/>
              <a:gd name="connsiteY68" fmla="*/ 690308 h 1548041"/>
              <a:gd name="connsiteX69" fmla="*/ 2328500 w 2534562"/>
              <a:gd name="connsiteY69" fmla="*/ 654247 h 1548041"/>
              <a:gd name="connsiteX70" fmla="*/ 2307894 w 2534562"/>
              <a:gd name="connsiteY70" fmla="*/ 615610 h 1548041"/>
              <a:gd name="connsiteX71" fmla="*/ 2228045 w 2534562"/>
              <a:gd name="connsiteY71" fmla="*/ 569246 h 1548041"/>
              <a:gd name="connsiteX72" fmla="*/ 2225469 w 2534562"/>
              <a:gd name="connsiteY72" fmla="*/ 533186 h 1548041"/>
              <a:gd name="connsiteX73" fmla="*/ 2194560 w 2534562"/>
              <a:gd name="connsiteY73" fmla="*/ 510004 h 1548041"/>
              <a:gd name="connsiteX74" fmla="*/ 2171378 w 2534562"/>
              <a:gd name="connsiteY74" fmla="*/ 510004 h 1548041"/>
              <a:gd name="connsiteX75" fmla="*/ 2127590 w 2534562"/>
              <a:gd name="connsiteY75" fmla="*/ 512579 h 1548041"/>
              <a:gd name="connsiteX76" fmla="*/ 2058044 w 2534562"/>
              <a:gd name="connsiteY76" fmla="*/ 473943 h 1548041"/>
              <a:gd name="connsiteX77" fmla="*/ 2006528 w 2534562"/>
              <a:gd name="connsiteY77" fmla="*/ 409548 h 1548041"/>
              <a:gd name="connsiteX78" fmla="*/ 1962740 w 2534562"/>
              <a:gd name="connsiteY78" fmla="*/ 386366 h 1548041"/>
              <a:gd name="connsiteX79" fmla="*/ 1957589 w 2534562"/>
              <a:gd name="connsiteY79" fmla="*/ 350306 h 1548041"/>
              <a:gd name="connsiteX80" fmla="*/ 1934407 w 2534562"/>
              <a:gd name="connsiteY80" fmla="*/ 301366 h 1548041"/>
              <a:gd name="connsiteX81" fmla="*/ 1893194 w 2534562"/>
              <a:gd name="connsiteY81" fmla="*/ 270457 h 1548041"/>
              <a:gd name="connsiteX82" fmla="*/ 1898346 w 2534562"/>
              <a:gd name="connsiteY82" fmla="*/ 226668 h 1548041"/>
              <a:gd name="connsiteX83" fmla="*/ 1934407 w 2534562"/>
              <a:gd name="connsiteY83" fmla="*/ 170001 h 1548041"/>
              <a:gd name="connsiteX84" fmla="*/ 1939558 w 2534562"/>
              <a:gd name="connsiteY84" fmla="*/ 105607 h 1548041"/>
              <a:gd name="connsiteX85" fmla="*/ 1967892 w 2534562"/>
              <a:gd name="connsiteY85" fmla="*/ 69546 h 1548041"/>
              <a:gd name="connsiteX86" fmla="*/ 2014256 w 2534562"/>
              <a:gd name="connsiteY86" fmla="*/ 46364 h 1548041"/>
              <a:gd name="connsiteX87" fmla="*/ 2086377 w 2534562"/>
              <a:gd name="connsiteY87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630465 w 2534562"/>
              <a:gd name="connsiteY28" fmla="*/ 911824 h 1548041"/>
              <a:gd name="connsiteX29" fmla="*/ 1759254 w 2534562"/>
              <a:gd name="connsiteY29" fmla="*/ 989098 h 1548041"/>
              <a:gd name="connsiteX30" fmla="*/ 1759254 w 2534562"/>
              <a:gd name="connsiteY30" fmla="*/ 989098 h 1548041"/>
              <a:gd name="connsiteX31" fmla="*/ 1779860 w 2534562"/>
              <a:gd name="connsiteY31" fmla="*/ 968491 h 1548041"/>
              <a:gd name="connsiteX32" fmla="*/ 1870012 w 2534562"/>
              <a:gd name="connsiteY32" fmla="*/ 1050916 h 1548041"/>
              <a:gd name="connsiteX33" fmla="*/ 1918952 w 2534562"/>
              <a:gd name="connsiteY33" fmla="*/ 1128189 h 1548041"/>
              <a:gd name="connsiteX34" fmla="*/ 1947285 w 2534562"/>
              <a:gd name="connsiteY34" fmla="*/ 1153947 h 1548041"/>
              <a:gd name="connsiteX35" fmla="*/ 1947285 w 2534562"/>
              <a:gd name="connsiteY35" fmla="*/ 1177129 h 1548041"/>
              <a:gd name="connsiteX36" fmla="*/ 1991074 w 2534562"/>
              <a:gd name="connsiteY36" fmla="*/ 1205463 h 1548041"/>
              <a:gd name="connsiteX37" fmla="*/ 1985922 w 2534562"/>
              <a:gd name="connsiteY37" fmla="*/ 1254402 h 1548041"/>
              <a:gd name="connsiteX38" fmla="*/ 2024559 w 2534562"/>
              <a:gd name="connsiteY38" fmla="*/ 1290463 h 1548041"/>
              <a:gd name="connsiteX39" fmla="*/ 2070923 w 2534562"/>
              <a:gd name="connsiteY39" fmla="*/ 1326524 h 1548041"/>
              <a:gd name="connsiteX40" fmla="*/ 2114711 w 2534562"/>
              <a:gd name="connsiteY40" fmla="*/ 1313645 h 1548041"/>
              <a:gd name="connsiteX41" fmla="*/ 2168802 w 2534562"/>
              <a:gd name="connsiteY41" fmla="*/ 1344555 h 1548041"/>
              <a:gd name="connsiteX42" fmla="*/ 2199711 w 2534562"/>
              <a:gd name="connsiteY42" fmla="*/ 1321373 h 1548041"/>
              <a:gd name="connsiteX43" fmla="*/ 2251227 w 2534562"/>
              <a:gd name="connsiteY43" fmla="*/ 1347130 h 1548041"/>
              <a:gd name="connsiteX44" fmla="*/ 2295015 w 2534562"/>
              <a:gd name="connsiteY44" fmla="*/ 1393494 h 1548041"/>
              <a:gd name="connsiteX45" fmla="*/ 2333652 w 2534562"/>
              <a:gd name="connsiteY45" fmla="*/ 1465616 h 1548041"/>
              <a:gd name="connsiteX46" fmla="*/ 2354258 w 2534562"/>
              <a:gd name="connsiteY46" fmla="*/ 1478495 h 1548041"/>
              <a:gd name="connsiteX47" fmla="*/ 2372288 w 2534562"/>
              <a:gd name="connsiteY47" fmla="*/ 1509404 h 1548041"/>
              <a:gd name="connsiteX48" fmla="*/ 2395470 w 2534562"/>
              <a:gd name="connsiteY48" fmla="*/ 1548041 h 1548041"/>
              <a:gd name="connsiteX49" fmla="*/ 2423804 w 2534562"/>
              <a:gd name="connsiteY49" fmla="*/ 1548041 h 1548041"/>
              <a:gd name="connsiteX50" fmla="*/ 2446986 w 2534562"/>
              <a:gd name="connsiteY50" fmla="*/ 1519707 h 1548041"/>
              <a:gd name="connsiteX51" fmla="*/ 2483047 w 2534562"/>
              <a:gd name="connsiteY51" fmla="*/ 1483646 h 1548041"/>
              <a:gd name="connsiteX52" fmla="*/ 2480471 w 2534562"/>
              <a:gd name="connsiteY52" fmla="*/ 1442434 h 1548041"/>
              <a:gd name="connsiteX53" fmla="*/ 2495925 w 2534562"/>
              <a:gd name="connsiteY53" fmla="*/ 1419252 h 1548041"/>
              <a:gd name="connsiteX54" fmla="*/ 2493350 w 2534562"/>
              <a:gd name="connsiteY54" fmla="*/ 1347130 h 1548041"/>
              <a:gd name="connsiteX55" fmla="*/ 2519107 w 2534562"/>
              <a:gd name="connsiteY55" fmla="*/ 1305918 h 1548041"/>
              <a:gd name="connsiteX56" fmla="*/ 2498501 w 2534562"/>
              <a:gd name="connsiteY56" fmla="*/ 1272433 h 1548041"/>
              <a:gd name="connsiteX57" fmla="*/ 2526835 w 2534562"/>
              <a:gd name="connsiteY57" fmla="*/ 1233796 h 1548041"/>
              <a:gd name="connsiteX58" fmla="*/ 2534562 w 2534562"/>
              <a:gd name="connsiteY58" fmla="*/ 1200311 h 1548041"/>
              <a:gd name="connsiteX59" fmla="*/ 2498501 w 2534562"/>
              <a:gd name="connsiteY59" fmla="*/ 1148796 h 1548041"/>
              <a:gd name="connsiteX60" fmla="*/ 2436683 w 2534562"/>
              <a:gd name="connsiteY60" fmla="*/ 1099856 h 1548041"/>
              <a:gd name="connsiteX61" fmla="*/ 2423804 w 2534562"/>
              <a:gd name="connsiteY61" fmla="*/ 1050916 h 1548041"/>
              <a:gd name="connsiteX62" fmla="*/ 2413501 w 2534562"/>
              <a:gd name="connsiteY62" fmla="*/ 994249 h 1548041"/>
              <a:gd name="connsiteX63" fmla="*/ 2392894 w 2534562"/>
              <a:gd name="connsiteY63" fmla="*/ 958188 h 1548041"/>
              <a:gd name="connsiteX64" fmla="*/ 2405773 w 2534562"/>
              <a:gd name="connsiteY64" fmla="*/ 919552 h 1548041"/>
              <a:gd name="connsiteX65" fmla="*/ 2356834 w 2534562"/>
              <a:gd name="connsiteY65" fmla="*/ 798490 h 1548041"/>
              <a:gd name="connsiteX66" fmla="*/ 2356834 w 2534562"/>
              <a:gd name="connsiteY66" fmla="*/ 754702 h 1548041"/>
              <a:gd name="connsiteX67" fmla="*/ 2331076 w 2534562"/>
              <a:gd name="connsiteY67" fmla="*/ 690308 h 1548041"/>
              <a:gd name="connsiteX68" fmla="*/ 2328500 w 2534562"/>
              <a:gd name="connsiteY68" fmla="*/ 654247 h 1548041"/>
              <a:gd name="connsiteX69" fmla="*/ 2307894 w 2534562"/>
              <a:gd name="connsiteY69" fmla="*/ 615610 h 1548041"/>
              <a:gd name="connsiteX70" fmla="*/ 2228045 w 2534562"/>
              <a:gd name="connsiteY70" fmla="*/ 569246 h 1548041"/>
              <a:gd name="connsiteX71" fmla="*/ 2225469 w 2534562"/>
              <a:gd name="connsiteY71" fmla="*/ 533186 h 1548041"/>
              <a:gd name="connsiteX72" fmla="*/ 2194560 w 2534562"/>
              <a:gd name="connsiteY72" fmla="*/ 510004 h 1548041"/>
              <a:gd name="connsiteX73" fmla="*/ 2171378 w 2534562"/>
              <a:gd name="connsiteY73" fmla="*/ 510004 h 1548041"/>
              <a:gd name="connsiteX74" fmla="*/ 2127590 w 2534562"/>
              <a:gd name="connsiteY74" fmla="*/ 512579 h 1548041"/>
              <a:gd name="connsiteX75" fmla="*/ 2058044 w 2534562"/>
              <a:gd name="connsiteY75" fmla="*/ 473943 h 1548041"/>
              <a:gd name="connsiteX76" fmla="*/ 2006528 w 2534562"/>
              <a:gd name="connsiteY76" fmla="*/ 409548 h 1548041"/>
              <a:gd name="connsiteX77" fmla="*/ 1962740 w 2534562"/>
              <a:gd name="connsiteY77" fmla="*/ 386366 h 1548041"/>
              <a:gd name="connsiteX78" fmla="*/ 1957589 w 2534562"/>
              <a:gd name="connsiteY78" fmla="*/ 350306 h 1548041"/>
              <a:gd name="connsiteX79" fmla="*/ 1934407 w 2534562"/>
              <a:gd name="connsiteY79" fmla="*/ 301366 h 1548041"/>
              <a:gd name="connsiteX80" fmla="*/ 1893194 w 2534562"/>
              <a:gd name="connsiteY80" fmla="*/ 270457 h 1548041"/>
              <a:gd name="connsiteX81" fmla="*/ 1898346 w 2534562"/>
              <a:gd name="connsiteY81" fmla="*/ 226668 h 1548041"/>
              <a:gd name="connsiteX82" fmla="*/ 1934407 w 2534562"/>
              <a:gd name="connsiteY82" fmla="*/ 170001 h 1548041"/>
              <a:gd name="connsiteX83" fmla="*/ 1939558 w 2534562"/>
              <a:gd name="connsiteY83" fmla="*/ 105607 h 1548041"/>
              <a:gd name="connsiteX84" fmla="*/ 1967892 w 2534562"/>
              <a:gd name="connsiteY84" fmla="*/ 69546 h 1548041"/>
              <a:gd name="connsiteX85" fmla="*/ 2014256 w 2534562"/>
              <a:gd name="connsiteY85" fmla="*/ 46364 h 1548041"/>
              <a:gd name="connsiteX86" fmla="*/ 2086377 w 2534562"/>
              <a:gd name="connsiteY86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759254 w 2534562"/>
              <a:gd name="connsiteY28" fmla="*/ 989098 h 1548041"/>
              <a:gd name="connsiteX29" fmla="*/ 1759254 w 2534562"/>
              <a:gd name="connsiteY29" fmla="*/ 989098 h 1548041"/>
              <a:gd name="connsiteX30" fmla="*/ 1779860 w 2534562"/>
              <a:gd name="connsiteY30" fmla="*/ 968491 h 1548041"/>
              <a:gd name="connsiteX31" fmla="*/ 1870012 w 2534562"/>
              <a:gd name="connsiteY31" fmla="*/ 1050916 h 1548041"/>
              <a:gd name="connsiteX32" fmla="*/ 1918952 w 2534562"/>
              <a:gd name="connsiteY32" fmla="*/ 1128189 h 1548041"/>
              <a:gd name="connsiteX33" fmla="*/ 1947285 w 2534562"/>
              <a:gd name="connsiteY33" fmla="*/ 1153947 h 1548041"/>
              <a:gd name="connsiteX34" fmla="*/ 1947285 w 2534562"/>
              <a:gd name="connsiteY34" fmla="*/ 1177129 h 1548041"/>
              <a:gd name="connsiteX35" fmla="*/ 1991074 w 2534562"/>
              <a:gd name="connsiteY35" fmla="*/ 1205463 h 1548041"/>
              <a:gd name="connsiteX36" fmla="*/ 1985922 w 2534562"/>
              <a:gd name="connsiteY36" fmla="*/ 1254402 h 1548041"/>
              <a:gd name="connsiteX37" fmla="*/ 2024559 w 2534562"/>
              <a:gd name="connsiteY37" fmla="*/ 1290463 h 1548041"/>
              <a:gd name="connsiteX38" fmla="*/ 2070923 w 2534562"/>
              <a:gd name="connsiteY38" fmla="*/ 1326524 h 1548041"/>
              <a:gd name="connsiteX39" fmla="*/ 2114711 w 2534562"/>
              <a:gd name="connsiteY39" fmla="*/ 1313645 h 1548041"/>
              <a:gd name="connsiteX40" fmla="*/ 2168802 w 2534562"/>
              <a:gd name="connsiteY40" fmla="*/ 1344555 h 1548041"/>
              <a:gd name="connsiteX41" fmla="*/ 2199711 w 2534562"/>
              <a:gd name="connsiteY41" fmla="*/ 1321373 h 1548041"/>
              <a:gd name="connsiteX42" fmla="*/ 2251227 w 2534562"/>
              <a:gd name="connsiteY42" fmla="*/ 1347130 h 1548041"/>
              <a:gd name="connsiteX43" fmla="*/ 2295015 w 2534562"/>
              <a:gd name="connsiteY43" fmla="*/ 1393494 h 1548041"/>
              <a:gd name="connsiteX44" fmla="*/ 2333652 w 2534562"/>
              <a:gd name="connsiteY44" fmla="*/ 1465616 h 1548041"/>
              <a:gd name="connsiteX45" fmla="*/ 2354258 w 2534562"/>
              <a:gd name="connsiteY45" fmla="*/ 1478495 h 1548041"/>
              <a:gd name="connsiteX46" fmla="*/ 2372288 w 2534562"/>
              <a:gd name="connsiteY46" fmla="*/ 1509404 h 1548041"/>
              <a:gd name="connsiteX47" fmla="*/ 2395470 w 2534562"/>
              <a:gd name="connsiteY47" fmla="*/ 1548041 h 1548041"/>
              <a:gd name="connsiteX48" fmla="*/ 2423804 w 2534562"/>
              <a:gd name="connsiteY48" fmla="*/ 1548041 h 1548041"/>
              <a:gd name="connsiteX49" fmla="*/ 2446986 w 2534562"/>
              <a:gd name="connsiteY49" fmla="*/ 1519707 h 1548041"/>
              <a:gd name="connsiteX50" fmla="*/ 2483047 w 2534562"/>
              <a:gd name="connsiteY50" fmla="*/ 1483646 h 1548041"/>
              <a:gd name="connsiteX51" fmla="*/ 2480471 w 2534562"/>
              <a:gd name="connsiteY51" fmla="*/ 1442434 h 1548041"/>
              <a:gd name="connsiteX52" fmla="*/ 2495925 w 2534562"/>
              <a:gd name="connsiteY52" fmla="*/ 1419252 h 1548041"/>
              <a:gd name="connsiteX53" fmla="*/ 2493350 w 2534562"/>
              <a:gd name="connsiteY53" fmla="*/ 1347130 h 1548041"/>
              <a:gd name="connsiteX54" fmla="*/ 2519107 w 2534562"/>
              <a:gd name="connsiteY54" fmla="*/ 1305918 h 1548041"/>
              <a:gd name="connsiteX55" fmla="*/ 2498501 w 2534562"/>
              <a:gd name="connsiteY55" fmla="*/ 1272433 h 1548041"/>
              <a:gd name="connsiteX56" fmla="*/ 2526835 w 2534562"/>
              <a:gd name="connsiteY56" fmla="*/ 1233796 h 1548041"/>
              <a:gd name="connsiteX57" fmla="*/ 2534562 w 2534562"/>
              <a:gd name="connsiteY57" fmla="*/ 1200311 h 1548041"/>
              <a:gd name="connsiteX58" fmla="*/ 2498501 w 2534562"/>
              <a:gd name="connsiteY58" fmla="*/ 1148796 h 1548041"/>
              <a:gd name="connsiteX59" fmla="*/ 2436683 w 2534562"/>
              <a:gd name="connsiteY59" fmla="*/ 1099856 h 1548041"/>
              <a:gd name="connsiteX60" fmla="*/ 2423804 w 2534562"/>
              <a:gd name="connsiteY60" fmla="*/ 1050916 h 1548041"/>
              <a:gd name="connsiteX61" fmla="*/ 2413501 w 2534562"/>
              <a:gd name="connsiteY61" fmla="*/ 994249 h 1548041"/>
              <a:gd name="connsiteX62" fmla="*/ 2392894 w 2534562"/>
              <a:gd name="connsiteY62" fmla="*/ 958188 h 1548041"/>
              <a:gd name="connsiteX63" fmla="*/ 2405773 w 2534562"/>
              <a:gd name="connsiteY63" fmla="*/ 919552 h 1548041"/>
              <a:gd name="connsiteX64" fmla="*/ 2356834 w 2534562"/>
              <a:gd name="connsiteY64" fmla="*/ 798490 h 1548041"/>
              <a:gd name="connsiteX65" fmla="*/ 2356834 w 2534562"/>
              <a:gd name="connsiteY65" fmla="*/ 754702 h 1548041"/>
              <a:gd name="connsiteX66" fmla="*/ 2331076 w 2534562"/>
              <a:gd name="connsiteY66" fmla="*/ 690308 h 1548041"/>
              <a:gd name="connsiteX67" fmla="*/ 2328500 w 2534562"/>
              <a:gd name="connsiteY67" fmla="*/ 654247 h 1548041"/>
              <a:gd name="connsiteX68" fmla="*/ 2307894 w 2534562"/>
              <a:gd name="connsiteY68" fmla="*/ 615610 h 1548041"/>
              <a:gd name="connsiteX69" fmla="*/ 2228045 w 2534562"/>
              <a:gd name="connsiteY69" fmla="*/ 569246 h 1548041"/>
              <a:gd name="connsiteX70" fmla="*/ 2225469 w 2534562"/>
              <a:gd name="connsiteY70" fmla="*/ 533186 h 1548041"/>
              <a:gd name="connsiteX71" fmla="*/ 2194560 w 2534562"/>
              <a:gd name="connsiteY71" fmla="*/ 510004 h 1548041"/>
              <a:gd name="connsiteX72" fmla="*/ 2171378 w 2534562"/>
              <a:gd name="connsiteY72" fmla="*/ 510004 h 1548041"/>
              <a:gd name="connsiteX73" fmla="*/ 2127590 w 2534562"/>
              <a:gd name="connsiteY73" fmla="*/ 512579 h 1548041"/>
              <a:gd name="connsiteX74" fmla="*/ 2058044 w 2534562"/>
              <a:gd name="connsiteY74" fmla="*/ 473943 h 1548041"/>
              <a:gd name="connsiteX75" fmla="*/ 2006528 w 2534562"/>
              <a:gd name="connsiteY75" fmla="*/ 409548 h 1548041"/>
              <a:gd name="connsiteX76" fmla="*/ 1962740 w 2534562"/>
              <a:gd name="connsiteY76" fmla="*/ 386366 h 1548041"/>
              <a:gd name="connsiteX77" fmla="*/ 1957589 w 2534562"/>
              <a:gd name="connsiteY77" fmla="*/ 350306 h 1548041"/>
              <a:gd name="connsiteX78" fmla="*/ 1934407 w 2534562"/>
              <a:gd name="connsiteY78" fmla="*/ 301366 h 1548041"/>
              <a:gd name="connsiteX79" fmla="*/ 1893194 w 2534562"/>
              <a:gd name="connsiteY79" fmla="*/ 270457 h 1548041"/>
              <a:gd name="connsiteX80" fmla="*/ 1898346 w 2534562"/>
              <a:gd name="connsiteY80" fmla="*/ 226668 h 1548041"/>
              <a:gd name="connsiteX81" fmla="*/ 1934407 w 2534562"/>
              <a:gd name="connsiteY81" fmla="*/ 170001 h 1548041"/>
              <a:gd name="connsiteX82" fmla="*/ 1939558 w 2534562"/>
              <a:gd name="connsiteY82" fmla="*/ 105607 h 1548041"/>
              <a:gd name="connsiteX83" fmla="*/ 1967892 w 2534562"/>
              <a:gd name="connsiteY83" fmla="*/ 69546 h 1548041"/>
              <a:gd name="connsiteX84" fmla="*/ 2014256 w 2534562"/>
              <a:gd name="connsiteY84" fmla="*/ 46364 h 1548041"/>
              <a:gd name="connsiteX85" fmla="*/ 2086377 w 2534562"/>
              <a:gd name="connsiteY85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759254 w 2534562"/>
              <a:gd name="connsiteY28" fmla="*/ 989098 h 1548041"/>
              <a:gd name="connsiteX29" fmla="*/ 1779860 w 2534562"/>
              <a:gd name="connsiteY29" fmla="*/ 968491 h 1548041"/>
              <a:gd name="connsiteX30" fmla="*/ 1870012 w 2534562"/>
              <a:gd name="connsiteY30" fmla="*/ 1050916 h 1548041"/>
              <a:gd name="connsiteX31" fmla="*/ 1918952 w 2534562"/>
              <a:gd name="connsiteY31" fmla="*/ 1128189 h 1548041"/>
              <a:gd name="connsiteX32" fmla="*/ 1947285 w 2534562"/>
              <a:gd name="connsiteY32" fmla="*/ 1153947 h 1548041"/>
              <a:gd name="connsiteX33" fmla="*/ 1947285 w 2534562"/>
              <a:gd name="connsiteY33" fmla="*/ 1177129 h 1548041"/>
              <a:gd name="connsiteX34" fmla="*/ 1991074 w 2534562"/>
              <a:gd name="connsiteY34" fmla="*/ 1205463 h 1548041"/>
              <a:gd name="connsiteX35" fmla="*/ 1985922 w 2534562"/>
              <a:gd name="connsiteY35" fmla="*/ 1254402 h 1548041"/>
              <a:gd name="connsiteX36" fmla="*/ 2024559 w 2534562"/>
              <a:gd name="connsiteY36" fmla="*/ 1290463 h 1548041"/>
              <a:gd name="connsiteX37" fmla="*/ 2070923 w 2534562"/>
              <a:gd name="connsiteY37" fmla="*/ 1326524 h 1548041"/>
              <a:gd name="connsiteX38" fmla="*/ 2114711 w 2534562"/>
              <a:gd name="connsiteY38" fmla="*/ 1313645 h 1548041"/>
              <a:gd name="connsiteX39" fmla="*/ 2168802 w 2534562"/>
              <a:gd name="connsiteY39" fmla="*/ 1344555 h 1548041"/>
              <a:gd name="connsiteX40" fmla="*/ 2199711 w 2534562"/>
              <a:gd name="connsiteY40" fmla="*/ 1321373 h 1548041"/>
              <a:gd name="connsiteX41" fmla="*/ 2251227 w 2534562"/>
              <a:gd name="connsiteY41" fmla="*/ 1347130 h 1548041"/>
              <a:gd name="connsiteX42" fmla="*/ 2295015 w 2534562"/>
              <a:gd name="connsiteY42" fmla="*/ 1393494 h 1548041"/>
              <a:gd name="connsiteX43" fmla="*/ 2333652 w 2534562"/>
              <a:gd name="connsiteY43" fmla="*/ 1465616 h 1548041"/>
              <a:gd name="connsiteX44" fmla="*/ 2354258 w 2534562"/>
              <a:gd name="connsiteY44" fmla="*/ 1478495 h 1548041"/>
              <a:gd name="connsiteX45" fmla="*/ 2372288 w 2534562"/>
              <a:gd name="connsiteY45" fmla="*/ 1509404 h 1548041"/>
              <a:gd name="connsiteX46" fmla="*/ 2395470 w 2534562"/>
              <a:gd name="connsiteY46" fmla="*/ 1548041 h 1548041"/>
              <a:gd name="connsiteX47" fmla="*/ 2423804 w 2534562"/>
              <a:gd name="connsiteY47" fmla="*/ 1548041 h 1548041"/>
              <a:gd name="connsiteX48" fmla="*/ 2446986 w 2534562"/>
              <a:gd name="connsiteY48" fmla="*/ 1519707 h 1548041"/>
              <a:gd name="connsiteX49" fmla="*/ 2483047 w 2534562"/>
              <a:gd name="connsiteY49" fmla="*/ 1483646 h 1548041"/>
              <a:gd name="connsiteX50" fmla="*/ 2480471 w 2534562"/>
              <a:gd name="connsiteY50" fmla="*/ 1442434 h 1548041"/>
              <a:gd name="connsiteX51" fmla="*/ 2495925 w 2534562"/>
              <a:gd name="connsiteY51" fmla="*/ 1419252 h 1548041"/>
              <a:gd name="connsiteX52" fmla="*/ 2493350 w 2534562"/>
              <a:gd name="connsiteY52" fmla="*/ 1347130 h 1548041"/>
              <a:gd name="connsiteX53" fmla="*/ 2519107 w 2534562"/>
              <a:gd name="connsiteY53" fmla="*/ 1305918 h 1548041"/>
              <a:gd name="connsiteX54" fmla="*/ 2498501 w 2534562"/>
              <a:gd name="connsiteY54" fmla="*/ 1272433 h 1548041"/>
              <a:gd name="connsiteX55" fmla="*/ 2526835 w 2534562"/>
              <a:gd name="connsiteY55" fmla="*/ 1233796 h 1548041"/>
              <a:gd name="connsiteX56" fmla="*/ 2534562 w 2534562"/>
              <a:gd name="connsiteY56" fmla="*/ 1200311 h 1548041"/>
              <a:gd name="connsiteX57" fmla="*/ 2498501 w 2534562"/>
              <a:gd name="connsiteY57" fmla="*/ 1148796 h 1548041"/>
              <a:gd name="connsiteX58" fmla="*/ 2436683 w 2534562"/>
              <a:gd name="connsiteY58" fmla="*/ 1099856 h 1548041"/>
              <a:gd name="connsiteX59" fmla="*/ 2423804 w 2534562"/>
              <a:gd name="connsiteY59" fmla="*/ 1050916 h 1548041"/>
              <a:gd name="connsiteX60" fmla="*/ 2413501 w 2534562"/>
              <a:gd name="connsiteY60" fmla="*/ 994249 h 1548041"/>
              <a:gd name="connsiteX61" fmla="*/ 2392894 w 2534562"/>
              <a:gd name="connsiteY61" fmla="*/ 958188 h 1548041"/>
              <a:gd name="connsiteX62" fmla="*/ 2405773 w 2534562"/>
              <a:gd name="connsiteY62" fmla="*/ 919552 h 1548041"/>
              <a:gd name="connsiteX63" fmla="*/ 2356834 w 2534562"/>
              <a:gd name="connsiteY63" fmla="*/ 798490 h 1548041"/>
              <a:gd name="connsiteX64" fmla="*/ 2356834 w 2534562"/>
              <a:gd name="connsiteY64" fmla="*/ 754702 h 1548041"/>
              <a:gd name="connsiteX65" fmla="*/ 2331076 w 2534562"/>
              <a:gd name="connsiteY65" fmla="*/ 690308 h 1548041"/>
              <a:gd name="connsiteX66" fmla="*/ 2328500 w 2534562"/>
              <a:gd name="connsiteY66" fmla="*/ 654247 h 1548041"/>
              <a:gd name="connsiteX67" fmla="*/ 2307894 w 2534562"/>
              <a:gd name="connsiteY67" fmla="*/ 615610 h 1548041"/>
              <a:gd name="connsiteX68" fmla="*/ 2228045 w 2534562"/>
              <a:gd name="connsiteY68" fmla="*/ 569246 h 1548041"/>
              <a:gd name="connsiteX69" fmla="*/ 2225469 w 2534562"/>
              <a:gd name="connsiteY69" fmla="*/ 533186 h 1548041"/>
              <a:gd name="connsiteX70" fmla="*/ 2194560 w 2534562"/>
              <a:gd name="connsiteY70" fmla="*/ 510004 h 1548041"/>
              <a:gd name="connsiteX71" fmla="*/ 2171378 w 2534562"/>
              <a:gd name="connsiteY71" fmla="*/ 510004 h 1548041"/>
              <a:gd name="connsiteX72" fmla="*/ 2127590 w 2534562"/>
              <a:gd name="connsiteY72" fmla="*/ 512579 h 1548041"/>
              <a:gd name="connsiteX73" fmla="*/ 2058044 w 2534562"/>
              <a:gd name="connsiteY73" fmla="*/ 473943 h 1548041"/>
              <a:gd name="connsiteX74" fmla="*/ 2006528 w 2534562"/>
              <a:gd name="connsiteY74" fmla="*/ 409548 h 1548041"/>
              <a:gd name="connsiteX75" fmla="*/ 1962740 w 2534562"/>
              <a:gd name="connsiteY75" fmla="*/ 386366 h 1548041"/>
              <a:gd name="connsiteX76" fmla="*/ 1957589 w 2534562"/>
              <a:gd name="connsiteY76" fmla="*/ 350306 h 1548041"/>
              <a:gd name="connsiteX77" fmla="*/ 1934407 w 2534562"/>
              <a:gd name="connsiteY77" fmla="*/ 301366 h 1548041"/>
              <a:gd name="connsiteX78" fmla="*/ 1893194 w 2534562"/>
              <a:gd name="connsiteY78" fmla="*/ 270457 h 1548041"/>
              <a:gd name="connsiteX79" fmla="*/ 1898346 w 2534562"/>
              <a:gd name="connsiteY79" fmla="*/ 226668 h 1548041"/>
              <a:gd name="connsiteX80" fmla="*/ 1934407 w 2534562"/>
              <a:gd name="connsiteY80" fmla="*/ 170001 h 1548041"/>
              <a:gd name="connsiteX81" fmla="*/ 1939558 w 2534562"/>
              <a:gd name="connsiteY81" fmla="*/ 105607 h 1548041"/>
              <a:gd name="connsiteX82" fmla="*/ 1967892 w 2534562"/>
              <a:gd name="connsiteY82" fmla="*/ 69546 h 1548041"/>
              <a:gd name="connsiteX83" fmla="*/ 2014256 w 2534562"/>
              <a:gd name="connsiteY83" fmla="*/ 46364 h 1548041"/>
              <a:gd name="connsiteX84" fmla="*/ 2086377 w 2534562"/>
              <a:gd name="connsiteY84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759254 w 2534562"/>
              <a:gd name="connsiteY28" fmla="*/ 989098 h 1548041"/>
              <a:gd name="connsiteX29" fmla="*/ 1870012 w 2534562"/>
              <a:gd name="connsiteY29" fmla="*/ 1050916 h 1548041"/>
              <a:gd name="connsiteX30" fmla="*/ 1918952 w 2534562"/>
              <a:gd name="connsiteY30" fmla="*/ 1128189 h 1548041"/>
              <a:gd name="connsiteX31" fmla="*/ 1947285 w 2534562"/>
              <a:gd name="connsiteY31" fmla="*/ 1153947 h 1548041"/>
              <a:gd name="connsiteX32" fmla="*/ 1947285 w 2534562"/>
              <a:gd name="connsiteY32" fmla="*/ 1177129 h 1548041"/>
              <a:gd name="connsiteX33" fmla="*/ 1991074 w 2534562"/>
              <a:gd name="connsiteY33" fmla="*/ 1205463 h 1548041"/>
              <a:gd name="connsiteX34" fmla="*/ 1985922 w 2534562"/>
              <a:gd name="connsiteY34" fmla="*/ 1254402 h 1548041"/>
              <a:gd name="connsiteX35" fmla="*/ 2024559 w 2534562"/>
              <a:gd name="connsiteY35" fmla="*/ 1290463 h 1548041"/>
              <a:gd name="connsiteX36" fmla="*/ 2070923 w 2534562"/>
              <a:gd name="connsiteY36" fmla="*/ 1326524 h 1548041"/>
              <a:gd name="connsiteX37" fmla="*/ 2114711 w 2534562"/>
              <a:gd name="connsiteY37" fmla="*/ 1313645 h 1548041"/>
              <a:gd name="connsiteX38" fmla="*/ 2168802 w 2534562"/>
              <a:gd name="connsiteY38" fmla="*/ 1344555 h 1548041"/>
              <a:gd name="connsiteX39" fmla="*/ 2199711 w 2534562"/>
              <a:gd name="connsiteY39" fmla="*/ 1321373 h 1548041"/>
              <a:gd name="connsiteX40" fmla="*/ 2251227 w 2534562"/>
              <a:gd name="connsiteY40" fmla="*/ 1347130 h 1548041"/>
              <a:gd name="connsiteX41" fmla="*/ 2295015 w 2534562"/>
              <a:gd name="connsiteY41" fmla="*/ 1393494 h 1548041"/>
              <a:gd name="connsiteX42" fmla="*/ 2333652 w 2534562"/>
              <a:gd name="connsiteY42" fmla="*/ 1465616 h 1548041"/>
              <a:gd name="connsiteX43" fmla="*/ 2354258 w 2534562"/>
              <a:gd name="connsiteY43" fmla="*/ 1478495 h 1548041"/>
              <a:gd name="connsiteX44" fmla="*/ 2372288 w 2534562"/>
              <a:gd name="connsiteY44" fmla="*/ 1509404 h 1548041"/>
              <a:gd name="connsiteX45" fmla="*/ 2395470 w 2534562"/>
              <a:gd name="connsiteY45" fmla="*/ 1548041 h 1548041"/>
              <a:gd name="connsiteX46" fmla="*/ 2423804 w 2534562"/>
              <a:gd name="connsiteY46" fmla="*/ 1548041 h 1548041"/>
              <a:gd name="connsiteX47" fmla="*/ 2446986 w 2534562"/>
              <a:gd name="connsiteY47" fmla="*/ 1519707 h 1548041"/>
              <a:gd name="connsiteX48" fmla="*/ 2483047 w 2534562"/>
              <a:gd name="connsiteY48" fmla="*/ 1483646 h 1548041"/>
              <a:gd name="connsiteX49" fmla="*/ 2480471 w 2534562"/>
              <a:gd name="connsiteY49" fmla="*/ 1442434 h 1548041"/>
              <a:gd name="connsiteX50" fmla="*/ 2495925 w 2534562"/>
              <a:gd name="connsiteY50" fmla="*/ 1419252 h 1548041"/>
              <a:gd name="connsiteX51" fmla="*/ 2493350 w 2534562"/>
              <a:gd name="connsiteY51" fmla="*/ 1347130 h 1548041"/>
              <a:gd name="connsiteX52" fmla="*/ 2519107 w 2534562"/>
              <a:gd name="connsiteY52" fmla="*/ 1305918 h 1548041"/>
              <a:gd name="connsiteX53" fmla="*/ 2498501 w 2534562"/>
              <a:gd name="connsiteY53" fmla="*/ 1272433 h 1548041"/>
              <a:gd name="connsiteX54" fmla="*/ 2526835 w 2534562"/>
              <a:gd name="connsiteY54" fmla="*/ 1233796 h 1548041"/>
              <a:gd name="connsiteX55" fmla="*/ 2534562 w 2534562"/>
              <a:gd name="connsiteY55" fmla="*/ 1200311 h 1548041"/>
              <a:gd name="connsiteX56" fmla="*/ 2498501 w 2534562"/>
              <a:gd name="connsiteY56" fmla="*/ 1148796 h 1548041"/>
              <a:gd name="connsiteX57" fmla="*/ 2436683 w 2534562"/>
              <a:gd name="connsiteY57" fmla="*/ 1099856 h 1548041"/>
              <a:gd name="connsiteX58" fmla="*/ 2423804 w 2534562"/>
              <a:gd name="connsiteY58" fmla="*/ 1050916 h 1548041"/>
              <a:gd name="connsiteX59" fmla="*/ 2413501 w 2534562"/>
              <a:gd name="connsiteY59" fmla="*/ 994249 h 1548041"/>
              <a:gd name="connsiteX60" fmla="*/ 2392894 w 2534562"/>
              <a:gd name="connsiteY60" fmla="*/ 958188 h 1548041"/>
              <a:gd name="connsiteX61" fmla="*/ 2405773 w 2534562"/>
              <a:gd name="connsiteY61" fmla="*/ 919552 h 1548041"/>
              <a:gd name="connsiteX62" fmla="*/ 2356834 w 2534562"/>
              <a:gd name="connsiteY62" fmla="*/ 798490 h 1548041"/>
              <a:gd name="connsiteX63" fmla="*/ 2356834 w 2534562"/>
              <a:gd name="connsiteY63" fmla="*/ 754702 h 1548041"/>
              <a:gd name="connsiteX64" fmla="*/ 2331076 w 2534562"/>
              <a:gd name="connsiteY64" fmla="*/ 690308 h 1548041"/>
              <a:gd name="connsiteX65" fmla="*/ 2328500 w 2534562"/>
              <a:gd name="connsiteY65" fmla="*/ 654247 h 1548041"/>
              <a:gd name="connsiteX66" fmla="*/ 2307894 w 2534562"/>
              <a:gd name="connsiteY66" fmla="*/ 615610 h 1548041"/>
              <a:gd name="connsiteX67" fmla="*/ 2228045 w 2534562"/>
              <a:gd name="connsiteY67" fmla="*/ 569246 h 1548041"/>
              <a:gd name="connsiteX68" fmla="*/ 2225469 w 2534562"/>
              <a:gd name="connsiteY68" fmla="*/ 533186 h 1548041"/>
              <a:gd name="connsiteX69" fmla="*/ 2194560 w 2534562"/>
              <a:gd name="connsiteY69" fmla="*/ 510004 h 1548041"/>
              <a:gd name="connsiteX70" fmla="*/ 2171378 w 2534562"/>
              <a:gd name="connsiteY70" fmla="*/ 510004 h 1548041"/>
              <a:gd name="connsiteX71" fmla="*/ 2127590 w 2534562"/>
              <a:gd name="connsiteY71" fmla="*/ 512579 h 1548041"/>
              <a:gd name="connsiteX72" fmla="*/ 2058044 w 2534562"/>
              <a:gd name="connsiteY72" fmla="*/ 473943 h 1548041"/>
              <a:gd name="connsiteX73" fmla="*/ 2006528 w 2534562"/>
              <a:gd name="connsiteY73" fmla="*/ 409548 h 1548041"/>
              <a:gd name="connsiteX74" fmla="*/ 1962740 w 2534562"/>
              <a:gd name="connsiteY74" fmla="*/ 386366 h 1548041"/>
              <a:gd name="connsiteX75" fmla="*/ 1957589 w 2534562"/>
              <a:gd name="connsiteY75" fmla="*/ 350306 h 1548041"/>
              <a:gd name="connsiteX76" fmla="*/ 1934407 w 2534562"/>
              <a:gd name="connsiteY76" fmla="*/ 301366 h 1548041"/>
              <a:gd name="connsiteX77" fmla="*/ 1893194 w 2534562"/>
              <a:gd name="connsiteY77" fmla="*/ 270457 h 1548041"/>
              <a:gd name="connsiteX78" fmla="*/ 1898346 w 2534562"/>
              <a:gd name="connsiteY78" fmla="*/ 226668 h 1548041"/>
              <a:gd name="connsiteX79" fmla="*/ 1934407 w 2534562"/>
              <a:gd name="connsiteY79" fmla="*/ 170001 h 1548041"/>
              <a:gd name="connsiteX80" fmla="*/ 1939558 w 2534562"/>
              <a:gd name="connsiteY80" fmla="*/ 105607 h 1548041"/>
              <a:gd name="connsiteX81" fmla="*/ 1967892 w 2534562"/>
              <a:gd name="connsiteY81" fmla="*/ 69546 h 1548041"/>
              <a:gd name="connsiteX82" fmla="*/ 2014256 w 2534562"/>
              <a:gd name="connsiteY82" fmla="*/ 46364 h 1548041"/>
              <a:gd name="connsiteX83" fmla="*/ 2086377 w 2534562"/>
              <a:gd name="connsiteY83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870012 w 2534562"/>
              <a:gd name="connsiteY28" fmla="*/ 1050916 h 1548041"/>
              <a:gd name="connsiteX29" fmla="*/ 1918952 w 2534562"/>
              <a:gd name="connsiteY29" fmla="*/ 1128189 h 1548041"/>
              <a:gd name="connsiteX30" fmla="*/ 1947285 w 2534562"/>
              <a:gd name="connsiteY30" fmla="*/ 1153947 h 1548041"/>
              <a:gd name="connsiteX31" fmla="*/ 1947285 w 2534562"/>
              <a:gd name="connsiteY31" fmla="*/ 1177129 h 1548041"/>
              <a:gd name="connsiteX32" fmla="*/ 1991074 w 2534562"/>
              <a:gd name="connsiteY32" fmla="*/ 1205463 h 1548041"/>
              <a:gd name="connsiteX33" fmla="*/ 1985922 w 2534562"/>
              <a:gd name="connsiteY33" fmla="*/ 1254402 h 1548041"/>
              <a:gd name="connsiteX34" fmla="*/ 2024559 w 2534562"/>
              <a:gd name="connsiteY34" fmla="*/ 1290463 h 1548041"/>
              <a:gd name="connsiteX35" fmla="*/ 2070923 w 2534562"/>
              <a:gd name="connsiteY35" fmla="*/ 1326524 h 1548041"/>
              <a:gd name="connsiteX36" fmla="*/ 2114711 w 2534562"/>
              <a:gd name="connsiteY36" fmla="*/ 1313645 h 1548041"/>
              <a:gd name="connsiteX37" fmla="*/ 2168802 w 2534562"/>
              <a:gd name="connsiteY37" fmla="*/ 1344555 h 1548041"/>
              <a:gd name="connsiteX38" fmla="*/ 2199711 w 2534562"/>
              <a:gd name="connsiteY38" fmla="*/ 1321373 h 1548041"/>
              <a:gd name="connsiteX39" fmla="*/ 2251227 w 2534562"/>
              <a:gd name="connsiteY39" fmla="*/ 1347130 h 1548041"/>
              <a:gd name="connsiteX40" fmla="*/ 2295015 w 2534562"/>
              <a:gd name="connsiteY40" fmla="*/ 1393494 h 1548041"/>
              <a:gd name="connsiteX41" fmla="*/ 2333652 w 2534562"/>
              <a:gd name="connsiteY41" fmla="*/ 1465616 h 1548041"/>
              <a:gd name="connsiteX42" fmla="*/ 2354258 w 2534562"/>
              <a:gd name="connsiteY42" fmla="*/ 1478495 h 1548041"/>
              <a:gd name="connsiteX43" fmla="*/ 2372288 w 2534562"/>
              <a:gd name="connsiteY43" fmla="*/ 1509404 h 1548041"/>
              <a:gd name="connsiteX44" fmla="*/ 2395470 w 2534562"/>
              <a:gd name="connsiteY44" fmla="*/ 1548041 h 1548041"/>
              <a:gd name="connsiteX45" fmla="*/ 2423804 w 2534562"/>
              <a:gd name="connsiteY45" fmla="*/ 1548041 h 1548041"/>
              <a:gd name="connsiteX46" fmla="*/ 2446986 w 2534562"/>
              <a:gd name="connsiteY46" fmla="*/ 1519707 h 1548041"/>
              <a:gd name="connsiteX47" fmla="*/ 2483047 w 2534562"/>
              <a:gd name="connsiteY47" fmla="*/ 1483646 h 1548041"/>
              <a:gd name="connsiteX48" fmla="*/ 2480471 w 2534562"/>
              <a:gd name="connsiteY48" fmla="*/ 1442434 h 1548041"/>
              <a:gd name="connsiteX49" fmla="*/ 2495925 w 2534562"/>
              <a:gd name="connsiteY49" fmla="*/ 1419252 h 1548041"/>
              <a:gd name="connsiteX50" fmla="*/ 2493350 w 2534562"/>
              <a:gd name="connsiteY50" fmla="*/ 1347130 h 1548041"/>
              <a:gd name="connsiteX51" fmla="*/ 2519107 w 2534562"/>
              <a:gd name="connsiteY51" fmla="*/ 1305918 h 1548041"/>
              <a:gd name="connsiteX52" fmla="*/ 2498501 w 2534562"/>
              <a:gd name="connsiteY52" fmla="*/ 1272433 h 1548041"/>
              <a:gd name="connsiteX53" fmla="*/ 2526835 w 2534562"/>
              <a:gd name="connsiteY53" fmla="*/ 1233796 h 1548041"/>
              <a:gd name="connsiteX54" fmla="*/ 2534562 w 2534562"/>
              <a:gd name="connsiteY54" fmla="*/ 1200311 h 1548041"/>
              <a:gd name="connsiteX55" fmla="*/ 2498501 w 2534562"/>
              <a:gd name="connsiteY55" fmla="*/ 1148796 h 1548041"/>
              <a:gd name="connsiteX56" fmla="*/ 2436683 w 2534562"/>
              <a:gd name="connsiteY56" fmla="*/ 1099856 h 1548041"/>
              <a:gd name="connsiteX57" fmla="*/ 2423804 w 2534562"/>
              <a:gd name="connsiteY57" fmla="*/ 1050916 h 1548041"/>
              <a:gd name="connsiteX58" fmla="*/ 2413501 w 2534562"/>
              <a:gd name="connsiteY58" fmla="*/ 994249 h 1548041"/>
              <a:gd name="connsiteX59" fmla="*/ 2392894 w 2534562"/>
              <a:gd name="connsiteY59" fmla="*/ 958188 h 1548041"/>
              <a:gd name="connsiteX60" fmla="*/ 2405773 w 2534562"/>
              <a:gd name="connsiteY60" fmla="*/ 919552 h 1548041"/>
              <a:gd name="connsiteX61" fmla="*/ 2356834 w 2534562"/>
              <a:gd name="connsiteY61" fmla="*/ 798490 h 1548041"/>
              <a:gd name="connsiteX62" fmla="*/ 2356834 w 2534562"/>
              <a:gd name="connsiteY62" fmla="*/ 754702 h 1548041"/>
              <a:gd name="connsiteX63" fmla="*/ 2331076 w 2534562"/>
              <a:gd name="connsiteY63" fmla="*/ 690308 h 1548041"/>
              <a:gd name="connsiteX64" fmla="*/ 2328500 w 2534562"/>
              <a:gd name="connsiteY64" fmla="*/ 654247 h 1548041"/>
              <a:gd name="connsiteX65" fmla="*/ 2307894 w 2534562"/>
              <a:gd name="connsiteY65" fmla="*/ 615610 h 1548041"/>
              <a:gd name="connsiteX66" fmla="*/ 2228045 w 2534562"/>
              <a:gd name="connsiteY66" fmla="*/ 569246 h 1548041"/>
              <a:gd name="connsiteX67" fmla="*/ 2225469 w 2534562"/>
              <a:gd name="connsiteY67" fmla="*/ 533186 h 1548041"/>
              <a:gd name="connsiteX68" fmla="*/ 2194560 w 2534562"/>
              <a:gd name="connsiteY68" fmla="*/ 510004 h 1548041"/>
              <a:gd name="connsiteX69" fmla="*/ 2171378 w 2534562"/>
              <a:gd name="connsiteY69" fmla="*/ 510004 h 1548041"/>
              <a:gd name="connsiteX70" fmla="*/ 2127590 w 2534562"/>
              <a:gd name="connsiteY70" fmla="*/ 512579 h 1548041"/>
              <a:gd name="connsiteX71" fmla="*/ 2058044 w 2534562"/>
              <a:gd name="connsiteY71" fmla="*/ 473943 h 1548041"/>
              <a:gd name="connsiteX72" fmla="*/ 2006528 w 2534562"/>
              <a:gd name="connsiteY72" fmla="*/ 409548 h 1548041"/>
              <a:gd name="connsiteX73" fmla="*/ 1962740 w 2534562"/>
              <a:gd name="connsiteY73" fmla="*/ 386366 h 1548041"/>
              <a:gd name="connsiteX74" fmla="*/ 1957589 w 2534562"/>
              <a:gd name="connsiteY74" fmla="*/ 350306 h 1548041"/>
              <a:gd name="connsiteX75" fmla="*/ 1934407 w 2534562"/>
              <a:gd name="connsiteY75" fmla="*/ 301366 h 1548041"/>
              <a:gd name="connsiteX76" fmla="*/ 1893194 w 2534562"/>
              <a:gd name="connsiteY76" fmla="*/ 270457 h 1548041"/>
              <a:gd name="connsiteX77" fmla="*/ 1898346 w 2534562"/>
              <a:gd name="connsiteY77" fmla="*/ 226668 h 1548041"/>
              <a:gd name="connsiteX78" fmla="*/ 1934407 w 2534562"/>
              <a:gd name="connsiteY78" fmla="*/ 170001 h 1548041"/>
              <a:gd name="connsiteX79" fmla="*/ 1939558 w 2534562"/>
              <a:gd name="connsiteY79" fmla="*/ 105607 h 1548041"/>
              <a:gd name="connsiteX80" fmla="*/ 1967892 w 2534562"/>
              <a:gd name="connsiteY80" fmla="*/ 69546 h 1548041"/>
              <a:gd name="connsiteX81" fmla="*/ 2014256 w 2534562"/>
              <a:gd name="connsiteY81" fmla="*/ 46364 h 1548041"/>
              <a:gd name="connsiteX82" fmla="*/ 2086377 w 2534562"/>
              <a:gd name="connsiteY82" fmla="*/ 0 h 1548041"/>
              <a:gd name="connsiteX0" fmla="*/ 0 w 2534562"/>
              <a:gd name="connsiteY0" fmla="*/ 146819 h 1548041"/>
              <a:gd name="connsiteX1" fmla="*/ 43788 w 2534562"/>
              <a:gd name="connsiteY1" fmla="*/ 177729 h 1548041"/>
              <a:gd name="connsiteX2" fmla="*/ 115910 w 2534562"/>
              <a:gd name="connsiteY2" fmla="*/ 221517 h 1548041"/>
              <a:gd name="connsiteX3" fmla="*/ 162274 w 2534562"/>
              <a:gd name="connsiteY3" fmla="*/ 234396 h 1548041"/>
              <a:gd name="connsiteX4" fmla="*/ 190607 w 2534562"/>
              <a:gd name="connsiteY4" fmla="*/ 224093 h 1548041"/>
              <a:gd name="connsiteX5" fmla="*/ 221516 w 2534562"/>
              <a:gd name="connsiteY5" fmla="*/ 242123 h 1548041"/>
              <a:gd name="connsiteX6" fmla="*/ 262729 w 2534562"/>
              <a:gd name="connsiteY6" fmla="*/ 221517 h 1548041"/>
              <a:gd name="connsiteX7" fmla="*/ 278184 w 2534562"/>
              <a:gd name="connsiteY7" fmla="*/ 198335 h 1548041"/>
              <a:gd name="connsiteX8" fmla="*/ 309093 w 2534562"/>
              <a:gd name="connsiteY8" fmla="*/ 221517 h 1548041"/>
              <a:gd name="connsiteX9" fmla="*/ 342578 w 2534562"/>
              <a:gd name="connsiteY9" fmla="*/ 200911 h 1548041"/>
              <a:gd name="connsiteX10" fmla="*/ 352881 w 2534562"/>
              <a:gd name="connsiteY10" fmla="*/ 172577 h 1548041"/>
              <a:gd name="connsiteX11" fmla="*/ 401821 w 2534562"/>
              <a:gd name="connsiteY11" fmla="*/ 193183 h 1548041"/>
              <a:gd name="connsiteX12" fmla="*/ 455912 w 2534562"/>
              <a:gd name="connsiteY12" fmla="*/ 249850 h 1548041"/>
              <a:gd name="connsiteX13" fmla="*/ 510003 w 2534562"/>
              <a:gd name="connsiteY13" fmla="*/ 255002 h 1548041"/>
              <a:gd name="connsiteX14" fmla="*/ 530609 w 2534562"/>
              <a:gd name="connsiteY14" fmla="*/ 239547 h 1548041"/>
              <a:gd name="connsiteX15" fmla="*/ 576973 w 2534562"/>
              <a:gd name="connsiteY15" fmla="*/ 242123 h 1548041"/>
              <a:gd name="connsiteX16" fmla="*/ 613034 w 2534562"/>
              <a:gd name="connsiteY16" fmla="*/ 275608 h 1548041"/>
              <a:gd name="connsiteX17" fmla="*/ 628489 w 2534562"/>
              <a:gd name="connsiteY17" fmla="*/ 334851 h 1548041"/>
              <a:gd name="connsiteX18" fmla="*/ 669701 w 2534562"/>
              <a:gd name="connsiteY18" fmla="*/ 404397 h 1548041"/>
              <a:gd name="connsiteX19" fmla="*/ 667125 w 2534562"/>
              <a:gd name="connsiteY19" fmla="*/ 453337 h 1548041"/>
              <a:gd name="connsiteX20" fmla="*/ 690307 w 2534562"/>
              <a:gd name="connsiteY20" fmla="*/ 497125 h 1548041"/>
              <a:gd name="connsiteX21" fmla="*/ 739247 w 2534562"/>
              <a:gd name="connsiteY21" fmla="*/ 507428 h 1548041"/>
              <a:gd name="connsiteX22" fmla="*/ 767581 w 2534562"/>
              <a:gd name="connsiteY22" fmla="*/ 535761 h 1548041"/>
              <a:gd name="connsiteX23" fmla="*/ 844854 w 2534562"/>
              <a:gd name="connsiteY23" fmla="*/ 564095 h 1548041"/>
              <a:gd name="connsiteX24" fmla="*/ 891218 w 2534562"/>
              <a:gd name="connsiteY24" fmla="*/ 543489 h 1548041"/>
              <a:gd name="connsiteX25" fmla="*/ 927279 w 2534562"/>
              <a:gd name="connsiteY25" fmla="*/ 543489 h 1548041"/>
              <a:gd name="connsiteX26" fmla="*/ 955612 w 2534562"/>
              <a:gd name="connsiteY26" fmla="*/ 597580 h 1548041"/>
              <a:gd name="connsiteX27" fmla="*/ 976218 w 2534562"/>
              <a:gd name="connsiteY27" fmla="*/ 638792 h 1548041"/>
              <a:gd name="connsiteX28" fmla="*/ 1918952 w 2534562"/>
              <a:gd name="connsiteY28" fmla="*/ 1128189 h 1548041"/>
              <a:gd name="connsiteX29" fmla="*/ 1947285 w 2534562"/>
              <a:gd name="connsiteY29" fmla="*/ 1153947 h 1548041"/>
              <a:gd name="connsiteX30" fmla="*/ 1947285 w 2534562"/>
              <a:gd name="connsiteY30" fmla="*/ 1177129 h 1548041"/>
              <a:gd name="connsiteX31" fmla="*/ 1991074 w 2534562"/>
              <a:gd name="connsiteY31" fmla="*/ 1205463 h 1548041"/>
              <a:gd name="connsiteX32" fmla="*/ 1985922 w 2534562"/>
              <a:gd name="connsiteY32" fmla="*/ 1254402 h 1548041"/>
              <a:gd name="connsiteX33" fmla="*/ 2024559 w 2534562"/>
              <a:gd name="connsiteY33" fmla="*/ 1290463 h 1548041"/>
              <a:gd name="connsiteX34" fmla="*/ 2070923 w 2534562"/>
              <a:gd name="connsiteY34" fmla="*/ 1326524 h 1548041"/>
              <a:gd name="connsiteX35" fmla="*/ 2114711 w 2534562"/>
              <a:gd name="connsiteY35" fmla="*/ 1313645 h 1548041"/>
              <a:gd name="connsiteX36" fmla="*/ 2168802 w 2534562"/>
              <a:gd name="connsiteY36" fmla="*/ 1344555 h 1548041"/>
              <a:gd name="connsiteX37" fmla="*/ 2199711 w 2534562"/>
              <a:gd name="connsiteY37" fmla="*/ 1321373 h 1548041"/>
              <a:gd name="connsiteX38" fmla="*/ 2251227 w 2534562"/>
              <a:gd name="connsiteY38" fmla="*/ 1347130 h 1548041"/>
              <a:gd name="connsiteX39" fmla="*/ 2295015 w 2534562"/>
              <a:gd name="connsiteY39" fmla="*/ 1393494 h 1548041"/>
              <a:gd name="connsiteX40" fmla="*/ 2333652 w 2534562"/>
              <a:gd name="connsiteY40" fmla="*/ 1465616 h 1548041"/>
              <a:gd name="connsiteX41" fmla="*/ 2354258 w 2534562"/>
              <a:gd name="connsiteY41" fmla="*/ 1478495 h 1548041"/>
              <a:gd name="connsiteX42" fmla="*/ 2372288 w 2534562"/>
              <a:gd name="connsiteY42" fmla="*/ 1509404 h 1548041"/>
              <a:gd name="connsiteX43" fmla="*/ 2395470 w 2534562"/>
              <a:gd name="connsiteY43" fmla="*/ 1548041 h 1548041"/>
              <a:gd name="connsiteX44" fmla="*/ 2423804 w 2534562"/>
              <a:gd name="connsiteY44" fmla="*/ 1548041 h 1548041"/>
              <a:gd name="connsiteX45" fmla="*/ 2446986 w 2534562"/>
              <a:gd name="connsiteY45" fmla="*/ 1519707 h 1548041"/>
              <a:gd name="connsiteX46" fmla="*/ 2483047 w 2534562"/>
              <a:gd name="connsiteY46" fmla="*/ 1483646 h 1548041"/>
              <a:gd name="connsiteX47" fmla="*/ 2480471 w 2534562"/>
              <a:gd name="connsiteY47" fmla="*/ 1442434 h 1548041"/>
              <a:gd name="connsiteX48" fmla="*/ 2495925 w 2534562"/>
              <a:gd name="connsiteY48" fmla="*/ 1419252 h 1548041"/>
              <a:gd name="connsiteX49" fmla="*/ 2493350 w 2534562"/>
              <a:gd name="connsiteY49" fmla="*/ 1347130 h 1548041"/>
              <a:gd name="connsiteX50" fmla="*/ 2519107 w 2534562"/>
              <a:gd name="connsiteY50" fmla="*/ 1305918 h 1548041"/>
              <a:gd name="connsiteX51" fmla="*/ 2498501 w 2534562"/>
              <a:gd name="connsiteY51" fmla="*/ 1272433 h 1548041"/>
              <a:gd name="connsiteX52" fmla="*/ 2526835 w 2534562"/>
              <a:gd name="connsiteY52" fmla="*/ 1233796 h 1548041"/>
              <a:gd name="connsiteX53" fmla="*/ 2534562 w 2534562"/>
              <a:gd name="connsiteY53" fmla="*/ 1200311 h 1548041"/>
              <a:gd name="connsiteX54" fmla="*/ 2498501 w 2534562"/>
              <a:gd name="connsiteY54" fmla="*/ 1148796 h 1548041"/>
              <a:gd name="connsiteX55" fmla="*/ 2436683 w 2534562"/>
              <a:gd name="connsiteY55" fmla="*/ 1099856 h 1548041"/>
              <a:gd name="connsiteX56" fmla="*/ 2423804 w 2534562"/>
              <a:gd name="connsiteY56" fmla="*/ 1050916 h 1548041"/>
              <a:gd name="connsiteX57" fmla="*/ 2413501 w 2534562"/>
              <a:gd name="connsiteY57" fmla="*/ 994249 h 1548041"/>
              <a:gd name="connsiteX58" fmla="*/ 2392894 w 2534562"/>
              <a:gd name="connsiteY58" fmla="*/ 958188 h 1548041"/>
              <a:gd name="connsiteX59" fmla="*/ 2405773 w 2534562"/>
              <a:gd name="connsiteY59" fmla="*/ 919552 h 1548041"/>
              <a:gd name="connsiteX60" fmla="*/ 2356834 w 2534562"/>
              <a:gd name="connsiteY60" fmla="*/ 798490 h 1548041"/>
              <a:gd name="connsiteX61" fmla="*/ 2356834 w 2534562"/>
              <a:gd name="connsiteY61" fmla="*/ 754702 h 1548041"/>
              <a:gd name="connsiteX62" fmla="*/ 2331076 w 2534562"/>
              <a:gd name="connsiteY62" fmla="*/ 690308 h 1548041"/>
              <a:gd name="connsiteX63" fmla="*/ 2328500 w 2534562"/>
              <a:gd name="connsiteY63" fmla="*/ 654247 h 1548041"/>
              <a:gd name="connsiteX64" fmla="*/ 2307894 w 2534562"/>
              <a:gd name="connsiteY64" fmla="*/ 615610 h 1548041"/>
              <a:gd name="connsiteX65" fmla="*/ 2228045 w 2534562"/>
              <a:gd name="connsiteY65" fmla="*/ 569246 h 1548041"/>
              <a:gd name="connsiteX66" fmla="*/ 2225469 w 2534562"/>
              <a:gd name="connsiteY66" fmla="*/ 533186 h 1548041"/>
              <a:gd name="connsiteX67" fmla="*/ 2194560 w 2534562"/>
              <a:gd name="connsiteY67" fmla="*/ 510004 h 1548041"/>
              <a:gd name="connsiteX68" fmla="*/ 2171378 w 2534562"/>
              <a:gd name="connsiteY68" fmla="*/ 510004 h 1548041"/>
              <a:gd name="connsiteX69" fmla="*/ 2127590 w 2534562"/>
              <a:gd name="connsiteY69" fmla="*/ 512579 h 1548041"/>
              <a:gd name="connsiteX70" fmla="*/ 2058044 w 2534562"/>
              <a:gd name="connsiteY70" fmla="*/ 473943 h 1548041"/>
              <a:gd name="connsiteX71" fmla="*/ 2006528 w 2534562"/>
              <a:gd name="connsiteY71" fmla="*/ 409548 h 1548041"/>
              <a:gd name="connsiteX72" fmla="*/ 1962740 w 2534562"/>
              <a:gd name="connsiteY72" fmla="*/ 386366 h 1548041"/>
              <a:gd name="connsiteX73" fmla="*/ 1957589 w 2534562"/>
              <a:gd name="connsiteY73" fmla="*/ 350306 h 1548041"/>
              <a:gd name="connsiteX74" fmla="*/ 1934407 w 2534562"/>
              <a:gd name="connsiteY74" fmla="*/ 301366 h 1548041"/>
              <a:gd name="connsiteX75" fmla="*/ 1893194 w 2534562"/>
              <a:gd name="connsiteY75" fmla="*/ 270457 h 1548041"/>
              <a:gd name="connsiteX76" fmla="*/ 1898346 w 2534562"/>
              <a:gd name="connsiteY76" fmla="*/ 226668 h 1548041"/>
              <a:gd name="connsiteX77" fmla="*/ 1934407 w 2534562"/>
              <a:gd name="connsiteY77" fmla="*/ 170001 h 1548041"/>
              <a:gd name="connsiteX78" fmla="*/ 1939558 w 2534562"/>
              <a:gd name="connsiteY78" fmla="*/ 105607 h 1548041"/>
              <a:gd name="connsiteX79" fmla="*/ 1967892 w 2534562"/>
              <a:gd name="connsiteY79" fmla="*/ 69546 h 1548041"/>
              <a:gd name="connsiteX80" fmla="*/ 2014256 w 2534562"/>
              <a:gd name="connsiteY80" fmla="*/ 46364 h 1548041"/>
              <a:gd name="connsiteX81" fmla="*/ 2086377 w 2534562"/>
              <a:gd name="connsiteY81" fmla="*/ 0 h 1548041"/>
              <a:gd name="connsiteX0" fmla="*/ 0 w 2534562"/>
              <a:gd name="connsiteY0" fmla="*/ 124059 h 1525281"/>
              <a:gd name="connsiteX1" fmla="*/ 43788 w 2534562"/>
              <a:gd name="connsiteY1" fmla="*/ 154969 h 1525281"/>
              <a:gd name="connsiteX2" fmla="*/ 115910 w 2534562"/>
              <a:gd name="connsiteY2" fmla="*/ 198757 h 1525281"/>
              <a:gd name="connsiteX3" fmla="*/ 162274 w 2534562"/>
              <a:gd name="connsiteY3" fmla="*/ 211636 h 1525281"/>
              <a:gd name="connsiteX4" fmla="*/ 190607 w 2534562"/>
              <a:gd name="connsiteY4" fmla="*/ 201333 h 1525281"/>
              <a:gd name="connsiteX5" fmla="*/ 221516 w 2534562"/>
              <a:gd name="connsiteY5" fmla="*/ 219363 h 1525281"/>
              <a:gd name="connsiteX6" fmla="*/ 262729 w 2534562"/>
              <a:gd name="connsiteY6" fmla="*/ 198757 h 1525281"/>
              <a:gd name="connsiteX7" fmla="*/ 278184 w 2534562"/>
              <a:gd name="connsiteY7" fmla="*/ 175575 h 1525281"/>
              <a:gd name="connsiteX8" fmla="*/ 309093 w 2534562"/>
              <a:gd name="connsiteY8" fmla="*/ 198757 h 1525281"/>
              <a:gd name="connsiteX9" fmla="*/ 342578 w 2534562"/>
              <a:gd name="connsiteY9" fmla="*/ 178151 h 1525281"/>
              <a:gd name="connsiteX10" fmla="*/ 352881 w 2534562"/>
              <a:gd name="connsiteY10" fmla="*/ 149817 h 1525281"/>
              <a:gd name="connsiteX11" fmla="*/ 401821 w 2534562"/>
              <a:gd name="connsiteY11" fmla="*/ 170423 h 1525281"/>
              <a:gd name="connsiteX12" fmla="*/ 455912 w 2534562"/>
              <a:gd name="connsiteY12" fmla="*/ 227090 h 1525281"/>
              <a:gd name="connsiteX13" fmla="*/ 510003 w 2534562"/>
              <a:gd name="connsiteY13" fmla="*/ 232242 h 1525281"/>
              <a:gd name="connsiteX14" fmla="*/ 530609 w 2534562"/>
              <a:gd name="connsiteY14" fmla="*/ 216787 h 1525281"/>
              <a:gd name="connsiteX15" fmla="*/ 576973 w 2534562"/>
              <a:gd name="connsiteY15" fmla="*/ 219363 h 1525281"/>
              <a:gd name="connsiteX16" fmla="*/ 613034 w 2534562"/>
              <a:gd name="connsiteY16" fmla="*/ 252848 h 1525281"/>
              <a:gd name="connsiteX17" fmla="*/ 628489 w 2534562"/>
              <a:gd name="connsiteY17" fmla="*/ 312091 h 1525281"/>
              <a:gd name="connsiteX18" fmla="*/ 669701 w 2534562"/>
              <a:gd name="connsiteY18" fmla="*/ 381637 h 1525281"/>
              <a:gd name="connsiteX19" fmla="*/ 667125 w 2534562"/>
              <a:gd name="connsiteY19" fmla="*/ 430577 h 1525281"/>
              <a:gd name="connsiteX20" fmla="*/ 690307 w 2534562"/>
              <a:gd name="connsiteY20" fmla="*/ 474365 h 1525281"/>
              <a:gd name="connsiteX21" fmla="*/ 739247 w 2534562"/>
              <a:gd name="connsiteY21" fmla="*/ 484668 h 1525281"/>
              <a:gd name="connsiteX22" fmla="*/ 767581 w 2534562"/>
              <a:gd name="connsiteY22" fmla="*/ 513001 h 1525281"/>
              <a:gd name="connsiteX23" fmla="*/ 844854 w 2534562"/>
              <a:gd name="connsiteY23" fmla="*/ 541335 h 1525281"/>
              <a:gd name="connsiteX24" fmla="*/ 891218 w 2534562"/>
              <a:gd name="connsiteY24" fmla="*/ 520729 h 1525281"/>
              <a:gd name="connsiteX25" fmla="*/ 927279 w 2534562"/>
              <a:gd name="connsiteY25" fmla="*/ 520729 h 1525281"/>
              <a:gd name="connsiteX26" fmla="*/ 955612 w 2534562"/>
              <a:gd name="connsiteY26" fmla="*/ 574820 h 1525281"/>
              <a:gd name="connsiteX27" fmla="*/ 976218 w 2534562"/>
              <a:gd name="connsiteY27" fmla="*/ 616032 h 1525281"/>
              <a:gd name="connsiteX28" fmla="*/ 1918952 w 2534562"/>
              <a:gd name="connsiteY28" fmla="*/ 1105429 h 1525281"/>
              <a:gd name="connsiteX29" fmla="*/ 1947285 w 2534562"/>
              <a:gd name="connsiteY29" fmla="*/ 1131187 h 1525281"/>
              <a:gd name="connsiteX30" fmla="*/ 1947285 w 2534562"/>
              <a:gd name="connsiteY30" fmla="*/ 1154369 h 1525281"/>
              <a:gd name="connsiteX31" fmla="*/ 1991074 w 2534562"/>
              <a:gd name="connsiteY31" fmla="*/ 1182703 h 1525281"/>
              <a:gd name="connsiteX32" fmla="*/ 1985922 w 2534562"/>
              <a:gd name="connsiteY32" fmla="*/ 1231642 h 1525281"/>
              <a:gd name="connsiteX33" fmla="*/ 2024559 w 2534562"/>
              <a:gd name="connsiteY33" fmla="*/ 1267703 h 1525281"/>
              <a:gd name="connsiteX34" fmla="*/ 2070923 w 2534562"/>
              <a:gd name="connsiteY34" fmla="*/ 1303764 h 1525281"/>
              <a:gd name="connsiteX35" fmla="*/ 2114711 w 2534562"/>
              <a:gd name="connsiteY35" fmla="*/ 1290885 h 1525281"/>
              <a:gd name="connsiteX36" fmla="*/ 2168802 w 2534562"/>
              <a:gd name="connsiteY36" fmla="*/ 1321795 h 1525281"/>
              <a:gd name="connsiteX37" fmla="*/ 2199711 w 2534562"/>
              <a:gd name="connsiteY37" fmla="*/ 1298613 h 1525281"/>
              <a:gd name="connsiteX38" fmla="*/ 2251227 w 2534562"/>
              <a:gd name="connsiteY38" fmla="*/ 1324370 h 1525281"/>
              <a:gd name="connsiteX39" fmla="*/ 2295015 w 2534562"/>
              <a:gd name="connsiteY39" fmla="*/ 1370734 h 1525281"/>
              <a:gd name="connsiteX40" fmla="*/ 2333652 w 2534562"/>
              <a:gd name="connsiteY40" fmla="*/ 1442856 h 1525281"/>
              <a:gd name="connsiteX41" fmla="*/ 2354258 w 2534562"/>
              <a:gd name="connsiteY41" fmla="*/ 1455735 h 1525281"/>
              <a:gd name="connsiteX42" fmla="*/ 2372288 w 2534562"/>
              <a:gd name="connsiteY42" fmla="*/ 1486644 h 1525281"/>
              <a:gd name="connsiteX43" fmla="*/ 2395470 w 2534562"/>
              <a:gd name="connsiteY43" fmla="*/ 1525281 h 1525281"/>
              <a:gd name="connsiteX44" fmla="*/ 2423804 w 2534562"/>
              <a:gd name="connsiteY44" fmla="*/ 1525281 h 1525281"/>
              <a:gd name="connsiteX45" fmla="*/ 2446986 w 2534562"/>
              <a:gd name="connsiteY45" fmla="*/ 1496947 h 1525281"/>
              <a:gd name="connsiteX46" fmla="*/ 2483047 w 2534562"/>
              <a:gd name="connsiteY46" fmla="*/ 1460886 h 1525281"/>
              <a:gd name="connsiteX47" fmla="*/ 2480471 w 2534562"/>
              <a:gd name="connsiteY47" fmla="*/ 1419674 h 1525281"/>
              <a:gd name="connsiteX48" fmla="*/ 2495925 w 2534562"/>
              <a:gd name="connsiteY48" fmla="*/ 1396492 h 1525281"/>
              <a:gd name="connsiteX49" fmla="*/ 2493350 w 2534562"/>
              <a:gd name="connsiteY49" fmla="*/ 1324370 h 1525281"/>
              <a:gd name="connsiteX50" fmla="*/ 2519107 w 2534562"/>
              <a:gd name="connsiteY50" fmla="*/ 1283158 h 1525281"/>
              <a:gd name="connsiteX51" fmla="*/ 2498501 w 2534562"/>
              <a:gd name="connsiteY51" fmla="*/ 1249673 h 1525281"/>
              <a:gd name="connsiteX52" fmla="*/ 2526835 w 2534562"/>
              <a:gd name="connsiteY52" fmla="*/ 1211036 h 1525281"/>
              <a:gd name="connsiteX53" fmla="*/ 2534562 w 2534562"/>
              <a:gd name="connsiteY53" fmla="*/ 1177551 h 1525281"/>
              <a:gd name="connsiteX54" fmla="*/ 2498501 w 2534562"/>
              <a:gd name="connsiteY54" fmla="*/ 1126036 h 1525281"/>
              <a:gd name="connsiteX55" fmla="*/ 2436683 w 2534562"/>
              <a:gd name="connsiteY55" fmla="*/ 1077096 h 1525281"/>
              <a:gd name="connsiteX56" fmla="*/ 2423804 w 2534562"/>
              <a:gd name="connsiteY56" fmla="*/ 1028156 h 1525281"/>
              <a:gd name="connsiteX57" fmla="*/ 2413501 w 2534562"/>
              <a:gd name="connsiteY57" fmla="*/ 971489 h 1525281"/>
              <a:gd name="connsiteX58" fmla="*/ 2392894 w 2534562"/>
              <a:gd name="connsiteY58" fmla="*/ 935428 h 1525281"/>
              <a:gd name="connsiteX59" fmla="*/ 2405773 w 2534562"/>
              <a:gd name="connsiteY59" fmla="*/ 896792 h 1525281"/>
              <a:gd name="connsiteX60" fmla="*/ 2356834 w 2534562"/>
              <a:gd name="connsiteY60" fmla="*/ 775730 h 1525281"/>
              <a:gd name="connsiteX61" fmla="*/ 2356834 w 2534562"/>
              <a:gd name="connsiteY61" fmla="*/ 731942 h 1525281"/>
              <a:gd name="connsiteX62" fmla="*/ 2331076 w 2534562"/>
              <a:gd name="connsiteY62" fmla="*/ 667548 h 1525281"/>
              <a:gd name="connsiteX63" fmla="*/ 2328500 w 2534562"/>
              <a:gd name="connsiteY63" fmla="*/ 631487 h 1525281"/>
              <a:gd name="connsiteX64" fmla="*/ 2307894 w 2534562"/>
              <a:gd name="connsiteY64" fmla="*/ 592850 h 1525281"/>
              <a:gd name="connsiteX65" fmla="*/ 2228045 w 2534562"/>
              <a:gd name="connsiteY65" fmla="*/ 546486 h 1525281"/>
              <a:gd name="connsiteX66" fmla="*/ 2225469 w 2534562"/>
              <a:gd name="connsiteY66" fmla="*/ 510426 h 1525281"/>
              <a:gd name="connsiteX67" fmla="*/ 2194560 w 2534562"/>
              <a:gd name="connsiteY67" fmla="*/ 487244 h 1525281"/>
              <a:gd name="connsiteX68" fmla="*/ 2171378 w 2534562"/>
              <a:gd name="connsiteY68" fmla="*/ 487244 h 1525281"/>
              <a:gd name="connsiteX69" fmla="*/ 2127590 w 2534562"/>
              <a:gd name="connsiteY69" fmla="*/ 489819 h 1525281"/>
              <a:gd name="connsiteX70" fmla="*/ 2058044 w 2534562"/>
              <a:gd name="connsiteY70" fmla="*/ 451183 h 1525281"/>
              <a:gd name="connsiteX71" fmla="*/ 2006528 w 2534562"/>
              <a:gd name="connsiteY71" fmla="*/ 386788 h 1525281"/>
              <a:gd name="connsiteX72" fmla="*/ 1962740 w 2534562"/>
              <a:gd name="connsiteY72" fmla="*/ 363606 h 1525281"/>
              <a:gd name="connsiteX73" fmla="*/ 1957589 w 2534562"/>
              <a:gd name="connsiteY73" fmla="*/ 327546 h 1525281"/>
              <a:gd name="connsiteX74" fmla="*/ 1934407 w 2534562"/>
              <a:gd name="connsiteY74" fmla="*/ 278606 h 1525281"/>
              <a:gd name="connsiteX75" fmla="*/ 1893194 w 2534562"/>
              <a:gd name="connsiteY75" fmla="*/ 247697 h 1525281"/>
              <a:gd name="connsiteX76" fmla="*/ 1898346 w 2534562"/>
              <a:gd name="connsiteY76" fmla="*/ 203908 h 1525281"/>
              <a:gd name="connsiteX77" fmla="*/ 1934407 w 2534562"/>
              <a:gd name="connsiteY77" fmla="*/ 147241 h 1525281"/>
              <a:gd name="connsiteX78" fmla="*/ 1939558 w 2534562"/>
              <a:gd name="connsiteY78" fmla="*/ 82847 h 1525281"/>
              <a:gd name="connsiteX79" fmla="*/ 1967892 w 2534562"/>
              <a:gd name="connsiteY79" fmla="*/ 46786 h 1525281"/>
              <a:gd name="connsiteX80" fmla="*/ 2014256 w 2534562"/>
              <a:gd name="connsiteY80" fmla="*/ 23604 h 1525281"/>
              <a:gd name="connsiteX81" fmla="*/ 2007622 w 2534562"/>
              <a:gd name="connsiteY81" fmla="*/ 0 h 1525281"/>
              <a:gd name="connsiteX0" fmla="*/ 0 w 2534562"/>
              <a:gd name="connsiteY0" fmla="*/ 100455 h 1501677"/>
              <a:gd name="connsiteX1" fmla="*/ 43788 w 2534562"/>
              <a:gd name="connsiteY1" fmla="*/ 131365 h 1501677"/>
              <a:gd name="connsiteX2" fmla="*/ 115910 w 2534562"/>
              <a:gd name="connsiteY2" fmla="*/ 175153 h 1501677"/>
              <a:gd name="connsiteX3" fmla="*/ 162274 w 2534562"/>
              <a:gd name="connsiteY3" fmla="*/ 188032 h 1501677"/>
              <a:gd name="connsiteX4" fmla="*/ 190607 w 2534562"/>
              <a:gd name="connsiteY4" fmla="*/ 177729 h 1501677"/>
              <a:gd name="connsiteX5" fmla="*/ 221516 w 2534562"/>
              <a:gd name="connsiteY5" fmla="*/ 195759 h 1501677"/>
              <a:gd name="connsiteX6" fmla="*/ 262729 w 2534562"/>
              <a:gd name="connsiteY6" fmla="*/ 175153 h 1501677"/>
              <a:gd name="connsiteX7" fmla="*/ 278184 w 2534562"/>
              <a:gd name="connsiteY7" fmla="*/ 151971 h 1501677"/>
              <a:gd name="connsiteX8" fmla="*/ 309093 w 2534562"/>
              <a:gd name="connsiteY8" fmla="*/ 175153 h 1501677"/>
              <a:gd name="connsiteX9" fmla="*/ 342578 w 2534562"/>
              <a:gd name="connsiteY9" fmla="*/ 154547 h 1501677"/>
              <a:gd name="connsiteX10" fmla="*/ 352881 w 2534562"/>
              <a:gd name="connsiteY10" fmla="*/ 126213 h 1501677"/>
              <a:gd name="connsiteX11" fmla="*/ 401821 w 2534562"/>
              <a:gd name="connsiteY11" fmla="*/ 146819 h 1501677"/>
              <a:gd name="connsiteX12" fmla="*/ 455912 w 2534562"/>
              <a:gd name="connsiteY12" fmla="*/ 203486 h 1501677"/>
              <a:gd name="connsiteX13" fmla="*/ 510003 w 2534562"/>
              <a:gd name="connsiteY13" fmla="*/ 208638 h 1501677"/>
              <a:gd name="connsiteX14" fmla="*/ 530609 w 2534562"/>
              <a:gd name="connsiteY14" fmla="*/ 193183 h 1501677"/>
              <a:gd name="connsiteX15" fmla="*/ 576973 w 2534562"/>
              <a:gd name="connsiteY15" fmla="*/ 195759 h 1501677"/>
              <a:gd name="connsiteX16" fmla="*/ 613034 w 2534562"/>
              <a:gd name="connsiteY16" fmla="*/ 229244 h 1501677"/>
              <a:gd name="connsiteX17" fmla="*/ 628489 w 2534562"/>
              <a:gd name="connsiteY17" fmla="*/ 288487 h 1501677"/>
              <a:gd name="connsiteX18" fmla="*/ 669701 w 2534562"/>
              <a:gd name="connsiteY18" fmla="*/ 358033 h 1501677"/>
              <a:gd name="connsiteX19" fmla="*/ 667125 w 2534562"/>
              <a:gd name="connsiteY19" fmla="*/ 406973 h 1501677"/>
              <a:gd name="connsiteX20" fmla="*/ 690307 w 2534562"/>
              <a:gd name="connsiteY20" fmla="*/ 450761 h 1501677"/>
              <a:gd name="connsiteX21" fmla="*/ 739247 w 2534562"/>
              <a:gd name="connsiteY21" fmla="*/ 461064 h 1501677"/>
              <a:gd name="connsiteX22" fmla="*/ 767581 w 2534562"/>
              <a:gd name="connsiteY22" fmla="*/ 489397 h 1501677"/>
              <a:gd name="connsiteX23" fmla="*/ 844854 w 2534562"/>
              <a:gd name="connsiteY23" fmla="*/ 517731 h 1501677"/>
              <a:gd name="connsiteX24" fmla="*/ 891218 w 2534562"/>
              <a:gd name="connsiteY24" fmla="*/ 497125 h 1501677"/>
              <a:gd name="connsiteX25" fmla="*/ 927279 w 2534562"/>
              <a:gd name="connsiteY25" fmla="*/ 497125 h 1501677"/>
              <a:gd name="connsiteX26" fmla="*/ 955612 w 2534562"/>
              <a:gd name="connsiteY26" fmla="*/ 551216 h 1501677"/>
              <a:gd name="connsiteX27" fmla="*/ 976218 w 2534562"/>
              <a:gd name="connsiteY27" fmla="*/ 592428 h 1501677"/>
              <a:gd name="connsiteX28" fmla="*/ 1918952 w 2534562"/>
              <a:gd name="connsiteY28" fmla="*/ 1081825 h 1501677"/>
              <a:gd name="connsiteX29" fmla="*/ 1947285 w 2534562"/>
              <a:gd name="connsiteY29" fmla="*/ 1107583 h 1501677"/>
              <a:gd name="connsiteX30" fmla="*/ 1947285 w 2534562"/>
              <a:gd name="connsiteY30" fmla="*/ 1130765 h 1501677"/>
              <a:gd name="connsiteX31" fmla="*/ 1991074 w 2534562"/>
              <a:gd name="connsiteY31" fmla="*/ 1159099 h 1501677"/>
              <a:gd name="connsiteX32" fmla="*/ 1985922 w 2534562"/>
              <a:gd name="connsiteY32" fmla="*/ 1208038 h 1501677"/>
              <a:gd name="connsiteX33" fmla="*/ 2024559 w 2534562"/>
              <a:gd name="connsiteY33" fmla="*/ 1244099 h 1501677"/>
              <a:gd name="connsiteX34" fmla="*/ 2070923 w 2534562"/>
              <a:gd name="connsiteY34" fmla="*/ 1280160 h 1501677"/>
              <a:gd name="connsiteX35" fmla="*/ 2114711 w 2534562"/>
              <a:gd name="connsiteY35" fmla="*/ 1267281 h 1501677"/>
              <a:gd name="connsiteX36" fmla="*/ 2168802 w 2534562"/>
              <a:gd name="connsiteY36" fmla="*/ 1298191 h 1501677"/>
              <a:gd name="connsiteX37" fmla="*/ 2199711 w 2534562"/>
              <a:gd name="connsiteY37" fmla="*/ 1275009 h 1501677"/>
              <a:gd name="connsiteX38" fmla="*/ 2251227 w 2534562"/>
              <a:gd name="connsiteY38" fmla="*/ 1300766 h 1501677"/>
              <a:gd name="connsiteX39" fmla="*/ 2295015 w 2534562"/>
              <a:gd name="connsiteY39" fmla="*/ 1347130 h 1501677"/>
              <a:gd name="connsiteX40" fmla="*/ 2333652 w 2534562"/>
              <a:gd name="connsiteY40" fmla="*/ 1419252 h 1501677"/>
              <a:gd name="connsiteX41" fmla="*/ 2354258 w 2534562"/>
              <a:gd name="connsiteY41" fmla="*/ 1432131 h 1501677"/>
              <a:gd name="connsiteX42" fmla="*/ 2372288 w 2534562"/>
              <a:gd name="connsiteY42" fmla="*/ 1463040 h 1501677"/>
              <a:gd name="connsiteX43" fmla="*/ 2395470 w 2534562"/>
              <a:gd name="connsiteY43" fmla="*/ 1501677 h 1501677"/>
              <a:gd name="connsiteX44" fmla="*/ 2423804 w 2534562"/>
              <a:gd name="connsiteY44" fmla="*/ 1501677 h 1501677"/>
              <a:gd name="connsiteX45" fmla="*/ 2446986 w 2534562"/>
              <a:gd name="connsiteY45" fmla="*/ 1473343 h 1501677"/>
              <a:gd name="connsiteX46" fmla="*/ 2483047 w 2534562"/>
              <a:gd name="connsiteY46" fmla="*/ 1437282 h 1501677"/>
              <a:gd name="connsiteX47" fmla="*/ 2480471 w 2534562"/>
              <a:gd name="connsiteY47" fmla="*/ 1396070 h 1501677"/>
              <a:gd name="connsiteX48" fmla="*/ 2495925 w 2534562"/>
              <a:gd name="connsiteY48" fmla="*/ 1372888 h 1501677"/>
              <a:gd name="connsiteX49" fmla="*/ 2493350 w 2534562"/>
              <a:gd name="connsiteY49" fmla="*/ 1300766 h 1501677"/>
              <a:gd name="connsiteX50" fmla="*/ 2519107 w 2534562"/>
              <a:gd name="connsiteY50" fmla="*/ 1259554 h 1501677"/>
              <a:gd name="connsiteX51" fmla="*/ 2498501 w 2534562"/>
              <a:gd name="connsiteY51" fmla="*/ 1226069 h 1501677"/>
              <a:gd name="connsiteX52" fmla="*/ 2526835 w 2534562"/>
              <a:gd name="connsiteY52" fmla="*/ 1187432 h 1501677"/>
              <a:gd name="connsiteX53" fmla="*/ 2534562 w 2534562"/>
              <a:gd name="connsiteY53" fmla="*/ 1153947 h 1501677"/>
              <a:gd name="connsiteX54" fmla="*/ 2498501 w 2534562"/>
              <a:gd name="connsiteY54" fmla="*/ 1102432 h 1501677"/>
              <a:gd name="connsiteX55" fmla="*/ 2436683 w 2534562"/>
              <a:gd name="connsiteY55" fmla="*/ 1053492 h 1501677"/>
              <a:gd name="connsiteX56" fmla="*/ 2423804 w 2534562"/>
              <a:gd name="connsiteY56" fmla="*/ 1004552 h 1501677"/>
              <a:gd name="connsiteX57" fmla="*/ 2413501 w 2534562"/>
              <a:gd name="connsiteY57" fmla="*/ 947885 h 1501677"/>
              <a:gd name="connsiteX58" fmla="*/ 2392894 w 2534562"/>
              <a:gd name="connsiteY58" fmla="*/ 911824 h 1501677"/>
              <a:gd name="connsiteX59" fmla="*/ 2405773 w 2534562"/>
              <a:gd name="connsiteY59" fmla="*/ 873188 h 1501677"/>
              <a:gd name="connsiteX60" fmla="*/ 2356834 w 2534562"/>
              <a:gd name="connsiteY60" fmla="*/ 752126 h 1501677"/>
              <a:gd name="connsiteX61" fmla="*/ 2356834 w 2534562"/>
              <a:gd name="connsiteY61" fmla="*/ 708338 h 1501677"/>
              <a:gd name="connsiteX62" fmla="*/ 2331076 w 2534562"/>
              <a:gd name="connsiteY62" fmla="*/ 643944 h 1501677"/>
              <a:gd name="connsiteX63" fmla="*/ 2328500 w 2534562"/>
              <a:gd name="connsiteY63" fmla="*/ 607883 h 1501677"/>
              <a:gd name="connsiteX64" fmla="*/ 2307894 w 2534562"/>
              <a:gd name="connsiteY64" fmla="*/ 569246 h 1501677"/>
              <a:gd name="connsiteX65" fmla="*/ 2228045 w 2534562"/>
              <a:gd name="connsiteY65" fmla="*/ 522882 h 1501677"/>
              <a:gd name="connsiteX66" fmla="*/ 2225469 w 2534562"/>
              <a:gd name="connsiteY66" fmla="*/ 486822 h 1501677"/>
              <a:gd name="connsiteX67" fmla="*/ 2194560 w 2534562"/>
              <a:gd name="connsiteY67" fmla="*/ 463640 h 1501677"/>
              <a:gd name="connsiteX68" fmla="*/ 2171378 w 2534562"/>
              <a:gd name="connsiteY68" fmla="*/ 463640 h 1501677"/>
              <a:gd name="connsiteX69" fmla="*/ 2127590 w 2534562"/>
              <a:gd name="connsiteY69" fmla="*/ 466215 h 1501677"/>
              <a:gd name="connsiteX70" fmla="*/ 2058044 w 2534562"/>
              <a:gd name="connsiteY70" fmla="*/ 427579 h 1501677"/>
              <a:gd name="connsiteX71" fmla="*/ 2006528 w 2534562"/>
              <a:gd name="connsiteY71" fmla="*/ 363184 h 1501677"/>
              <a:gd name="connsiteX72" fmla="*/ 1962740 w 2534562"/>
              <a:gd name="connsiteY72" fmla="*/ 340002 h 1501677"/>
              <a:gd name="connsiteX73" fmla="*/ 1957589 w 2534562"/>
              <a:gd name="connsiteY73" fmla="*/ 303942 h 1501677"/>
              <a:gd name="connsiteX74" fmla="*/ 1934407 w 2534562"/>
              <a:gd name="connsiteY74" fmla="*/ 255002 h 1501677"/>
              <a:gd name="connsiteX75" fmla="*/ 1893194 w 2534562"/>
              <a:gd name="connsiteY75" fmla="*/ 224093 h 1501677"/>
              <a:gd name="connsiteX76" fmla="*/ 1898346 w 2534562"/>
              <a:gd name="connsiteY76" fmla="*/ 180304 h 1501677"/>
              <a:gd name="connsiteX77" fmla="*/ 1934407 w 2534562"/>
              <a:gd name="connsiteY77" fmla="*/ 123637 h 1501677"/>
              <a:gd name="connsiteX78" fmla="*/ 1939558 w 2534562"/>
              <a:gd name="connsiteY78" fmla="*/ 59243 h 1501677"/>
              <a:gd name="connsiteX79" fmla="*/ 1967892 w 2534562"/>
              <a:gd name="connsiteY79" fmla="*/ 23182 h 1501677"/>
              <a:gd name="connsiteX80" fmla="*/ 2014256 w 2534562"/>
              <a:gd name="connsiteY80" fmla="*/ 0 h 1501677"/>
              <a:gd name="connsiteX81" fmla="*/ 1925117 w 2534562"/>
              <a:gd name="connsiteY81" fmla="*/ 302621 h 1501677"/>
              <a:gd name="connsiteX0" fmla="*/ 0 w 2534562"/>
              <a:gd name="connsiteY0" fmla="*/ 96661 h 1497883"/>
              <a:gd name="connsiteX1" fmla="*/ 43788 w 2534562"/>
              <a:gd name="connsiteY1" fmla="*/ 127571 h 1497883"/>
              <a:gd name="connsiteX2" fmla="*/ 115910 w 2534562"/>
              <a:gd name="connsiteY2" fmla="*/ 171359 h 1497883"/>
              <a:gd name="connsiteX3" fmla="*/ 162274 w 2534562"/>
              <a:gd name="connsiteY3" fmla="*/ 184238 h 1497883"/>
              <a:gd name="connsiteX4" fmla="*/ 190607 w 2534562"/>
              <a:gd name="connsiteY4" fmla="*/ 173935 h 1497883"/>
              <a:gd name="connsiteX5" fmla="*/ 221516 w 2534562"/>
              <a:gd name="connsiteY5" fmla="*/ 191965 h 1497883"/>
              <a:gd name="connsiteX6" fmla="*/ 262729 w 2534562"/>
              <a:gd name="connsiteY6" fmla="*/ 171359 h 1497883"/>
              <a:gd name="connsiteX7" fmla="*/ 278184 w 2534562"/>
              <a:gd name="connsiteY7" fmla="*/ 148177 h 1497883"/>
              <a:gd name="connsiteX8" fmla="*/ 309093 w 2534562"/>
              <a:gd name="connsiteY8" fmla="*/ 171359 h 1497883"/>
              <a:gd name="connsiteX9" fmla="*/ 342578 w 2534562"/>
              <a:gd name="connsiteY9" fmla="*/ 150753 h 1497883"/>
              <a:gd name="connsiteX10" fmla="*/ 352881 w 2534562"/>
              <a:gd name="connsiteY10" fmla="*/ 122419 h 1497883"/>
              <a:gd name="connsiteX11" fmla="*/ 401821 w 2534562"/>
              <a:gd name="connsiteY11" fmla="*/ 143025 h 1497883"/>
              <a:gd name="connsiteX12" fmla="*/ 455912 w 2534562"/>
              <a:gd name="connsiteY12" fmla="*/ 199692 h 1497883"/>
              <a:gd name="connsiteX13" fmla="*/ 510003 w 2534562"/>
              <a:gd name="connsiteY13" fmla="*/ 204844 h 1497883"/>
              <a:gd name="connsiteX14" fmla="*/ 530609 w 2534562"/>
              <a:gd name="connsiteY14" fmla="*/ 189389 h 1497883"/>
              <a:gd name="connsiteX15" fmla="*/ 576973 w 2534562"/>
              <a:gd name="connsiteY15" fmla="*/ 191965 h 1497883"/>
              <a:gd name="connsiteX16" fmla="*/ 613034 w 2534562"/>
              <a:gd name="connsiteY16" fmla="*/ 225450 h 1497883"/>
              <a:gd name="connsiteX17" fmla="*/ 628489 w 2534562"/>
              <a:gd name="connsiteY17" fmla="*/ 284693 h 1497883"/>
              <a:gd name="connsiteX18" fmla="*/ 669701 w 2534562"/>
              <a:gd name="connsiteY18" fmla="*/ 354239 h 1497883"/>
              <a:gd name="connsiteX19" fmla="*/ 667125 w 2534562"/>
              <a:gd name="connsiteY19" fmla="*/ 403179 h 1497883"/>
              <a:gd name="connsiteX20" fmla="*/ 690307 w 2534562"/>
              <a:gd name="connsiteY20" fmla="*/ 446967 h 1497883"/>
              <a:gd name="connsiteX21" fmla="*/ 739247 w 2534562"/>
              <a:gd name="connsiteY21" fmla="*/ 457270 h 1497883"/>
              <a:gd name="connsiteX22" fmla="*/ 767581 w 2534562"/>
              <a:gd name="connsiteY22" fmla="*/ 485603 h 1497883"/>
              <a:gd name="connsiteX23" fmla="*/ 844854 w 2534562"/>
              <a:gd name="connsiteY23" fmla="*/ 513937 h 1497883"/>
              <a:gd name="connsiteX24" fmla="*/ 891218 w 2534562"/>
              <a:gd name="connsiteY24" fmla="*/ 493331 h 1497883"/>
              <a:gd name="connsiteX25" fmla="*/ 927279 w 2534562"/>
              <a:gd name="connsiteY25" fmla="*/ 493331 h 1497883"/>
              <a:gd name="connsiteX26" fmla="*/ 955612 w 2534562"/>
              <a:gd name="connsiteY26" fmla="*/ 547422 h 1497883"/>
              <a:gd name="connsiteX27" fmla="*/ 976218 w 2534562"/>
              <a:gd name="connsiteY27" fmla="*/ 588634 h 1497883"/>
              <a:gd name="connsiteX28" fmla="*/ 1918952 w 2534562"/>
              <a:gd name="connsiteY28" fmla="*/ 1078031 h 1497883"/>
              <a:gd name="connsiteX29" fmla="*/ 1947285 w 2534562"/>
              <a:gd name="connsiteY29" fmla="*/ 1103789 h 1497883"/>
              <a:gd name="connsiteX30" fmla="*/ 1947285 w 2534562"/>
              <a:gd name="connsiteY30" fmla="*/ 1126971 h 1497883"/>
              <a:gd name="connsiteX31" fmla="*/ 1991074 w 2534562"/>
              <a:gd name="connsiteY31" fmla="*/ 1155305 h 1497883"/>
              <a:gd name="connsiteX32" fmla="*/ 1985922 w 2534562"/>
              <a:gd name="connsiteY32" fmla="*/ 1204244 h 1497883"/>
              <a:gd name="connsiteX33" fmla="*/ 2024559 w 2534562"/>
              <a:gd name="connsiteY33" fmla="*/ 1240305 h 1497883"/>
              <a:gd name="connsiteX34" fmla="*/ 2070923 w 2534562"/>
              <a:gd name="connsiteY34" fmla="*/ 1276366 h 1497883"/>
              <a:gd name="connsiteX35" fmla="*/ 2114711 w 2534562"/>
              <a:gd name="connsiteY35" fmla="*/ 1263487 h 1497883"/>
              <a:gd name="connsiteX36" fmla="*/ 2168802 w 2534562"/>
              <a:gd name="connsiteY36" fmla="*/ 1294397 h 1497883"/>
              <a:gd name="connsiteX37" fmla="*/ 2199711 w 2534562"/>
              <a:gd name="connsiteY37" fmla="*/ 1271215 h 1497883"/>
              <a:gd name="connsiteX38" fmla="*/ 2251227 w 2534562"/>
              <a:gd name="connsiteY38" fmla="*/ 1296972 h 1497883"/>
              <a:gd name="connsiteX39" fmla="*/ 2295015 w 2534562"/>
              <a:gd name="connsiteY39" fmla="*/ 1343336 h 1497883"/>
              <a:gd name="connsiteX40" fmla="*/ 2333652 w 2534562"/>
              <a:gd name="connsiteY40" fmla="*/ 1415458 h 1497883"/>
              <a:gd name="connsiteX41" fmla="*/ 2354258 w 2534562"/>
              <a:gd name="connsiteY41" fmla="*/ 1428337 h 1497883"/>
              <a:gd name="connsiteX42" fmla="*/ 2372288 w 2534562"/>
              <a:gd name="connsiteY42" fmla="*/ 1459246 h 1497883"/>
              <a:gd name="connsiteX43" fmla="*/ 2395470 w 2534562"/>
              <a:gd name="connsiteY43" fmla="*/ 1497883 h 1497883"/>
              <a:gd name="connsiteX44" fmla="*/ 2423804 w 2534562"/>
              <a:gd name="connsiteY44" fmla="*/ 1497883 h 1497883"/>
              <a:gd name="connsiteX45" fmla="*/ 2446986 w 2534562"/>
              <a:gd name="connsiteY45" fmla="*/ 1469549 h 1497883"/>
              <a:gd name="connsiteX46" fmla="*/ 2483047 w 2534562"/>
              <a:gd name="connsiteY46" fmla="*/ 1433488 h 1497883"/>
              <a:gd name="connsiteX47" fmla="*/ 2480471 w 2534562"/>
              <a:gd name="connsiteY47" fmla="*/ 1392276 h 1497883"/>
              <a:gd name="connsiteX48" fmla="*/ 2495925 w 2534562"/>
              <a:gd name="connsiteY48" fmla="*/ 1369094 h 1497883"/>
              <a:gd name="connsiteX49" fmla="*/ 2493350 w 2534562"/>
              <a:gd name="connsiteY49" fmla="*/ 1296972 h 1497883"/>
              <a:gd name="connsiteX50" fmla="*/ 2519107 w 2534562"/>
              <a:gd name="connsiteY50" fmla="*/ 1255760 h 1497883"/>
              <a:gd name="connsiteX51" fmla="*/ 2498501 w 2534562"/>
              <a:gd name="connsiteY51" fmla="*/ 1222275 h 1497883"/>
              <a:gd name="connsiteX52" fmla="*/ 2526835 w 2534562"/>
              <a:gd name="connsiteY52" fmla="*/ 1183638 h 1497883"/>
              <a:gd name="connsiteX53" fmla="*/ 2534562 w 2534562"/>
              <a:gd name="connsiteY53" fmla="*/ 1150153 h 1497883"/>
              <a:gd name="connsiteX54" fmla="*/ 2498501 w 2534562"/>
              <a:gd name="connsiteY54" fmla="*/ 1098638 h 1497883"/>
              <a:gd name="connsiteX55" fmla="*/ 2436683 w 2534562"/>
              <a:gd name="connsiteY55" fmla="*/ 1049698 h 1497883"/>
              <a:gd name="connsiteX56" fmla="*/ 2423804 w 2534562"/>
              <a:gd name="connsiteY56" fmla="*/ 1000758 h 1497883"/>
              <a:gd name="connsiteX57" fmla="*/ 2413501 w 2534562"/>
              <a:gd name="connsiteY57" fmla="*/ 944091 h 1497883"/>
              <a:gd name="connsiteX58" fmla="*/ 2392894 w 2534562"/>
              <a:gd name="connsiteY58" fmla="*/ 908030 h 1497883"/>
              <a:gd name="connsiteX59" fmla="*/ 2405773 w 2534562"/>
              <a:gd name="connsiteY59" fmla="*/ 869394 h 1497883"/>
              <a:gd name="connsiteX60" fmla="*/ 2356834 w 2534562"/>
              <a:gd name="connsiteY60" fmla="*/ 748332 h 1497883"/>
              <a:gd name="connsiteX61" fmla="*/ 2356834 w 2534562"/>
              <a:gd name="connsiteY61" fmla="*/ 704544 h 1497883"/>
              <a:gd name="connsiteX62" fmla="*/ 2331076 w 2534562"/>
              <a:gd name="connsiteY62" fmla="*/ 640150 h 1497883"/>
              <a:gd name="connsiteX63" fmla="*/ 2328500 w 2534562"/>
              <a:gd name="connsiteY63" fmla="*/ 604089 h 1497883"/>
              <a:gd name="connsiteX64" fmla="*/ 2307894 w 2534562"/>
              <a:gd name="connsiteY64" fmla="*/ 565452 h 1497883"/>
              <a:gd name="connsiteX65" fmla="*/ 2228045 w 2534562"/>
              <a:gd name="connsiteY65" fmla="*/ 519088 h 1497883"/>
              <a:gd name="connsiteX66" fmla="*/ 2225469 w 2534562"/>
              <a:gd name="connsiteY66" fmla="*/ 483028 h 1497883"/>
              <a:gd name="connsiteX67" fmla="*/ 2194560 w 2534562"/>
              <a:gd name="connsiteY67" fmla="*/ 459846 h 1497883"/>
              <a:gd name="connsiteX68" fmla="*/ 2171378 w 2534562"/>
              <a:gd name="connsiteY68" fmla="*/ 459846 h 1497883"/>
              <a:gd name="connsiteX69" fmla="*/ 2127590 w 2534562"/>
              <a:gd name="connsiteY69" fmla="*/ 462421 h 1497883"/>
              <a:gd name="connsiteX70" fmla="*/ 2058044 w 2534562"/>
              <a:gd name="connsiteY70" fmla="*/ 423785 h 1497883"/>
              <a:gd name="connsiteX71" fmla="*/ 2006528 w 2534562"/>
              <a:gd name="connsiteY71" fmla="*/ 359390 h 1497883"/>
              <a:gd name="connsiteX72" fmla="*/ 1962740 w 2534562"/>
              <a:gd name="connsiteY72" fmla="*/ 336208 h 1497883"/>
              <a:gd name="connsiteX73" fmla="*/ 1957589 w 2534562"/>
              <a:gd name="connsiteY73" fmla="*/ 300148 h 1497883"/>
              <a:gd name="connsiteX74" fmla="*/ 1934407 w 2534562"/>
              <a:gd name="connsiteY74" fmla="*/ 251208 h 1497883"/>
              <a:gd name="connsiteX75" fmla="*/ 1893194 w 2534562"/>
              <a:gd name="connsiteY75" fmla="*/ 220299 h 1497883"/>
              <a:gd name="connsiteX76" fmla="*/ 1898346 w 2534562"/>
              <a:gd name="connsiteY76" fmla="*/ 176510 h 1497883"/>
              <a:gd name="connsiteX77" fmla="*/ 1934407 w 2534562"/>
              <a:gd name="connsiteY77" fmla="*/ 119843 h 1497883"/>
              <a:gd name="connsiteX78" fmla="*/ 1939558 w 2534562"/>
              <a:gd name="connsiteY78" fmla="*/ 55449 h 1497883"/>
              <a:gd name="connsiteX79" fmla="*/ 1967892 w 2534562"/>
              <a:gd name="connsiteY79" fmla="*/ 19388 h 1497883"/>
              <a:gd name="connsiteX80" fmla="*/ 2006755 w 2534562"/>
              <a:gd name="connsiteY80" fmla="*/ 0 h 1497883"/>
              <a:gd name="connsiteX81" fmla="*/ 1925117 w 2534562"/>
              <a:gd name="connsiteY81" fmla="*/ 298827 h 1497883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1918952 w 2534562"/>
              <a:gd name="connsiteY28" fmla="*/ 1163027 h 1582879"/>
              <a:gd name="connsiteX29" fmla="*/ 1947285 w 2534562"/>
              <a:gd name="connsiteY29" fmla="*/ 1188785 h 1582879"/>
              <a:gd name="connsiteX30" fmla="*/ 1947285 w 2534562"/>
              <a:gd name="connsiteY30" fmla="*/ 1211967 h 1582879"/>
              <a:gd name="connsiteX31" fmla="*/ 1991074 w 2534562"/>
              <a:gd name="connsiteY31" fmla="*/ 1240301 h 1582879"/>
              <a:gd name="connsiteX32" fmla="*/ 1985922 w 2534562"/>
              <a:gd name="connsiteY32" fmla="*/ 1289240 h 1582879"/>
              <a:gd name="connsiteX33" fmla="*/ 2024559 w 2534562"/>
              <a:gd name="connsiteY33" fmla="*/ 1325301 h 1582879"/>
              <a:gd name="connsiteX34" fmla="*/ 2070923 w 2534562"/>
              <a:gd name="connsiteY34" fmla="*/ 1361362 h 1582879"/>
              <a:gd name="connsiteX35" fmla="*/ 2114711 w 2534562"/>
              <a:gd name="connsiteY35" fmla="*/ 1348483 h 1582879"/>
              <a:gd name="connsiteX36" fmla="*/ 2168802 w 2534562"/>
              <a:gd name="connsiteY36" fmla="*/ 1379393 h 1582879"/>
              <a:gd name="connsiteX37" fmla="*/ 2199711 w 2534562"/>
              <a:gd name="connsiteY37" fmla="*/ 1356211 h 1582879"/>
              <a:gd name="connsiteX38" fmla="*/ 2251227 w 2534562"/>
              <a:gd name="connsiteY38" fmla="*/ 1381968 h 1582879"/>
              <a:gd name="connsiteX39" fmla="*/ 2295015 w 2534562"/>
              <a:gd name="connsiteY39" fmla="*/ 1428332 h 1582879"/>
              <a:gd name="connsiteX40" fmla="*/ 2333652 w 2534562"/>
              <a:gd name="connsiteY40" fmla="*/ 1500454 h 1582879"/>
              <a:gd name="connsiteX41" fmla="*/ 2354258 w 2534562"/>
              <a:gd name="connsiteY41" fmla="*/ 1513333 h 1582879"/>
              <a:gd name="connsiteX42" fmla="*/ 2372288 w 2534562"/>
              <a:gd name="connsiteY42" fmla="*/ 1544242 h 1582879"/>
              <a:gd name="connsiteX43" fmla="*/ 2395470 w 2534562"/>
              <a:gd name="connsiteY43" fmla="*/ 1582879 h 1582879"/>
              <a:gd name="connsiteX44" fmla="*/ 2423804 w 2534562"/>
              <a:gd name="connsiteY44" fmla="*/ 1582879 h 1582879"/>
              <a:gd name="connsiteX45" fmla="*/ 2446986 w 2534562"/>
              <a:gd name="connsiteY45" fmla="*/ 1554545 h 1582879"/>
              <a:gd name="connsiteX46" fmla="*/ 2483047 w 2534562"/>
              <a:gd name="connsiteY46" fmla="*/ 1518484 h 1582879"/>
              <a:gd name="connsiteX47" fmla="*/ 2480471 w 2534562"/>
              <a:gd name="connsiteY47" fmla="*/ 1477272 h 1582879"/>
              <a:gd name="connsiteX48" fmla="*/ 2495925 w 2534562"/>
              <a:gd name="connsiteY48" fmla="*/ 1454090 h 1582879"/>
              <a:gd name="connsiteX49" fmla="*/ 2493350 w 2534562"/>
              <a:gd name="connsiteY49" fmla="*/ 1381968 h 1582879"/>
              <a:gd name="connsiteX50" fmla="*/ 2519107 w 2534562"/>
              <a:gd name="connsiteY50" fmla="*/ 1340756 h 1582879"/>
              <a:gd name="connsiteX51" fmla="*/ 2498501 w 2534562"/>
              <a:gd name="connsiteY51" fmla="*/ 1307271 h 1582879"/>
              <a:gd name="connsiteX52" fmla="*/ 2526835 w 2534562"/>
              <a:gd name="connsiteY52" fmla="*/ 1268634 h 1582879"/>
              <a:gd name="connsiteX53" fmla="*/ 2534562 w 2534562"/>
              <a:gd name="connsiteY53" fmla="*/ 1235149 h 1582879"/>
              <a:gd name="connsiteX54" fmla="*/ 2498501 w 2534562"/>
              <a:gd name="connsiteY54" fmla="*/ 1183634 h 1582879"/>
              <a:gd name="connsiteX55" fmla="*/ 2436683 w 2534562"/>
              <a:gd name="connsiteY55" fmla="*/ 1134694 h 1582879"/>
              <a:gd name="connsiteX56" fmla="*/ 2423804 w 2534562"/>
              <a:gd name="connsiteY56" fmla="*/ 1085754 h 1582879"/>
              <a:gd name="connsiteX57" fmla="*/ 2413501 w 2534562"/>
              <a:gd name="connsiteY57" fmla="*/ 1029087 h 1582879"/>
              <a:gd name="connsiteX58" fmla="*/ 2392894 w 2534562"/>
              <a:gd name="connsiteY58" fmla="*/ 993026 h 1582879"/>
              <a:gd name="connsiteX59" fmla="*/ 2405773 w 2534562"/>
              <a:gd name="connsiteY59" fmla="*/ 954390 h 1582879"/>
              <a:gd name="connsiteX60" fmla="*/ 2356834 w 2534562"/>
              <a:gd name="connsiteY60" fmla="*/ 833328 h 1582879"/>
              <a:gd name="connsiteX61" fmla="*/ 2356834 w 2534562"/>
              <a:gd name="connsiteY61" fmla="*/ 789540 h 1582879"/>
              <a:gd name="connsiteX62" fmla="*/ 2331076 w 2534562"/>
              <a:gd name="connsiteY62" fmla="*/ 725146 h 1582879"/>
              <a:gd name="connsiteX63" fmla="*/ 2328500 w 2534562"/>
              <a:gd name="connsiteY63" fmla="*/ 689085 h 1582879"/>
              <a:gd name="connsiteX64" fmla="*/ 2307894 w 2534562"/>
              <a:gd name="connsiteY64" fmla="*/ 650448 h 1582879"/>
              <a:gd name="connsiteX65" fmla="*/ 2228045 w 2534562"/>
              <a:gd name="connsiteY65" fmla="*/ 604084 h 1582879"/>
              <a:gd name="connsiteX66" fmla="*/ 2225469 w 2534562"/>
              <a:gd name="connsiteY66" fmla="*/ 568024 h 1582879"/>
              <a:gd name="connsiteX67" fmla="*/ 2194560 w 2534562"/>
              <a:gd name="connsiteY67" fmla="*/ 544842 h 1582879"/>
              <a:gd name="connsiteX68" fmla="*/ 2171378 w 2534562"/>
              <a:gd name="connsiteY68" fmla="*/ 544842 h 1582879"/>
              <a:gd name="connsiteX69" fmla="*/ 2127590 w 2534562"/>
              <a:gd name="connsiteY69" fmla="*/ 547417 h 1582879"/>
              <a:gd name="connsiteX70" fmla="*/ 2058044 w 2534562"/>
              <a:gd name="connsiteY70" fmla="*/ 508781 h 1582879"/>
              <a:gd name="connsiteX71" fmla="*/ 2006528 w 2534562"/>
              <a:gd name="connsiteY71" fmla="*/ 444386 h 1582879"/>
              <a:gd name="connsiteX72" fmla="*/ 1962740 w 2534562"/>
              <a:gd name="connsiteY72" fmla="*/ 421204 h 1582879"/>
              <a:gd name="connsiteX73" fmla="*/ 1957589 w 2534562"/>
              <a:gd name="connsiteY73" fmla="*/ 385144 h 1582879"/>
              <a:gd name="connsiteX74" fmla="*/ 1934407 w 2534562"/>
              <a:gd name="connsiteY74" fmla="*/ 336204 h 1582879"/>
              <a:gd name="connsiteX75" fmla="*/ 1893194 w 2534562"/>
              <a:gd name="connsiteY75" fmla="*/ 305295 h 1582879"/>
              <a:gd name="connsiteX76" fmla="*/ 1898346 w 2534562"/>
              <a:gd name="connsiteY76" fmla="*/ 261506 h 1582879"/>
              <a:gd name="connsiteX77" fmla="*/ 1934407 w 2534562"/>
              <a:gd name="connsiteY77" fmla="*/ 204839 h 1582879"/>
              <a:gd name="connsiteX78" fmla="*/ 1939558 w 2534562"/>
              <a:gd name="connsiteY78" fmla="*/ 140445 h 1582879"/>
              <a:gd name="connsiteX79" fmla="*/ 1967892 w 2534562"/>
              <a:gd name="connsiteY79" fmla="*/ 104384 h 1582879"/>
              <a:gd name="connsiteX80" fmla="*/ 2006755 w 2534562"/>
              <a:gd name="connsiteY80" fmla="*/ 84996 h 1582879"/>
              <a:gd name="connsiteX81" fmla="*/ 1925117 w 2534562"/>
              <a:gd name="connsiteY81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1918952 w 2534562"/>
              <a:gd name="connsiteY28" fmla="*/ 1163027 h 1582879"/>
              <a:gd name="connsiteX29" fmla="*/ 1947285 w 2534562"/>
              <a:gd name="connsiteY29" fmla="*/ 1188785 h 1582879"/>
              <a:gd name="connsiteX30" fmla="*/ 1947285 w 2534562"/>
              <a:gd name="connsiteY30" fmla="*/ 1211967 h 1582879"/>
              <a:gd name="connsiteX31" fmla="*/ 1991074 w 2534562"/>
              <a:gd name="connsiteY31" fmla="*/ 1240301 h 1582879"/>
              <a:gd name="connsiteX32" fmla="*/ 1985922 w 2534562"/>
              <a:gd name="connsiteY32" fmla="*/ 1289240 h 1582879"/>
              <a:gd name="connsiteX33" fmla="*/ 2024559 w 2534562"/>
              <a:gd name="connsiteY33" fmla="*/ 1325301 h 1582879"/>
              <a:gd name="connsiteX34" fmla="*/ 2070923 w 2534562"/>
              <a:gd name="connsiteY34" fmla="*/ 1361362 h 1582879"/>
              <a:gd name="connsiteX35" fmla="*/ 2114711 w 2534562"/>
              <a:gd name="connsiteY35" fmla="*/ 1348483 h 1582879"/>
              <a:gd name="connsiteX36" fmla="*/ 2168802 w 2534562"/>
              <a:gd name="connsiteY36" fmla="*/ 1379393 h 1582879"/>
              <a:gd name="connsiteX37" fmla="*/ 2199711 w 2534562"/>
              <a:gd name="connsiteY37" fmla="*/ 1356211 h 1582879"/>
              <a:gd name="connsiteX38" fmla="*/ 2251227 w 2534562"/>
              <a:gd name="connsiteY38" fmla="*/ 1381968 h 1582879"/>
              <a:gd name="connsiteX39" fmla="*/ 2295015 w 2534562"/>
              <a:gd name="connsiteY39" fmla="*/ 1428332 h 1582879"/>
              <a:gd name="connsiteX40" fmla="*/ 2333652 w 2534562"/>
              <a:gd name="connsiteY40" fmla="*/ 1500454 h 1582879"/>
              <a:gd name="connsiteX41" fmla="*/ 2354258 w 2534562"/>
              <a:gd name="connsiteY41" fmla="*/ 1513333 h 1582879"/>
              <a:gd name="connsiteX42" fmla="*/ 2372288 w 2534562"/>
              <a:gd name="connsiteY42" fmla="*/ 1544242 h 1582879"/>
              <a:gd name="connsiteX43" fmla="*/ 2395470 w 2534562"/>
              <a:gd name="connsiteY43" fmla="*/ 1582879 h 1582879"/>
              <a:gd name="connsiteX44" fmla="*/ 2423804 w 2534562"/>
              <a:gd name="connsiteY44" fmla="*/ 1582879 h 1582879"/>
              <a:gd name="connsiteX45" fmla="*/ 2446986 w 2534562"/>
              <a:gd name="connsiteY45" fmla="*/ 1554545 h 1582879"/>
              <a:gd name="connsiteX46" fmla="*/ 2483047 w 2534562"/>
              <a:gd name="connsiteY46" fmla="*/ 1518484 h 1582879"/>
              <a:gd name="connsiteX47" fmla="*/ 2480471 w 2534562"/>
              <a:gd name="connsiteY47" fmla="*/ 1477272 h 1582879"/>
              <a:gd name="connsiteX48" fmla="*/ 2495925 w 2534562"/>
              <a:gd name="connsiteY48" fmla="*/ 1454090 h 1582879"/>
              <a:gd name="connsiteX49" fmla="*/ 2493350 w 2534562"/>
              <a:gd name="connsiteY49" fmla="*/ 1381968 h 1582879"/>
              <a:gd name="connsiteX50" fmla="*/ 2519107 w 2534562"/>
              <a:gd name="connsiteY50" fmla="*/ 1340756 h 1582879"/>
              <a:gd name="connsiteX51" fmla="*/ 2498501 w 2534562"/>
              <a:gd name="connsiteY51" fmla="*/ 1307271 h 1582879"/>
              <a:gd name="connsiteX52" fmla="*/ 2526835 w 2534562"/>
              <a:gd name="connsiteY52" fmla="*/ 1268634 h 1582879"/>
              <a:gd name="connsiteX53" fmla="*/ 2534562 w 2534562"/>
              <a:gd name="connsiteY53" fmla="*/ 1235149 h 1582879"/>
              <a:gd name="connsiteX54" fmla="*/ 2498501 w 2534562"/>
              <a:gd name="connsiteY54" fmla="*/ 1183634 h 1582879"/>
              <a:gd name="connsiteX55" fmla="*/ 2436683 w 2534562"/>
              <a:gd name="connsiteY55" fmla="*/ 1134694 h 1582879"/>
              <a:gd name="connsiteX56" fmla="*/ 2423804 w 2534562"/>
              <a:gd name="connsiteY56" fmla="*/ 1085754 h 1582879"/>
              <a:gd name="connsiteX57" fmla="*/ 2413501 w 2534562"/>
              <a:gd name="connsiteY57" fmla="*/ 1029087 h 1582879"/>
              <a:gd name="connsiteX58" fmla="*/ 2392894 w 2534562"/>
              <a:gd name="connsiteY58" fmla="*/ 993026 h 1582879"/>
              <a:gd name="connsiteX59" fmla="*/ 2405773 w 2534562"/>
              <a:gd name="connsiteY59" fmla="*/ 954390 h 1582879"/>
              <a:gd name="connsiteX60" fmla="*/ 2356834 w 2534562"/>
              <a:gd name="connsiteY60" fmla="*/ 833328 h 1582879"/>
              <a:gd name="connsiteX61" fmla="*/ 2356834 w 2534562"/>
              <a:gd name="connsiteY61" fmla="*/ 789540 h 1582879"/>
              <a:gd name="connsiteX62" fmla="*/ 2331076 w 2534562"/>
              <a:gd name="connsiteY62" fmla="*/ 725146 h 1582879"/>
              <a:gd name="connsiteX63" fmla="*/ 2328500 w 2534562"/>
              <a:gd name="connsiteY63" fmla="*/ 689085 h 1582879"/>
              <a:gd name="connsiteX64" fmla="*/ 2307894 w 2534562"/>
              <a:gd name="connsiteY64" fmla="*/ 650448 h 1582879"/>
              <a:gd name="connsiteX65" fmla="*/ 2228045 w 2534562"/>
              <a:gd name="connsiteY65" fmla="*/ 604084 h 1582879"/>
              <a:gd name="connsiteX66" fmla="*/ 2225469 w 2534562"/>
              <a:gd name="connsiteY66" fmla="*/ 568024 h 1582879"/>
              <a:gd name="connsiteX67" fmla="*/ 2194560 w 2534562"/>
              <a:gd name="connsiteY67" fmla="*/ 544842 h 1582879"/>
              <a:gd name="connsiteX68" fmla="*/ 2171378 w 2534562"/>
              <a:gd name="connsiteY68" fmla="*/ 544842 h 1582879"/>
              <a:gd name="connsiteX69" fmla="*/ 2127590 w 2534562"/>
              <a:gd name="connsiteY69" fmla="*/ 547417 h 1582879"/>
              <a:gd name="connsiteX70" fmla="*/ 2058044 w 2534562"/>
              <a:gd name="connsiteY70" fmla="*/ 508781 h 1582879"/>
              <a:gd name="connsiteX71" fmla="*/ 2006528 w 2534562"/>
              <a:gd name="connsiteY71" fmla="*/ 444386 h 1582879"/>
              <a:gd name="connsiteX72" fmla="*/ 1962740 w 2534562"/>
              <a:gd name="connsiteY72" fmla="*/ 421204 h 1582879"/>
              <a:gd name="connsiteX73" fmla="*/ 1934407 w 2534562"/>
              <a:gd name="connsiteY73" fmla="*/ 336204 h 1582879"/>
              <a:gd name="connsiteX74" fmla="*/ 1893194 w 2534562"/>
              <a:gd name="connsiteY74" fmla="*/ 305295 h 1582879"/>
              <a:gd name="connsiteX75" fmla="*/ 1898346 w 2534562"/>
              <a:gd name="connsiteY75" fmla="*/ 261506 h 1582879"/>
              <a:gd name="connsiteX76" fmla="*/ 1934407 w 2534562"/>
              <a:gd name="connsiteY76" fmla="*/ 204839 h 1582879"/>
              <a:gd name="connsiteX77" fmla="*/ 1939558 w 2534562"/>
              <a:gd name="connsiteY77" fmla="*/ 140445 h 1582879"/>
              <a:gd name="connsiteX78" fmla="*/ 1967892 w 2534562"/>
              <a:gd name="connsiteY78" fmla="*/ 104384 h 1582879"/>
              <a:gd name="connsiteX79" fmla="*/ 2006755 w 2534562"/>
              <a:gd name="connsiteY79" fmla="*/ 84996 h 1582879"/>
              <a:gd name="connsiteX80" fmla="*/ 1925117 w 2534562"/>
              <a:gd name="connsiteY80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1918952 w 2534562"/>
              <a:gd name="connsiteY28" fmla="*/ 1163027 h 1582879"/>
              <a:gd name="connsiteX29" fmla="*/ 1947285 w 2534562"/>
              <a:gd name="connsiteY29" fmla="*/ 1188785 h 1582879"/>
              <a:gd name="connsiteX30" fmla="*/ 1947285 w 2534562"/>
              <a:gd name="connsiteY30" fmla="*/ 1211967 h 1582879"/>
              <a:gd name="connsiteX31" fmla="*/ 1991074 w 2534562"/>
              <a:gd name="connsiteY31" fmla="*/ 1240301 h 1582879"/>
              <a:gd name="connsiteX32" fmla="*/ 1985922 w 2534562"/>
              <a:gd name="connsiteY32" fmla="*/ 1289240 h 1582879"/>
              <a:gd name="connsiteX33" fmla="*/ 2024559 w 2534562"/>
              <a:gd name="connsiteY33" fmla="*/ 1325301 h 1582879"/>
              <a:gd name="connsiteX34" fmla="*/ 2070923 w 2534562"/>
              <a:gd name="connsiteY34" fmla="*/ 1361362 h 1582879"/>
              <a:gd name="connsiteX35" fmla="*/ 2114711 w 2534562"/>
              <a:gd name="connsiteY35" fmla="*/ 1348483 h 1582879"/>
              <a:gd name="connsiteX36" fmla="*/ 2168802 w 2534562"/>
              <a:gd name="connsiteY36" fmla="*/ 1379393 h 1582879"/>
              <a:gd name="connsiteX37" fmla="*/ 2199711 w 2534562"/>
              <a:gd name="connsiteY37" fmla="*/ 1356211 h 1582879"/>
              <a:gd name="connsiteX38" fmla="*/ 2251227 w 2534562"/>
              <a:gd name="connsiteY38" fmla="*/ 1381968 h 1582879"/>
              <a:gd name="connsiteX39" fmla="*/ 2295015 w 2534562"/>
              <a:gd name="connsiteY39" fmla="*/ 1428332 h 1582879"/>
              <a:gd name="connsiteX40" fmla="*/ 2333652 w 2534562"/>
              <a:gd name="connsiteY40" fmla="*/ 1500454 h 1582879"/>
              <a:gd name="connsiteX41" fmla="*/ 2354258 w 2534562"/>
              <a:gd name="connsiteY41" fmla="*/ 1513333 h 1582879"/>
              <a:gd name="connsiteX42" fmla="*/ 2372288 w 2534562"/>
              <a:gd name="connsiteY42" fmla="*/ 1544242 h 1582879"/>
              <a:gd name="connsiteX43" fmla="*/ 2395470 w 2534562"/>
              <a:gd name="connsiteY43" fmla="*/ 1582879 h 1582879"/>
              <a:gd name="connsiteX44" fmla="*/ 2423804 w 2534562"/>
              <a:gd name="connsiteY44" fmla="*/ 1582879 h 1582879"/>
              <a:gd name="connsiteX45" fmla="*/ 2446986 w 2534562"/>
              <a:gd name="connsiteY45" fmla="*/ 1554545 h 1582879"/>
              <a:gd name="connsiteX46" fmla="*/ 2483047 w 2534562"/>
              <a:gd name="connsiteY46" fmla="*/ 1518484 h 1582879"/>
              <a:gd name="connsiteX47" fmla="*/ 2480471 w 2534562"/>
              <a:gd name="connsiteY47" fmla="*/ 1477272 h 1582879"/>
              <a:gd name="connsiteX48" fmla="*/ 2495925 w 2534562"/>
              <a:gd name="connsiteY48" fmla="*/ 1454090 h 1582879"/>
              <a:gd name="connsiteX49" fmla="*/ 2493350 w 2534562"/>
              <a:gd name="connsiteY49" fmla="*/ 1381968 h 1582879"/>
              <a:gd name="connsiteX50" fmla="*/ 2519107 w 2534562"/>
              <a:gd name="connsiteY50" fmla="*/ 1340756 h 1582879"/>
              <a:gd name="connsiteX51" fmla="*/ 2498501 w 2534562"/>
              <a:gd name="connsiteY51" fmla="*/ 1307271 h 1582879"/>
              <a:gd name="connsiteX52" fmla="*/ 2526835 w 2534562"/>
              <a:gd name="connsiteY52" fmla="*/ 1268634 h 1582879"/>
              <a:gd name="connsiteX53" fmla="*/ 2534562 w 2534562"/>
              <a:gd name="connsiteY53" fmla="*/ 1235149 h 1582879"/>
              <a:gd name="connsiteX54" fmla="*/ 2498501 w 2534562"/>
              <a:gd name="connsiteY54" fmla="*/ 1183634 h 1582879"/>
              <a:gd name="connsiteX55" fmla="*/ 2436683 w 2534562"/>
              <a:gd name="connsiteY55" fmla="*/ 1134694 h 1582879"/>
              <a:gd name="connsiteX56" fmla="*/ 2423804 w 2534562"/>
              <a:gd name="connsiteY56" fmla="*/ 1085754 h 1582879"/>
              <a:gd name="connsiteX57" fmla="*/ 2413501 w 2534562"/>
              <a:gd name="connsiteY57" fmla="*/ 1029087 h 1582879"/>
              <a:gd name="connsiteX58" fmla="*/ 2392894 w 2534562"/>
              <a:gd name="connsiteY58" fmla="*/ 993026 h 1582879"/>
              <a:gd name="connsiteX59" fmla="*/ 2405773 w 2534562"/>
              <a:gd name="connsiteY59" fmla="*/ 954390 h 1582879"/>
              <a:gd name="connsiteX60" fmla="*/ 2356834 w 2534562"/>
              <a:gd name="connsiteY60" fmla="*/ 833328 h 1582879"/>
              <a:gd name="connsiteX61" fmla="*/ 2356834 w 2534562"/>
              <a:gd name="connsiteY61" fmla="*/ 789540 h 1582879"/>
              <a:gd name="connsiteX62" fmla="*/ 2331076 w 2534562"/>
              <a:gd name="connsiteY62" fmla="*/ 725146 h 1582879"/>
              <a:gd name="connsiteX63" fmla="*/ 2328500 w 2534562"/>
              <a:gd name="connsiteY63" fmla="*/ 689085 h 1582879"/>
              <a:gd name="connsiteX64" fmla="*/ 2307894 w 2534562"/>
              <a:gd name="connsiteY64" fmla="*/ 650448 h 1582879"/>
              <a:gd name="connsiteX65" fmla="*/ 2228045 w 2534562"/>
              <a:gd name="connsiteY65" fmla="*/ 604084 h 1582879"/>
              <a:gd name="connsiteX66" fmla="*/ 2225469 w 2534562"/>
              <a:gd name="connsiteY66" fmla="*/ 568024 h 1582879"/>
              <a:gd name="connsiteX67" fmla="*/ 2194560 w 2534562"/>
              <a:gd name="connsiteY67" fmla="*/ 544842 h 1582879"/>
              <a:gd name="connsiteX68" fmla="*/ 2171378 w 2534562"/>
              <a:gd name="connsiteY68" fmla="*/ 544842 h 1582879"/>
              <a:gd name="connsiteX69" fmla="*/ 2127590 w 2534562"/>
              <a:gd name="connsiteY69" fmla="*/ 547417 h 1582879"/>
              <a:gd name="connsiteX70" fmla="*/ 2078005 w 2534562"/>
              <a:gd name="connsiteY70" fmla="*/ 514982 h 1582879"/>
              <a:gd name="connsiteX71" fmla="*/ 2058044 w 2534562"/>
              <a:gd name="connsiteY71" fmla="*/ 508781 h 1582879"/>
              <a:gd name="connsiteX72" fmla="*/ 2006528 w 2534562"/>
              <a:gd name="connsiteY72" fmla="*/ 444386 h 1582879"/>
              <a:gd name="connsiteX73" fmla="*/ 1962740 w 2534562"/>
              <a:gd name="connsiteY73" fmla="*/ 421204 h 1582879"/>
              <a:gd name="connsiteX74" fmla="*/ 1934407 w 2534562"/>
              <a:gd name="connsiteY74" fmla="*/ 336204 h 1582879"/>
              <a:gd name="connsiteX75" fmla="*/ 1893194 w 2534562"/>
              <a:gd name="connsiteY75" fmla="*/ 305295 h 1582879"/>
              <a:gd name="connsiteX76" fmla="*/ 1898346 w 2534562"/>
              <a:gd name="connsiteY76" fmla="*/ 261506 h 1582879"/>
              <a:gd name="connsiteX77" fmla="*/ 1934407 w 2534562"/>
              <a:gd name="connsiteY77" fmla="*/ 204839 h 1582879"/>
              <a:gd name="connsiteX78" fmla="*/ 1939558 w 2534562"/>
              <a:gd name="connsiteY78" fmla="*/ 140445 h 1582879"/>
              <a:gd name="connsiteX79" fmla="*/ 1967892 w 2534562"/>
              <a:gd name="connsiteY79" fmla="*/ 104384 h 1582879"/>
              <a:gd name="connsiteX80" fmla="*/ 2006755 w 2534562"/>
              <a:gd name="connsiteY80" fmla="*/ 84996 h 1582879"/>
              <a:gd name="connsiteX81" fmla="*/ 1925117 w 2534562"/>
              <a:gd name="connsiteY81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1947285 w 2534562"/>
              <a:gd name="connsiteY28" fmla="*/ 1188785 h 1582879"/>
              <a:gd name="connsiteX29" fmla="*/ 1947285 w 2534562"/>
              <a:gd name="connsiteY29" fmla="*/ 1211967 h 1582879"/>
              <a:gd name="connsiteX30" fmla="*/ 1991074 w 2534562"/>
              <a:gd name="connsiteY30" fmla="*/ 1240301 h 1582879"/>
              <a:gd name="connsiteX31" fmla="*/ 1985922 w 2534562"/>
              <a:gd name="connsiteY31" fmla="*/ 1289240 h 1582879"/>
              <a:gd name="connsiteX32" fmla="*/ 2024559 w 2534562"/>
              <a:gd name="connsiteY32" fmla="*/ 1325301 h 1582879"/>
              <a:gd name="connsiteX33" fmla="*/ 2070923 w 2534562"/>
              <a:gd name="connsiteY33" fmla="*/ 1361362 h 1582879"/>
              <a:gd name="connsiteX34" fmla="*/ 2114711 w 2534562"/>
              <a:gd name="connsiteY34" fmla="*/ 1348483 h 1582879"/>
              <a:gd name="connsiteX35" fmla="*/ 2168802 w 2534562"/>
              <a:gd name="connsiteY35" fmla="*/ 1379393 h 1582879"/>
              <a:gd name="connsiteX36" fmla="*/ 2199711 w 2534562"/>
              <a:gd name="connsiteY36" fmla="*/ 1356211 h 1582879"/>
              <a:gd name="connsiteX37" fmla="*/ 2251227 w 2534562"/>
              <a:gd name="connsiteY37" fmla="*/ 1381968 h 1582879"/>
              <a:gd name="connsiteX38" fmla="*/ 2295015 w 2534562"/>
              <a:gd name="connsiteY38" fmla="*/ 1428332 h 1582879"/>
              <a:gd name="connsiteX39" fmla="*/ 2333652 w 2534562"/>
              <a:gd name="connsiteY39" fmla="*/ 1500454 h 1582879"/>
              <a:gd name="connsiteX40" fmla="*/ 2354258 w 2534562"/>
              <a:gd name="connsiteY40" fmla="*/ 1513333 h 1582879"/>
              <a:gd name="connsiteX41" fmla="*/ 2372288 w 2534562"/>
              <a:gd name="connsiteY41" fmla="*/ 1544242 h 1582879"/>
              <a:gd name="connsiteX42" fmla="*/ 2395470 w 2534562"/>
              <a:gd name="connsiteY42" fmla="*/ 1582879 h 1582879"/>
              <a:gd name="connsiteX43" fmla="*/ 2423804 w 2534562"/>
              <a:gd name="connsiteY43" fmla="*/ 1582879 h 1582879"/>
              <a:gd name="connsiteX44" fmla="*/ 2446986 w 2534562"/>
              <a:gd name="connsiteY44" fmla="*/ 1554545 h 1582879"/>
              <a:gd name="connsiteX45" fmla="*/ 2483047 w 2534562"/>
              <a:gd name="connsiteY45" fmla="*/ 1518484 h 1582879"/>
              <a:gd name="connsiteX46" fmla="*/ 2480471 w 2534562"/>
              <a:gd name="connsiteY46" fmla="*/ 1477272 h 1582879"/>
              <a:gd name="connsiteX47" fmla="*/ 2495925 w 2534562"/>
              <a:gd name="connsiteY47" fmla="*/ 1454090 h 1582879"/>
              <a:gd name="connsiteX48" fmla="*/ 2493350 w 2534562"/>
              <a:gd name="connsiteY48" fmla="*/ 1381968 h 1582879"/>
              <a:gd name="connsiteX49" fmla="*/ 2519107 w 2534562"/>
              <a:gd name="connsiteY49" fmla="*/ 1340756 h 1582879"/>
              <a:gd name="connsiteX50" fmla="*/ 2498501 w 2534562"/>
              <a:gd name="connsiteY50" fmla="*/ 1307271 h 1582879"/>
              <a:gd name="connsiteX51" fmla="*/ 2526835 w 2534562"/>
              <a:gd name="connsiteY51" fmla="*/ 1268634 h 1582879"/>
              <a:gd name="connsiteX52" fmla="*/ 2534562 w 2534562"/>
              <a:gd name="connsiteY52" fmla="*/ 1235149 h 1582879"/>
              <a:gd name="connsiteX53" fmla="*/ 2498501 w 2534562"/>
              <a:gd name="connsiteY53" fmla="*/ 1183634 h 1582879"/>
              <a:gd name="connsiteX54" fmla="*/ 2436683 w 2534562"/>
              <a:gd name="connsiteY54" fmla="*/ 1134694 h 1582879"/>
              <a:gd name="connsiteX55" fmla="*/ 2423804 w 2534562"/>
              <a:gd name="connsiteY55" fmla="*/ 1085754 h 1582879"/>
              <a:gd name="connsiteX56" fmla="*/ 2413501 w 2534562"/>
              <a:gd name="connsiteY56" fmla="*/ 1029087 h 1582879"/>
              <a:gd name="connsiteX57" fmla="*/ 2392894 w 2534562"/>
              <a:gd name="connsiteY57" fmla="*/ 993026 h 1582879"/>
              <a:gd name="connsiteX58" fmla="*/ 2405773 w 2534562"/>
              <a:gd name="connsiteY58" fmla="*/ 954390 h 1582879"/>
              <a:gd name="connsiteX59" fmla="*/ 2356834 w 2534562"/>
              <a:gd name="connsiteY59" fmla="*/ 833328 h 1582879"/>
              <a:gd name="connsiteX60" fmla="*/ 2356834 w 2534562"/>
              <a:gd name="connsiteY60" fmla="*/ 789540 h 1582879"/>
              <a:gd name="connsiteX61" fmla="*/ 2331076 w 2534562"/>
              <a:gd name="connsiteY61" fmla="*/ 725146 h 1582879"/>
              <a:gd name="connsiteX62" fmla="*/ 2328500 w 2534562"/>
              <a:gd name="connsiteY62" fmla="*/ 689085 h 1582879"/>
              <a:gd name="connsiteX63" fmla="*/ 2307894 w 2534562"/>
              <a:gd name="connsiteY63" fmla="*/ 650448 h 1582879"/>
              <a:gd name="connsiteX64" fmla="*/ 2228045 w 2534562"/>
              <a:gd name="connsiteY64" fmla="*/ 604084 h 1582879"/>
              <a:gd name="connsiteX65" fmla="*/ 2225469 w 2534562"/>
              <a:gd name="connsiteY65" fmla="*/ 568024 h 1582879"/>
              <a:gd name="connsiteX66" fmla="*/ 2194560 w 2534562"/>
              <a:gd name="connsiteY66" fmla="*/ 544842 h 1582879"/>
              <a:gd name="connsiteX67" fmla="*/ 2171378 w 2534562"/>
              <a:gd name="connsiteY67" fmla="*/ 544842 h 1582879"/>
              <a:gd name="connsiteX68" fmla="*/ 2127590 w 2534562"/>
              <a:gd name="connsiteY68" fmla="*/ 547417 h 1582879"/>
              <a:gd name="connsiteX69" fmla="*/ 2078005 w 2534562"/>
              <a:gd name="connsiteY69" fmla="*/ 514982 h 1582879"/>
              <a:gd name="connsiteX70" fmla="*/ 2058044 w 2534562"/>
              <a:gd name="connsiteY70" fmla="*/ 508781 h 1582879"/>
              <a:gd name="connsiteX71" fmla="*/ 2006528 w 2534562"/>
              <a:gd name="connsiteY71" fmla="*/ 444386 h 1582879"/>
              <a:gd name="connsiteX72" fmla="*/ 1962740 w 2534562"/>
              <a:gd name="connsiteY72" fmla="*/ 421204 h 1582879"/>
              <a:gd name="connsiteX73" fmla="*/ 1934407 w 2534562"/>
              <a:gd name="connsiteY73" fmla="*/ 336204 h 1582879"/>
              <a:gd name="connsiteX74" fmla="*/ 1893194 w 2534562"/>
              <a:gd name="connsiteY74" fmla="*/ 305295 h 1582879"/>
              <a:gd name="connsiteX75" fmla="*/ 1898346 w 2534562"/>
              <a:gd name="connsiteY75" fmla="*/ 261506 h 1582879"/>
              <a:gd name="connsiteX76" fmla="*/ 1934407 w 2534562"/>
              <a:gd name="connsiteY76" fmla="*/ 204839 h 1582879"/>
              <a:gd name="connsiteX77" fmla="*/ 1939558 w 2534562"/>
              <a:gd name="connsiteY77" fmla="*/ 140445 h 1582879"/>
              <a:gd name="connsiteX78" fmla="*/ 1967892 w 2534562"/>
              <a:gd name="connsiteY78" fmla="*/ 104384 h 1582879"/>
              <a:gd name="connsiteX79" fmla="*/ 2006755 w 2534562"/>
              <a:gd name="connsiteY79" fmla="*/ 84996 h 1582879"/>
              <a:gd name="connsiteX80" fmla="*/ 1925117 w 2534562"/>
              <a:gd name="connsiteY80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1947285 w 2534562"/>
              <a:gd name="connsiteY28" fmla="*/ 1211967 h 1582879"/>
              <a:gd name="connsiteX29" fmla="*/ 1991074 w 2534562"/>
              <a:gd name="connsiteY29" fmla="*/ 1240301 h 1582879"/>
              <a:gd name="connsiteX30" fmla="*/ 1985922 w 2534562"/>
              <a:gd name="connsiteY30" fmla="*/ 1289240 h 1582879"/>
              <a:gd name="connsiteX31" fmla="*/ 2024559 w 2534562"/>
              <a:gd name="connsiteY31" fmla="*/ 1325301 h 1582879"/>
              <a:gd name="connsiteX32" fmla="*/ 2070923 w 2534562"/>
              <a:gd name="connsiteY32" fmla="*/ 1361362 h 1582879"/>
              <a:gd name="connsiteX33" fmla="*/ 2114711 w 2534562"/>
              <a:gd name="connsiteY33" fmla="*/ 1348483 h 1582879"/>
              <a:gd name="connsiteX34" fmla="*/ 2168802 w 2534562"/>
              <a:gd name="connsiteY34" fmla="*/ 1379393 h 1582879"/>
              <a:gd name="connsiteX35" fmla="*/ 2199711 w 2534562"/>
              <a:gd name="connsiteY35" fmla="*/ 1356211 h 1582879"/>
              <a:gd name="connsiteX36" fmla="*/ 2251227 w 2534562"/>
              <a:gd name="connsiteY36" fmla="*/ 1381968 h 1582879"/>
              <a:gd name="connsiteX37" fmla="*/ 2295015 w 2534562"/>
              <a:gd name="connsiteY37" fmla="*/ 1428332 h 1582879"/>
              <a:gd name="connsiteX38" fmla="*/ 2333652 w 2534562"/>
              <a:gd name="connsiteY38" fmla="*/ 1500454 h 1582879"/>
              <a:gd name="connsiteX39" fmla="*/ 2354258 w 2534562"/>
              <a:gd name="connsiteY39" fmla="*/ 1513333 h 1582879"/>
              <a:gd name="connsiteX40" fmla="*/ 2372288 w 2534562"/>
              <a:gd name="connsiteY40" fmla="*/ 1544242 h 1582879"/>
              <a:gd name="connsiteX41" fmla="*/ 2395470 w 2534562"/>
              <a:gd name="connsiteY41" fmla="*/ 1582879 h 1582879"/>
              <a:gd name="connsiteX42" fmla="*/ 2423804 w 2534562"/>
              <a:gd name="connsiteY42" fmla="*/ 1582879 h 1582879"/>
              <a:gd name="connsiteX43" fmla="*/ 2446986 w 2534562"/>
              <a:gd name="connsiteY43" fmla="*/ 1554545 h 1582879"/>
              <a:gd name="connsiteX44" fmla="*/ 2483047 w 2534562"/>
              <a:gd name="connsiteY44" fmla="*/ 1518484 h 1582879"/>
              <a:gd name="connsiteX45" fmla="*/ 2480471 w 2534562"/>
              <a:gd name="connsiteY45" fmla="*/ 1477272 h 1582879"/>
              <a:gd name="connsiteX46" fmla="*/ 2495925 w 2534562"/>
              <a:gd name="connsiteY46" fmla="*/ 1454090 h 1582879"/>
              <a:gd name="connsiteX47" fmla="*/ 2493350 w 2534562"/>
              <a:gd name="connsiteY47" fmla="*/ 1381968 h 1582879"/>
              <a:gd name="connsiteX48" fmla="*/ 2519107 w 2534562"/>
              <a:gd name="connsiteY48" fmla="*/ 1340756 h 1582879"/>
              <a:gd name="connsiteX49" fmla="*/ 2498501 w 2534562"/>
              <a:gd name="connsiteY49" fmla="*/ 1307271 h 1582879"/>
              <a:gd name="connsiteX50" fmla="*/ 2526835 w 2534562"/>
              <a:gd name="connsiteY50" fmla="*/ 1268634 h 1582879"/>
              <a:gd name="connsiteX51" fmla="*/ 2534562 w 2534562"/>
              <a:gd name="connsiteY51" fmla="*/ 1235149 h 1582879"/>
              <a:gd name="connsiteX52" fmla="*/ 2498501 w 2534562"/>
              <a:gd name="connsiteY52" fmla="*/ 1183634 h 1582879"/>
              <a:gd name="connsiteX53" fmla="*/ 2436683 w 2534562"/>
              <a:gd name="connsiteY53" fmla="*/ 1134694 h 1582879"/>
              <a:gd name="connsiteX54" fmla="*/ 2423804 w 2534562"/>
              <a:gd name="connsiteY54" fmla="*/ 1085754 h 1582879"/>
              <a:gd name="connsiteX55" fmla="*/ 2413501 w 2534562"/>
              <a:gd name="connsiteY55" fmla="*/ 1029087 h 1582879"/>
              <a:gd name="connsiteX56" fmla="*/ 2392894 w 2534562"/>
              <a:gd name="connsiteY56" fmla="*/ 993026 h 1582879"/>
              <a:gd name="connsiteX57" fmla="*/ 2405773 w 2534562"/>
              <a:gd name="connsiteY57" fmla="*/ 954390 h 1582879"/>
              <a:gd name="connsiteX58" fmla="*/ 2356834 w 2534562"/>
              <a:gd name="connsiteY58" fmla="*/ 833328 h 1582879"/>
              <a:gd name="connsiteX59" fmla="*/ 2356834 w 2534562"/>
              <a:gd name="connsiteY59" fmla="*/ 789540 h 1582879"/>
              <a:gd name="connsiteX60" fmla="*/ 2331076 w 2534562"/>
              <a:gd name="connsiteY60" fmla="*/ 725146 h 1582879"/>
              <a:gd name="connsiteX61" fmla="*/ 2328500 w 2534562"/>
              <a:gd name="connsiteY61" fmla="*/ 689085 h 1582879"/>
              <a:gd name="connsiteX62" fmla="*/ 2307894 w 2534562"/>
              <a:gd name="connsiteY62" fmla="*/ 650448 h 1582879"/>
              <a:gd name="connsiteX63" fmla="*/ 2228045 w 2534562"/>
              <a:gd name="connsiteY63" fmla="*/ 604084 h 1582879"/>
              <a:gd name="connsiteX64" fmla="*/ 2225469 w 2534562"/>
              <a:gd name="connsiteY64" fmla="*/ 568024 h 1582879"/>
              <a:gd name="connsiteX65" fmla="*/ 2194560 w 2534562"/>
              <a:gd name="connsiteY65" fmla="*/ 544842 h 1582879"/>
              <a:gd name="connsiteX66" fmla="*/ 2171378 w 2534562"/>
              <a:gd name="connsiteY66" fmla="*/ 544842 h 1582879"/>
              <a:gd name="connsiteX67" fmla="*/ 2127590 w 2534562"/>
              <a:gd name="connsiteY67" fmla="*/ 547417 h 1582879"/>
              <a:gd name="connsiteX68" fmla="*/ 2078005 w 2534562"/>
              <a:gd name="connsiteY68" fmla="*/ 514982 h 1582879"/>
              <a:gd name="connsiteX69" fmla="*/ 2058044 w 2534562"/>
              <a:gd name="connsiteY69" fmla="*/ 508781 h 1582879"/>
              <a:gd name="connsiteX70" fmla="*/ 2006528 w 2534562"/>
              <a:gd name="connsiteY70" fmla="*/ 444386 h 1582879"/>
              <a:gd name="connsiteX71" fmla="*/ 1962740 w 2534562"/>
              <a:gd name="connsiteY71" fmla="*/ 421204 h 1582879"/>
              <a:gd name="connsiteX72" fmla="*/ 1934407 w 2534562"/>
              <a:gd name="connsiteY72" fmla="*/ 336204 h 1582879"/>
              <a:gd name="connsiteX73" fmla="*/ 1893194 w 2534562"/>
              <a:gd name="connsiteY73" fmla="*/ 305295 h 1582879"/>
              <a:gd name="connsiteX74" fmla="*/ 1898346 w 2534562"/>
              <a:gd name="connsiteY74" fmla="*/ 261506 h 1582879"/>
              <a:gd name="connsiteX75" fmla="*/ 1934407 w 2534562"/>
              <a:gd name="connsiteY75" fmla="*/ 204839 h 1582879"/>
              <a:gd name="connsiteX76" fmla="*/ 1939558 w 2534562"/>
              <a:gd name="connsiteY76" fmla="*/ 140445 h 1582879"/>
              <a:gd name="connsiteX77" fmla="*/ 1967892 w 2534562"/>
              <a:gd name="connsiteY77" fmla="*/ 104384 h 1582879"/>
              <a:gd name="connsiteX78" fmla="*/ 2006755 w 2534562"/>
              <a:gd name="connsiteY78" fmla="*/ 84996 h 1582879"/>
              <a:gd name="connsiteX79" fmla="*/ 1925117 w 2534562"/>
              <a:gd name="connsiteY79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1991074 w 2534562"/>
              <a:gd name="connsiteY28" fmla="*/ 1240301 h 1582879"/>
              <a:gd name="connsiteX29" fmla="*/ 1985922 w 2534562"/>
              <a:gd name="connsiteY29" fmla="*/ 1289240 h 1582879"/>
              <a:gd name="connsiteX30" fmla="*/ 2024559 w 2534562"/>
              <a:gd name="connsiteY30" fmla="*/ 1325301 h 1582879"/>
              <a:gd name="connsiteX31" fmla="*/ 2070923 w 2534562"/>
              <a:gd name="connsiteY31" fmla="*/ 1361362 h 1582879"/>
              <a:gd name="connsiteX32" fmla="*/ 2114711 w 2534562"/>
              <a:gd name="connsiteY32" fmla="*/ 1348483 h 1582879"/>
              <a:gd name="connsiteX33" fmla="*/ 2168802 w 2534562"/>
              <a:gd name="connsiteY33" fmla="*/ 1379393 h 1582879"/>
              <a:gd name="connsiteX34" fmla="*/ 2199711 w 2534562"/>
              <a:gd name="connsiteY34" fmla="*/ 1356211 h 1582879"/>
              <a:gd name="connsiteX35" fmla="*/ 2251227 w 2534562"/>
              <a:gd name="connsiteY35" fmla="*/ 1381968 h 1582879"/>
              <a:gd name="connsiteX36" fmla="*/ 2295015 w 2534562"/>
              <a:gd name="connsiteY36" fmla="*/ 1428332 h 1582879"/>
              <a:gd name="connsiteX37" fmla="*/ 2333652 w 2534562"/>
              <a:gd name="connsiteY37" fmla="*/ 1500454 h 1582879"/>
              <a:gd name="connsiteX38" fmla="*/ 2354258 w 2534562"/>
              <a:gd name="connsiteY38" fmla="*/ 1513333 h 1582879"/>
              <a:gd name="connsiteX39" fmla="*/ 2372288 w 2534562"/>
              <a:gd name="connsiteY39" fmla="*/ 1544242 h 1582879"/>
              <a:gd name="connsiteX40" fmla="*/ 2395470 w 2534562"/>
              <a:gd name="connsiteY40" fmla="*/ 1582879 h 1582879"/>
              <a:gd name="connsiteX41" fmla="*/ 2423804 w 2534562"/>
              <a:gd name="connsiteY41" fmla="*/ 1582879 h 1582879"/>
              <a:gd name="connsiteX42" fmla="*/ 2446986 w 2534562"/>
              <a:gd name="connsiteY42" fmla="*/ 1554545 h 1582879"/>
              <a:gd name="connsiteX43" fmla="*/ 2483047 w 2534562"/>
              <a:gd name="connsiteY43" fmla="*/ 1518484 h 1582879"/>
              <a:gd name="connsiteX44" fmla="*/ 2480471 w 2534562"/>
              <a:gd name="connsiteY44" fmla="*/ 1477272 h 1582879"/>
              <a:gd name="connsiteX45" fmla="*/ 2495925 w 2534562"/>
              <a:gd name="connsiteY45" fmla="*/ 1454090 h 1582879"/>
              <a:gd name="connsiteX46" fmla="*/ 2493350 w 2534562"/>
              <a:gd name="connsiteY46" fmla="*/ 1381968 h 1582879"/>
              <a:gd name="connsiteX47" fmla="*/ 2519107 w 2534562"/>
              <a:gd name="connsiteY47" fmla="*/ 1340756 h 1582879"/>
              <a:gd name="connsiteX48" fmla="*/ 2498501 w 2534562"/>
              <a:gd name="connsiteY48" fmla="*/ 1307271 h 1582879"/>
              <a:gd name="connsiteX49" fmla="*/ 2526835 w 2534562"/>
              <a:gd name="connsiteY49" fmla="*/ 1268634 h 1582879"/>
              <a:gd name="connsiteX50" fmla="*/ 2534562 w 2534562"/>
              <a:gd name="connsiteY50" fmla="*/ 1235149 h 1582879"/>
              <a:gd name="connsiteX51" fmla="*/ 2498501 w 2534562"/>
              <a:gd name="connsiteY51" fmla="*/ 1183634 h 1582879"/>
              <a:gd name="connsiteX52" fmla="*/ 2436683 w 2534562"/>
              <a:gd name="connsiteY52" fmla="*/ 1134694 h 1582879"/>
              <a:gd name="connsiteX53" fmla="*/ 2423804 w 2534562"/>
              <a:gd name="connsiteY53" fmla="*/ 1085754 h 1582879"/>
              <a:gd name="connsiteX54" fmla="*/ 2413501 w 2534562"/>
              <a:gd name="connsiteY54" fmla="*/ 1029087 h 1582879"/>
              <a:gd name="connsiteX55" fmla="*/ 2392894 w 2534562"/>
              <a:gd name="connsiteY55" fmla="*/ 993026 h 1582879"/>
              <a:gd name="connsiteX56" fmla="*/ 2405773 w 2534562"/>
              <a:gd name="connsiteY56" fmla="*/ 954390 h 1582879"/>
              <a:gd name="connsiteX57" fmla="*/ 2356834 w 2534562"/>
              <a:gd name="connsiteY57" fmla="*/ 833328 h 1582879"/>
              <a:gd name="connsiteX58" fmla="*/ 2356834 w 2534562"/>
              <a:gd name="connsiteY58" fmla="*/ 789540 h 1582879"/>
              <a:gd name="connsiteX59" fmla="*/ 2331076 w 2534562"/>
              <a:gd name="connsiteY59" fmla="*/ 725146 h 1582879"/>
              <a:gd name="connsiteX60" fmla="*/ 2328500 w 2534562"/>
              <a:gd name="connsiteY60" fmla="*/ 689085 h 1582879"/>
              <a:gd name="connsiteX61" fmla="*/ 2307894 w 2534562"/>
              <a:gd name="connsiteY61" fmla="*/ 650448 h 1582879"/>
              <a:gd name="connsiteX62" fmla="*/ 2228045 w 2534562"/>
              <a:gd name="connsiteY62" fmla="*/ 604084 h 1582879"/>
              <a:gd name="connsiteX63" fmla="*/ 2225469 w 2534562"/>
              <a:gd name="connsiteY63" fmla="*/ 568024 h 1582879"/>
              <a:gd name="connsiteX64" fmla="*/ 2194560 w 2534562"/>
              <a:gd name="connsiteY64" fmla="*/ 544842 h 1582879"/>
              <a:gd name="connsiteX65" fmla="*/ 2171378 w 2534562"/>
              <a:gd name="connsiteY65" fmla="*/ 544842 h 1582879"/>
              <a:gd name="connsiteX66" fmla="*/ 2127590 w 2534562"/>
              <a:gd name="connsiteY66" fmla="*/ 547417 h 1582879"/>
              <a:gd name="connsiteX67" fmla="*/ 2078005 w 2534562"/>
              <a:gd name="connsiteY67" fmla="*/ 514982 h 1582879"/>
              <a:gd name="connsiteX68" fmla="*/ 2058044 w 2534562"/>
              <a:gd name="connsiteY68" fmla="*/ 508781 h 1582879"/>
              <a:gd name="connsiteX69" fmla="*/ 2006528 w 2534562"/>
              <a:gd name="connsiteY69" fmla="*/ 444386 h 1582879"/>
              <a:gd name="connsiteX70" fmla="*/ 1962740 w 2534562"/>
              <a:gd name="connsiteY70" fmla="*/ 421204 h 1582879"/>
              <a:gd name="connsiteX71" fmla="*/ 1934407 w 2534562"/>
              <a:gd name="connsiteY71" fmla="*/ 336204 h 1582879"/>
              <a:gd name="connsiteX72" fmla="*/ 1893194 w 2534562"/>
              <a:gd name="connsiteY72" fmla="*/ 305295 h 1582879"/>
              <a:gd name="connsiteX73" fmla="*/ 1898346 w 2534562"/>
              <a:gd name="connsiteY73" fmla="*/ 261506 h 1582879"/>
              <a:gd name="connsiteX74" fmla="*/ 1934407 w 2534562"/>
              <a:gd name="connsiteY74" fmla="*/ 204839 h 1582879"/>
              <a:gd name="connsiteX75" fmla="*/ 1939558 w 2534562"/>
              <a:gd name="connsiteY75" fmla="*/ 140445 h 1582879"/>
              <a:gd name="connsiteX76" fmla="*/ 1967892 w 2534562"/>
              <a:gd name="connsiteY76" fmla="*/ 104384 h 1582879"/>
              <a:gd name="connsiteX77" fmla="*/ 2006755 w 2534562"/>
              <a:gd name="connsiteY77" fmla="*/ 84996 h 1582879"/>
              <a:gd name="connsiteX78" fmla="*/ 1925117 w 2534562"/>
              <a:gd name="connsiteY78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1985922 w 2534562"/>
              <a:gd name="connsiteY28" fmla="*/ 1289240 h 1582879"/>
              <a:gd name="connsiteX29" fmla="*/ 2024559 w 2534562"/>
              <a:gd name="connsiteY29" fmla="*/ 1325301 h 1582879"/>
              <a:gd name="connsiteX30" fmla="*/ 2070923 w 2534562"/>
              <a:gd name="connsiteY30" fmla="*/ 1361362 h 1582879"/>
              <a:gd name="connsiteX31" fmla="*/ 2114711 w 2534562"/>
              <a:gd name="connsiteY31" fmla="*/ 1348483 h 1582879"/>
              <a:gd name="connsiteX32" fmla="*/ 2168802 w 2534562"/>
              <a:gd name="connsiteY32" fmla="*/ 1379393 h 1582879"/>
              <a:gd name="connsiteX33" fmla="*/ 2199711 w 2534562"/>
              <a:gd name="connsiteY33" fmla="*/ 1356211 h 1582879"/>
              <a:gd name="connsiteX34" fmla="*/ 2251227 w 2534562"/>
              <a:gd name="connsiteY34" fmla="*/ 1381968 h 1582879"/>
              <a:gd name="connsiteX35" fmla="*/ 2295015 w 2534562"/>
              <a:gd name="connsiteY35" fmla="*/ 1428332 h 1582879"/>
              <a:gd name="connsiteX36" fmla="*/ 2333652 w 2534562"/>
              <a:gd name="connsiteY36" fmla="*/ 1500454 h 1582879"/>
              <a:gd name="connsiteX37" fmla="*/ 2354258 w 2534562"/>
              <a:gd name="connsiteY37" fmla="*/ 1513333 h 1582879"/>
              <a:gd name="connsiteX38" fmla="*/ 2372288 w 2534562"/>
              <a:gd name="connsiteY38" fmla="*/ 1544242 h 1582879"/>
              <a:gd name="connsiteX39" fmla="*/ 2395470 w 2534562"/>
              <a:gd name="connsiteY39" fmla="*/ 1582879 h 1582879"/>
              <a:gd name="connsiteX40" fmla="*/ 2423804 w 2534562"/>
              <a:gd name="connsiteY40" fmla="*/ 1582879 h 1582879"/>
              <a:gd name="connsiteX41" fmla="*/ 2446986 w 2534562"/>
              <a:gd name="connsiteY41" fmla="*/ 1554545 h 1582879"/>
              <a:gd name="connsiteX42" fmla="*/ 2483047 w 2534562"/>
              <a:gd name="connsiteY42" fmla="*/ 1518484 h 1582879"/>
              <a:gd name="connsiteX43" fmla="*/ 2480471 w 2534562"/>
              <a:gd name="connsiteY43" fmla="*/ 1477272 h 1582879"/>
              <a:gd name="connsiteX44" fmla="*/ 2495925 w 2534562"/>
              <a:gd name="connsiteY44" fmla="*/ 1454090 h 1582879"/>
              <a:gd name="connsiteX45" fmla="*/ 2493350 w 2534562"/>
              <a:gd name="connsiteY45" fmla="*/ 1381968 h 1582879"/>
              <a:gd name="connsiteX46" fmla="*/ 2519107 w 2534562"/>
              <a:gd name="connsiteY46" fmla="*/ 1340756 h 1582879"/>
              <a:gd name="connsiteX47" fmla="*/ 2498501 w 2534562"/>
              <a:gd name="connsiteY47" fmla="*/ 1307271 h 1582879"/>
              <a:gd name="connsiteX48" fmla="*/ 2526835 w 2534562"/>
              <a:gd name="connsiteY48" fmla="*/ 1268634 h 1582879"/>
              <a:gd name="connsiteX49" fmla="*/ 2534562 w 2534562"/>
              <a:gd name="connsiteY49" fmla="*/ 1235149 h 1582879"/>
              <a:gd name="connsiteX50" fmla="*/ 2498501 w 2534562"/>
              <a:gd name="connsiteY50" fmla="*/ 1183634 h 1582879"/>
              <a:gd name="connsiteX51" fmla="*/ 2436683 w 2534562"/>
              <a:gd name="connsiteY51" fmla="*/ 1134694 h 1582879"/>
              <a:gd name="connsiteX52" fmla="*/ 2423804 w 2534562"/>
              <a:gd name="connsiteY52" fmla="*/ 1085754 h 1582879"/>
              <a:gd name="connsiteX53" fmla="*/ 2413501 w 2534562"/>
              <a:gd name="connsiteY53" fmla="*/ 1029087 h 1582879"/>
              <a:gd name="connsiteX54" fmla="*/ 2392894 w 2534562"/>
              <a:gd name="connsiteY54" fmla="*/ 993026 h 1582879"/>
              <a:gd name="connsiteX55" fmla="*/ 2405773 w 2534562"/>
              <a:gd name="connsiteY55" fmla="*/ 954390 h 1582879"/>
              <a:gd name="connsiteX56" fmla="*/ 2356834 w 2534562"/>
              <a:gd name="connsiteY56" fmla="*/ 833328 h 1582879"/>
              <a:gd name="connsiteX57" fmla="*/ 2356834 w 2534562"/>
              <a:gd name="connsiteY57" fmla="*/ 789540 h 1582879"/>
              <a:gd name="connsiteX58" fmla="*/ 2331076 w 2534562"/>
              <a:gd name="connsiteY58" fmla="*/ 725146 h 1582879"/>
              <a:gd name="connsiteX59" fmla="*/ 2328500 w 2534562"/>
              <a:gd name="connsiteY59" fmla="*/ 689085 h 1582879"/>
              <a:gd name="connsiteX60" fmla="*/ 2307894 w 2534562"/>
              <a:gd name="connsiteY60" fmla="*/ 650448 h 1582879"/>
              <a:gd name="connsiteX61" fmla="*/ 2228045 w 2534562"/>
              <a:gd name="connsiteY61" fmla="*/ 604084 h 1582879"/>
              <a:gd name="connsiteX62" fmla="*/ 2225469 w 2534562"/>
              <a:gd name="connsiteY62" fmla="*/ 568024 h 1582879"/>
              <a:gd name="connsiteX63" fmla="*/ 2194560 w 2534562"/>
              <a:gd name="connsiteY63" fmla="*/ 544842 h 1582879"/>
              <a:gd name="connsiteX64" fmla="*/ 2171378 w 2534562"/>
              <a:gd name="connsiteY64" fmla="*/ 544842 h 1582879"/>
              <a:gd name="connsiteX65" fmla="*/ 2127590 w 2534562"/>
              <a:gd name="connsiteY65" fmla="*/ 547417 h 1582879"/>
              <a:gd name="connsiteX66" fmla="*/ 2078005 w 2534562"/>
              <a:gd name="connsiteY66" fmla="*/ 514982 h 1582879"/>
              <a:gd name="connsiteX67" fmla="*/ 2058044 w 2534562"/>
              <a:gd name="connsiteY67" fmla="*/ 508781 h 1582879"/>
              <a:gd name="connsiteX68" fmla="*/ 2006528 w 2534562"/>
              <a:gd name="connsiteY68" fmla="*/ 444386 h 1582879"/>
              <a:gd name="connsiteX69" fmla="*/ 1962740 w 2534562"/>
              <a:gd name="connsiteY69" fmla="*/ 421204 h 1582879"/>
              <a:gd name="connsiteX70" fmla="*/ 1934407 w 2534562"/>
              <a:gd name="connsiteY70" fmla="*/ 336204 h 1582879"/>
              <a:gd name="connsiteX71" fmla="*/ 1893194 w 2534562"/>
              <a:gd name="connsiteY71" fmla="*/ 305295 h 1582879"/>
              <a:gd name="connsiteX72" fmla="*/ 1898346 w 2534562"/>
              <a:gd name="connsiteY72" fmla="*/ 261506 h 1582879"/>
              <a:gd name="connsiteX73" fmla="*/ 1934407 w 2534562"/>
              <a:gd name="connsiteY73" fmla="*/ 204839 h 1582879"/>
              <a:gd name="connsiteX74" fmla="*/ 1939558 w 2534562"/>
              <a:gd name="connsiteY74" fmla="*/ 140445 h 1582879"/>
              <a:gd name="connsiteX75" fmla="*/ 1967892 w 2534562"/>
              <a:gd name="connsiteY75" fmla="*/ 104384 h 1582879"/>
              <a:gd name="connsiteX76" fmla="*/ 2006755 w 2534562"/>
              <a:gd name="connsiteY76" fmla="*/ 84996 h 1582879"/>
              <a:gd name="connsiteX77" fmla="*/ 1925117 w 2534562"/>
              <a:gd name="connsiteY77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024559 w 2534562"/>
              <a:gd name="connsiteY28" fmla="*/ 1325301 h 1582879"/>
              <a:gd name="connsiteX29" fmla="*/ 2070923 w 2534562"/>
              <a:gd name="connsiteY29" fmla="*/ 1361362 h 1582879"/>
              <a:gd name="connsiteX30" fmla="*/ 2114711 w 2534562"/>
              <a:gd name="connsiteY30" fmla="*/ 1348483 h 1582879"/>
              <a:gd name="connsiteX31" fmla="*/ 2168802 w 2534562"/>
              <a:gd name="connsiteY31" fmla="*/ 1379393 h 1582879"/>
              <a:gd name="connsiteX32" fmla="*/ 2199711 w 2534562"/>
              <a:gd name="connsiteY32" fmla="*/ 1356211 h 1582879"/>
              <a:gd name="connsiteX33" fmla="*/ 2251227 w 2534562"/>
              <a:gd name="connsiteY33" fmla="*/ 1381968 h 1582879"/>
              <a:gd name="connsiteX34" fmla="*/ 2295015 w 2534562"/>
              <a:gd name="connsiteY34" fmla="*/ 1428332 h 1582879"/>
              <a:gd name="connsiteX35" fmla="*/ 2333652 w 2534562"/>
              <a:gd name="connsiteY35" fmla="*/ 1500454 h 1582879"/>
              <a:gd name="connsiteX36" fmla="*/ 2354258 w 2534562"/>
              <a:gd name="connsiteY36" fmla="*/ 1513333 h 1582879"/>
              <a:gd name="connsiteX37" fmla="*/ 2372288 w 2534562"/>
              <a:gd name="connsiteY37" fmla="*/ 1544242 h 1582879"/>
              <a:gd name="connsiteX38" fmla="*/ 2395470 w 2534562"/>
              <a:gd name="connsiteY38" fmla="*/ 1582879 h 1582879"/>
              <a:gd name="connsiteX39" fmla="*/ 2423804 w 2534562"/>
              <a:gd name="connsiteY39" fmla="*/ 1582879 h 1582879"/>
              <a:gd name="connsiteX40" fmla="*/ 2446986 w 2534562"/>
              <a:gd name="connsiteY40" fmla="*/ 1554545 h 1582879"/>
              <a:gd name="connsiteX41" fmla="*/ 2483047 w 2534562"/>
              <a:gd name="connsiteY41" fmla="*/ 1518484 h 1582879"/>
              <a:gd name="connsiteX42" fmla="*/ 2480471 w 2534562"/>
              <a:gd name="connsiteY42" fmla="*/ 1477272 h 1582879"/>
              <a:gd name="connsiteX43" fmla="*/ 2495925 w 2534562"/>
              <a:gd name="connsiteY43" fmla="*/ 1454090 h 1582879"/>
              <a:gd name="connsiteX44" fmla="*/ 2493350 w 2534562"/>
              <a:gd name="connsiteY44" fmla="*/ 1381968 h 1582879"/>
              <a:gd name="connsiteX45" fmla="*/ 2519107 w 2534562"/>
              <a:gd name="connsiteY45" fmla="*/ 1340756 h 1582879"/>
              <a:gd name="connsiteX46" fmla="*/ 2498501 w 2534562"/>
              <a:gd name="connsiteY46" fmla="*/ 1307271 h 1582879"/>
              <a:gd name="connsiteX47" fmla="*/ 2526835 w 2534562"/>
              <a:gd name="connsiteY47" fmla="*/ 1268634 h 1582879"/>
              <a:gd name="connsiteX48" fmla="*/ 2534562 w 2534562"/>
              <a:gd name="connsiteY48" fmla="*/ 1235149 h 1582879"/>
              <a:gd name="connsiteX49" fmla="*/ 2498501 w 2534562"/>
              <a:gd name="connsiteY49" fmla="*/ 1183634 h 1582879"/>
              <a:gd name="connsiteX50" fmla="*/ 2436683 w 2534562"/>
              <a:gd name="connsiteY50" fmla="*/ 1134694 h 1582879"/>
              <a:gd name="connsiteX51" fmla="*/ 2423804 w 2534562"/>
              <a:gd name="connsiteY51" fmla="*/ 1085754 h 1582879"/>
              <a:gd name="connsiteX52" fmla="*/ 2413501 w 2534562"/>
              <a:gd name="connsiteY52" fmla="*/ 1029087 h 1582879"/>
              <a:gd name="connsiteX53" fmla="*/ 2392894 w 2534562"/>
              <a:gd name="connsiteY53" fmla="*/ 993026 h 1582879"/>
              <a:gd name="connsiteX54" fmla="*/ 2405773 w 2534562"/>
              <a:gd name="connsiteY54" fmla="*/ 954390 h 1582879"/>
              <a:gd name="connsiteX55" fmla="*/ 2356834 w 2534562"/>
              <a:gd name="connsiteY55" fmla="*/ 833328 h 1582879"/>
              <a:gd name="connsiteX56" fmla="*/ 2356834 w 2534562"/>
              <a:gd name="connsiteY56" fmla="*/ 789540 h 1582879"/>
              <a:gd name="connsiteX57" fmla="*/ 2331076 w 2534562"/>
              <a:gd name="connsiteY57" fmla="*/ 725146 h 1582879"/>
              <a:gd name="connsiteX58" fmla="*/ 2328500 w 2534562"/>
              <a:gd name="connsiteY58" fmla="*/ 689085 h 1582879"/>
              <a:gd name="connsiteX59" fmla="*/ 2307894 w 2534562"/>
              <a:gd name="connsiteY59" fmla="*/ 650448 h 1582879"/>
              <a:gd name="connsiteX60" fmla="*/ 2228045 w 2534562"/>
              <a:gd name="connsiteY60" fmla="*/ 604084 h 1582879"/>
              <a:gd name="connsiteX61" fmla="*/ 2225469 w 2534562"/>
              <a:gd name="connsiteY61" fmla="*/ 568024 h 1582879"/>
              <a:gd name="connsiteX62" fmla="*/ 2194560 w 2534562"/>
              <a:gd name="connsiteY62" fmla="*/ 544842 h 1582879"/>
              <a:gd name="connsiteX63" fmla="*/ 2171378 w 2534562"/>
              <a:gd name="connsiteY63" fmla="*/ 544842 h 1582879"/>
              <a:gd name="connsiteX64" fmla="*/ 2127590 w 2534562"/>
              <a:gd name="connsiteY64" fmla="*/ 547417 h 1582879"/>
              <a:gd name="connsiteX65" fmla="*/ 2078005 w 2534562"/>
              <a:gd name="connsiteY65" fmla="*/ 514982 h 1582879"/>
              <a:gd name="connsiteX66" fmla="*/ 2058044 w 2534562"/>
              <a:gd name="connsiteY66" fmla="*/ 508781 h 1582879"/>
              <a:gd name="connsiteX67" fmla="*/ 2006528 w 2534562"/>
              <a:gd name="connsiteY67" fmla="*/ 444386 h 1582879"/>
              <a:gd name="connsiteX68" fmla="*/ 1962740 w 2534562"/>
              <a:gd name="connsiteY68" fmla="*/ 421204 h 1582879"/>
              <a:gd name="connsiteX69" fmla="*/ 1934407 w 2534562"/>
              <a:gd name="connsiteY69" fmla="*/ 336204 h 1582879"/>
              <a:gd name="connsiteX70" fmla="*/ 1893194 w 2534562"/>
              <a:gd name="connsiteY70" fmla="*/ 305295 h 1582879"/>
              <a:gd name="connsiteX71" fmla="*/ 1898346 w 2534562"/>
              <a:gd name="connsiteY71" fmla="*/ 261506 h 1582879"/>
              <a:gd name="connsiteX72" fmla="*/ 1934407 w 2534562"/>
              <a:gd name="connsiteY72" fmla="*/ 204839 h 1582879"/>
              <a:gd name="connsiteX73" fmla="*/ 1939558 w 2534562"/>
              <a:gd name="connsiteY73" fmla="*/ 140445 h 1582879"/>
              <a:gd name="connsiteX74" fmla="*/ 1967892 w 2534562"/>
              <a:gd name="connsiteY74" fmla="*/ 104384 h 1582879"/>
              <a:gd name="connsiteX75" fmla="*/ 2006755 w 2534562"/>
              <a:gd name="connsiteY75" fmla="*/ 84996 h 1582879"/>
              <a:gd name="connsiteX76" fmla="*/ 1925117 w 2534562"/>
              <a:gd name="connsiteY76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070923 w 2534562"/>
              <a:gd name="connsiteY28" fmla="*/ 1361362 h 1582879"/>
              <a:gd name="connsiteX29" fmla="*/ 2114711 w 2534562"/>
              <a:gd name="connsiteY29" fmla="*/ 1348483 h 1582879"/>
              <a:gd name="connsiteX30" fmla="*/ 2168802 w 2534562"/>
              <a:gd name="connsiteY30" fmla="*/ 1379393 h 1582879"/>
              <a:gd name="connsiteX31" fmla="*/ 2199711 w 2534562"/>
              <a:gd name="connsiteY31" fmla="*/ 1356211 h 1582879"/>
              <a:gd name="connsiteX32" fmla="*/ 2251227 w 2534562"/>
              <a:gd name="connsiteY32" fmla="*/ 1381968 h 1582879"/>
              <a:gd name="connsiteX33" fmla="*/ 2295015 w 2534562"/>
              <a:gd name="connsiteY33" fmla="*/ 1428332 h 1582879"/>
              <a:gd name="connsiteX34" fmla="*/ 2333652 w 2534562"/>
              <a:gd name="connsiteY34" fmla="*/ 1500454 h 1582879"/>
              <a:gd name="connsiteX35" fmla="*/ 2354258 w 2534562"/>
              <a:gd name="connsiteY35" fmla="*/ 1513333 h 1582879"/>
              <a:gd name="connsiteX36" fmla="*/ 2372288 w 2534562"/>
              <a:gd name="connsiteY36" fmla="*/ 1544242 h 1582879"/>
              <a:gd name="connsiteX37" fmla="*/ 2395470 w 2534562"/>
              <a:gd name="connsiteY37" fmla="*/ 1582879 h 1582879"/>
              <a:gd name="connsiteX38" fmla="*/ 2423804 w 2534562"/>
              <a:gd name="connsiteY38" fmla="*/ 1582879 h 1582879"/>
              <a:gd name="connsiteX39" fmla="*/ 2446986 w 2534562"/>
              <a:gd name="connsiteY39" fmla="*/ 1554545 h 1582879"/>
              <a:gd name="connsiteX40" fmla="*/ 2483047 w 2534562"/>
              <a:gd name="connsiteY40" fmla="*/ 1518484 h 1582879"/>
              <a:gd name="connsiteX41" fmla="*/ 2480471 w 2534562"/>
              <a:gd name="connsiteY41" fmla="*/ 1477272 h 1582879"/>
              <a:gd name="connsiteX42" fmla="*/ 2495925 w 2534562"/>
              <a:gd name="connsiteY42" fmla="*/ 1454090 h 1582879"/>
              <a:gd name="connsiteX43" fmla="*/ 2493350 w 2534562"/>
              <a:gd name="connsiteY43" fmla="*/ 1381968 h 1582879"/>
              <a:gd name="connsiteX44" fmla="*/ 2519107 w 2534562"/>
              <a:gd name="connsiteY44" fmla="*/ 1340756 h 1582879"/>
              <a:gd name="connsiteX45" fmla="*/ 2498501 w 2534562"/>
              <a:gd name="connsiteY45" fmla="*/ 1307271 h 1582879"/>
              <a:gd name="connsiteX46" fmla="*/ 2526835 w 2534562"/>
              <a:gd name="connsiteY46" fmla="*/ 1268634 h 1582879"/>
              <a:gd name="connsiteX47" fmla="*/ 2534562 w 2534562"/>
              <a:gd name="connsiteY47" fmla="*/ 1235149 h 1582879"/>
              <a:gd name="connsiteX48" fmla="*/ 2498501 w 2534562"/>
              <a:gd name="connsiteY48" fmla="*/ 1183634 h 1582879"/>
              <a:gd name="connsiteX49" fmla="*/ 2436683 w 2534562"/>
              <a:gd name="connsiteY49" fmla="*/ 1134694 h 1582879"/>
              <a:gd name="connsiteX50" fmla="*/ 2423804 w 2534562"/>
              <a:gd name="connsiteY50" fmla="*/ 1085754 h 1582879"/>
              <a:gd name="connsiteX51" fmla="*/ 2413501 w 2534562"/>
              <a:gd name="connsiteY51" fmla="*/ 1029087 h 1582879"/>
              <a:gd name="connsiteX52" fmla="*/ 2392894 w 2534562"/>
              <a:gd name="connsiteY52" fmla="*/ 993026 h 1582879"/>
              <a:gd name="connsiteX53" fmla="*/ 2405773 w 2534562"/>
              <a:gd name="connsiteY53" fmla="*/ 954390 h 1582879"/>
              <a:gd name="connsiteX54" fmla="*/ 2356834 w 2534562"/>
              <a:gd name="connsiteY54" fmla="*/ 833328 h 1582879"/>
              <a:gd name="connsiteX55" fmla="*/ 2356834 w 2534562"/>
              <a:gd name="connsiteY55" fmla="*/ 789540 h 1582879"/>
              <a:gd name="connsiteX56" fmla="*/ 2331076 w 2534562"/>
              <a:gd name="connsiteY56" fmla="*/ 725146 h 1582879"/>
              <a:gd name="connsiteX57" fmla="*/ 2328500 w 2534562"/>
              <a:gd name="connsiteY57" fmla="*/ 689085 h 1582879"/>
              <a:gd name="connsiteX58" fmla="*/ 2307894 w 2534562"/>
              <a:gd name="connsiteY58" fmla="*/ 650448 h 1582879"/>
              <a:gd name="connsiteX59" fmla="*/ 2228045 w 2534562"/>
              <a:gd name="connsiteY59" fmla="*/ 604084 h 1582879"/>
              <a:gd name="connsiteX60" fmla="*/ 2225469 w 2534562"/>
              <a:gd name="connsiteY60" fmla="*/ 568024 h 1582879"/>
              <a:gd name="connsiteX61" fmla="*/ 2194560 w 2534562"/>
              <a:gd name="connsiteY61" fmla="*/ 544842 h 1582879"/>
              <a:gd name="connsiteX62" fmla="*/ 2171378 w 2534562"/>
              <a:gd name="connsiteY62" fmla="*/ 544842 h 1582879"/>
              <a:gd name="connsiteX63" fmla="*/ 2127590 w 2534562"/>
              <a:gd name="connsiteY63" fmla="*/ 547417 h 1582879"/>
              <a:gd name="connsiteX64" fmla="*/ 2078005 w 2534562"/>
              <a:gd name="connsiteY64" fmla="*/ 514982 h 1582879"/>
              <a:gd name="connsiteX65" fmla="*/ 2058044 w 2534562"/>
              <a:gd name="connsiteY65" fmla="*/ 508781 h 1582879"/>
              <a:gd name="connsiteX66" fmla="*/ 2006528 w 2534562"/>
              <a:gd name="connsiteY66" fmla="*/ 444386 h 1582879"/>
              <a:gd name="connsiteX67" fmla="*/ 1962740 w 2534562"/>
              <a:gd name="connsiteY67" fmla="*/ 421204 h 1582879"/>
              <a:gd name="connsiteX68" fmla="*/ 1934407 w 2534562"/>
              <a:gd name="connsiteY68" fmla="*/ 336204 h 1582879"/>
              <a:gd name="connsiteX69" fmla="*/ 1893194 w 2534562"/>
              <a:gd name="connsiteY69" fmla="*/ 305295 h 1582879"/>
              <a:gd name="connsiteX70" fmla="*/ 1898346 w 2534562"/>
              <a:gd name="connsiteY70" fmla="*/ 261506 h 1582879"/>
              <a:gd name="connsiteX71" fmla="*/ 1934407 w 2534562"/>
              <a:gd name="connsiteY71" fmla="*/ 204839 h 1582879"/>
              <a:gd name="connsiteX72" fmla="*/ 1939558 w 2534562"/>
              <a:gd name="connsiteY72" fmla="*/ 140445 h 1582879"/>
              <a:gd name="connsiteX73" fmla="*/ 1967892 w 2534562"/>
              <a:gd name="connsiteY73" fmla="*/ 104384 h 1582879"/>
              <a:gd name="connsiteX74" fmla="*/ 2006755 w 2534562"/>
              <a:gd name="connsiteY74" fmla="*/ 84996 h 1582879"/>
              <a:gd name="connsiteX75" fmla="*/ 1925117 w 2534562"/>
              <a:gd name="connsiteY75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114711 w 2534562"/>
              <a:gd name="connsiteY28" fmla="*/ 1348483 h 1582879"/>
              <a:gd name="connsiteX29" fmla="*/ 2168802 w 2534562"/>
              <a:gd name="connsiteY29" fmla="*/ 1379393 h 1582879"/>
              <a:gd name="connsiteX30" fmla="*/ 2199711 w 2534562"/>
              <a:gd name="connsiteY30" fmla="*/ 1356211 h 1582879"/>
              <a:gd name="connsiteX31" fmla="*/ 2251227 w 2534562"/>
              <a:gd name="connsiteY31" fmla="*/ 1381968 h 1582879"/>
              <a:gd name="connsiteX32" fmla="*/ 2295015 w 2534562"/>
              <a:gd name="connsiteY32" fmla="*/ 1428332 h 1582879"/>
              <a:gd name="connsiteX33" fmla="*/ 2333652 w 2534562"/>
              <a:gd name="connsiteY33" fmla="*/ 1500454 h 1582879"/>
              <a:gd name="connsiteX34" fmla="*/ 2354258 w 2534562"/>
              <a:gd name="connsiteY34" fmla="*/ 1513333 h 1582879"/>
              <a:gd name="connsiteX35" fmla="*/ 2372288 w 2534562"/>
              <a:gd name="connsiteY35" fmla="*/ 1544242 h 1582879"/>
              <a:gd name="connsiteX36" fmla="*/ 2395470 w 2534562"/>
              <a:gd name="connsiteY36" fmla="*/ 1582879 h 1582879"/>
              <a:gd name="connsiteX37" fmla="*/ 2423804 w 2534562"/>
              <a:gd name="connsiteY37" fmla="*/ 1582879 h 1582879"/>
              <a:gd name="connsiteX38" fmla="*/ 2446986 w 2534562"/>
              <a:gd name="connsiteY38" fmla="*/ 1554545 h 1582879"/>
              <a:gd name="connsiteX39" fmla="*/ 2483047 w 2534562"/>
              <a:gd name="connsiteY39" fmla="*/ 1518484 h 1582879"/>
              <a:gd name="connsiteX40" fmla="*/ 2480471 w 2534562"/>
              <a:gd name="connsiteY40" fmla="*/ 1477272 h 1582879"/>
              <a:gd name="connsiteX41" fmla="*/ 2495925 w 2534562"/>
              <a:gd name="connsiteY41" fmla="*/ 1454090 h 1582879"/>
              <a:gd name="connsiteX42" fmla="*/ 2493350 w 2534562"/>
              <a:gd name="connsiteY42" fmla="*/ 1381968 h 1582879"/>
              <a:gd name="connsiteX43" fmla="*/ 2519107 w 2534562"/>
              <a:gd name="connsiteY43" fmla="*/ 1340756 h 1582879"/>
              <a:gd name="connsiteX44" fmla="*/ 2498501 w 2534562"/>
              <a:gd name="connsiteY44" fmla="*/ 1307271 h 1582879"/>
              <a:gd name="connsiteX45" fmla="*/ 2526835 w 2534562"/>
              <a:gd name="connsiteY45" fmla="*/ 1268634 h 1582879"/>
              <a:gd name="connsiteX46" fmla="*/ 2534562 w 2534562"/>
              <a:gd name="connsiteY46" fmla="*/ 1235149 h 1582879"/>
              <a:gd name="connsiteX47" fmla="*/ 2498501 w 2534562"/>
              <a:gd name="connsiteY47" fmla="*/ 1183634 h 1582879"/>
              <a:gd name="connsiteX48" fmla="*/ 2436683 w 2534562"/>
              <a:gd name="connsiteY48" fmla="*/ 1134694 h 1582879"/>
              <a:gd name="connsiteX49" fmla="*/ 2423804 w 2534562"/>
              <a:gd name="connsiteY49" fmla="*/ 1085754 h 1582879"/>
              <a:gd name="connsiteX50" fmla="*/ 2413501 w 2534562"/>
              <a:gd name="connsiteY50" fmla="*/ 1029087 h 1582879"/>
              <a:gd name="connsiteX51" fmla="*/ 2392894 w 2534562"/>
              <a:gd name="connsiteY51" fmla="*/ 993026 h 1582879"/>
              <a:gd name="connsiteX52" fmla="*/ 2405773 w 2534562"/>
              <a:gd name="connsiteY52" fmla="*/ 954390 h 1582879"/>
              <a:gd name="connsiteX53" fmla="*/ 2356834 w 2534562"/>
              <a:gd name="connsiteY53" fmla="*/ 833328 h 1582879"/>
              <a:gd name="connsiteX54" fmla="*/ 2356834 w 2534562"/>
              <a:gd name="connsiteY54" fmla="*/ 789540 h 1582879"/>
              <a:gd name="connsiteX55" fmla="*/ 2331076 w 2534562"/>
              <a:gd name="connsiteY55" fmla="*/ 725146 h 1582879"/>
              <a:gd name="connsiteX56" fmla="*/ 2328500 w 2534562"/>
              <a:gd name="connsiteY56" fmla="*/ 689085 h 1582879"/>
              <a:gd name="connsiteX57" fmla="*/ 2307894 w 2534562"/>
              <a:gd name="connsiteY57" fmla="*/ 650448 h 1582879"/>
              <a:gd name="connsiteX58" fmla="*/ 2228045 w 2534562"/>
              <a:gd name="connsiteY58" fmla="*/ 604084 h 1582879"/>
              <a:gd name="connsiteX59" fmla="*/ 2225469 w 2534562"/>
              <a:gd name="connsiteY59" fmla="*/ 568024 h 1582879"/>
              <a:gd name="connsiteX60" fmla="*/ 2194560 w 2534562"/>
              <a:gd name="connsiteY60" fmla="*/ 544842 h 1582879"/>
              <a:gd name="connsiteX61" fmla="*/ 2171378 w 2534562"/>
              <a:gd name="connsiteY61" fmla="*/ 544842 h 1582879"/>
              <a:gd name="connsiteX62" fmla="*/ 2127590 w 2534562"/>
              <a:gd name="connsiteY62" fmla="*/ 547417 h 1582879"/>
              <a:gd name="connsiteX63" fmla="*/ 2078005 w 2534562"/>
              <a:gd name="connsiteY63" fmla="*/ 514982 h 1582879"/>
              <a:gd name="connsiteX64" fmla="*/ 2058044 w 2534562"/>
              <a:gd name="connsiteY64" fmla="*/ 508781 h 1582879"/>
              <a:gd name="connsiteX65" fmla="*/ 2006528 w 2534562"/>
              <a:gd name="connsiteY65" fmla="*/ 444386 h 1582879"/>
              <a:gd name="connsiteX66" fmla="*/ 1962740 w 2534562"/>
              <a:gd name="connsiteY66" fmla="*/ 421204 h 1582879"/>
              <a:gd name="connsiteX67" fmla="*/ 1934407 w 2534562"/>
              <a:gd name="connsiteY67" fmla="*/ 336204 h 1582879"/>
              <a:gd name="connsiteX68" fmla="*/ 1893194 w 2534562"/>
              <a:gd name="connsiteY68" fmla="*/ 305295 h 1582879"/>
              <a:gd name="connsiteX69" fmla="*/ 1898346 w 2534562"/>
              <a:gd name="connsiteY69" fmla="*/ 261506 h 1582879"/>
              <a:gd name="connsiteX70" fmla="*/ 1934407 w 2534562"/>
              <a:gd name="connsiteY70" fmla="*/ 204839 h 1582879"/>
              <a:gd name="connsiteX71" fmla="*/ 1939558 w 2534562"/>
              <a:gd name="connsiteY71" fmla="*/ 140445 h 1582879"/>
              <a:gd name="connsiteX72" fmla="*/ 1967892 w 2534562"/>
              <a:gd name="connsiteY72" fmla="*/ 104384 h 1582879"/>
              <a:gd name="connsiteX73" fmla="*/ 2006755 w 2534562"/>
              <a:gd name="connsiteY73" fmla="*/ 84996 h 1582879"/>
              <a:gd name="connsiteX74" fmla="*/ 1925117 w 2534562"/>
              <a:gd name="connsiteY74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168802 w 2534562"/>
              <a:gd name="connsiteY28" fmla="*/ 1379393 h 1582879"/>
              <a:gd name="connsiteX29" fmla="*/ 2199711 w 2534562"/>
              <a:gd name="connsiteY29" fmla="*/ 1356211 h 1582879"/>
              <a:gd name="connsiteX30" fmla="*/ 2251227 w 2534562"/>
              <a:gd name="connsiteY30" fmla="*/ 1381968 h 1582879"/>
              <a:gd name="connsiteX31" fmla="*/ 2295015 w 2534562"/>
              <a:gd name="connsiteY31" fmla="*/ 1428332 h 1582879"/>
              <a:gd name="connsiteX32" fmla="*/ 2333652 w 2534562"/>
              <a:gd name="connsiteY32" fmla="*/ 1500454 h 1582879"/>
              <a:gd name="connsiteX33" fmla="*/ 2354258 w 2534562"/>
              <a:gd name="connsiteY33" fmla="*/ 1513333 h 1582879"/>
              <a:gd name="connsiteX34" fmla="*/ 2372288 w 2534562"/>
              <a:gd name="connsiteY34" fmla="*/ 1544242 h 1582879"/>
              <a:gd name="connsiteX35" fmla="*/ 2395470 w 2534562"/>
              <a:gd name="connsiteY35" fmla="*/ 1582879 h 1582879"/>
              <a:gd name="connsiteX36" fmla="*/ 2423804 w 2534562"/>
              <a:gd name="connsiteY36" fmla="*/ 1582879 h 1582879"/>
              <a:gd name="connsiteX37" fmla="*/ 2446986 w 2534562"/>
              <a:gd name="connsiteY37" fmla="*/ 1554545 h 1582879"/>
              <a:gd name="connsiteX38" fmla="*/ 2483047 w 2534562"/>
              <a:gd name="connsiteY38" fmla="*/ 1518484 h 1582879"/>
              <a:gd name="connsiteX39" fmla="*/ 2480471 w 2534562"/>
              <a:gd name="connsiteY39" fmla="*/ 1477272 h 1582879"/>
              <a:gd name="connsiteX40" fmla="*/ 2495925 w 2534562"/>
              <a:gd name="connsiteY40" fmla="*/ 1454090 h 1582879"/>
              <a:gd name="connsiteX41" fmla="*/ 2493350 w 2534562"/>
              <a:gd name="connsiteY41" fmla="*/ 1381968 h 1582879"/>
              <a:gd name="connsiteX42" fmla="*/ 2519107 w 2534562"/>
              <a:gd name="connsiteY42" fmla="*/ 1340756 h 1582879"/>
              <a:gd name="connsiteX43" fmla="*/ 2498501 w 2534562"/>
              <a:gd name="connsiteY43" fmla="*/ 1307271 h 1582879"/>
              <a:gd name="connsiteX44" fmla="*/ 2526835 w 2534562"/>
              <a:gd name="connsiteY44" fmla="*/ 1268634 h 1582879"/>
              <a:gd name="connsiteX45" fmla="*/ 2534562 w 2534562"/>
              <a:gd name="connsiteY45" fmla="*/ 1235149 h 1582879"/>
              <a:gd name="connsiteX46" fmla="*/ 2498501 w 2534562"/>
              <a:gd name="connsiteY46" fmla="*/ 1183634 h 1582879"/>
              <a:gd name="connsiteX47" fmla="*/ 2436683 w 2534562"/>
              <a:gd name="connsiteY47" fmla="*/ 1134694 h 1582879"/>
              <a:gd name="connsiteX48" fmla="*/ 2423804 w 2534562"/>
              <a:gd name="connsiteY48" fmla="*/ 1085754 h 1582879"/>
              <a:gd name="connsiteX49" fmla="*/ 2413501 w 2534562"/>
              <a:gd name="connsiteY49" fmla="*/ 1029087 h 1582879"/>
              <a:gd name="connsiteX50" fmla="*/ 2392894 w 2534562"/>
              <a:gd name="connsiteY50" fmla="*/ 993026 h 1582879"/>
              <a:gd name="connsiteX51" fmla="*/ 2405773 w 2534562"/>
              <a:gd name="connsiteY51" fmla="*/ 954390 h 1582879"/>
              <a:gd name="connsiteX52" fmla="*/ 2356834 w 2534562"/>
              <a:gd name="connsiteY52" fmla="*/ 833328 h 1582879"/>
              <a:gd name="connsiteX53" fmla="*/ 2356834 w 2534562"/>
              <a:gd name="connsiteY53" fmla="*/ 789540 h 1582879"/>
              <a:gd name="connsiteX54" fmla="*/ 2331076 w 2534562"/>
              <a:gd name="connsiteY54" fmla="*/ 725146 h 1582879"/>
              <a:gd name="connsiteX55" fmla="*/ 2328500 w 2534562"/>
              <a:gd name="connsiteY55" fmla="*/ 689085 h 1582879"/>
              <a:gd name="connsiteX56" fmla="*/ 2307894 w 2534562"/>
              <a:gd name="connsiteY56" fmla="*/ 650448 h 1582879"/>
              <a:gd name="connsiteX57" fmla="*/ 2228045 w 2534562"/>
              <a:gd name="connsiteY57" fmla="*/ 604084 h 1582879"/>
              <a:gd name="connsiteX58" fmla="*/ 2225469 w 2534562"/>
              <a:gd name="connsiteY58" fmla="*/ 568024 h 1582879"/>
              <a:gd name="connsiteX59" fmla="*/ 2194560 w 2534562"/>
              <a:gd name="connsiteY59" fmla="*/ 544842 h 1582879"/>
              <a:gd name="connsiteX60" fmla="*/ 2171378 w 2534562"/>
              <a:gd name="connsiteY60" fmla="*/ 544842 h 1582879"/>
              <a:gd name="connsiteX61" fmla="*/ 2127590 w 2534562"/>
              <a:gd name="connsiteY61" fmla="*/ 547417 h 1582879"/>
              <a:gd name="connsiteX62" fmla="*/ 2078005 w 2534562"/>
              <a:gd name="connsiteY62" fmla="*/ 514982 h 1582879"/>
              <a:gd name="connsiteX63" fmla="*/ 2058044 w 2534562"/>
              <a:gd name="connsiteY63" fmla="*/ 508781 h 1582879"/>
              <a:gd name="connsiteX64" fmla="*/ 2006528 w 2534562"/>
              <a:gd name="connsiteY64" fmla="*/ 444386 h 1582879"/>
              <a:gd name="connsiteX65" fmla="*/ 1962740 w 2534562"/>
              <a:gd name="connsiteY65" fmla="*/ 421204 h 1582879"/>
              <a:gd name="connsiteX66" fmla="*/ 1934407 w 2534562"/>
              <a:gd name="connsiteY66" fmla="*/ 336204 h 1582879"/>
              <a:gd name="connsiteX67" fmla="*/ 1893194 w 2534562"/>
              <a:gd name="connsiteY67" fmla="*/ 305295 h 1582879"/>
              <a:gd name="connsiteX68" fmla="*/ 1898346 w 2534562"/>
              <a:gd name="connsiteY68" fmla="*/ 261506 h 1582879"/>
              <a:gd name="connsiteX69" fmla="*/ 1934407 w 2534562"/>
              <a:gd name="connsiteY69" fmla="*/ 204839 h 1582879"/>
              <a:gd name="connsiteX70" fmla="*/ 1939558 w 2534562"/>
              <a:gd name="connsiteY70" fmla="*/ 140445 h 1582879"/>
              <a:gd name="connsiteX71" fmla="*/ 1967892 w 2534562"/>
              <a:gd name="connsiteY71" fmla="*/ 104384 h 1582879"/>
              <a:gd name="connsiteX72" fmla="*/ 2006755 w 2534562"/>
              <a:gd name="connsiteY72" fmla="*/ 84996 h 1582879"/>
              <a:gd name="connsiteX73" fmla="*/ 1925117 w 2534562"/>
              <a:gd name="connsiteY73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199711 w 2534562"/>
              <a:gd name="connsiteY28" fmla="*/ 1356211 h 1582879"/>
              <a:gd name="connsiteX29" fmla="*/ 2251227 w 2534562"/>
              <a:gd name="connsiteY29" fmla="*/ 1381968 h 1582879"/>
              <a:gd name="connsiteX30" fmla="*/ 2295015 w 2534562"/>
              <a:gd name="connsiteY30" fmla="*/ 1428332 h 1582879"/>
              <a:gd name="connsiteX31" fmla="*/ 2333652 w 2534562"/>
              <a:gd name="connsiteY31" fmla="*/ 1500454 h 1582879"/>
              <a:gd name="connsiteX32" fmla="*/ 2354258 w 2534562"/>
              <a:gd name="connsiteY32" fmla="*/ 1513333 h 1582879"/>
              <a:gd name="connsiteX33" fmla="*/ 2372288 w 2534562"/>
              <a:gd name="connsiteY33" fmla="*/ 1544242 h 1582879"/>
              <a:gd name="connsiteX34" fmla="*/ 2395470 w 2534562"/>
              <a:gd name="connsiteY34" fmla="*/ 1582879 h 1582879"/>
              <a:gd name="connsiteX35" fmla="*/ 2423804 w 2534562"/>
              <a:gd name="connsiteY35" fmla="*/ 1582879 h 1582879"/>
              <a:gd name="connsiteX36" fmla="*/ 2446986 w 2534562"/>
              <a:gd name="connsiteY36" fmla="*/ 1554545 h 1582879"/>
              <a:gd name="connsiteX37" fmla="*/ 2483047 w 2534562"/>
              <a:gd name="connsiteY37" fmla="*/ 1518484 h 1582879"/>
              <a:gd name="connsiteX38" fmla="*/ 2480471 w 2534562"/>
              <a:gd name="connsiteY38" fmla="*/ 1477272 h 1582879"/>
              <a:gd name="connsiteX39" fmla="*/ 2495925 w 2534562"/>
              <a:gd name="connsiteY39" fmla="*/ 1454090 h 1582879"/>
              <a:gd name="connsiteX40" fmla="*/ 2493350 w 2534562"/>
              <a:gd name="connsiteY40" fmla="*/ 1381968 h 1582879"/>
              <a:gd name="connsiteX41" fmla="*/ 2519107 w 2534562"/>
              <a:gd name="connsiteY41" fmla="*/ 1340756 h 1582879"/>
              <a:gd name="connsiteX42" fmla="*/ 2498501 w 2534562"/>
              <a:gd name="connsiteY42" fmla="*/ 1307271 h 1582879"/>
              <a:gd name="connsiteX43" fmla="*/ 2526835 w 2534562"/>
              <a:gd name="connsiteY43" fmla="*/ 1268634 h 1582879"/>
              <a:gd name="connsiteX44" fmla="*/ 2534562 w 2534562"/>
              <a:gd name="connsiteY44" fmla="*/ 1235149 h 1582879"/>
              <a:gd name="connsiteX45" fmla="*/ 2498501 w 2534562"/>
              <a:gd name="connsiteY45" fmla="*/ 1183634 h 1582879"/>
              <a:gd name="connsiteX46" fmla="*/ 2436683 w 2534562"/>
              <a:gd name="connsiteY46" fmla="*/ 1134694 h 1582879"/>
              <a:gd name="connsiteX47" fmla="*/ 2423804 w 2534562"/>
              <a:gd name="connsiteY47" fmla="*/ 1085754 h 1582879"/>
              <a:gd name="connsiteX48" fmla="*/ 2413501 w 2534562"/>
              <a:gd name="connsiteY48" fmla="*/ 1029087 h 1582879"/>
              <a:gd name="connsiteX49" fmla="*/ 2392894 w 2534562"/>
              <a:gd name="connsiteY49" fmla="*/ 993026 h 1582879"/>
              <a:gd name="connsiteX50" fmla="*/ 2405773 w 2534562"/>
              <a:gd name="connsiteY50" fmla="*/ 954390 h 1582879"/>
              <a:gd name="connsiteX51" fmla="*/ 2356834 w 2534562"/>
              <a:gd name="connsiteY51" fmla="*/ 833328 h 1582879"/>
              <a:gd name="connsiteX52" fmla="*/ 2356834 w 2534562"/>
              <a:gd name="connsiteY52" fmla="*/ 789540 h 1582879"/>
              <a:gd name="connsiteX53" fmla="*/ 2331076 w 2534562"/>
              <a:gd name="connsiteY53" fmla="*/ 725146 h 1582879"/>
              <a:gd name="connsiteX54" fmla="*/ 2328500 w 2534562"/>
              <a:gd name="connsiteY54" fmla="*/ 689085 h 1582879"/>
              <a:gd name="connsiteX55" fmla="*/ 2307894 w 2534562"/>
              <a:gd name="connsiteY55" fmla="*/ 650448 h 1582879"/>
              <a:gd name="connsiteX56" fmla="*/ 2228045 w 2534562"/>
              <a:gd name="connsiteY56" fmla="*/ 604084 h 1582879"/>
              <a:gd name="connsiteX57" fmla="*/ 2225469 w 2534562"/>
              <a:gd name="connsiteY57" fmla="*/ 568024 h 1582879"/>
              <a:gd name="connsiteX58" fmla="*/ 2194560 w 2534562"/>
              <a:gd name="connsiteY58" fmla="*/ 544842 h 1582879"/>
              <a:gd name="connsiteX59" fmla="*/ 2171378 w 2534562"/>
              <a:gd name="connsiteY59" fmla="*/ 544842 h 1582879"/>
              <a:gd name="connsiteX60" fmla="*/ 2127590 w 2534562"/>
              <a:gd name="connsiteY60" fmla="*/ 547417 h 1582879"/>
              <a:gd name="connsiteX61" fmla="*/ 2078005 w 2534562"/>
              <a:gd name="connsiteY61" fmla="*/ 514982 h 1582879"/>
              <a:gd name="connsiteX62" fmla="*/ 2058044 w 2534562"/>
              <a:gd name="connsiteY62" fmla="*/ 508781 h 1582879"/>
              <a:gd name="connsiteX63" fmla="*/ 2006528 w 2534562"/>
              <a:gd name="connsiteY63" fmla="*/ 444386 h 1582879"/>
              <a:gd name="connsiteX64" fmla="*/ 1962740 w 2534562"/>
              <a:gd name="connsiteY64" fmla="*/ 421204 h 1582879"/>
              <a:gd name="connsiteX65" fmla="*/ 1934407 w 2534562"/>
              <a:gd name="connsiteY65" fmla="*/ 336204 h 1582879"/>
              <a:gd name="connsiteX66" fmla="*/ 1893194 w 2534562"/>
              <a:gd name="connsiteY66" fmla="*/ 305295 h 1582879"/>
              <a:gd name="connsiteX67" fmla="*/ 1898346 w 2534562"/>
              <a:gd name="connsiteY67" fmla="*/ 261506 h 1582879"/>
              <a:gd name="connsiteX68" fmla="*/ 1934407 w 2534562"/>
              <a:gd name="connsiteY68" fmla="*/ 204839 h 1582879"/>
              <a:gd name="connsiteX69" fmla="*/ 1939558 w 2534562"/>
              <a:gd name="connsiteY69" fmla="*/ 140445 h 1582879"/>
              <a:gd name="connsiteX70" fmla="*/ 1967892 w 2534562"/>
              <a:gd name="connsiteY70" fmla="*/ 104384 h 1582879"/>
              <a:gd name="connsiteX71" fmla="*/ 2006755 w 2534562"/>
              <a:gd name="connsiteY71" fmla="*/ 84996 h 1582879"/>
              <a:gd name="connsiteX72" fmla="*/ 1925117 w 2534562"/>
              <a:gd name="connsiteY72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183012 w 2534562"/>
              <a:gd name="connsiteY28" fmla="*/ 1345718 h 1582879"/>
              <a:gd name="connsiteX29" fmla="*/ 2199711 w 2534562"/>
              <a:gd name="connsiteY29" fmla="*/ 1356211 h 1582879"/>
              <a:gd name="connsiteX30" fmla="*/ 2251227 w 2534562"/>
              <a:gd name="connsiteY30" fmla="*/ 1381968 h 1582879"/>
              <a:gd name="connsiteX31" fmla="*/ 2295015 w 2534562"/>
              <a:gd name="connsiteY31" fmla="*/ 1428332 h 1582879"/>
              <a:gd name="connsiteX32" fmla="*/ 2333652 w 2534562"/>
              <a:gd name="connsiteY32" fmla="*/ 1500454 h 1582879"/>
              <a:gd name="connsiteX33" fmla="*/ 2354258 w 2534562"/>
              <a:gd name="connsiteY33" fmla="*/ 1513333 h 1582879"/>
              <a:gd name="connsiteX34" fmla="*/ 2372288 w 2534562"/>
              <a:gd name="connsiteY34" fmla="*/ 1544242 h 1582879"/>
              <a:gd name="connsiteX35" fmla="*/ 2395470 w 2534562"/>
              <a:gd name="connsiteY35" fmla="*/ 1582879 h 1582879"/>
              <a:gd name="connsiteX36" fmla="*/ 2423804 w 2534562"/>
              <a:gd name="connsiteY36" fmla="*/ 1582879 h 1582879"/>
              <a:gd name="connsiteX37" fmla="*/ 2446986 w 2534562"/>
              <a:gd name="connsiteY37" fmla="*/ 1554545 h 1582879"/>
              <a:gd name="connsiteX38" fmla="*/ 2483047 w 2534562"/>
              <a:gd name="connsiteY38" fmla="*/ 1518484 h 1582879"/>
              <a:gd name="connsiteX39" fmla="*/ 2480471 w 2534562"/>
              <a:gd name="connsiteY39" fmla="*/ 1477272 h 1582879"/>
              <a:gd name="connsiteX40" fmla="*/ 2495925 w 2534562"/>
              <a:gd name="connsiteY40" fmla="*/ 1454090 h 1582879"/>
              <a:gd name="connsiteX41" fmla="*/ 2493350 w 2534562"/>
              <a:gd name="connsiteY41" fmla="*/ 1381968 h 1582879"/>
              <a:gd name="connsiteX42" fmla="*/ 2519107 w 2534562"/>
              <a:gd name="connsiteY42" fmla="*/ 1340756 h 1582879"/>
              <a:gd name="connsiteX43" fmla="*/ 2498501 w 2534562"/>
              <a:gd name="connsiteY43" fmla="*/ 1307271 h 1582879"/>
              <a:gd name="connsiteX44" fmla="*/ 2526835 w 2534562"/>
              <a:gd name="connsiteY44" fmla="*/ 1268634 h 1582879"/>
              <a:gd name="connsiteX45" fmla="*/ 2534562 w 2534562"/>
              <a:gd name="connsiteY45" fmla="*/ 1235149 h 1582879"/>
              <a:gd name="connsiteX46" fmla="*/ 2498501 w 2534562"/>
              <a:gd name="connsiteY46" fmla="*/ 1183634 h 1582879"/>
              <a:gd name="connsiteX47" fmla="*/ 2436683 w 2534562"/>
              <a:gd name="connsiteY47" fmla="*/ 1134694 h 1582879"/>
              <a:gd name="connsiteX48" fmla="*/ 2423804 w 2534562"/>
              <a:gd name="connsiteY48" fmla="*/ 1085754 h 1582879"/>
              <a:gd name="connsiteX49" fmla="*/ 2413501 w 2534562"/>
              <a:gd name="connsiteY49" fmla="*/ 1029087 h 1582879"/>
              <a:gd name="connsiteX50" fmla="*/ 2392894 w 2534562"/>
              <a:gd name="connsiteY50" fmla="*/ 993026 h 1582879"/>
              <a:gd name="connsiteX51" fmla="*/ 2405773 w 2534562"/>
              <a:gd name="connsiteY51" fmla="*/ 954390 h 1582879"/>
              <a:gd name="connsiteX52" fmla="*/ 2356834 w 2534562"/>
              <a:gd name="connsiteY52" fmla="*/ 833328 h 1582879"/>
              <a:gd name="connsiteX53" fmla="*/ 2356834 w 2534562"/>
              <a:gd name="connsiteY53" fmla="*/ 789540 h 1582879"/>
              <a:gd name="connsiteX54" fmla="*/ 2331076 w 2534562"/>
              <a:gd name="connsiteY54" fmla="*/ 725146 h 1582879"/>
              <a:gd name="connsiteX55" fmla="*/ 2328500 w 2534562"/>
              <a:gd name="connsiteY55" fmla="*/ 689085 h 1582879"/>
              <a:gd name="connsiteX56" fmla="*/ 2307894 w 2534562"/>
              <a:gd name="connsiteY56" fmla="*/ 650448 h 1582879"/>
              <a:gd name="connsiteX57" fmla="*/ 2228045 w 2534562"/>
              <a:gd name="connsiteY57" fmla="*/ 604084 h 1582879"/>
              <a:gd name="connsiteX58" fmla="*/ 2225469 w 2534562"/>
              <a:gd name="connsiteY58" fmla="*/ 568024 h 1582879"/>
              <a:gd name="connsiteX59" fmla="*/ 2194560 w 2534562"/>
              <a:gd name="connsiteY59" fmla="*/ 544842 h 1582879"/>
              <a:gd name="connsiteX60" fmla="*/ 2171378 w 2534562"/>
              <a:gd name="connsiteY60" fmla="*/ 544842 h 1582879"/>
              <a:gd name="connsiteX61" fmla="*/ 2127590 w 2534562"/>
              <a:gd name="connsiteY61" fmla="*/ 547417 h 1582879"/>
              <a:gd name="connsiteX62" fmla="*/ 2078005 w 2534562"/>
              <a:gd name="connsiteY62" fmla="*/ 514982 h 1582879"/>
              <a:gd name="connsiteX63" fmla="*/ 2058044 w 2534562"/>
              <a:gd name="connsiteY63" fmla="*/ 508781 h 1582879"/>
              <a:gd name="connsiteX64" fmla="*/ 2006528 w 2534562"/>
              <a:gd name="connsiteY64" fmla="*/ 444386 h 1582879"/>
              <a:gd name="connsiteX65" fmla="*/ 1962740 w 2534562"/>
              <a:gd name="connsiteY65" fmla="*/ 421204 h 1582879"/>
              <a:gd name="connsiteX66" fmla="*/ 1934407 w 2534562"/>
              <a:gd name="connsiteY66" fmla="*/ 336204 h 1582879"/>
              <a:gd name="connsiteX67" fmla="*/ 1893194 w 2534562"/>
              <a:gd name="connsiteY67" fmla="*/ 305295 h 1582879"/>
              <a:gd name="connsiteX68" fmla="*/ 1898346 w 2534562"/>
              <a:gd name="connsiteY68" fmla="*/ 261506 h 1582879"/>
              <a:gd name="connsiteX69" fmla="*/ 1934407 w 2534562"/>
              <a:gd name="connsiteY69" fmla="*/ 204839 h 1582879"/>
              <a:gd name="connsiteX70" fmla="*/ 1939558 w 2534562"/>
              <a:gd name="connsiteY70" fmla="*/ 140445 h 1582879"/>
              <a:gd name="connsiteX71" fmla="*/ 1967892 w 2534562"/>
              <a:gd name="connsiteY71" fmla="*/ 104384 h 1582879"/>
              <a:gd name="connsiteX72" fmla="*/ 2006755 w 2534562"/>
              <a:gd name="connsiteY72" fmla="*/ 84996 h 1582879"/>
              <a:gd name="connsiteX73" fmla="*/ 1925117 w 2534562"/>
              <a:gd name="connsiteY73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164261 w 2534562"/>
              <a:gd name="connsiteY28" fmla="*/ 1334338 h 1582879"/>
              <a:gd name="connsiteX29" fmla="*/ 2183012 w 2534562"/>
              <a:gd name="connsiteY29" fmla="*/ 1345718 h 1582879"/>
              <a:gd name="connsiteX30" fmla="*/ 2199711 w 2534562"/>
              <a:gd name="connsiteY30" fmla="*/ 1356211 h 1582879"/>
              <a:gd name="connsiteX31" fmla="*/ 2251227 w 2534562"/>
              <a:gd name="connsiteY31" fmla="*/ 1381968 h 1582879"/>
              <a:gd name="connsiteX32" fmla="*/ 2295015 w 2534562"/>
              <a:gd name="connsiteY32" fmla="*/ 1428332 h 1582879"/>
              <a:gd name="connsiteX33" fmla="*/ 2333652 w 2534562"/>
              <a:gd name="connsiteY33" fmla="*/ 1500454 h 1582879"/>
              <a:gd name="connsiteX34" fmla="*/ 2354258 w 2534562"/>
              <a:gd name="connsiteY34" fmla="*/ 1513333 h 1582879"/>
              <a:gd name="connsiteX35" fmla="*/ 2372288 w 2534562"/>
              <a:gd name="connsiteY35" fmla="*/ 1544242 h 1582879"/>
              <a:gd name="connsiteX36" fmla="*/ 2395470 w 2534562"/>
              <a:gd name="connsiteY36" fmla="*/ 1582879 h 1582879"/>
              <a:gd name="connsiteX37" fmla="*/ 2423804 w 2534562"/>
              <a:gd name="connsiteY37" fmla="*/ 1582879 h 1582879"/>
              <a:gd name="connsiteX38" fmla="*/ 2446986 w 2534562"/>
              <a:gd name="connsiteY38" fmla="*/ 1554545 h 1582879"/>
              <a:gd name="connsiteX39" fmla="*/ 2483047 w 2534562"/>
              <a:gd name="connsiteY39" fmla="*/ 1518484 h 1582879"/>
              <a:gd name="connsiteX40" fmla="*/ 2480471 w 2534562"/>
              <a:gd name="connsiteY40" fmla="*/ 1477272 h 1582879"/>
              <a:gd name="connsiteX41" fmla="*/ 2495925 w 2534562"/>
              <a:gd name="connsiteY41" fmla="*/ 1454090 h 1582879"/>
              <a:gd name="connsiteX42" fmla="*/ 2493350 w 2534562"/>
              <a:gd name="connsiteY42" fmla="*/ 1381968 h 1582879"/>
              <a:gd name="connsiteX43" fmla="*/ 2519107 w 2534562"/>
              <a:gd name="connsiteY43" fmla="*/ 1340756 h 1582879"/>
              <a:gd name="connsiteX44" fmla="*/ 2498501 w 2534562"/>
              <a:gd name="connsiteY44" fmla="*/ 1307271 h 1582879"/>
              <a:gd name="connsiteX45" fmla="*/ 2526835 w 2534562"/>
              <a:gd name="connsiteY45" fmla="*/ 1268634 h 1582879"/>
              <a:gd name="connsiteX46" fmla="*/ 2534562 w 2534562"/>
              <a:gd name="connsiteY46" fmla="*/ 1235149 h 1582879"/>
              <a:gd name="connsiteX47" fmla="*/ 2498501 w 2534562"/>
              <a:gd name="connsiteY47" fmla="*/ 1183634 h 1582879"/>
              <a:gd name="connsiteX48" fmla="*/ 2436683 w 2534562"/>
              <a:gd name="connsiteY48" fmla="*/ 1134694 h 1582879"/>
              <a:gd name="connsiteX49" fmla="*/ 2423804 w 2534562"/>
              <a:gd name="connsiteY49" fmla="*/ 1085754 h 1582879"/>
              <a:gd name="connsiteX50" fmla="*/ 2413501 w 2534562"/>
              <a:gd name="connsiteY50" fmla="*/ 1029087 h 1582879"/>
              <a:gd name="connsiteX51" fmla="*/ 2392894 w 2534562"/>
              <a:gd name="connsiteY51" fmla="*/ 993026 h 1582879"/>
              <a:gd name="connsiteX52" fmla="*/ 2405773 w 2534562"/>
              <a:gd name="connsiteY52" fmla="*/ 954390 h 1582879"/>
              <a:gd name="connsiteX53" fmla="*/ 2356834 w 2534562"/>
              <a:gd name="connsiteY53" fmla="*/ 833328 h 1582879"/>
              <a:gd name="connsiteX54" fmla="*/ 2356834 w 2534562"/>
              <a:gd name="connsiteY54" fmla="*/ 789540 h 1582879"/>
              <a:gd name="connsiteX55" fmla="*/ 2331076 w 2534562"/>
              <a:gd name="connsiteY55" fmla="*/ 725146 h 1582879"/>
              <a:gd name="connsiteX56" fmla="*/ 2328500 w 2534562"/>
              <a:gd name="connsiteY56" fmla="*/ 689085 h 1582879"/>
              <a:gd name="connsiteX57" fmla="*/ 2307894 w 2534562"/>
              <a:gd name="connsiteY57" fmla="*/ 650448 h 1582879"/>
              <a:gd name="connsiteX58" fmla="*/ 2228045 w 2534562"/>
              <a:gd name="connsiteY58" fmla="*/ 604084 h 1582879"/>
              <a:gd name="connsiteX59" fmla="*/ 2225469 w 2534562"/>
              <a:gd name="connsiteY59" fmla="*/ 568024 h 1582879"/>
              <a:gd name="connsiteX60" fmla="*/ 2194560 w 2534562"/>
              <a:gd name="connsiteY60" fmla="*/ 544842 h 1582879"/>
              <a:gd name="connsiteX61" fmla="*/ 2171378 w 2534562"/>
              <a:gd name="connsiteY61" fmla="*/ 544842 h 1582879"/>
              <a:gd name="connsiteX62" fmla="*/ 2127590 w 2534562"/>
              <a:gd name="connsiteY62" fmla="*/ 547417 h 1582879"/>
              <a:gd name="connsiteX63" fmla="*/ 2078005 w 2534562"/>
              <a:gd name="connsiteY63" fmla="*/ 514982 h 1582879"/>
              <a:gd name="connsiteX64" fmla="*/ 2058044 w 2534562"/>
              <a:gd name="connsiteY64" fmla="*/ 508781 h 1582879"/>
              <a:gd name="connsiteX65" fmla="*/ 2006528 w 2534562"/>
              <a:gd name="connsiteY65" fmla="*/ 444386 h 1582879"/>
              <a:gd name="connsiteX66" fmla="*/ 1962740 w 2534562"/>
              <a:gd name="connsiteY66" fmla="*/ 421204 h 1582879"/>
              <a:gd name="connsiteX67" fmla="*/ 1934407 w 2534562"/>
              <a:gd name="connsiteY67" fmla="*/ 336204 h 1582879"/>
              <a:gd name="connsiteX68" fmla="*/ 1893194 w 2534562"/>
              <a:gd name="connsiteY68" fmla="*/ 305295 h 1582879"/>
              <a:gd name="connsiteX69" fmla="*/ 1898346 w 2534562"/>
              <a:gd name="connsiteY69" fmla="*/ 261506 h 1582879"/>
              <a:gd name="connsiteX70" fmla="*/ 1934407 w 2534562"/>
              <a:gd name="connsiteY70" fmla="*/ 204839 h 1582879"/>
              <a:gd name="connsiteX71" fmla="*/ 1939558 w 2534562"/>
              <a:gd name="connsiteY71" fmla="*/ 140445 h 1582879"/>
              <a:gd name="connsiteX72" fmla="*/ 1967892 w 2534562"/>
              <a:gd name="connsiteY72" fmla="*/ 104384 h 1582879"/>
              <a:gd name="connsiteX73" fmla="*/ 2006755 w 2534562"/>
              <a:gd name="connsiteY73" fmla="*/ 84996 h 1582879"/>
              <a:gd name="connsiteX74" fmla="*/ 1925117 w 2534562"/>
              <a:gd name="connsiteY74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164261 w 2534562"/>
              <a:gd name="connsiteY28" fmla="*/ 1334338 h 1582879"/>
              <a:gd name="connsiteX29" fmla="*/ 2199711 w 2534562"/>
              <a:gd name="connsiteY29" fmla="*/ 1356211 h 1582879"/>
              <a:gd name="connsiteX30" fmla="*/ 2251227 w 2534562"/>
              <a:gd name="connsiteY30" fmla="*/ 1381968 h 1582879"/>
              <a:gd name="connsiteX31" fmla="*/ 2295015 w 2534562"/>
              <a:gd name="connsiteY31" fmla="*/ 1428332 h 1582879"/>
              <a:gd name="connsiteX32" fmla="*/ 2333652 w 2534562"/>
              <a:gd name="connsiteY32" fmla="*/ 1500454 h 1582879"/>
              <a:gd name="connsiteX33" fmla="*/ 2354258 w 2534562"/>
              <a:gd name="connsiteY33" fmla="*/ 1513333 h 1582879"/>
              <a:gd name="connsiteX34" fmla="*/ 2372288 w 2534562"/>
              <a:gd name="connsiteY34" fmla="*/ 1544242 h 1582879"/>
              <a:gd name="connsiteX35" fmla="*/ 2395470 w 2534562"/>
              <a:gd name="connsiteY35" fmla="*/ 1582879 h 1582879"/>
              <a:gd name="connsiteX36" fmla="*/ 2423804 w 2534562"/>
              <a:gd name="connsiteY36" fmla="*/ 1582879 h 1582879"/>
              <a:gd name="connsiteX37" fmla="*/ 2446986 w 2534562"/>
              <a:gd name="connsiteY37" fmla="*/ 1554545 h 1582879"/>
              <a:gd name="connsiteX38" fmla="*/ 2483047 w 2534562"/>
              <a:gd name="connsiteY38" fmla="*/ 1518484 h 1582879"/>
              <a:gd name="connsiteX39" fmla="*/ 2480471 w 2534562"/>
              <a:gd name="connsiteY39" fmla="*/ 1477272 h 1582879"/>
              <a:gd name="connsiteX40" fmla="*/ 2495925 w 2534562"/>
              <a:gd name="connsiteY40" fmla="*/ 1454090 h 1582879"/>
              <a:gd name="connsiteX41" fmla="*/ 2493350 w 2534562"/>
              <a:gd name="connsiteY41" fmla="*/ 1381968 h 1582879"/>
              <a:gd name="connsiteX42" fmla="*/ 2519107 w 2534562"/>
              <a:gd name="connsiteY42" fmla="*/ 1340756 h 1582879"/>
              <a:gd name="connsiteX43" fmla="*/ 2498501 w 2534562"/>
              <a:gd name="connsiteY43" fmla="*/ 1307271 h 1582879"/>
              <a:gd name="connsiteX44" fmla="*/ 2526835 w 2534562"/>
              <a:gd name="connsiteY44" fmla="*/ 1268634 h 1582879"/>
              <a:gd name="connsiteX45" fmla="*/ 2534562 w 2534562"/>
              <a:gd name="connsiteY45" fmla="*/ 1235149 h 1582879"/>
              <a:gd name="connsiteX46" fmla="*/ 2498501 w 2534562"/>
              <a:gd name="connsiteY46" fmla="*/ 1183634 h 1582879"/>
              <a:gd name="connsiteX47" fmla="*/ 2436683 w 2534562"/>
              <a:gd name="connsiteY47" fmla="*/ 1134694 h 1582879"/>
              <a:gd name="connsiteX48" fmla="*/ 2423804 w 2534562"/>
              <a:gd name="connsiteY48" fmla="*/ 1085754 h 1582879"/>
              <a:gd name="connsiteX49" fmla="*/ 2413501 w 2534562"/>
              <a:gd name="connsiteY49" fmla="*/ 1029087 h 1582879"/>
              <a:gd name="connsiteX50" fmla="*/ 2392894 w 2534562"/>
              <a:gd name="connsiteY50" fmla="*/ 993026 h 1582879"/>
              <a:gd name="connsiteX51" fmla="*/ 2405773 w 2534562"/>
              <a:gd name="connsiteY51" fmla="*/ 954390 h 1582879"/>
              <a:gd name="connsiteX52" fmla="*/ 2356834 w 2534562"/>
              <a:gd name="connsiteY52" fmla="*/ 833328 h 1582879"/>
              <a:gd name="connsiteX53" fmla="*/ 2356834 w 2534562"/>
              <a:gd name="connsiteY53" fmla="*/ 789540 h 1582879"/>
              <a:gd name="connsiteX54" fmla="*/ 2331076 w 2534562"/>
              <a:gd name="connsiteY54" fmla="*/ 725146 h 1582879"/>
              <a:gd name="connsiteX55" fmla="*/ 2328500 w 2534562"/>
              <a:gd name="connsiteY55" fmla="*/ 689085 h 1582879"/>
              <a:gd name="connsiteX56" fmla="*/ 2307894 w 2534562"/>
              <a:gd name="connsiteY56" fmla="*/ 650448 h 1582879"/>
              <a:gd name="connsiteX57" fmla="*/ 2228045 w 2534562"/>
              <a:gd name="connsiteY57" fmla="*/ 604084 h 1582879"/>
              <a:gd name="connsiteX58" fmla="*/ 2225469 w 2534562"/>
              <a:gd name="connsiteY58" fmla="*/ 568024 h 1582879"/>
              <a:gd name="connsiteX59" fmla="*/ 2194560 w 2534562"/>
              <a:gd name="connsiteY59" fmla="*/ 544842 h 1582879"/>
              <a:gd name="connsiteX60" fmla="*/ 2171378 w 2534562"/>
              <a:gd name="connsiteY60" fmla="*/ 544842 h 1582879"/>
              <a:gd name="connsiteX61" fmla="*/ 2127590 w 2534562"/>
              <a:gd name="connsiteY61" fmla="*/ 547417 h 1582879"/>
              <a:gd name="connsiteX62" fmla="*/ 2078005 w 2534562"/>
              <a:gd name="connsiteY62" fmla="*/ 514982 h 1582879"/>
              <a:gd name="connsiteX63" fmla="*/ 2058044 w 2534562"/>
              <a:gd name="connsiteY63" fmla="*/ 508781 h 1582879"/>
              <a:gd name="connsiteX64" fmla="*/ 2006528 w 2534562"/>
              <a:gd name="connsiteY64" fmla="*/ 444386 h 1582879"/>
              <a:gd name="connsiteX65" fmla="*/ 1962740 w 2534562"/>
              <a:gd name="connsiteY65" fmla="*/ 421204 h 1582879"/>
              <a:gd name="connsiteX66" fmla="*/ 1934407 w 2534562"/>
              <a:gd name="connsiteY66" fmla="*/ 336204 h 1582879"/>
              <a:gd name="connsiteX67" fmla="*/ 1893194 w 2534562"/>
              <a:gd name="connsiteY67" fmla="*/ 305295 h 1582879"/>
              <a:gd name="connsiteX68" fmla="*/ 1898346 w 2534562"/>
              <a:gd name="connsiteY68" fmla="*/ 261506 h 1582879"/>
              <a:gd name="connsiteX69" fmla="*/ 1934407 w 2534562"/>
              <a:gd name="connsiteY69" fmla="*/ 204839 h 1582879"/>
              <a:gd name="connsiteX70" fmla="*/ 1939558 w 2534562"/>
              <a:gd name="connsiteY70" fmla="*/ 140445 h 1582879"/>
              <a:gd name="connsiteX71" fmla="*/ 1967892 w 2534562"/>
              <a:gd name="connsiteY71" fmla="*/ 104384 h 1582879"/>
              <a:gd name="connsiteX72" fmla="*/ 2006755 w 2534562"/>
              <a:gd name="connsiteY72" fmla="*/ 84996 h 1582879"/>
              <a:gd name="connsiteX73" fmla="*/ 1925117 w 2534562"/>
              <a:gd name="connsiteY73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164261 w 2534562"/>
              <a:gd name="connsiteY28" fmla="*/ 1334338 h 1582879"/>
              <a:gd name="connsiteX29" fmla="*/ 2175511 w 2534562"/>
              <a:gd name="connsiteY29" fmla="*/ 1345718 h 1582879"/>
              <a:gd name="connsiteX30" fmla="*/ 2199711 w 2534562"/>
              <a:gd name="connsiteY30" fmla="*/ 1356211 h 1582879"/>
              <a:gd name="connsiteX31" fmla="*/ 2251227 w 2534562"/>
              <a:gd name="connsiteY31" fmla="*/ 1381968 h 1582879"/>
              <a:gd name="connsiteX32" fmla="*/ 2295015 w 2534562"/>
              <a:gd name="connsiteY32" fmla="*/ 1428332 h 1582879"/>
              <a:gd name="connsiteX33" fmla="*/ 2333652 w 2534562"/>
              <a:gd name="connsiteY33" fmla="*/ 1500454 h 1582879"/>
              <a:gd name="connsiteX34" fmla="*/ 2354258 w 2534562"/>
              <a:gd name="connsiteY34" fmla="*/ 1513333 h 1582879"/>
              <a:gd name="connsiteX35" fmla="*/ 2372288 w 2534562"/>
              <a:gd name="connsiteY35" fmla="*/ 1544242 h 1582879"/>
              <a:gd name="connsiteX36" fmla="*/ 2395470 w 2534562"/>
              <a:gd name="connsiteY36" fmla="*/ 1582879 h 1582879"/>
              <a:gd name="connsiteX37" fmla="*/ 2423804 w 2534562"/>
              <a:gd name="connsiteY37" fmla="*/ 1582879 h 1582879"/>
              <a:gd name="connsiteX38" fmla="*/ 2446986 w 2534562"/>
              <a:gd name="connsiteY38" fmla="*/ 1554545 h 1582879"/>
              <a:gd name="connsiteX39" fmla="*/ 2483047 w 2534562"/>
              <a:gd name="connsiteY39" fmla="*/ 1518484 h 1582879"/>
              <a:gd name="connsiteX40" fmla="*/ 2480471 w 2534562"/>
              <a:gd name="connsiteY40" fmla="*/ 1477272 h 1582879"/>
              <a:gd name="connsiteX41" fmla="*/ 2495925 w 2534562"/>
              <a:gd name="connsiteY41" fmla="*/ 1454090 h 1582879"/>
              <a:gd name="connsiteX42" fmla="*/ 2493350 w 2534562"/>
              <a:gd name="connsiteY42" fmla="*/ 1381968 h 1582879"/>
              <a:gd name="connsiteX43" fmla="*/ 2519107 w 2534562"/>
              <a:gd name="connsiteY43" fmla="*/ 1340756 h 1582879"/>
              <a:gd name="connsiteX44" fmla="*/ 2498501 w 2534562"/>
              <a:gd name="connsiteY44" fmla="*/ 1307271 h 1582879"/>
              <a:gd name="connsiteX45" fmla="*/ 2526835 w 2534562"/>
              <a:gd name="connsiteY45" fmla="*/ 1268634 h 1582879"/>
              <a:gd name="connsiteX46" fmla="*/ 2534562 w 2534562"/>
              <a:gd name="connsiteY46" fmla="*/ 1235149 h 1582879"/>
              <a:gd name="connsiteX47" fmla="*/ 2498501 w 2534562"/>
              <a:gd name="connsiteY47" fmla="*/ 1183634 h 1582879"/>
              <a:gd name="connsiteX48" fmla="*/ 2436683 w 2534562"/>
              <a:gd name="connsiteY48" fmla="*/ 1134694 h 1582879"/>
              <a:gd name="connsiteX49" fmla="*/ 2423804 w 2534562"/>
              <a:gd name="connsiteY49" fmla="*/ 1085754 h 1582879"/>
              <a:gd name="connsiteX50" fmla="*/ 2413501 w 2534562"/>
              <a:gd name="connsiteY50" fmla="*/ 1029087 h 1582879"/>
              <a:gd name="connsiteX51" fmla="*/ 2392894 w 2534562"/>
              <a:gd name="connsiteY51" fmla="*/ 993026 h 1582879"/>
              <a:gd name="connsiteX52" fmla="*/ 2405773 w 2534562"/>
              <a:gd name="connsiteY52" fmla="*/ 954390 h 1582879"/>
              <a:gd name="connsiteX53" fmla="*/ 2356834 w 2534562"/>
              <a:gd name="connsiteY53" fmla="*/ 833328 h 1582879"/>
              <a:gd name="connsiteX54" fmla="*/ 2356834 w 2534562"/>
              <a:gd name="connsiteY54" fmla="*/ 789540 h 1582879"/>
              <a:gd name="connsiteX55" fmla="*/ 2331076 w 2534562"/>
              <a:gd name="connsiteY55" fmla="*/ 725146 h 1582879"/>
              <a:gd name="connsiteX56" fmla="*/ 2328500 w 2534562"/>
              <a:gd name="connsiteY56" fmla="*/ 689085 h 1582879"/>
              <a:gd name="connsiteX57" fmla="*/ 2307894 w 2534562"/>
              <a:gd name="connsiteY57" fmla="*/ 650448 h 1582879"/>
              <a:gd name="connsiteX58" fmla="*/ 2228045 w 2534562"/>
              <a:gd name="connsiteY58" fmla="*/ 604084 h 1582879"/>
              <a:gd name="connsiteX59" fmla="*/ 2225469 w 2534562"/>
              <a:gd name="connsiteY59" fmla="*/ 568024 h 1582879"/>
              <a:gd name="connsiteX60" fmla="*/ 2194560 w 2534562"/>
              <a:gd name="connsiteY60" fmla="*/ 544842 h 1582879"/>
              <a:gd name="connsiteX61" fmla="*/ 2171378 w 2534562"/>
              <a:gd name="connsiteY61" fmla="*/ 544842 h 1582879"/>
              <a:gd name="connsiteX62" fmla="*/ 2127590 w 2534562"/>
              <a:gd name="connsiteY62" fmla="*/ 547417 h 1582879"/>
              <a:gd name="connsiteX63" fmla="*/ 2078005 w 2534562"/>
              <a:gd name="connsiteY63" fmla="*/ 514982 h 1582879"/>
              <a:gd name="connsiteX64" fmla="*/ 2058044 w 2534562"/>
              <a:gd name="connsiteY64" fmla="*/ 508781 h 1582879"/>
              <a:gd name="connsiteX65" fmla="*/ 2006528 w 2534562"/>
              <a:gd name="connsiteY65" fmla="*/ 444386 h 1582879"/>
              <a:gd name="connsiteX66" fmla="*/ 1962740 w 2534562"/>
              <a:gd name="connsiteY66" fmla="*/ 421204 h 1582879"/>
              <a:gd name="connsiteX67" fmla="*/ 1934407 w 2534562"/>
              <a:gd name="connsiteY67" fmla="*/ 336204 h 1582879"/>
              <a:gd name="connsiteX68" fmla="*/ 1893194 w 2534562"/>
              <a:gd name="connsiteY68" fmla="*/ 305295 h 1582879"/>
              <a:gd name="connsiteX69" fmla="*/ 1898346 w 2534562"/>
              <a:gd name="connsiteY69" fmla="*/ 261506 h 1582879"/>
              <a:gd name="connsiteX70" fmla="*/ 1934407 w 2534562"/>
              <a:gd name="connsiteY70" fmla="*/ 204839 h 1582879"/>
              <a:gd name="connsiteX71" fmla="*/ 1939558 w 2534562"/>
              <a:gd name="connsiteY71" fmla="*/ 140445 h 1582879"/>
              <a:gd name="connsiteX72" fmla="*/ 1967892 w 2534562"/>
              <a:gd name="connsiteY72" fmla="*/ 104384 h 1582879"/>
              <a:gd name="connsiteX73" fmla="*/ 2006755 w 2534562"/>
              <a:gd name="connsiteY73" fmla="*/ 84996 h 1582879"/>
              <a:gd name="connsiteX74" fmla="*/ 1925117 w 2534562"/>
              <a:gd name="connsiteY74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175511 w 2534562"/>
              <a:gd name="connsiteY28" fmla="*/ 1345718 h 1582879"/>
              <a:gd name="connsiteX29" fmla="*/ 2199711 w 2534562"/>
              <a:gd name="connsiteY29" fmla="*/ 1356211 h 1582879"/>
              <a:gd name="connsiteX30" fmla="*/ 2251227 w 2534562"/>
              <a:gd name="connsiteY30" fmla="*/ 1381968 h 1582879"/>
              <a:gd name="connsiteX31" fmla="*/ 2295015 w 2534562"/>
              <a:gd name="connsiteY31" fmla="*/ 1428332 h 1582879"/>
              <a:gd name="connsiteX32" fmla="*/ 2333652 w 2534562"/>
              <a:gd name="connsiteY32" fmla="*/ 1500454 h 1582879"/>
              <a:gd name="connsiteX33" fmla="*/ 2354258 w 2534562"/>
              <a:gd name="connsiteY33" fmla="*/ 1513333 h 1582879"/>
              <a:gd name="connsiteX34" fmla="*/ 2372288 w 2534562"/>
              <a:gd name="connsiteY34" fmla="*/ 1544242 h 1582879"/>
              <a:gd name="connsiteX35" fmla="*/ 2395470 w 2534562"/>
              <a:gd name="connsiteY35" fmla="*/ 1582879 h 1582879"/>
              <a:gd name="connsiteX36" fmla="*/ 2423804 w 2534562"/>
              <a:gd name="connsiteY36" fmla="*/ 1582879 h 1582879"/>
              <a:gd name="connsiteX37" fmla="*/ 2446986 w 2534562"/>
              <a:gd name="connsiteY37" fmla="*/ 1554545 h 1582879"/>
              <a:gd name="connsiteX38" fmla="*/ 2483047 w 2534562"/>
              <a:gd name="connsiteY38" fmla="*/ 1518484 h 1582879"/>
              <a:gd name="connsiteX39" fmla="*/ 2480471 w 2534562"/>
              <a:gd name="connsiteY39" fmla="*/ 1477272 h 1582879"/>
              <a:gd name="connsiteX40" fmla="*/ 2495925 w 2534562"/>
              <a:gd name="connsiteY40" fmla="*/ 1454090 h 1582879"/>
              <a:gd name="connsiteX41" fmla="*/ 2493350 w 2534562"/>
              <a:gd name="connsiteY41" fmla="*/ 1381968 h 1582879"/>
              <a:gd name="connsiteX42" fmla="*/ 2519107 w 2534562"/>
              <a:gd name="connsiteY42" fmla="*/ 1340756 h 1582879"/>
              <a:gd name="connsiteX43" fmla="*/ 2498501 w 2534562"/>
              <a:gd name="connsiteY43" fmla="*/ 1307271 h 1582879"/>
              <a:gd name="connsiteX44" fmla="*/ 2526835 w 2534562"/>
              <a:gd name="connsiteY44" fmla="*/ 1268634 h 1582879"/>
              <a:gd name="connsiteX45" fmla="*/ 2534562 w 2534562"/>
              <a:gd name="connsiteY45" fmla="*/ 1235149 h 1582879"/>
              <a:gd name="connsiteX46" fmla="*/ 2498501 w 2534562"/>
              <a:gd name="connsiteY46" fmla="*/ 1183634 h 1582879"/>
              <a:gd name="connsiteX47" fmla="*/ 2436683 w 2534562"/>
              <a:gd name="connsiteY47" fmla="*/ 1134694 h 1582879"/>
              <a:gd name="connsiteX48" fmla="*/ 2423804 w 2534562"/>
              <a:gd name="connsiteY48" fmla="*/ 1085754 h 1582879"/>
              <a:gd name="connsiteX49" fmla="*/ 2413501 w 2534562"/>
              <a:gd name="connsiteY49" fmla="*/ 1029087 h 1582879"/>
              <a:gd name="connsiteX50" fmla="*/ 2392894 w 2534562"/>
              <a:gd name="connsiteY50" fmla="*/ 993026 h 1582879"/>
              <a:gd name="connsiteX51" fmla="*/ 2405773 w 2534562"/>
              <a:gd name="connsiteY51" fmla="*/ 954390 h 1582879"/>
              <a:gd name="connsiteX52" fmla="*/ 2356834 w 2534562"/>
              <a:gd name="connsiteY52" fmla="*/ 833328 h 1582879"/>
              <a:gd name="connsiteX53" fmla="*/ 2356834 w 2534562"/>
              <a:gd name="connsiteY53" fmla="*/ 789540 h 1582879"/>
              <a:gd name="connsiteX54" fmla="*/ 2331076 w 2534562"/>
              <a:gd name="connsiteY54" fmla="*/ 725146 h 1582879"/>
              <a:gd name="connsiteX55" fmla="*/ 2328500 w 2534562"/>
              <a:gd name="connsiteY55" fmla="*/ 689085 h 1582879"/>
              <a:gd name="connsiteX56" fmla="*/ 2307894 w 2534562"/>
              <a:gd name="connsiteY56" fmla="*/ 650448 h 1582879"/>
              <a:gd name="connsiteX57" fmla="*/ 2228045 w 2534562"/>
              <a:gd name="connsiteY57" fmla="*/ 604084 h 1582879"/>
              <a:gd name="connsiteX58" fmla="*/ 2225469 w 2534562"/>
              <a:gd name="connsiteY58" fmla="*/ 568024 h 1582879"/>
              <a:gd name="connsiteX59" fmla="*/ 2194560 w 2534562"/>
              <a:gd name="connsiteY59" fmla="*/ 544842 h 1582879"/>
              <a:gd name="connsiteX60" fmla="*/ 2171378 w 2534562"/>
              <a:gd name="connsiteY60" fmla="*/ 544842 h 1582879"/>
              <a:gd name="connsiteX61" fmla="*/ 2127590 w 2534562"/>
              <a:gd name="connsiteY61" fmla="*/ 547417 h 1582879"/>
              <a:gd name="connsiteX62" fmla="*/ 2078005 w 2534562"/>
              <a:gd name="connsiteY62" fmla="*/ 514982 h 1582879"/>
              <a:gd name="connsiteX63" fmla="*/ 2058044 w 2534562"/>
              <a:gd name="connsiteY63" fmla="*/ 508781 h 1582879"/>
              <a:gd name="connsiteX64" fmla="*/ 2006528 w 2534562"/>
              <a:gd name="connsiteY64" fmla="*/ 444386 h 1582879"/>
              <a:gd name="connsiteX65" fmla="*/ 1962740 w 2534562"/>
              <a:gd name="connsiteY65" fmla="*/ 421204 h 1582879"/>
              <a:gd name="connsiteX66" fmla="*/ 1934407 w 2534562"/>
              <a:gd name="connsiteY66" fmla="*/ 336204 h 1582879"/>
              <a:gd name="connsiteX67" fmla="*/ 1893194 w 2534562"/>
              <a:gd name="connsiteY67" fmla="*/ 305295 h 1582879"/>
              <a:gd name="connsiteX68" fmla="*/ 1898346 w 2534562"/>
              <a:gd name="connsiteY68" fmla="*/ 261506 h 1582879"/>
              <a:gd name="connsiteX69" fmla="*/ 1934407 w 2534562"/>
              <a:gd name="connsiteY69" fmla="*/ 204839 h 1582879"/>
              <a:gd name="connsiteX70" fmla="*/ 1939558 w 2534562"/>
              <a:gd name="connsiteY70" fmla="*/ 140445 h 1582879"/>
              <a:gd name="connsiteX71" fmla="*/ 1967892 w 2534562"/>
              <a:gd name="connsiteY71" fmla="*/ 104384 h 1582879"/>
              <a:gd name="connsiteX72" fmla="*/ 2006755 w 2534562"/>
              <a:gd name="connsiteY72" fmla="*/ 84996 h 1582879"/>
              <a:gd name="connsiteX73" fmla="*/ 1925117 w 2534562"/>
              <a:gd name="connsiteY73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175511 w 2534562"/>
              <a:gd name="connsiteY28" fmla="*/ 1345718 h 1582879"/>
              <a:gd name="connsiteX29" fmla="*/ 2251227 w 2534562"/>
              <a:gd name="connsiteY29" fmla="*/ 1381968 h 1582879"/>
              <a:gd name="connsiteX30" fmla="*/ 2295015 w 2534562"/>
              <a:gd name="connsiteY30" fmla="*/ 1428332 h 1582879"/>
              <a:gd name="connsiteX31" fmla="*/ 2333652 w 2534562"/>
              <a:gd name="connsiteY31" fmla="*/ 1500454 h 1582879"/>
              <a:gd name="connsiteX32" fmla="*/ 2354258 w 2534562"/>
              <a:gd name="connsiteY32" fmla="*/ 1513333 h 1582879"/>
              <a:gd name="connsiteX33" fmla="*/ 2372288 w 2534562"/>
              <a:gd name="connsiteY33" fmla="*/ 1544242 h 1582879"/>
              <a:gd name="connsiteX34" fmla="*/ 2395470 w 2534562"/>
              <a:gd name="connsiteY34" fmla="*/ 1582879 h 1582879"/>
              <a:gd name="connsiteX35" fmla="*/ 2423804 w 2534562"/>
              <a:gd name="connsiteY35" fmla="*/ 1582879 h 1582879"/>
              <a:gd name="connsiteX36" fmla="*/ 2446986 w 2534562"/>
              <a:gd name="connsiteY36" fmla="*/ 1554545 h 1582879"/>
              <a:gd name="connsiteX37" fmla="*/ 2483047 w 2534562"/>
              <a:gd name="connsiteY37" fmla="*/ 1518484 h 1582879"/>
              <a:gd name="connsiteX38" fmla="*/ 2480471 w 2534562"/>
              <a:gd name="connsiteY38" fmla="*/ 1477272 h 1582879"/>
              <a:gd name="connsiteX39" fmla="*/ 2495925 w 2534562"/>
              <a:gd name="connsiteY39" fmla="*/ 1454090 h 1582879"/>
              <a:gd name="connsiteX40" fmla="*/ 2493350 w 2534562"/>
              <a:gd name="connsiteY40" fmla="*/ 1381968 h 1582879"/>
              <a:gd name="connsiteX41" fmla="*/ 2519107 w 2534562"/>
              <a:gd name="connsiteY41" fmla="*/ 1340756 h 1582879"/>
              <a:gd name="connsiteX42" fmla="*/ 2498501 w 2534562"/>
              <a:gd name="connsiteY42" fmla="*/ 1307271 h 1582879"/>
              <a:gd name="connsiteX43" fmla="*/ 2526835 w 2534562"/>
              <a:gd name="connsiteY43" fmla="*/ 1268634 h 1582879"/>
              <a:gd name="connsiteX44" fmla="*/ 2534562 w 2534562"/>
              <a:gd name="connsiteY44" fmla="*/ 1235149 h 1582879"/>
              <a:gd name="connsiteX45" fmla="*/ 2498501 w 2534562"/>
              <a:gd name="connsiteY45" fmla="*/ 1183634 h 1582879"/>
              <a:gd name="connsiteX46" fmla="*/ 2436683 w 2534562"/>
              <a:gd name="connsiteY46" fmla="*/ 1134694 h 1582879"/>
              <a:gd name="connsiteX47" fmla="*/ 2423804 w 2534562"/>
              <a:gd name="connsiteY47" fmla="*/ 1085754 h 1582879"/>
              <a:gd name="connsiteX48" fmla="*/ 2413501 w 2534562"/>
              <a:gd name="connsiteY48" fmla="*/ 1029087 h 1582879"/>
              <a:gd name="connsiteX49" fmla="*/ 2392894 w 2534562"/>
              <a:gd name="connsiteY49" fmla="*/ 993026 h 1582879"/>
              <a:gd name="connsiteX50" fmla="*/ 2405773 w 2534562"/>
              <a:gd name="connsiteY50" fmla="*/ 954390 h 1582879"/>
              <a:gd name="connsiteX51" fmla="*/ 2356834 w 2534562"/>
              <a:gd name="connsiteY51" fmla="*/ 833328 h 1582879"/>
              <a:gd name="connsiteX52" fmla="*/ 2356834 w 2534562"/>
              <a:gd name="connsiteY52" fmla="*/ 789540 h 1582879"/>
              <a:gd name="connsiteX53" fmla="*/ 2331076 w 2534562"/>
              <a:gd name="connsiteY53" fmla="*/ 725146 h 1582879"/>
              <a:gd name="connsiteX54" fmla="*/ 2328500 w 2534562"/>
              <a:gd name="connsiteY54" fmla="*/ 689085 h 1582879"/>
              <a:gd name="connsiteX55" fmla="*/ 2307894 w 2534562"/>
              <a:gd name="connsiteY55" fmla="*/ 650448 h 1582879"/>
              <a:gd name="connsiteX56" fmla="*/ 2228045 w 2534562"/>
              <a:gd name="connsiteY56" fmla="*/ 604084 h 1582879"/>
              <a:gd name="connsiteX57" fmla="*/ 2225469 w 2534562"/>
              <a:gd name="connsiteY57" fmla="*/ 568024 h 1582879"/>
              <a:gd name="connsiteX58" fmla="*/ 2194560 w 2534562"/>
              <a:gd name="connsiteY58" fmla="*/ 544842 h 1582879"/>
              <a:gd name="connsiteX59" fmla="*/ 2171378 w 2534562"/>
              <a:gd name="connsiteY59" fmla="*/ 544842 h 1582879"/>
              <a:gd name="connsiteX60" fmla="*/ 2127590 w 2534562"/>
              <a:gd name="connsiteY60" fmla="*/ 547417 h 1582879"/>
              <a:gd name="connsiteX61" fmla="*/ 2078005 w 2534562"/>
              <a:gd name="connsiteY61" fmla="*/ 514982 h 1582879"/>
              <a:gd name="connsiteX62" fmla="*/ 2058044 w 2534562"/>
              <a:gd name="connsiteY62" fmla="*/ 508781 h 1582879"/>
              <a:gd name="connsiteX63" fmla="*/ 2006528 w 2534562"/>
              <a:gd name="connsiteY63" fmla="*/ 444386 h 1582879"/>
              <a:gd name="connsiteX64" fmla="*/ 1962740 w 2534562"/>
              <a:gd name="connsiteY64" fmla="*/ 421204 h 1582879"/>
              <a:gd name="connsiteX65" fmla="*/ 1934407 w 2534562"/>
              <a:gd name="connsiteY65" fmla="*/ 336204 h 1582879"/>
              <a:gd name="connsiteX66" fmla="*/ 1893194 w 2534562"/>
              <a:gd name="connsiteY66" fmla="*/ 305295 h 1582879"/>
              <a:gd name="connsiteX67" fmla="*/ 1898346 w 2534562"/>
              <a:gd name="connsiteY67" fmla="*/ 261506 h 1582879"/>
              <a:gd name="connsiteX68" fmla="*/ 1934407 w 2534562"/>
              <a:gd name="connsiteY68" fmla="*/ 204839 h 1582879"/>
              <a:gd name="connsiteX69" fmla="*/ 1939558 w 2534562"/>
              <a:gd name="connsiteY69" fmla="*/ 140445 h 1582879"/>
              <a:gd name="connsiteX70" fmla="*/ 1967892 w 2534562"/>
              <a:gd name="connsiteY70" fmla="*/ 104384 h 1582879"/>
              <a:gd name="connsiteX71" fmla="*/ 2006755 w 2534562"/>
              <a:gd name="connsiteY71" fmla="*/ 84996 h 1582879"/>
              <a:gd name="connsiteX72" fmla="*/ 1925117 w 2534562"/>
              <a:gd name="connsiteY72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251227 w 2534562"/>
              <a:gd name="connsiteY28" fmla="*/ 1381968 h 1582879"/>
              <a:gd name="connsiteX29" fmla="*/ 2295015 w 2534562"/>
              <a:gd name="connsiteY29" fmla="*/ 1428332 h 1582879"/>
              <a:gd name="connsiteX30" fmla="*/ 2333652 w 2534562"/>
              <a:gd name="connsiteY30" fmla="*/ 1500454 h 1582879"/>
              <a:gd name="connsiteX31" fmla="*/ 2354258 w 2534562"/>
              <a:gd name="connsiteY31" fmla="*/ 1513333 h 1582879"/>
              <a:gd name="connsiteX32" fmla="*/ 2372288 w 2534562"/>
              <a:gd name="connsiteY32" fmla="*/ 1544242 h 1582879"/>
              <a:gd name="connsiteX33" fmla="*/ 2395470 w 2534562"/>
              <a:gd name="connsiteY33" fmla="*/ 1582879 h 1582879"/>
              <a:gd name="connsiteX34" fmla="*/ 2423804 w 2534562"/>
              <a:gd name="connsiteY34" fmla="*/ 1582879 h 1582879"/>
              <a:gd name="connsiteX35" fmla="*/ 2446986 w 2534562"/>
              <a:gd name="connsiteY35" fmla="*/ 1554545 h 1582879"/>
              <a:gd name="connsiteX36" fmla="*/ 2483047 w 2534562"/>
              <a:gd name="connsiteY36" fmla="*/ 1518484 h 1582879"/>
              <a:gd name="connsiteX37" fmla="*/ 2480471 w 2534562"/>
              <a:gd name="connsiteY37" fmla="*/ 1477272 h 1582879"/>
              <a:gd name="connsiteX38" fmla="*/ 2495925 w 2534562"/>
              <a:gd name="connsiteY38" fmla="*/ 1454090 h 1582879"/>
              <a:gd name="connsiteX39" fmla="*/ 2493350 w 2534562"/>
              <a:gd name="connsiteY39" fmla="*/ 1381968 h 1582879"/>
              <a:gd name="connsiteX40" fmla="*/ 2519107 w 2534562"/>
              <a:gd name="connsiteY40" fmla="*/ 1340756 h 1582879"/>
              <a:gd name="connsiteX41" fmla="*/ 2498501 w 2534562"/>
              <a:gd name="connsiteY41" fmla="*/ 1307271 h 1582879"/>
              <a:gd name="connsiteX42" fmla="*/ 2526835 w 2534562"/>
              <a:gd name="connsiteY42" fmla="*/ 1268634 h 1582879"/>
              <a:gd name="connsiteX43" fmla="*/ 2534562 w 2534562"/>
              <a:gd name="connsiteY43" fmla="*/ 1235149 h 1582879"/>
              <a:gd name="connsiteX44" fmla="*/ 2498501 w 2534562"/>
              <a:gd name="connsiteY44" fmla="*/ 1183634 h 1582879"/>
              <a:gd name="connsiteX45" fmla="*/ 2436683 w 2534562"/>
              <a:gd name="connsiteY45" fmla="*/ 1134694 h 1582879"/>
              <a:gd name="connsiteX46" fmla="*/ 2423804 w 2534562"/>
              <a:gd name="connsiteY46" fmla="*/ 1085754 h 1582879"/>
              <a:gd name="connsiteX47" fmla="*/ 2413501 w 2534562"/>
              <a:gd name="connsiteY47" fmla="*/ 1029087 h 1582879"/>
              <a:gd name="connsiteX48" fmla="*/ 2392894 w 2534562"/>
              <a:gd name="connsiteY48" fmla="*/ 993026 h 1582879"/>
              <a:gd name="connsiteX49" fmla="*/ 2405773 w 2534562"/>
              <a:gd name="connsiteY49" fmla="*/ 954390 h 1582879"/>
              <a:gd name="connsiteX50" fmla="*/ 2356834 w 2534562"/>
              <a:gd name="connsiteY50" fmla="*/ 833328 h 1582879"/>
              <a:gd name="connsiteX51" fmla="*/ 2356834 w 2534562"/>
              <a:gd name="connsiteY51" fmla="*/ 789540 h 1582879"/>
              <a:gd name="connsiteX52" fmla="*/ 2331076 w 2534562"/>
              <a:gd name="connsiteY52" fmla="*/ 725146 h 1582879"/>
              <a:gd name="connsiteX53" fmla="*/ 2328500 w 2534562"/>
              <a:gd name="connsiteY53" fmla="*/ 689085 h 1582879"/>
              <a:gd name="connsiteX54" fmla="*/ 2307894 w 2534562"/>
              <a:gd name="connsiteY54" fmla="*/ 650448 h 1582879"/>
              <a:gd name="connsiteX55" fmla="*/ 2228045 w 2534562"/>
              <a:gd name="connsiteY55" fmla="*/ 604084 h 1582879"/>
              <a:gd name="connsiteX56" fmla="*/ 2225469 w 2534562"/>
              <a:gd name="connsiteY56" fmla="*/ 568024 h 1582879"/>
              <a:gd name="connsiteX57" fmla="*/ 2194560 w 2534562"/>
              <a:gd name="connsiteY57" fmla="*/ 544842 h 1582879"/>
              <a:gd name="connsiteX58" fmla="*/ 2171378 w 2534562"/>
              <a:gd name="connsiteY58" fmla="*/ 544842 h 1582879"/>
              <a:gd name="connsiteX59" fmla="*/ 2127590 w 2534562"/>
              <a:gd name="connsiteY59" fmla="*/ 547417 h 1582879"/>
              <a:gd name="connsiteX60" fmla="*/ 2078005 w 2534562"/>
              <a:gd name="connsiteY60" fmla="*/ 514982 h 1582879"/>
              <a:gd name="connsiteX61" fmla="*/ 2058044 w 2534562"/>
              <a:gd name="connsiteY61" fmla="*/ 508781 h 1582879"/>
              <a:gd name="connsiteX62" fmla="*/ 2006528 w 2534562"/>
              <a:gd name="connsiteY62" fmla="*/ 444386 h 1582879"/>
              <a:gd name="connsiteX63" fmla="*/ 1962740 w 2534562"/>
              <a:gd name="connsiteY63" fmla="*/ 421204 h 1582879"/>
              <a:gd name="connsiteX64" fmla="*/ 1934407 w 2534562"/>
              <a:gd name="connsiteY64" fmla="*/ 336204 h 1582879"/>
              <a:gd name="connsiteX65" fmla="*/ 1893194 w 2534562"/>
              <a:gd name="connsiteY65" fmla="*/ 305295 h 1582879"/>
              <a:gd name="connsiteX66" fmla="*/ 1898346 w 2534562"/>
              <a:gd name="connsiteY66" fmla="*/ 261506 h 1582879"/>
              <a:gd name="connsiteX67" fmla="*/ 1934407 w 2534562"/>
              <a:gd name="connsiteY67" fmla="*/ 204839 h 1582879"/>
              <a:gd name="connsiteX68" fmla="*/ 1939558 w 2534562"/>
              <a:gd name="connsiteY68" fmla="*/ 140445 h 1582879"/>
              <a:gd name="connsiteX69" fmla="*/ 1967892 w 2534562"/>
              <a:gd name="connsiteY69" fmla="*/ 104384 h 1582879"/>
              <a:gd name="connsiteX70" fmla="*/ 2006755 w 2534562"/>
              <a:gd name="connsiteY70" fmla="*/ 84996 h 1582879"/>
              <a:gd name="connsiteX71" fmla="*/ 1925117 w 2534562"/>
              <a:gd name="connsiteY71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295015 w 2534562"/>
              <a:gd name="connsiteY28" fmla="*/ 1428332 h 1582879"/>
              <a:gd name="connsiteX29" fmla="*/ 2333652 w 2534562"/>
              <a:gd name="connsiteY29" fmla="*/ 1500454 h 1582879"/>
              <a:gd name="connsiteX30" fmla="*/ 2354258 w 2534562"/>
              <a:gd name="connsiteY30" fmla="*/ 1513333 h 1582879"/>
              <a:gd name="connsiteX31" fmla="*/ 2372288 w 2534562"/>
              <a:gd name="connsiteY31" fmla="*/ 1544242 h 1582879"/>
              <a:gd name="connsiteX32" fmla="*/ 2395470 w 2534562"/>
              <a:gd name="connsiteY32" fmla="*/ 1582879 h 1582879"/>
              <a:gd name="connsiteX33" fmla="*/ 2423804 w 2534562"/>
              <a:gd name="connsiteY33" fmla="*/ 1582879 h 1582879"/>
              <a:gd name="connsiteX34" fmla="*/ 2446986 w 2534562"/>
              <a:gd name="connsiteY34" fmla="*/ 1554545 h 1582879"/>
              <a:gd name="connsiteX35" fmla="*/ 2483047 w 2534562"/>
              <a:gd name="connsiteY35" fmla="*/ 1518484 h 1582879"/>
              <a:gd name="connsiteX36" fmla="*/ 2480471 w 2534562"/>
              <a:gd name="connsiteY36" fmla="*/ 1477272 h 1582879"/>
              <a:gd name="connsiteX37" fmla="*/ 2495925 w 2534562"/>
              <a:gd name="connsiteY37" fmla="*/ 1454090 h 1582879"/>
              <a:gd name="connsiteX38" fmla="*/ 2493350 w 2534562"/>
              <a:gd name="connsiteY38" fmla="*/ 1381968 h 1582879"/>
              <a:gd name="connsiteX39" fmla="*/ 2519107 w 2534562"/>
              <a:gd name="connsiteY39" fmla="*/ 1340756 h 1582879"/>
              <a:gd name="connsiteX40" fmla="*/ 2498501 w 2534562"/>
              <a:gd name="connsiteY40" fmla="*/ 1307271 h 1582879"/>
              <a:gd name="connsiteX41" fmla="*/ 2526835 w 2534562"/>
              <a:gd name="connsiteY41" fmla="*/ 1268634 h 1582879"/>
              <a:gd name="connsiteX42" fmla="*/ 2534562 w 2534562"/>
              <a:gd name="connsiteY42" fmla="*/ 1235149 h 1582879"/>
              <a:gd name="connsiteX43" fmla="*/ 2498501 w 2534562"/>
              <a:gd name="connsiteY43" fmla="*/ 1183634 h 1582879"/>
              <a:gd name="connsiteX44" fmla="*/ 2436683 w 2534562"/>
              <a:gd name="connsiteY44" fmla="*/ 1134694 h 1582879"/>
              <a:gd name="connsiteX45" fmla="*/ 2423804 w 2534562"/>
              <a:gd name="connsiteY45" fmla="*/ 1085754 h 1582879"/>
              <a:gd name="connsiteX46" fmla="*/ 2413501 w 2534562"/>
              <a:gd name="connsiteY46" fmla="*/ 1029087 h 1582879"/>
              <a:gd name="connsiteX47" fmla="*/ 2392894 w 2534562"/>
              <a:gd name="connsiteY47" fmla="*/ 993026 h 1582879"/>
              <a:gd name="connsiteX48" fmla="*/ 2405773 w 2534562"/>
              <a:gd name="connsiteY48" fmla="*/ 954390 h 1582879"/>
              <a:gd name="connsiteX49" fmla="*/ 2356834 w 2534562"/>
              <a:gd name="connsiteY49" fmla="*/ 833328 h 1582879"/>
              <a:gd name="connsiteX50" fmla="*/ 2356834 w 2534562"/>
              <a:gd name="connsiteY50" fmla="*/ 789540 h 1582879"/>
              <a:gd name="connsiteX51" fmla="*/ 2331076 w 2534562"/>
              <a:gd name="connsiteY51" fmla="*/ 725146 h 1582879"/>
              <a:gd name="connsiteX52" fmla="*/ 2328500 w 2534562"/>
              <a:gd name="connsiteY52" fmla="*/ 689085 h 1582879"/>
              <a:gd name="connsiteX53" fmla="*/ 2307894 w 2534562"/>
              <a:gd name="connsiteY53" fmla="*/ 650448 h 1582879"/>
              <a:gd name="connsiteX54" fmla="*/ 2228045 w 2534562"/>
              <a:gd name="connsiteY54" fmla="*/ 604084 h 1582879"/>
              <a:gd name="connsiteX55" fmla="*/ 2225469 w 2534562"/>
              <a:gd name="connsiteY55" fmla="*/ 568024 h 1582879"/>
              <a:gd name="connsiteX56" fmla="*/ 2194560 w 2534562"/>
              <a:gd name="connsiteY56" fmla="*/ 544842 h 1582879"/>
              <a:gd name="connsiteX57" fmla="*/ 2171378 w 2534562"/>
              <a:gd name="connsiteY57" fmla="*/ 544842 h 1582879"/>
              <a:gd name="connsiteX58" fmla="*/ 2127590 w 2534562"/>
              <a:gd name="connsiteY58" fmla="*/ 547417 h 1582879"/>
              <a:gd name="connsiteX59" fmla="*/ 2078005 w 2534562"/>
              <a:gd name="connsiteY59" fmla="*/ 514982 h 1582879"/>
              <a:gd name="connsiteX60" fmla="*/ 2058044 w 2534562"/>
              <a:gd name="connsiteY60" fmla="*/ 508781 h 1582879"/>
              <a:gd name="connsiteX61" fmla="*/ 2006528 w 2534562"/>
              <a:gd name="connsiteY61" fmla="*/ 444386 h 1582879"/>
              <a:gd name="connsiteX62" fmla="*/ 1962740 w 2534562"/>
              <a:gd name="connsiteY62" fmla="*/ 421204 h 1582879"/>
              <a:gd name="connsiteX63" fmla="*/ 1934407 w 2534562"/>
              <a:gd name="connsiteY63" fmla="*/ 336204 h 1582879"/>
              <a:gd name="connsiteX64" fmla="*/ 1893194 w 2534562"/>
              <a:gd name="connsiteY64" fmla="*/ 305295 h 1582879"/>
              <a:gd name="connsiteX65" fmla="*/ 1898346 w 2534562"/>
              <a:gd name="connsiteY65" fmla="*/ 261506 h 1582879"/>
              <a:gd name="connsiteX66" fmla="*/ 1934407 w 2534562"/>
              <a:gd name="connsiteY66" fmla="*/ 204839 h 1582879"/>
              <a:gd name="connsiteX67" fmla="*/ 1939558 w 2534562"/>
              <a:gd name="connsiteY67" fmla="*/ 140445 h 1582879"/>
              <a:gd name="connsiteX68" fmla="*/ 1967892 w 2534562"/>
              <a:gd name="connsiteY68" fmla="*/ 104384 h 1582879"/>
              <a:gd name="connsiteX69" fmla="*/ 2006755 w 2534562"/>
              <a:gd name="connsiteY69" fmla="*/ 84996 h 1582879"/>
              <a:gd name="connsiteX70" fmla="*/ 1925117 w 2534562"/>
              <a:gd name="connsiteY70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333652 w 2534562"/>
              <a:gd name="connsiteY28" fmla="*/ 1500454 h 1582879"/>
              <a:gd name="connsiteX29" fmla="*/ 2354258 w 2534562"/>
              <a:gd name="connsiteY29" fmla="*/ 1513333 h 1582879"/>
              <a:gd name="connsiteX30" fmla="*/ 2372288 w 2534562"/>
              <a:gd name="connsiteY30" fmla="*/ 1544242 h 1582879"/>
              <a:gd name="connsiteX31" fmla="*/ 2395470 w 2534562"/>
              <a:gd name="connsiteY31" fmla="*/ 1582879 h 1582879"/>
              <a:gd name="connsiteX32" fmla="*/ 2423804 w 2534562"/>
              <a:gd name="connsiteY32" fmla="*/ 1582879 h 1582879"/>
              <a:gd name="connsiteX33" fmla="*/ 2446986 w 2534562"/>
              <a:gd name="connsiteY33" fmla="*/ 1554545 h 1582879"/>
              <a:gd name="connsiteX34" fmla="*/ 2483047 w 2534562"/>
              <a:gd name="connsiteY34" fmla="*/ 1518484 h 1582879"/>
              <a:gd name="connsiteX35" fmla="*/ 2480471 w 2534562"/>
              <a:gd name="connsiteY35" fmla="*/ 1477272 h 1582879"/>
              <a:gd name="connsiteX36" fmla="*/ 2495925 w 2534562"/>
              <a:gd name="connsiteY36" fmla="*/ 1454090 h 1582879"/>
              <a:gd name="connsiteX37" fmla="*/ 2493350 w 2534562"/>
              <a:gd name="connsiteY37" fmla="*/ 1381968 h 1582879"/>
              <a:gd name="connsiteX38" fmla="*/ 2519107 w 2534562"/>
              <a:gd name="connsiteY38" fmla="*/ 1340756 h 1582879"/>
              <a:gd name="connsiteX39" fmla="*/ 2498501 w 2534562"/>
              <a:gd name="connsiteY39" fmla="*/ 1307271 h 1582879"/>
              <a:gd name="connsiteX40" fmla="*/ 2526835 w 2534562"/>
              <a:gd name="connsiteY40" fmla="*/ 1268634 h 1582879"/>
              <a:gd name="connsiteX41" fmla="*/ 2534562 w 2534562"/>
              <a:gd name="connsiteY41" fmla="*/ 1235149 h 1582879"/>
              <a:gd name="connsiteX42" fmla="*/ 2498501 w 2534562"/>
              <a:gd name="connsiteY42" fmla="*/ 1183634 h 1582879"/>
              <a:gd name="connsiteX43" fmla="*/ 2436683 w 2534562"/>
              <a:gd name="connsiteY43" fmla="*/ 1134694 h 1582879"/>
              <a:gd name="connsiteX44" fmla="*/ 2423804 w 2534562"/>
              <a:gd name="connsiteY44" fmla="*/ 1085754 h 1582879"/>
              <a:gd name="connsiteX45" fmla="*/ 2413501 w 2534562"/>
              <a:gd name="connsiteY45" fmla="*/ 1029087 h 1582879"/>
              <a:gd name="connsiteX46" fmla="*/ 2392894 w 2534562"/>
              <a:gd name="connsiteY46" fmla="*/ 993026 h 1582879"/>
              <a:gd name="connsiteX47" fmla="*/ 2405773 w 2534562"/>
              <a:gd name="connsiteY47" fmla="*/ 954390 h 1582879"/>
              <a:gd name="connsiteX48" fmla="*/ 2356834 w 2534562"/>
              <a:gd name="connsiteY48" fmla="*/ 833328 h 1582879"/>
              <a:gd name="connsiteX49" fmla="*/ 2356834 w 2534562"/>
              <a:gd name="connsiteY49" fmla="*/ 789540 h 1582879"/>
              <a:gd name="connsiteX50" fmla="*/ 2331076 w 2534562"/>
              <a:gd name="connsiteY50" fmla="*/ 725146 h 1582879"/>
              <a:gd name="connsiteX51" fmla="*/ 2328500 w 2534562"/>
              <a:gd name="connsiteY51" fmla="*/ 689085 h 1582879"/>
              <a:gd name="connsiteX52" fmla="*/ 2307894 w 2534562"/>
              <a:gd name="connsiteY52" fmla="*/ 650448 h 1582879"/>
              <a:gd name="connsiteX53" fmla="*/ 2228045 w 2534562"/>
              <a:gd name="connsiteY53" fmla="*/ 604084 h 1582879"/>
              <a:gd name="connsiteX54" fmla="*/ 2225469 w 2534562"/>
              <a:gd name="connsiteY54" fmla="*/ 568024 h 1582879"/>
              <a:gd name="connsiteX55" fmla="*/ 2194560 w 2534562"/>
              <a:gd name="connsiteY55" fmla="*/ 544842 h 1582879"/>
              <a:gd name="connsiteX56" fmla="*/ 2171378 w 2534562"/>
              <a:gd name="connsiteY56" fmla="*/ 544842 h 1582879"/>
              <a:gd name="connsiteX57" fmla="*/ 2127590 w 2534562"/>
              <a:gd name="connsiteY57" fmla="*/ 547417 h 1582879"/>
              <a:gd name="connsiteX58" fmla="*/ 2078005 w 2534562"/>
              <a:gd name="connsiteY58" fmla="*/ 514982 h 1582879"/>
              <a:gd name="connsiteX59" fmla="*/ 2058044 w 2534562"/>
              <a:gd name="connsiteY59" fmla="*/ 508781 h 1582879"/>
              <a:gd name="connsiteX60" fmla="*/ 2006528 w 2534562"/>
              <a:gd name="connsiteY60" fmla="*/ 444386 h 1582879"/>
              <a:gd name="connsiteX61" fmla="*/ 1962740 w 2534562"/>
              <a:gd name="connsiteY61" fmla="*/ 421204 h 1582879"/>
              <a:gd name="connsiteX62" fmla="*/ 1934407 w 2534562"/>
              <a:gd name="connsiteY62" fmla="*/ 336204 h 1582879"/>
              <a:gd name="connsiteX63" fmla="*/ 1893194 w 2534562"/>
              <a:gd name="connsiteY63" fmla="*/ 305295 h 1582879"/>
              <a:gd name="connsiteX64" fmla="*/ 1898346 w 2534562"/>
              <a:gd name="connsiteY64" fmla="*/ 261506 h 1582879"/>
              <a:gd name="connsiteX65" fmla="*/ 1934407 w 2534562"/>
              <a:gd name="connsiteY65" fmla="*/ 204839 h 1582879"/>
              <a:gd name="connsiteX66" fmla="*/ 1939558 w 2534562"/>
              <a:gd name="connsiteY66" fmla="*/ 140445 h 1582879"/>
              <a:gd name="connsiteX67" fmla="*/ 1967892 w 2534562"/>
              <a:gd name="connsiteY67" fmla="*/ 104384 h 1582879"/>
              <a:gd name="connsiteX68" fmla="*/ 2006755 w 2534562"/>
              <a:gd name="connsiteY68" fmla="*/ 84996 h 1582879"/>
              <a:gd name="connsiteX69" fmla="*/ 1925117 w 2534562"/>
              <a:gd name="connsiteY69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354258 w 2534562"/>
              <a:gd name="connsiteY28" fmla="*/ 1513333 h 1582879"/>
              <a:gd name="connsiteX29" fmla="*/ 2372288 w 2534562"/>
              <a:gd name="connsiteY29" fmla="*/ 1544242 h 1582879"/>
              <a:gd name="connsiteX30" fmla="*/ 2395470 w 2534562"/>
              <a:gd name="connsiteY30" fmla="*/ 1582879 h 1582879"/>
              <a:gd name="connsiteX31" fmla="*/ 2423804 w 2534562"/>
              <a:gd name="connsiteY31" fmla="*/ 1582879 h 1582879"/>
              <a:gd name="connsiteX32" fmla="*/ 2446986 w 2534562"/>
              <a:gd name="connsiteY32" fmla="*/ 1554545 h 1582879"/>
              <a:gd name="connsiteX33" fmla="*/ 2483047 w 2534562"/>
              <a:gd name="connsiteY33" fmla="*/ 1518484 h 1582879"/>
              <a:gd name="connsiteX34" fmla="*/ 2480471 w 2534562"/>
              <a:gd name="connsiteY34" fmla="*/ 1477272 h 1582879"/>
              <a:gd name="connsiteX35" fmla="*/ 2495925 w 2534562"/>
              <a:gd name="connsiteY35" fmla="*/ 1454090 h 1582879"/>
              <a:gd name="connsiteX36" fmla="*/ 2493350 w 2534562"/>
              <a:gd name="connsiteY36" fmla="*/ 1381968 h 1582879"/>
              <a:gd name="connsiteX37" fmla="*/ 2519107 w 2534562"/>
              <a:gd name="connsiteY37" fmla="*/ 1340756 h 1582879"/>
              <a:gd name="connsiteX38" fmla="*/ 2498501 w 2534562"/>
              <a:gd name="connsiteY38" fmla="*/ 1307271 h 1582879"/>
              <a:gd name="connsiteX39" fmla="*/ 2526835 w 2534562"/>
              <a:gd name="connsiteY39" fmla="*/ 1268634 h 1582879"/>
              <a:gd name="connsiteX40" fmla="*/ 2534562 w 2534562"/>
              <a:gd name="connsiteY40" fmla="*/ 1235149 h 1582879"/>
              <a:gd name="connsiteX41" fmla="*/ 2498501 w 2534562"/>
              <a:gd name="connsiteY41" fmla="*/ 1183634 h 1582879"/>
              <a:gd name="connsiteX42" fmla="*/ 2436683 w 2534562"/>
              <a:gd name="connsiteY42" fmla="*/ 1134694 h 1582879"/>
              <a:gd name="connsiteX43" fmla="*/ 2423804 w 2534562"/>
              <a:gd name="connsiteY43" fmla="*/ 1085754 h 1582879"/>
              <a:gd name="connsiteX44" fmla="*/ 2413501 w 2534562"/>
              <a:gd name="connsiteY44" fmla="*/ 1029087 h 1582879"/>
              <a:gd name="connsiteX45" fmla="*/ 2392894 w 2534562"/>
              <a:gd name="connsiteY45" fmla="*/ 993026 h 1582879"/>
              <a:gd name="connsiteX46" fmla="*/ 2405773 w 2534562"/>
              <a:gd name="connsiteY46" fmla="*/ 954390 h 1582879"/>
              <a:gd name="connsiteX47" fmla="*/ 2356834 w 2534562"/>
              <a:gd name="connsiteY47" fmla="*/ 833328 h 1582879"/>
              <a:gd name="connsiteX48" fmla="*/ 2356834 w 2534562"/>
              <a:gd name="connsiteY48" fmla="*/ 789540 h 1582879"/>
              <a:gd name="connsiteX49" fmla="*/ 2331076 w 2534562"/>
              <a:gd name="connsiteY49" fmla="*/ 725146 h 1582879"/>
              <a:gd name="connsiteX50" fmla="*/ 2328500 w 2534562"/>
              <a:gd name="connsiteY50" fmla="*/ 689085 h 1582879"/>
              <a:gd name="connsiteX51" fmla="*/ 2307894 w 2534562"/>
              <a:gd name="connsiteY51" fmla="*/ 650448 h 1582879"/>
              <a:gd name="connsiteX52" fmla="*/ 2228045 w 2534562"/>
              <a:gd name="connsiteY52" fmla="*/ 604084 h 1582879"/>
              <a:gd name="connsiteX53" fmla="*/ 2225469 w 2534562"/>
              <a:gd name="connsiteY53" fmla="*/ 568024 h 1582879"/>
              <a:gd name="connsiteX54" fmla="*/ 2194560 w 2534562"/>
              <a:gd name="connsiteY54" fmla="*/ 544842 h 1582879"/>
              <a:gd name="connsiteX55" fmla="*/ 2171378 w 2534562"/>
              <a:gd name="connsiteY55" fmla="*/ 544842 h 1582879"/>
              <a:gd name="connsiteX56" fmla="*/ 2127590 w 2534562"/>
              <a:gd name="connsiteY56" fmla="*/ 547417 h 1582879"/>
              <a:gd name="connsiteX57" fmla="*/ 2078005 w 2534562"/>
              <a:gd name="connsiteY57" fmla="*/ 514982 h 1582879"/>
              <a:gd name="connsiteX58" fmla="*/ 2058044 w 2534562"/>
              <a:gd name="connsiteY58" fmla="*/ 508781 h 1582879"/>
              <a:gd name="connsiteX59" fmla="*/ 2006528 w 2534562"/>
              <a:gd name="connsiteY59" fmla="*/ 444386 h 1582879"/>
              <a:gd name="connsiteX60" fmla="*/ 1962740 w 2534562"/>
              <a:gd name="connsiteY60" fmla="*/ 421204 h 1582879"/>
              <a:gd name="connsiteX61" fmla="*/ 1934407 w 2534562"/>
              <a:gd name="connsiteY61" fmla="*/ 336204 h 1582879"/>
              <a:gd name="connsiteX62" fmla="*/ 1893194 w 2534562"/>
              <a:gd name="connsiteY62" fmla="*/ 305295 h 1582879"/>
              <a:gd name="connsiteX63" fmla="*/ 1898346 w 2534562"/>
              <a:gd name="connsiteY63" fmla="*/ 261506 h 1582879"/>
              <a:gd name="connsiteX64" fmla="*/ 1934407 w 2534562"/>
              <a:gd name="connsiteY64" fmla="*/ 204839 h 1582879"/>
              <a:gd name="connsiteX65" fmla="*/ 1939558 w 2534562"/>
              <a:gd name="connsiteY65" fmla="*/ 140445 h 1582879"/>
              <a:gd name="connsiteX66" fmla="*/ 1967892 w 2534562"/>
              <a:gd name="connsiteY66" fmla="*/ 104384 h 1582879"/>
              <a:gd name="connsiteX67" fmla="*/ 2006755 w 2534562"/>
              <a:gd name="connsiteY67" fmla="*/ 84996 h 1582879"/>
              <a:gd name="connsiteX68" fmla="*/ 1925117 w 2534562"/>
              <a:gd name="connsiteY68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372288 w 2534562"/>
              <a:gd name="connsiteY28" fmla="*/ 1544242 h 1582879"/>
              <a:gd name="connsiteX29" fmla="*/ 2395470 w 2534562"/>
              <a:gd name="connsiteY29" fmla="*/ 1582879 h 1582879"/>
              <a:gd name="connsiteX30" fmla="*/ 2423804 w 2534562"/>
              <a:gd name="connsiteY30" fmla="*/ 1582879 h 1582879"/>
              <a:gd name="connsiteX31" fmla="*/ 2446986 w 2534562"/>
              <a:gd name="connsiteY31" fmla="*/ 1554545 h 1582879"/>
              <a:gd name="connsiteX32" fmla="*/ 2483047 w 2534562"/>
              <a:gd name="connsiteY32" fmla="*/ 1518484 h 1582879"/>
              <a:gd name="connsiteX33" fmla="*/ 2480471 w 2534562"/>
              <a:gd name="connsiteY33" fmla="*/ 1477272 h 1582879"/>
              <a:gd name="connsiteX34" fmla="*/ 2495925 w 2534562"/>
              <a:gd name="connsiteY34" fmla="*/ 1454090 h 1582879"/>
              <a:gd name="connsiteX35" fmla="*/ 2493350 w 2534562"/>
              <a:gd name="connsiteY35" fmla="*/ 1381968 h 1582879"/>
              <a:gd name="connsiteX36" fmla="*/ 2519107 w 2534562"/>
              <a:gd name="connsiteY36" fmla="*/ 1340756 h 1582879"/>
              <a:gd name="connsiteX37" fmla="*/ 2498501 w 2534562"/>
              <a:gd name="connsiteY37" fmla="*/ 1307271 h 1582879"/>
              <a:gd name="connsiteX38" fmla="*/ 2526835 w 2534562"/>
              <a:gd name="connsiteY38" fmla="*/ 1268634 h 1582879"/>
              <a:gd name="connsiteX39" fmla="*/ 2534562 w 2534562"/>
              <a:gd name="connsiteY39" fmla="*/ 1235149 h 1582879"/>
              <a:gd name="connsiteX40" fmla="*/ 2498501 w 2534562"/>
              <a:gd name="connsiteY40" fmla="*/ 1183634 h 1582879"/>
              <a:gd name="connsiteX41" fmla="*/ 2436683 w 2534562"/>
              <a:gd name="connsiteY41" fmla="*/ 1134694 h 1582879"/>
              <a:gd name="connsiteX42" fmla="*/ 2423804 w 2534562"/>
              <a:gd name="connsiteY42" fmla="*/ 1085754 h 1582879"/>
              <a:gd name="connsiteX43" fmla="*/ 2413501 w 2534562"/>
              <a:gd name="connsiteY43" fmla="*/ 1029087 h 1582879"/>
              <a:gd name="connsiteX44" fmla="*/ 2392894 w 2534562"/>
              <a:gd name="connsiteY44" fmla="*/ 993026 h 1582879"/>
              <a:gd name="connsiteX45" fmla="*/ 2405773 w 2534562"/>
              <a:gd name="connsiteY45" fmla="*/ 954390 h 1582879"/>
              <a:gd name="connsiteX46" fmla="*/ 2356834 w 2534562"/>
              <a:gd name="connsiteY46" fmla="*/ 833328 h 1582879"/>
              <a:gd name="connsiteX47" fmla="*/ 2356834 w 2534562"/>
              <a:gd name="connsiteY47" fmla="*/ 789540 h 1582879"/>
              <a:gd name="connsiteX48" fmla="*/ 2331076 w 2534562"/>
              <a:gd name="connsiteY48" fmla="*/ 725146 h 1582879"/>
              <a:gd name="connsiteX49" fmla="*/ 2328500 w 2534562"/>
              <a:gd name="connsiteY49" fmla="*/ 689085 h 1582879"/>
              <a:gd name="connsiteX50" fmla="*/ 2307894 w 2534562"/>
              <a:gd name="connsiteY50" fmla="*/ 650448 h 1582879"/>
              <a:gd name="connsiteX51" fmla="*/ 2228045 w 2534562"/>
              <a:gd name="connsiteY51" fmla="*/ 604084 h 1582879"/>
              <a:gd name="connsiteX52" fmla="*/ 2225469 w 2534562"/>
              <a:gd name="connsiteY52" fmla="*/ 568024 h 1582879"/>
              <a:gd name="connsiteX53" fmla="*/ 2194560 w 2534562"/>
              <a:gd name="connsiteY53" fmla="*/ 544842 h 1582879"/>
              <a:gd name="connsiteX54" fmla="*/ 2171378 w 2534562"/>
              <a:gd name="connsiteY54" fmla="*/ 544842 h 1582879"/>
              <a:gd name="connsiteX55" fmla="*/ 2127590 w 2534562"/>
              <a:gd name="connsiteY55" fmla="*/ 547417 h 1582879"/>
              <a:gd name="connsiteX56" fmla="*/ 2078005 w 2534562"/>
              <a:gd name="connsiteY56" fmla="*/ 514982 h 1582879"/>
              <a:gd name="connsiteX57" fmla="*/ 2058044 w 2534562"/>
              <a:gd name="connsiteY57" fmla="*/ 508781 h 1582879"/>
              <a:gd name="connsiteX58" fmla="*/ 2006528 w 2534562"/>
              <a:gd name="connsiteY58" fmla="*/ 444386 h 1582879"/>
              <a:gd name="connsiteX59" fmla="*/ 1962740 w 2534562"/>
              <a:gd name="connsiteY59" fmla="*/ 421204 h 1582879"/>
              <a:gd name="connsiteX60" fmla="*/ 1934407 w 2534562"/>
              <a:gd name="connsiteY60" fmla="*/ 336204 h 1582879"/>
              <a:gd name="connsiteX61" fmla="*/ 1893194 w 2534562"/>
              <a:gd name="connsiteY61" fmla="*/ 305295 h 1582879"/>
              <a:gd name="connsiteX62" fmla="*/ 1898346 w 2534562"/>
              <a:gd name="connsiteY62" fmla="*/ 261506 h 1582879"/>
              <a:gd name="connsiteX63" fmla="*/ 1934407 w 2534562"/>
              <a:gd name="connsiteY63" fmla="*/ 204839 h 1582879"/>
              <a:gd name="connsiteX64" fmla="*/ 1939558 w 2534562"/>
              <a:gd name="connsiteY64" fmla="*/ 140445 h 1582879"/>
              <a:gd name="connsiteX65" fmla="*/ 1967892 w 2534562"/>
              <a:gd name="connsiteY65" fmla="*/ 104384 h 1582879"/>
              <a:gd name="connsiteX66" fmla="*/ 2006755 w 2534562"/>
              <a:gd name="connsiteY66" fmla="*/ 84996 h 1582879"/>
              <a:gd name="connsiteX67" fmla="*/ 1925117 w 2534562"/>
              <a:gd name="connsiteY67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395470 w 2534562"/>
              <a:gd name="connsiteY28" fmla="*/ 1582879 h 1582879"/>
              <a:gd name="connsiteX29" fmla="*/ 2423804 w 2534562"/>
              <a:gd name="connsiteY29" fmla="*/ 1582879 h 1582879"/>
              <a:gd name="connsiteX30" fmla="*/ 2446986 w 2534562"/>
              <a:gd name="connsiteY30" fmla="*/ 1554545 h 1582879"/>
              <a:gd name="connsiteX31" fmla="*/ 2483047 w 2534562"/>
              <a:gd name="connsiteY31" fmla="*/ 1518484 h 1582879"/>
              <a:gd name="connsiteX32" fmla="*/ 2480471 w 2534562"/>
              <a:gd name="connsiteY32" fmla="*/ 1477272 h 1582879"/>
              <a:gd name="connsiteX33" fmla="*/ 2495925 w 2534562"/>
              <a:gd name="connsiteY33" fmla="*/ 1454090 h 1582879"/>
              <a:gd name="connsiteX34" fmla="*/ 2493350 w 2534562"/>
              <a:gd name="connsiteY34" fmla="*/ 1381968 h 1582879"/>
              <a:gd name="connsiteX35" fmla="*/ 2519107 w 2534562"/>
              <a:gd name="connsiteY35" fmla="*/ 1340756 h 1582879"/>
              <a:gd name="connsiteX36" fmla="*/ 2498501 w 2534562"/>
              <a:gd name="connsiteY36" fmla="*/ 1307271 h 1582879"/>
              <a:gd name="connsiteX37" fmla="*/ 2526835 w 2534562"/>
              <a:gd name="connsiteY37" fmla="*/ 1268634 h 1582879"/>
              <a:gd name="connsiteX38" fmla="*/ 2534562 w 2534562"/>
              <a:gd name="connsiteY38" fmla="*/ 1235149 h 1582879"/>
              <a:gd name="connsiteX39" fmla="*/ 2498501 w 2534562"/>
              <a:gd name="connsiteY39" fmla="*/ 1183634 h 1582879"/>
              <a:gd name="connsiteX40" fmla="*/ 2436683 w 2534562"/>
              <a:gd name="connsiteY40" fmla="*/ 1134694 h 1582879"/>
              <a:gd name="connsiteX41" fmla="*/ 2423804 w 2534562"/>
              <a:gd name="connsiteY41" fmla="*/ 1085754 h 1582879"/>
              <a:gd name="connsiteX42" fmla="*/ 2413501 w 2534562"/>
              <a:gd name="connsiteY42" fmla="*/ 1029087 h 1582879"/>
              <a:gd name="connsiteX43" fmla="*/ 2392894 w 2534562"/>
              <a:gd name="connsiteY43" fmla="*/ 993026 h 1582879"/>
              <a:gd name="connsiteX44" fmla="*/ 2405773 w 2534562"/>
              <a:gd name="connsiteY44" fmla="*/ 954390 h 1582879"/>
              <a:gd name="connsiteX45" fmla="*/ 2356834 w 2534562"/>
              <a:gd name="connsiteY45" fmla="*/ 833328 h 1582879"/>
              <a:gd name="connsiteX46" fmla="*/ 2356834 w 2534562"/>
              <a:gd name="connsiteY46" fmla="*/ 789540 h 1582879"/>
              <a:gd name="connsiteX47" fmla="*/ 2331076 w 2534562"/>
              <a:gd name="connsiteY47" fmla="*/ 725146 h 1582879"/>
              <a:gd name="connsiteX48" fmla="*/ 2328500 w 2534562"/>
              <a:gd name="connsiteY48" fmla="*/ 689085 h 1582879"/>
              <a:gd name="connsiteX49" fmla="*/ 2307894 w 2534562"/>
              <a:gd name="connsiteY49" fmla="*/ 650448 h 1582879"/>
              <a:gd name="connsiteX50" fmla="*/ 2228045 w 2534562"/>
              <a:gd name="connsiteY50" fmla="*/ 604084 h 1582879"/>
              <a:gd name="connsiteX51" fmla="*/ 2225469 w 2534562"/>
              <a:gd name="connsiteY51" fmla="*/ 568024 h 1582879"/>
              <a:gd name="connsiteX52" fmla="*/ 2194560 w 2534562"/>
              <a:gd name="connsiteY52" fmla="*/ 544842 h 1582879"/>
              <a:gd name="connsiteX53" fmla="*/ 2171378 w 2534562"/>
              <a:gd name="connsiteY53" fmla="*/ 544842 h 1582879"/>
              <a:gd name="connsiteX54" fmla="*/ 2127590 w 2534562"/>
              <a:gd name="connsiteY54" fmla="*/ 547417 h 1582879"/>
              <a:gd name="connsiteX55" fmla="*/ 2078005 w 2534562"/>
              <a:gd name="connsiteY55" fmla="*/ 514982 h 1582879"/>
              <a:gd name="connsiteX56" fmla="*/ 2058044 w 2534562"/>
              <a:gd name="connsiteY56" fmla="*/ 508781 h 1582879"/>
              <a:gd name="connsiteX57" fmla="*/ 2006528 w 2534562"/>
              <a:gd name="connsiteY57" fmla="*/ 444386 h 1582879"/>
              <a:gd name="connsiteX58" fmla="*/ 1962740 w 2534562"/>
              <a:gd name="connsiteY58" fmla="*/ 421204 h 1582879"/>
              <a:gd name="connsiteX59" fmla="*/ 1934407 w 2534562"/>
              <a:gd name="connsiteY59" fmla="*/ 336204 h 1582879"/>
              <a:gd name="connsiteX60" fmla="*/ 1893194 w 2534562"/>
              <a:gd name="connsiteY60" fmla="*/ 305295 h 1582879"/>
              <a:gd name="connsiteX61" fmla="*/ 1898346 w 2534562"/>
              <a:gd name="connsiteY61" fmla="*/ 261506 h 1582879"/>
              <a:gd name="connsiteX62" fmla="*/ 1934407 w 2534562"/>
              <a:gd name="connsiteY62" fmla="*/ 204839 h 1582879"/>
              <a:gd name="connsiteX63" fmla="*/ 1939558 w 2534562"/>
              <a:gd name="connsiteY63" fmla="*/ 140445 h 1582879"/>
              <a:gd name="connsiteX64" fmla="*/ 1967892 w 2534562"/>
              <a:gd name="connsiteY64" fmla="*/ 104384 h 1582879"/>
              <a:gd name="connsiteX65" fmla="*/ 2006755 w 2534562"/>
              <a:gd name="connsiteY65" fmla="*/ 84996 h 1582879"/>
              <a:gd name="connsiteX66" fmla="*/ 1925117 w 2534562"/>
              <a:gd name="connsiteY66" fmla="*/ 383823 h 1582879"/>
              <a:gd name="connsiteX0" fmla="*/ 0 w 2534562"/>
              <a:gd name="connsiteY0" fmla="*/ 181657 h 1582879"/>
              <a:gd name="connsiteX1" fmla="*/ 43788 w 2534562"/>
              <a:gd name="connsiteY1" fmla="*/ 212567 h 1582879"/>
              <a:gd name="connsiteX2" fmla="*/ 115910 w 2534562"/>
              <a:gd name="connsiteY2" fmla="*/ 256355 h 1582879"/>
              <a:gd name="connsiteX3" fmla="*/ 162274 w 2534562"/>
              <a:gd name="connsiteY3" fmla="*/ 269234 h 1582879"/>
              <a:gd name="connsiteX4" fmla="*/ 190607 w 2534562"/>
              <a:gd name="connsiteY4" fmla="*/ 258931 h 1582879"/>
              <a:gd name="connsiteX5" fmla="*/ 221516 w 2534562"/>
              <a:gd name="connsiteY5" fmla="*/ 276961 h 1582879"/>
              <a:gd name="connsiteX6" fmla="*/ 262729 w 2534562"/>
              <a:gd name="connsiteY6" fmla="*/ 256355 h 1582879"/>
              <a:gd name="connsiteX7" fmla="*/ 278184 w 2534562"/>
              <a:gd name="connsiteY7" fmla="*/ 233173 h 1582879"/>
              <a:gd name="connsiteX8" fmla="*/ 309093 w 2534562"/>
              <a:gd name="connsiteY8" fmla="*/ 256355 h 1582879"/>
              <a:gd name="connsiteX9" fmla="*/ 342578 w 2534562"/>
              <a:gd name="connsiteY9" fmla="*/ 235749 h 1582879"/>
              <a:gd name="connsiteX10" fmla="*/ 352881 w 2534562"/>
              <a:gd name="connsiteY10" fmla="*/ 207415 h 1582879"/>
              <a:gd name="connsiteX11" fmla="*/ 401821 w 2534562"/>
              <a:gd name="connsiteY11" fmla="*/ 228021 h 1582879"/>
              <a:gd name="connsiteX12" fmla="*/ 455912 w 2534562"/>
              <a:gd name="connsiteY12" fmla="*/ 284688 h 1582879"/>
              <a:gd name="connsiteX13" fmla="*/ 510003 w 2534562"/>
              <a:gd name="connsiteY13" fmla="*/ 289840 h 1582879"/>
              <a:gd name="connsiteX14" fmla="*/ 530609 w 2534562"/>
              <a:gd name="connsiteY14" fmla="*/ 274385 h 1582879"/>
              <a:gd name="connsiteX15" fmla="*/ 576973 w 2534562"/>
              <a:gd name="connsiteY15" fmla="*/ 276961 h 1582879"/>
              <a:gd name="connsiteX16" fmla="*/ 613034 w 2534562"/>
              <a:gd name="connsiteY16" fmla="*/ 310446 h 1582879"/>
              <a:gd name="connsiteX17" fmla="*/ 628489 w 2534562"/>
              <a:gd name="connsiteY17" fmla="*/ 369689 h 1582879"/>
              <a:gd name="connsiteX18" fmla="*/ 669701 w 2534562"/>
              <a:gd name="connsiteY18" fmla="*/ 439235 h 1582879"/>
              <a:gd name="connsiteX19" fmla="*/ 667125 w 2534562"/>
              <a:gd name="connsiteY19" fmla="*/ 488175 h 1582879"/>
              <a:gd name="connsiteX20" fmla="*/ 690307 w 2534562"/>
              <a:gd name="connsiteY20" fmla="*/ 531963 h 1582879"/>
              <a:gd name="connsiteX21" fmla="*/ 739247 w 2534562"/>
              <a:gd name="connsiteY21" fmla="*/ 542266 h 1582879"/>
              <a:gd name="connsiteX22" fmla="*/ 767581 w 2534562"/>
              <a:gd name="connsiteY22" fmla="*/ 570599 h 1582879"/>
              <a:gd name="connsiteX23" fmla="*/ 844854 w 2534562"/>
              <a:gd name="connsiteY23" fmla="*/ 598933 h 1582879"/>
              <a:gd name="connsiteX24" fmla="*/ 891218 w 2534562"/>
              <a:gd name="connsiteY24" fmla="*/ 578327 h 1582879"/>
              <a:gd name="connsiteX25" fmla="*/ 927279 w 2534562"/>
              <a:gd name="connsiteY25" fmla="*/ 578327 h 1582879"/>
              <a:gd name="connsiteX26" fmla="*/ 955612 w 2534562"/>
              <a:gd name="connsiteY26" fmla="*/ 632418 h 1582879"/>
              <a:gd name="connsiteX27" fmla="*/ 976218 w 2534562"/>
              <a:gd name="connsiteY27" fmla="*/ 673630 h 1582879"/>
              <a:gd name="connsiteX28" fmla="*/ 2423804 w 2534562"/>
              <a:gd name="connsiteY28" fmla="*/ 1582879 h 1582879"/>
              <a:gd name="connsiteX29" fmla="*/ 2446986 w 2534562"/>
              <a:gd name="connsiteY29" fmla="*/ 1554545 h 1582879"/>
              <a:gd name="connsiteX30" fmla="*/ 2483047 w 2534562"/>
              <a:gd name="connsiteY30" fmla="*/ 1518484 h 1582879"/>
              <a:gd name="connsiteX31" fmla="*/ 2480471 w 2534562"/>
              <a:gd name="connsiteY31" fmla="*/ 1477272 h 1582879"/>
              <a:gd name="connsiteX32" fmla="*/ 2495925 w 2534562"/>
              <a:gd name="connsiteY32" fmla="*/ 1454090 h 1582879"/>
              <a:gd name="connsiteX33" fmla="*/ 2493350 w 2534562"/>
              <a:gd name="connsiteY33" fmla="*/ 1381968 h 1582879"/>
              <a:gd name="connsiteX34" fmla="*/ 2519107 w 2534562"/>
              <a:gd name="connsiteY34" fmla="*/ 1340756 h 1582879"/>
              <a:gd name="connsiteX35" fmla="*/ 2498501 w 2534562"/>
              <a:gd name="connsiteY35" fmla="*/ 1307271 h 1582879"/>
              <a:gd name="connsiteX36" fmla="*/ 2526835 w 2534562"/>
              <a:gd name="connsiteY36" fmla="*/ 1268634 h 1582879"/>
              <a:gd name="connsiteX37" fmla="*/ 2534562 w 2534562"/>
              <a:gd name="connsiteY37" fmla="*/ 1235149 h 1582879"/>
              <a:gd name="connsiteX38" fmla="*/ 2498501 w 2534562"/>
              <a:gd name="connsiteY38" fmla="*/ 1183634 h 1582879"/>
              <a:gd name="connsiteX39" fmla="*/ 2436683 w 2534562"/>
              <a:gd name="connsiteY39" fmla="*/ 1134694 h 1582879"/>
              <a:gd name="connsiteX40" fmla="*/ 2423804 w 2534562"/>
              <a:gd name="connsiteY40" fmla="*/ 1085754 h 1582879"/>
              <a:gd name="connsiteX41" fmla="*/ 2413501 w 2534562"/>
              <a:gd name="connsiteY41" fmla="*/ 1029087 h 1582879"/>
              <a:gd name="connsiteX42" fmla="*/ 2392894 w 2534562"/>
              <a:gd name="connsiteY42" fmla="*/ 993026 h 1582879"/>
              <a:gd name="connsiteX43" fmla="*/ 2405773 w 2534562"/>
              <a:gd name="connsiteY43" fmla="*/ 954390 h 1582879"/>
              <a:gd name="connsiteX44" fmla="*/ 2356834 w 2534562"/>
              <a:gd name="connsiteY44" fmla="*/ 833328 h 1582879"/>
              <a:gd name="connsiteX45" fmla="*/ 2356834 w 2534562"/>
              <a:gd name="connsiteY45" fmla="*/ 789540 h 1582879"/>
              <a:gd name="connsiteX46" fmla="*/ 2331076 w 2534562"/>
              <a:gd name="connsiteY46" fmla="*/ 725146 h 1582879"/>
              <a:gd name="connsiteX47" fmla="*/ 2328500 w 2534562"/>
              <a:gd name="connsiteY47" fmla="*/ 689085 h 1582879"/>
              <a:gd name="connsiteX48" fmla="*/ 2307894 w 2534562"/>
              <a:gd name="connsiteY48" fmla="*/ 650448 h 1582879"/>
              <a:gd name="connsiteX49" fmla="*/ 2228045 w 2534562"/>
              <a:gd name="connsiteY49" fmla="*/ 604084 h 1582879"/>
              <a:gd name="connsiteX50" fmla="*/ 2225469 w 2534562"/>
              <a:gd name="connsiteY50" fmla="*/ 568024 h 1582879"/>
              <a:gd name="connsiteX51" fmla="*/ 2194560 w 2534562"/>
              <a:gd name="connsiteY51" fmla="*/ 544842 h 1582879"/>
              <a:gd name="connsiteX52" fmla="*/ 2171378 w 2534562"/>
              <a:gd name="connsiteY52" fmla="*/ 544842 h 1582879"/>
              <a:gd name="connsiteX53" fmla="*/ 2127590 w 2534562"/>
              <a:gd name="connsiteY53" fmla="*/ 547417 h 1582879"/>
              <a:gd name="connsiteX54" fmla="*/ 2078005 w 2534562"/>
              <a:gd name="connsiteY54" fmla="*/ 514982 h 1582879"/>
              <a:gd name="connsiteX55" fmla="*/ 2058044 w 2534562"/>
              <a:gd name="connsiteY55" fmla="*/ 508781 h 1582879"/>
              <a:gd name="connsiteX56" fmla="*/ 2006528 w 2534562"/>
              <a:gd name="connsiteY56" fmla="*/ 444386 h 1582879"/>
              <a:gd name="connsiteX57" fmla="*/ 1962740 w 2534562"/>
              <a:gd name="connsiteY57" fmla="*/ 421204 h 1582879"/>
              <a:gd name="connsiteX58" fmla="*/ 1934407 w 2534562"/>
              <a:gd name="connsiteY58" fmla="*/ 336204 h 1582879"/>
              <a:gd name="connsiteX59" fmla="*/ 1893194 w 2534562"/>
              <a:gd name="connsiteY59" fmla="*/ 305295 h 1582879"/>
              <a:gd name="connsiteX60" fmla="*/ 1898346 w 2534562"/>
              <a:gd name="connsiteY60" fmla="*/ 261506 h 1582879"/>
              <a:gd name="connsiteX61" fmla="*/ 1934407 w 2534562"/>
              <a:gd name="connsiteY61" fmla="*/ 204839 h 1582879"/>
              <a:gd name="connsiteX62" fmla="*/ 1939558 w 2534562"/>
              <a:gd name="connsiteY62" fmla="*/ 140445 h 1582879"/>
              <a:gd name="connsiteX63" fmla="*/ 1967892 w 2534562"/>
              <a:gd name="connsiteY63" fmla="*/ 104384 h 1582879"/>
              <a:gd name="connsiteX64" fmla="*/ 2006755 w 2534562"/>
              <a:gd name="connsiteY64" fmla="*/ 84996 h 1582879"/>
              <a:gd name="connsiteX65" fmla="*/ 1925117 w 2534562"/>
              <a:gd name="connsiteY65" fmla="*/ 383823 h 1582879"/>
              <a:gd name="connsiteX0" fmla="*/ 0 w 2534562"/>
              <a:gd name="connsiteY0" fmla="*/ 181657 h 1554545"/>
              <a:gd name="connsiteX1" fmla="*/ 43788 w 2534562"/>
              <a:gd name="connsiteY1" fmla="*/ 212567 h 1554545"/>
              <a:gd name="connsiteX2" fmla="*/ 115910 w 2534562"/>
              <a:gd name="connsiteY2" fmla="*/ 256355 h 1554545"/>
              <a:gd name="connsiteX3" fmla="*/ 162274 w 2534562"/>
              <a:gd name="connsiteY3" fmla="*/ 269234 h 1554545"/>
              <a:gd name="connsiteX4" fmla="*/ 190607 w 2534562"/>
              <a:gd name="connsiteY4" fmla="*/ 258931 h 1554545"/>
              <a:gd name="connsiteX5" fmla="*/ 221516 w 2534562"/>
              <a:gd name="connsiteY5" fmla="*/ 276961 h 1554545"/>
              <a:gd name="connsiteX6" fmla="*/ 262729 w 2534562"/>
              <a:gd name="connsiteY6" fmla="*/ 256355 h 1554545"/>
              <a:gd name="connsiteX7" fmla="*/ 278184 w 2534562"/>
              <a:gd name="connsiteY7" fmla="*/ 233173 h 1554545"/>
              <a:gd name="connsiteX8" fmla="*/ 309093 w 2534562"/>
              <a:gd name="connsiteY8" fmla="*/ 256355 h 1554545"/>
              <a:gd name="connsiteX9" fmla="*/ 342578 w 2534562"/>
              <a:gd name="connsiteY9" fmla="*/ 235749 h 1554545"/>
              <a:gd name="connsiteX10" fmla="*/ 352881 w 2534562"/>
              <a:gd name="connsiteY10" fmla="*/ 207415 h 1554545"/>
              <a:gd name="connsiteX11" fmla="*/ 401821 w 2534562"/>
              <a:gd name="connsiteY11" fmla="*/ 228021 h 1554545"/>
              <a:gd name="connsiteX12" fmla="*/ 455912 w 2534562"/>
              <a:gd name="connsiteY12" fmla="*/ 284688 h 1554545"/>
              <a:gd name="connsiteX13" fmla="*/ 510003 w 2534562"/>
              <a:gd name="connsiteY13" fmla="*/ 289840 h 1554545"/>
              <a:gd name="connsiteX14" fmla="*/ 530609 w 2534562"/>
              <a:gd name="connsiteY14" fmla="*/ 274385 h 1554545"/>
              <a:gd name="connsiteX15" fmla="*/ 576973 w 2534562"/>
              <a:gd name="connsiteY15" fmla="*/ 276961 h 1554545"/>
              <a:gd name="connsiteX16" fmla="*/ 613034 w 2534562"/>
              <a:gd name="connsiteY16" fmla="*/ 310446 h 1554545"/>
              <a:gd name="connsiteX17" fmla="*/ 628489 w 2534562"/>
              <a:gd name="connsiteY17" fmla="*/ 369689 h 1554545"/>
              <a:gd name="connsiteX18" fmla="*/ 669701 w 2534562"/>
              <a:gd name="connsiteY18" fmla="*/ 439235 h 1554545"/>
              <a:gd name="connsiteX19" fmla="*/ 667125 w 2534562"/>
              <a:gd name="connsiteY19" fmla="*/ 488175 h 1554545"/>
              <a:gd name="connsiteX20" fmla="*/ 690307 w 2534562"/>
              <a:gd name="connsiteY20" fmla="*/ 531963 h 1554545"/>
              <a:gd name="connsiteX21" fmla="*/ 739247 w 2534562"/>
              <a:gd name="connsiteY21" fmla="*/ 542266 h 1554545"/>
              <a:gd name="connsiteX22" fmla="*/ 767581 w 2534562"/>
              <a:gd name="connsiteY22" fmla="*/ 570599 h 1554545"/>
              <a:gd name="connsiteX23" fmla="*/ 844854 w 2534562"/>
              <a:gd name="connsiteY23" fmla="*/ 598933 h 1554545"/>
              <a:gd name="connsiteX24" fmla="*/ 891218 w 2534562"/>
              <a:gd name="connsiteY24" fmla="*/ 578327 h 1554545"/>
              <a:gd name="connsiteX25" fmla="*/ 927279 w 2534562"/>
              <a:gd name="connsiteY25" fmla="*/ 578327 h 1554545"/>
              <a:gd name="connsiteX26" fmla="*/ 955612 w 2534562"/>
              <a:gd name="connsiteY26" fmla="*/ 632418 h 1554545"/>
              <a:gd name="connsiteX27" fmla="*/ 976218 w 2534562"/>
              <a:gd name="connsiteY27" fmla="*/ 673630 h 1554545"/>
              <a:gd name="connsiteX28" fmla="*/ 2446986 w 2534562"/>
              <a:gd name="connsiteY28" fmla="*/ 1554545 h 1554545"/>
              <a:gd name="connsiteX29" fmla="*/ 2483047 w 2534562"/>
              <a:gd name="connsiteY29" fmla="*/ 1518484 h 1554545"/>
              <a:gd name="connsiteX30" fmla="*/ 2480471 w 2534562"/>
              <a:gd name="connsiteY30" fmla="*/ 1477272 h 1554545"/>
              <a:gd name="connsiteX31" fmla="*/ 2495925 w 2534562"/>
              <a:gd name="connsiteY31" fmla="*/ 1454090 h 1554545"/>
              <a:gd name="connsiteX32" fmla="*/ 2493350 w 2534562"/>
              <a:gd name="connsiteY32" fmla="*/ 1381968 h 1554545"/>
              <a:gd name="connsiteX33" fmla="*/ 2519107 w 2534562"/>
              <a:gd name="connsiteY33" fmla="*/ 1340756 h 1554545"/>
              <a:gd name="connsiteX34" fmla="*/ 2498501 w 2534562"/>
              <a:gd name="connsiteY34" fmla="*/ 1307271 h 1554545"/>
              <a:gd name="connsiteX35" fmla="*/ 2526835 w 2534562"/>
              <a:gd name="connsiteY35" fmla="*/ 1268634 h 1554545"/>
              <a:gd name="connsiteX36" fmla="*/ 2534562 w 2534562"/>
              <a:gd name="connsiteY36" fmla="*/ 1235149 h 1554545"/>
              <a:gd name="connsiteX37" fmla="*/ 2498501 w 2534562"/>
              <a:gd name="connsiteY37" fmla="*/ 1183634 h 1554545"/>
              <a:gd name="connsiteX38" fmla="*/ 2436683 w 2534562"/>
              <a:gd name="connsiteY38" fmla="*/ 1134694 h 1554545"/>
              <a:gd name="connsiteX39" fmla="*/ 2423804 w 2534562"/>
              <a:gd name="connsiteY39" fmla="*/ 1085754 h 1554545"/>
              <a:gd name="connsiteX40" fmla="*/ 2413501 w 2534562"/>
              <a:gd name="connsiteY40" fmla="*/ 1029087 h 1554545"/>
              <a:gd name="connsiteX41" fmla="*/ 2392894 w 2534562"/>
              <a:gd name="connsiteY41" fmla="*/ 993026 h 1554545"/>
              <a:gd name="connsiteX42" fmla="*/ 2405773 w 2534562"/>
              <a:gd name="connsiteY42" fmla="*/ 954390 h 1554545"/>
              <a:gd name="connsiteX43" fmla="*/ 2356834 w 2534562"/>
              <a:gd name="connsiteY43" fmla="*/ 833328 h 1554545"/>
              <a:gd name="connsiteX44" fmla="*/ 2356834 w 2534562"/>
              <a:gd name="connsiteY44" fmla="*/ 789540 h 1554545"/>
              <a:gd name="connsiteX45" fmla="*/ 2331076 w 2534562"/>
              <a:gd name="connsiteY45" fmla="*/ 725146 h 1554545"/>
              <a:gd name="connsiteX46" fmla="*/ 2328500 w 2534562"/>
              <a:gd name="connsiteY46" fmla="*/ 689085 h 1554545"/>
              <a:gd name="connsiteX47" fmla="*/ 2307894 w 2534562"/>
              <a:gd name="connsiteY47" fmla="*/ 650448 h 1554545"/>
              <a:gd name="connsiteX48" fmla="*/ 2228045 w 2534562"/>
              <a:gd name="connsiteY48" fmla="*/ 604084 h 1554545"/>
              <a:gd name="connsiteX49" fmla="*/ 2225469 w 2534562"/>
              <a:gd name="connsiteY49" fmla="*/ 568024 h 1554545"/>
              <a:gd name="connsiteX50" fmla="*/ 2194560 w 2534562"/>
              <a:gd name="connsiteY50" fmla="*/ 544842 h 1554545"/>
              <a:gd name="connsiteX51" fmla="*/ 2171378 w 2534562"/>
              <a:gd name="connsiteY51" fmla="*/ 544842 h 1554545"/>
              <a:gd name="connsiteX52" fmla="*/ 2127590 w 2534562"/>
              <a:gd name="connsiteY52" fmla="*/ 547417 h 1554545"/>
              <a:gd name="connsiteX53" fmla="*/ 2078005 w 2534562"/>
              <a:gd name="connsiteY53" fmla="*/ 514982 h 1554545"/>
              <a:gd name="connsiteX54" fmla="*/ 2058044 w 2534562"/>
              <a:gd name="connsiteY54" fmla="*/ 508781 h 1554545"/>
              <a:gd name="connsiteX55" fmla="*/ 2006528 w 2534562"/>
              <a:gd name="connsiteY55" fmla="*/ 444386 h 1554545"/>
              <a:gd name="connsiteX56" fmla="*/ 1962740 w 2534562"/>
              <a:gd name="connsiteY56" fmla="*/ 421204 h 1554545"/>
              <a:gd name="connsiteX57" fmla="*/ 1934407 w 2534562"/>
              <a:gd name="connsiteY57" fmla="*/ 336204 h 1554545"/>
              <a:gd name="connsiteX58" fmla="*/ 1893194 w 2534562"/>
              <a:gd name="connsiteY58" fmla="*/ 305295 h 1554545"/>
              <a:gd name="connsiteX59" fmla="*/ 1898346 w 2534562"/>
              <a:gd name="connsiteY59" fmla="*/ 261506 h 1554545"/>
              <a:gd name="connsiteX60" fmla="*/ 1934407 w 2534562"/>
              <a:gd name="connsiteY60" fmla="*/ 204839 h 1554545"/>
              <a:gd name="connsiteX61" fmla="*/ 1939558 w 2534562"/>
              <a:gd name="connsiteY61" fmla="*/ 140445 h 1554545"/>
              <a:gd name="connsiteX62" fmla="*/ 1967892 w 2534562"/>
              <a:gd name="connsiteY62" fmla="*/ 104384 h 1554545"/>
              <a:gd name="connsiteX63" fmla="*/ 2006755 w 2534562"/>
              <a:gd name="connsiteY63" fmla="*/ 84996 h 1554545"/>
              <a:gd name="connsiteX64" fmla="*/ 1925117 w 2534562"/>
              <a:gd name="connsiteY64" fmla="*/ 383823 h 1554545"/>
              <a:gd name="connsiteX0" fmla="*/ 0 w 2534562"/>
              <a:gd name="connsiteY0" fmla="*/ 181657 h 1518484"/>
              <a:gd name="connsiteX1" fmla="*/ 43788 w 2534562"/>
              <a:gd name="connsiteY1" fmla="*/ 212567 h 1518484"/>
              <a:gd name="connsiteX2" fmla="*/ 115910 w 2534562"/>
              <a:gd name="connsiteY2" fmla="*/ 256355 h 1518484"/>
              <a:gd name="connsiteX3" fmla="*/ 162274 w 2534562"/>
              <a:gd name="connsiteY3" fmla="*/ 269234 h 1518484"/>
              <a:gd name="connsiteX4" fmla="*/ 190607 w 2534562"/>
              <a:gd name="connsiteY4" fmla="*/ 258931 h 1518484"/>
              <a:gd name="connsiteX5" fmla="*/ 221516 w 2534562"/>
              <a:gd name="connsiteY5" fmla="*/ 276961 h 1518484"/>
              <a:gd name="connsiteX6" fmla="*/ 262729 w 2534562"/>
              <a:gd name="connsiteY6" fmla="*/ 256355 h 1518484"/>
              <a:gd name="connsiteX7" fmla="*/ 278184 w 2534562"/>
              <a:gd name="connsiteY7" fmla="*/ 233173 h 1518484"/>
              <a:gd name="connsiteX8" fmla="*/ 309093 w 2534562"/>
              <a:gd name="connsiteY8" fmla="*/ 256355 h 1518484"/>
              <a:gd name="connsiteX9" fmla="*/ 342578 w 2534562"/>
              <a:gd name="connsiteY9" fmla="*/ 235749 h 1518484"/>
              <a:gd name="connsiteX10" fmla="*/ 352881 w 2534562"/>
              <a:gd name="connsiteY10" fmla="*/ 207415 h 1518484"/>
              <a:gd name="connsiteX11" fmla="*/ 401821 w 2534562"/>
              <a:gd name="connsiteY11" fmla="*/ 228021 h 1518484"/>
              <a:gd name="connsiteX12" fmla="*/ 455912 w 2534562"/>
              <a:gd name="connsiteY12" fmla="*/ 284688 h 1518484"/>
              <a:gd name="connsiteX13" fmla="*/ 510003 w 2534562"/>
              <a:gd name="connsiteY13" fmla="*/ 289840 h 1518484"/>
              <a:gd name="connsiteX14" fmla="*/ 530609 w 2534562"/>
              <a:gd name="connsiteY14" fmla="*/ 274385 h 1518484"/>
              <a:gd name="connsiteX15" fmla="*/ 576973 w 2534562"/>
              <a:gd name="connsiteY15" fmla="*/ 276961 h 1518484"/>
              <a:gd name="connsiteX16" fmla="*/ 613034 w 2534562"/>
              <a:gd name="connsiteY16" fmla="*/ 310446 h 1518484"/>
              <a:gd name="connsiteX17" fmla="*/ 628489 w 2534562"/>
              <a:gd name="connsiteY17" fmla="*/ 369689 h 1518484"/>
              <a:gd name="connsiteX18" fmla="*/ 669701 w 2534562"/>
              <a:gd name="connsiteY18" fmla="*/ 439235 h 1518484"/>
              <a:gd name="connsiteX19" fmla="*/ 667125 w 2534562"/>
              <a:gd name="connsiteY19" fmla="*/ 488175 h 1518484"/>
              <a:gd name="connsiteX20" fmla="*/ 690307 w 2534562"/>
              <a:gd name="connsiteY20" fmla="*/ 531963 h 1518484"/>
              <a:gd name="connsiteX21" fmla="*/ 739247 w 2534562"/>
              <a:gd name="connsiteY21" fmla="*/ 542266 h 1518484"/>
              <a:gd name="connsiteX22" fmla="*/ 767581 w 2534562"/>
              <a:gd name="connsiteY22" fmla="*/ 570599 h 1518484"/>
              <a:gd name="connsiteX23" fmla="*/ 844854 w 2534562"/>
              <a:gd name="connsiteY23" fmla="*/ 598933 h 1518484"/>
              <a:gd name="connsiteX24" fmla="*/ 891218 w 2534562"/>
              <a:gd name="connsiteY24" fmla="*/ 578327 h 1518484"/>
              <a:gd name="connsiteX25" fmla="*/ 927279 w 2534562"/>
              <a:gd name="connsiteY25" fmla="*/ 578327 h 1518484"/>
              <a:gd name="connsiteX26" fmla="*/ 955612 w 2534562"/>
              <a:gd name="connsiteY26" fmla="*/ 632418 h 1518484"/>
              <a:gd name="connsiteX27" fmla="*/ 976218 w 2534562"/>
              <a:gd name="connsiteY27" fmla="*/ 673630 h 1518484"/>
              <a:gd name="connsiteX28" fmla="*/ 2483047 w 2534562"/>
              <a:gd name="connsiteY28" fmla="*/ 1518484 h 1518484"/>
              <a:gd name="connsiteX29" fmla="*/ 2480471 w 2534562"/>
              <a:gd name="connsiteY29" fmla="*/ 1477272 h 1518484"/>
              <a:gd name="connsiteX30" fmla="*/ 2495925 w 2534562"/>
              <a:gd name="connsiteY30" fmla="*/ 1454090 h 1518484"/>
              <a:gd name="connsiteX31" fmla="*/ 2493350 w 2534562"/>
              <a:gd name="connsiteY31" fmla="*/ 1381968 h 1518484"/>
              <a:gd name="connsiteX32" fmla="*/ 2519107 w 2534562"/>
              <a:gd name="connsiteY32" fmla="*/ 1340756 h 1518484"/>
              <a:gd name="connsiteX33" fmla="*/ 2498501 w 2534562"/>
              <a:gd name="connsiteY33" fmla="*/ 1307271 h 1518484"/>
              <a:gd name="connsiteX34" fmla="*/ 2526835 w 2534562"/>
              <a:gd name="connsiteY34" fmla="*/ 1268634 h 1518484"/>
              <a:gd name="connsiteX35" fmla="*/ 2534562 w 2534562"/>
              <a:gd name="connsiteY35" fmla="*/ 1235149 h 1518484"/>
              <a:gd name="connsiteX36" fmla="*/ 2498501 w 2534562"/>
              <a:gd name="connsiteY36" fmla="*/ 1183634 h 1518484"/>
              <a:gd name="connsiteX37" fmla="*/ 2436683 w 2534562"/>
              <a:gd name="connsiteY37" fmla="*/ 1134694 h 1518484"/>
              <a:gd name="connsiteX38" fmla="*/ 2423804 w 2534562"/>
              <a:gd name="connsiteY38" fmla="*/ 1085754 h 1518484"/>
              <a:gd name="connsiteX39" fmla="*/ 2413501 w 2534562"/>
              <a:gd name="connsiteY39" fmla="*/ 1029087 h 1518484"/>
              <a:gd name="connsiteX40" fmla="*/ 2392894 w 2534562"/>
              <a:gd name="connsiteY40" fmla="*/ 993026 h 1518484"/>
              <a:gd name="connsiteX41" fmla="*/ 2405773 w 2534562"/>
              <a:gd name="connsiteY41" fmla="*/ 954390 h 1518484"/>
              <a:gd name="connsiteX42" fmla="*/ 2356834 w 2534562"/>
              <a:gd name="connsiteY42" fmla="*/ 833328 h 1518484"/>
              <a:gd name="connsiteX43" fmla="*/ 2356834 w 2534562"/>
              <a:gd name="connsiteY43" fmla="*/ 789540 h 1518484"/>
              <a:gd name="connsiteX44" fmla="*/ 2331076 w 2534562"/>
              <a:gd name="connsiteY44" fmla="*/ 725146 h 1518484"/>
              <a:gd name="connsiteX45" fmla="*/ 2328500 w 2534562"/>
              <a:gd name="connsiteY45" fmla="*/ 689085 h 1518484"/>
              <a:gd name="connsiteX46" fmla="*/ 2307894 w 2534562"/>
              <a:gd name="connsiteY46" fmla="*/ 650448 h 1518484"/>
              <a:gd name="connsiteX47" fmla="*/ 2228045 w 2534562"/>
              <a:gd name="connsiteY47" fmla="*/ 604084 h 1518484"/>
              <a:gd name="connsiteX48" fmla="*/ 2225469 w 2534562"/>
              <a:gd name="connsiteY48" fmla="*/ 568024 h 1518484"/>
              <a:gd name="connsiteX49" fmla="*/ 2194560 w 2534562"/>
              <a:gd name="connsiteY49" fmla="*/ 544842 h 1518484"/>
              <a:gd name="connsiteX50" fmla="*/ 2171378 w 2534562"/>
              <a:gd name="connsiteY50" fmla="*/ 544842 h 1518484"/>
              <a:gd name="connsiteX51" fmla="*/ 2127590 w 2534562"/>
              <a:gd name="connsiteY51" fmla="*/ 547417 h 1518484"/>
              <a:gd name="connsiteX52" fmla="*/ 2078005 w 2534562"/>
              <a:gd name="connsiteY52" fmla="*/ 514982 h 1518484"/>
              <a:gd name="connsiteX53" fmla="*/ 2058044 w 2534562"/>
              <a:gd name="connsiteY53" fmla="*/ 508781 h 1518484"/>
              <a:gd name="connsiteX54" fmla="*/ 2006528 w 2534562"/>
              <a:gd name="connsiteY54" fmla="*/ 444386 h 1518484"/>
              <a:gd name="connsiteX55" fmla="*/ 1962740 w 2534562"/>
              <a:gd name="connsiteY55" fmla="*/ 421204 h 1518484"/>
              <a:gd name="connsiteX56" fmla="*/ 1934407 w 2534562"/>
              <a:gd name="connsiteY56" fmla="*/ 336204 h 1518484"/>
              <a:gd name="connsiteX57" fmla="*/ 1893194 w 2534562"/>
              <a:gd name="connsiteY57" fmla="*/ 305295 h 1518484"/>
              <a:gd name="connsiteX58" fmla="*/ 1898346 w 2534562"/>
              <a:gd name="connsiteY58" fmla="*/ 261506 h 1518484"/>
              <a:gd name="connsiteX59" fmla="*/ 1934407 w 2534562"/>
              <a:gd name="connsiteY59" fmla="*/ 204839 h 1518484"/>
              <a:gd name="connsiteX60" fmla="*/ 1939558 w 2534562"/>
              <a:gd name="connsiteY60" fmla="*/ 140445 h 1518484"/>
              <a:gd name="connsiteX61" fmla="*/ 1967892 w 2534562"/>
              <a:gd name="connsiteY61" fmla="*/ 104384 h 1518484"/>
              <a:gd name="connsiteX62" fmla="*/ 2006755 w 2534562"/>
              <a:gd name="connsiteY62" fmla="*/ 84996 h 1518484"/>
              <a:gd name="connsiteX63" fmla="*/ 1925117 w 2534562"/>
              <a:gd name="connsiteY63" fmla="*/ 383823 h 1518484"/>
              <a:gd name="connsiteX0" fmla="*/ 0 w 2534562"/>
              <a:gd name="connsiteY0" fmla="*/ 181657 h 1477272"/>
              <a:gd name="connsiteX1" fmla="*/ 43788 w 2534562"/>
              <a:gd name="connsiteY1" fmla="*/ 212567 h 1477272"/>
              <a:gd name="connsiteX2" fmla="*/ 115910 w 2534562"/>
              <a:gd name="connsiteY2" fmla="*/ 256355 h 1477272"/>
              <a:gd name="connsiteX3" fmla="*/ 162274 w 2534562"/>
              <a:gd name="connsiteY3" fmla="*/ 269234 h 1477272"/>
              <a:gd name="connsiteX4" fmla="*/ 190607 w 2534562"/>
              <a:gd name="connsiteY4" fmla="*/ 258931 h 1477272"/>
              <a:gd name="connsiteX5" fmla="*/ 221516 w 2534562"/>
              <a:gd name="connsiteY5" fmla="*/ 276961 h 1477272"/>
              <a:gd name="connsiteX6" fmla="*/ 262729 w 2534562"/>
              <a:gd name="connsiteY6" fmla="*/ 256355 h 1477272"/>
              <a:gd name="connsiteX7" fmla="*/ 278184 w 2534562"/>
              <a:gd name="connsiteY7" fmla="*/ 233173 h 1477272"/>
              <a:gd name="connsiteX8" fmla="*/ 309093 w 2534562"/>
              <a:gd name="connsiteY8" fmla="*/ 256355 h 1477272"/>
              <a:gd name="connsiteX9" fmla="*/ 342578 w 2534562"/>
              <a:gd name="connsiteY9" fmla="*/ 235749 h 1477272"/>
              <a:gd name="connsiteX10" fmla="*/ 352881 w 2534562"/>
              <a:gd name="connsiteY10" fmla="*/ 207415 h 1477272"/>
              <a:gd name="connsiteX11" fmla="*/ 401821 w 2534562"/>
              <a:gd name="connsiteY11" fmla="*/ 228021 h 1477272"/>
              <a:gd name="connsiteX12" fmla="*/ 455912 w 2534562"/>
              <a:gd name="connsiteY12" fmla="*/ 284688 h 1477272"/>
              <a:gd name="connsiteX13" fmla="*/ 510003 w 2534562"/>
              <a:gd name="connsiteY13" fmla="*/ 289840 h 1477272"/>
              <a:gd name="connsiteX14" fmla="*/ 530609 w 2534562"/>
              <a:gd name="connsiteY14" fmla="*/ 274385 h 1477272"/>
              <a:gd name="connsiteX15" fmla="*/ 576973 w 2534562"/>
              <a:gd name="connsiteY15" fmla="*/ 276961 h 1477272"/>
              <a:gd name="connsiteX16" fmla="*/ 613034 w 2534562"/>
              <a:gd name="connsiteY16" fmla="*/ 310446 h 1477272"/>
              <a:gd name="connsiteX17" fmla="*/ 628489 w 2534562"/>
              <a:gd name="connsiteY17" fmla="*/ 369689 h 1477272"/>
              <a:gd name="connsiteX18" fmla="*/ 669701 w 2534562"/>
              <a:gd name="connsiteY18" fmla="*/ 439235 h 1477272"/>
              <a:gd name="connsiteX19" fmla="*/ 667125 w 2534562"/>
              <a:gd name="connsiteY19" fmla="*/ 488175 h 1477272"/>
              <a:gd name="connsiteX20" fmla="*/ 690307 w 2534562"/>
              <a:gd name="connsiteY20" fmla="*/ 531963 h 1477272"/>
              <a:gd name="connsiteX21" fmla="*/ 739247 w 2534562"/>
              <a:gd name="connsiteY21" fmla="*/ 542266 h 1477272"/>
              <a:gd name="connsiteX22" fmla="*/ 767581 w 2534562"/>
              <a:gd name="connsiteY22" fmla="*/ 570599 h 1477272"/>
              <a:gd name="connsiteX23" fmla="*/ 844854 w 2534562"/>
              <a:gd name="connsiteY23" fmla="*/ 598933 h 1477272"/>
              <a:gd name="connsiteX24" fmla="*/ 891218 w 2534562"/>
              <a:gd name="connsiteY24" fmla="*/ 578327 h 1477272"/>
              <a:gd name="connsiteX25" fmla="*/ 927279 w 2534562"/>
              <a:gd name="connsiteY25" fmla="*/ 578327 h 1477272"/>
              <a:gd name="connsiteX26" fmla="*/ 955612 w 2534562"/>
              <a:gd name="connsiteY26" fmla="*/ 632418 h 1477272"/>
              <a:gd name="connsiteX27" fmla="*/ 976218 w 2534562"/>
              <a:gd name="connsiteY27" fmla="*/ 673630 h 1477272"/>
              <a:gd name="connsiteX28" fmla="*/ 2480471 w 2534562"/>
              <a:gd name="connsiteY28" fmla="*/ 1477272 h 1477272"/>
              <a:gd name="connsiteX29" fmla="*/ 2495925 w 2534562"/>
              <a:gd name="connsiteY29" fmla="*/ 1454090 h 1477272"/>
              <a:gd name="connsiteX30" fmla="*/ 2493350 w 2534562"/>
              <a:gd name="connsiteY30" fmla="*/ 1381968 h 1477272"/>
              <a:gd name="connsiteX31" fmla="*/ 2519107 w 2534562"/>
              <a:gd name="connsiteY31" fmla="*/ 1340756 h 1477272"/>
              <a:gd name="connsiteX32" fmla="*/ 2498501 w 2534562"/>
              <a:gd name="connsiteY32" fmla="*/ 1307271 h 1477272"/>
              <a:gd name="connsiteX33" fmla="*/ 2526835 w 2534562"/>
              <a:gd name="connsiteY33" fmla="*/ 1268634 h 1477272"/>
              <a:gd name="connsiteX34" fmla="*/ 2534562 w 2534562"/>
              <a:gd name="connsiteY34" fmla="*/ 1235149 h 1477272"/>
              <a:gd name="connsiteX35" fmla="*/ 2498501 w 2534562"/>
              <a:gd name="connsiteY35" fmla="*/ 1183634 h 1477272"/>
              <a:gd name="connsiteX36" fmla="*/ 2436683 w 2534562"/>
              <a:gd name="connsiteY36" fmla="*/ 1134694 h 1477272"/>
              <a:gd name="connsiteX37" fmla="*/ 2423804 w 2534562"/>
              <a:gd name="connsiteY37" fmla="*/ 1085754 h 1477272"/>
              <a:gd name="connsiteX38" fmla="*/ 2413501 w 2534562"/>
              <a:gd name="connsiteY38" fmla="*/ 1029087 h 1477272"/>
              <a:gd name="connsiteX39" fmla="*/ 2392894 w 2534562"/>
              <a:gd name="connsiteY39" fmla="*/ 993026 h 1477272"/>
              <a:gd name="connsiteX40" fmla="*/ 2405773 w 2534562"/>
              <a:gd name="connsiteY40" fmla="*/ 954390 h 1477272"/>
              <a:gd name="connsiteX41" fmla="*/ 2356834 w 2534562"/>
              <a:gd name="connsiteY41" fmla="*/ 833328 h 1477272"/>
              <a:gd name="connsiteX42" fmla="*/ 2356834 w 2534562"/>
              <a:gd name="connsiteY42" fmla="*/ 789540 h 1477272"/>
              <a:gd name="connsiteX43" fmla="*/ 2331076 w 2534562"/>
              <a:gd name="connsiteY43" fmla="*/ 725146 h 1477272"/>
              <a:gd name="connsiteX44" fmla="*/ 2328500 w 2534562"/>
              <a:gd name="connsiteY44" fmla="*/ 689085 h 1477272"/>
              <a:gd name="connsiteX45" fmla="*/ 2307894 w 2534562"/>
              <a:gd name="connsiteY45" fmla="*/ 650448 h 1477272"/>
              <a:gd name="connsiteX46" fmla="*/ 2228045 w 2534562"/>
              <a:gd name="connsiteY46" fmla="*/ 604084 h 1477272"/>
              <a:gd name="connsiteX47" fmla="*/ 2225469 w 2534562"/>
              <a:gd name="connsiteY47" fmla="*/ 568024 h 1477272"/>
              <a:gd name="connsiteX48" fmla="*/ 2194560 w 2534562"/>
              <a:gd name="connsiteY48" fmla="*/ 544842 h 1477272"/>
              <a:gd name="connsiteX49" fmla="*/ 2171378 w 2534562"/>
              <a:gd name="connsiteY49" fmla="*/ 544842 h 1477272"/>
              <a:gd name="connsiteX50" fmla="*/ 2127590 w 2534562"/>
              <a:gd name="connsiteY50" fmla="*/ 547417 h 1477272"/>
              <a:gd name="connsiteX51" fmla="*/ 2078005 w 2534562"/>
              <a:gd name="connsiteY51" fmla="*/ 514982 h 1477272"/>
              <a:gd name="connsiteX52" fmla="*/ 2058044 w 2534562"/>
              <a:gd name="connsiteY52" fmla="*/ 508781 h 1477272"/>
              <a:gd name="connsiteX53" fmla="*/ 2006528 w 2534562"/>
              <a:gd name="connsiteY53" fmla="*/ 444386 h 1477272"/>
              <a:gd name="connsiteX54" fmla="*/ 1962740 w 2534562"/>
              <a:gd name="connsiteY54" fmla="*/ 421204 h 1477272"/>
              <a:gd name="connsiteX55" fmla="*/ 1934407 w 2534562"/>
              <a:gd name="connsiteY55" fmla="*/ 336204 h 1477272"/>
              <a:gd name="connsiteX56" fmla="*/ 1893194 w 2534562"/>
              <a:gd name="connsiteY56" fmla="*/ 305295 h 1477272"/>
              <a:gd name="connsiteX57" fmla="*/ 1898346 w 2534562"/>
              <a:gd name="connsiteY57" fmla="*/ 261506 h 1477272"/>
              <a:gd name="connsiteX58" fmla="*/ 1934407 w 2534562"/>
              <a:gd name="connsiteY58" fmla="*/ 204839 h 1477272"/>
              <a:gd name="connsiteX59" fmla="*/ 1939558 w 2534562"/>
              <a:gd name="connsiteY59" fmla="*/ 140445 h 1477272"/>
              <a:gd name="connsiteX60" fmla="*/ 1967892 w 2534562"/>
              <a:gd name="connsiteY60" fmla="*/ 104384 h 1477272"/>
              <a:gd name="connsiteX61" fmla="*/ 2006755 w 2534562"/>
              <a:gd name="connsiteY61" fmla="*/ 84996 h 1477272"/>
              <a:gd name="connsiteX62" fmla="*/ 1925117 w 2534562"/>
              <a:gd name="connsiteY62" fmla="*/ 383823 h 1477272"/>
              <a:gd name="connsiteX0" fmla="*/ 0 w 2534562"/>
              <a:gd name="connsiteY0" fmla="*/ 181657 h 1454090"/>
              <a:gd name="connsiteX1" fmla="*/ 43788 w 2534562"/>
              <a:gd name="connsiteY1" fmla="*/ 212567 h 1454090"/>
              <a:gd name="connsiteX2" fmla="*/ 115910 w 2534562"/>
              <a:gd name="connsiteY2" fmla="*/ 256355 h 1454090"/>
              <a:gd name="connsiteX3" fmla="*/ 162274 w 2534562"/>
              <a:gd name="connsiteY3" fmla="*/ 269234 h 1454090"/>
              <a:gd name="connsiteX4" fmla="*/ 190607 w 2534562"/>
              <a:gd name="connsiteY4" fmla="*/ 258931 h 1454090"/>
              <a:gd name="connsiteX5" fmla="*/ 221516 w 2534562"/>
              <a:gd name="connsiteY5" fmla="*/ 276961 h 1454090"/>
              <a:gd name="connsiteX6" fmla="*/ 262729 w 2534562"/>
              <a:gd name="connsiteY6" fmla="*/ 256355 h 1454090"/>
              <a:gd name="connsiteX7" fmla="*/ 278184 w 2534562"/>
              <a:gd name="connsiteY7" fmla="*/ 233173 h 1454090"/>
              <a:gd name="connsiteX8" fmla="*/ 309093 w 2534562"/>
              <a:gd name="connsiteY8" fmla="*/ 256355 h 1454090"/>
              <a:gd name="connsiteX9" fmla="*/ 342578 w 2534562"/>
              <a:gd name="connsiteY9" fmla="*/ 235749 h 1454090"/>
              <a:gd name="connsiteX10" fmla="*/ 352881 w 2534562"/>
              <a:gd name="connsiteY10" fmla="*/ 207415 h 1454090"/>
              <a:gd name="connsiteX11" fmla="*/ 401821 w 2534562"/>
              <a:gd name="connsiteY11" fmla="*/ 228021 h 1454090"/>
              <a:gd name="connsiteX12" fmla="*/ 455912 w 2534562"/>
              <a:gd name="connsiteY12" fmla="*/ 284688 h 1454090"/>
              <a:gd name="connsiteX13" fmla="*/ 510003 w 2534562"/>
              <a:gd name="connsiteY13" fmla="*/ 289840 h 1454090"/>
              <a:gd name="connsiteX14" fmla="*/ 530609 w 2534562"/>
              <a:gd name="connsiteY14" fmla="*/ 274385 h 1454090"/>
              <a:gd name="connsiteX15" fmla="*/ 576973 w 2534562"/>
              <a:gd name="connsiteY15" fmla="*/ 276961 h 1454090"/>
              <a:gd name="connsiteX16" fmla="*/ 613034 w 2534562"/>
              <a:gd name="connsiteY16" fmla="*/ 310446 h 1454090"/>
              <a:gd name="connsiteX17" fmla="*/ 628489 w 2534562"/>
              <a:gd name="connsiteY17" fmla="*/ 369689 h 1454090"/>
              <a:gd name="connsiteX18" fmla="*/ 669701 w 2534562"/>
              <a:gd name="connsiteY18" fmla="*/ 439235 h 1454090"/>
              <a:gd name="connsiteX19" fmla="*/ 667125 w 2534562"/>
              <a:gd name="connsiteY19" fmla="*/ 488175 h 1454090"/>
              <a:gd name="connsiteX20" fmla="*/ 690307 w 2534562"/>
              <a:gd name="connsiteY20" fmla="*/ 531963 h 1454090"/>
              <a:gd name="connsiteX21" fmla="*/ 739247 w 2534562"/>
              <a:gd name="connsiteY21" fmla="*/ 542266 h 1454090"/>
              <a:gd name="connsiteX22" fmla="*/ 767581 w 2534562"/>
              <a:gd name="connsiteY22" fmla="*/ 570599 h 1454090"/>
              <a:gd name="connsiteX23" fmla="*/ 844854 w 2534562"/>
              <a:gd name="connsiteY23" fmla="*/ 598933 h 1454090"/>
              <a:gd name="connsiteX24" fmla="*/ 891218 w 2534562"/>
              <a:gd name="connsiteY24" fmla="*/ 578327 h 1454090"/>
              <a:gd name="connsiteX25" fmla="*/ 927279 w 2534562"/>
              <a:gd name="connsiteY25" fmla="*/ 578327 h 1454090"/>
              <a:gd name="connsiteX26" fmla="*/ 955612 w 2534562"/>
              <a:gd name="connsiteY26" fmla="*/ 632418 h 1454090"/>
              <a:gd name="connsiteX27" fmla="*/ 976218 w 2534562"/>
              <a:gd name="connsiteY27" fmla="*/ 673630 h 1454090"/>
              <a:gd name="connsiteX28" fmla="*/ 2495925 w 2534562"/>
              <a:gd name="connsiteY28" fmla="*/ 1454090 h 1454090"/>
              <a:gd name="connsiteX29" fmla="*/ 2493350 w 2534562"/>
              <a:gd name="connsiteY29" fmla="*/ 1381968 h 1454090"/>
              <a:gd name="connsiteX30" fmla="*/ 2519107 w 2534562"/>
              <a:gd name="connsiteY30" fmla="*/ 1340756 h 1454090"/>
              <a:gd name="connsiteX31" fmla="*/ 2498501 w 2534562"/>
              <a:gd name="connsiteY31" fmla="*/ 1307271 h 1454090"/>
              <a:gd name="connsiteX32" fmla="*/ 2526835 w 2534562"/>
              <a:gd name="connsiteY32" fmla="*/ 1268634 h 1454090"/>
              <a:gd name="connsiteX33" fmla="*/ 2534562 w 2534562"/>
              <a:gd name="connsiteY33" fmla="*/ 1235149 h 1454090"/>
              <a:gd name="connsiteX34" fmla="*/ 2498501 w 2534562"/>
              <a:gd name="connsiteY34" fmla="*/ 1183634 h 1454090"/>
              <a:gd name="connsiteX35" fmla="*/ 2436683 w 2534562"/>
              <a:gd name="connsiteY35" fmla="*/ 1134694 h 1454090"/>
              <a:gd name="connsiteX36" fmla="*/ 2423804 w 2534562"/>
              <a:gd name="connsiteY36" fmla="*/ 1085754 h 1454090"/>
              <a:gd name="connsiteX37" fmla="*/ 2413501 w 2534562"/>
              <a:gd name="connsiteY37" fmla="*/ 1029087 h 1454090"/>
              <a:gd name="connsiteX38" fmla="*/ 2392894 w 2534562"/>
              <a:gd name="connsiteY38" fmla="*/ 993026 h 1454090"/>
              <a:gd name="connsiteX39" fmla="*/ 2405773 w 2534562"/>
              <a:gd name="connsiteY39" fmla="*/ 954390 h 1454090"/>
              <a:gd name="connsiteX40" fmla="*/ 2356834 w 2534562"/>
              <a:gd name="connsiteY40" fmla="*/ 833328 h 1454090"/>
              <a:gd name="connsiteX41" fmla="*/ 2356834 w 2534562"/>
              <a:gd name="connsiteY41" fmla="*/ 789540 h 1454090"/>
              <a:gd name="connsiteX42" fmla="*/ 2331076 w 2534562"/>
              <a:gd name="connsiteY42" fmla="*/ 725146 h 1454090"/>
              <a:gd name="connsiteX43" fmla="*/ 2328500 w 2534562"/>
              <a:gd name="connsiteY43" fmla="*/ 689085 h 1454090"/>
              <a:gd name="connsiteX44" fmla="*/ 2307894 w 2534562"/>
              <a:gd name="connsiteY44" fmla="*/ 650448 h 1454090"/>
              <a:gd name="connsiteX45" fmla="*/ 2228045 w 2534562"/>
              <a:gd name="connsiteY45" fmla="*/ 604084 h 1454090"/>
              <a:gd name="connsiteX46" fmla="*/ 2225469 w 2534562"/>
              <a:gd name="connsiteY46" fmla="*/ 568024 h 1454090"/>
              <a:gd name="connsiteX47" fmla="*/ 2194560 w 2534562"/>
              <a:gd name="connsiteY47" fmla="*/ 544842 h 1454090"/>
              <a:gd name="connsiteX48" fmla="*/ 2171378 w 2534562"/>
              <a:gd name="connsiteY48" fmla="*/ 544842 h 1454090"/>
              <a:gd name="connsiteX49" fmla="*/ 2127590 w 2534562"/>
              <a:gd name="connsiteY49" fmla="*/ 547417 h 1454090"/>
              <a:gd name="connsiteX50" fmla="*/ 2078005 w 2534562"/>
              <a:gd name="connsiteY50" fmla="*/ 514982 h 1454090"/>
              <a:gd name="connsiteX51" fmla="*/ 2058044 w 2534562"/>
              <a:gd name="connsiteY51" fmla="*/ 508781 h 1454090"/>
              <a:gd name="connsiteX52" fmla="*/ 2006528 w 2534562"/>
              <a:gd name="connsiteY52" fmla="*/ 444386 h 1454090"/>
              <a:gd name="connsiteX53" fmla="*/ 1962740 w 2534562"/>
              <a:gd name="connsiteY53" fmla="*/ 421204 h 1454090"/>
              <a:gd name="connsiteX54" fmla="*/ 1934407 w 2534562"/>
              <a:gd name="connsiteY54" fmla="*/ 336204 h 1454090"/>
              <a:gd name="connsiteX55" fmla="*/ 1893194 w 2534562"/>
              <a:gd name="connsiteY55" fmla="*/ 305295 h 1454090"/>
              <a:gd name="connsiteX56" fmla="*/ 1898346 w 2534562"/>
              <a:gd name="connsiteY56" fmla="*/ 261506 h 1454090"/>
              <a:gd name="connsiteX57" fmla="*/ 1934407 w 2534562"/>
              <a:gd name="connsiteY57" fmla="*/ 204839 h 1454090"/>
              <a:gd name="connsiteX58" fmla="*/ 1939558 w 2534562"/>
              <a:gd name="connsiteY58" fmla="*/ 140445 h 1454090"/>
              <a:gd name="connsiteX59" fmla="*/ 1967892 w 2534562"/>
              <a:gd name="connsiteY59" fmla="*/ 104384 h 1454090"/>
              <a:gd name="connsiteX60" fmla="*/ 2006755 w 2534562"/>
              <a:gd name="connsiteY60" fmla="*/ 84996 h 1454090"/>
              <a:gd name="connsiteX61" fmla="*/ 1925117 w 2534562"/>
              <a:gd name="connsiteY61" fmla="*/ 383823 h 1454090"/>
              <a:gd name="connsiteX0" fmla="*/ 0 w 2534562"/>
              <a:gd name="connsiteY0" fmla="*/ 181657 h 1381968"/>
              <a:gd name="connsiteX1" fmla="*/ 43788 w 2534562"/>
              <a:gd name="connsiteY1" fmla="*/ 212567 h 1381968"/>
              <a:gd name="connsiteX2" fmla="*/ 115910 w 2534562"/>
              <a:gd name="connsiteY2" fmla="*/ 256355 h 1381968"/>
              <a:gd name="connsiteX3" fmla="*/ 162274 w 2534562"/>
              <a:gd name="connsiteY3" fmla="*/ 269234 h 1381968"/>
              <a:gd name="connsiteX4" fmla="*/ 190607 w 2534562"/>
              <a:gd name="connsiteY4" fmla="*/ 258931 h 1381968"/>
              <a:gd name="connsiteX5" fmla="*/ 221516 w 2534562"/>
              <a:gd name="connsiteY5" fmla="*/ 276961 h 1381968"/>
              <a:gd name="connsiteX6" fmla="*/ 262729 w 2534562"/>
              <a:gd name="connsiteY6" fmla="*/ 256355 h 1381968"/>
              <a:gd name="connsiteX7" fmla="*/ 278184 w 2534562"/>
              <a:gd name="connsiteY7" fmla="*/ 233173 h 1381968"/>
              <a:gd name="connsiteX8" fmla="*/ 309093 w 2534562"/>
              <a:gd name="connsiteY8" fmla="*/ 256355 h 1381968"/>
              <a:gd name="connsiteX9" fmla="*/ 342578 w 2534562"/>
              <a:gd name="connsiteY9" fmla="*/ 235749 h 1381968"/>
              <a:gd name="connsiteX10" fmla="*/ 352881 w 2534562"/>
              <a:gd name="connsiteY10" fmla="*/ 207415 h 1381968"/>
              <a:gd name="connsiteX11" fmla="*/ 401821 w 2534562"/>
              <a:gd name="connsiteY11" fmla="*/ 228021 h 1381968"/>
              <a:gd name="connsiteX12" fmla="*/ 455912 w 2534562"/>
              <a:gd name="connsiteY12" fmla="*/ 284688 h 1381968"/>
              <a:gd name="connsiteX13" fmla="*/ 510003 w 2534562"/>
              <a:gd name="connsiteY13" fmla="*/ 289840 h 1381968"/>
              <a:gd name="connsiteX14" fmla="*/ 530609 w 2534562"/>
              <a:gd name="connsiteY14" fmla="*/ 274385 h 1381968"/>
              <a:gd name="connsiteX15" fmla="*/ 576973 w 2534562"/>
              <a:gd name="connsiteY15" fmla="*/ 276961 h 1381968"/>
              <a:gd name="connsiteX16" fmla="*/ 613034 w 2534562"/>
              <a:gd name="connsiteY16" fmla="*/ 310446 h 1381968"/>
              <a:gd name="connsiteX17" fmla="*/ 628489 w 2534562"/>
              <a:gd name="connsiteY17" fmla="*/ 369689 h 1381968"/>
              <a:gd name="connsiteX18" fmla="*/ 669701 w 2534562"/>
              <a:gd name="connsiteY18" fmla="*/ 439235 h 1381968"/>
              <a:gd name="connsiteX19" fmla="*/ 667125 w 2534562"/>
              <a:gd name="connsiteY19" fmla="*/ 488175 h 1381968"/>
              <a:gd name="connsiteX20" fmla="*/ 690307 w 2534562"/>
              <a:gd name="connsiteY20" fmla="*/ 531963 h 1381968"/>
              <a:gd name="connsiteX21" fmla="*/ 739247 w 2534562"/>
              <a:gd name="connsiteY21" fmla="*/ 542266 h 1381968"/>
              <a:gd name="connsiteX22" fmla="*/ 767581 w 2534562"/>
              <a:gd name="connsiteY22" fmla="*/ 570599 h 1381968"/>
              <a:gd name="connsiteX23" fmla="*/ 844854 w 2534562"/>
              <a:gd name="connsiteY23" fmla="*/ 598933 h 1381968"/>
              <a:gd name="connsiteX24" fmla="*/ 891218 w 2534562"/>
              <a:gd name="connsiteY24" fmla="*/ 578327 h 1381968"/>
              <a:gd name="connsiteX25" fmla="*/ 927279 w 2534562"/>
              <a:gd name="connsiteY25" fmla="*/ 578327 h 1381968"/>
              <a:gd name="connsiteX26" fmla="*/ 955612 w 2534562"/>
              <a:gd name="connsiteY26" fmla="*/ 632418 h 1381968"/>
              <a:gd name="connsiteX27" fmla="*/ 976218 w 2534562"/>
              <a:gd name="connsiteY27" fmla="*/ 673630 h 1381968"/>
              <a:gd name="connsiteX28" fmla="*/ 2493350 w 2534562"/>
              <a:gd name="connsiteY28" fmla="*/ 1381968 h 1381968"/>
              <a:gd name="connsiteX29" fmla="*/ 2519107 w 2534562"/>
              <a:gd name="connsiteY29" fmla="*/ 1340756 h 1381968"/>
              <a:gd name="connsiteX30" fmla="*/ 2498501 w 2534562"/>
              <a:gd name="connsiteY30" fmla="*/ 1307271 h 1381968"/>
              <a:gd name="connsiteX31" fmla="*/ 2526835 w 2534562"/>
              <a:gd name="connsiteY31" fmla="*/ 1268634 h 1381968"/>
              <a:gd name="connsiteX32" fmla="*/ 2534562 w 2534562"/>
              <a:gd name="connsiteY32" fmla="*/ 1235149 h 1381968"/>
              <a:gd name="connsiteX33" fmla="*/ 2498501 w 2534562"/>
              <a:gd name="connsiteY33" fmla="*/ 1183634 h 1381968"/>
              <a:gd name="connsiteX34" fmla="*/ 2436683 w 2534562"/>
              <a:gd name="connsiteY34" fmla="*/ 1134694 h 1381968"/>
              <a:gd name="connsiteX35" fmla="*/ 2423804 w 2534562"/>
              <a:gd name="connsiteY35" fmla="*/ 1085754 h 1381968"/>
              <a:gd name="connsiteX36" fmla="*/ 2413501 w 2534562"/>
              <a:gd name="connsiteY36" fmla="*/ 1029087 h 1381968"/>
              <a:gd name="connsiteX37" fmla="*/ 2392894 w 2534562"/>
              <a:gd name="connsiteY37" fmla="*/ 993026 h 1381968"/>
              <a:gd name="connsiteX38" fmla="*/ 2405773 w 2534562"/>
              <a:gd name="connsiteY38" fmla="*/ 954390 h 1381968"/>
              <a:gd name="connsiteX39" fmla="*/ 2356834 w 2534562"/>
              <a:gd name="connsiteY39" fmla="*/ 833328 h 1381968"/>
              <a:gd name="connsiteX40" fmla="*/ 2356834 w 2534562"/>
              <a:gd name="connsiteY40" fmla="*/ 789540 h 1381968"/>
              <a:gd name="connsiteX41" fmla="*/ 2331076 w 2534562"/>
              <a:gd name="connsiteY41" fmla="*/ 725146 h 1381968"/>
              <a:gd name="connsiteX42" fmla="*/ 2328500 w 2534562"/>
              <a:gd name="connsiteY42" fmla="*/ 689085 h 1381968"/>
              <a:gd name="connsiteX43" fmla="*/ 2307894 w 2534562"/>
              <a:gd name="connsiteY43" fmla="*/ 650448 h 1381968"/>
              <a:gd name="connsiteX44" fmla="*/ 2228045 w 2534562"/>
              <a:gd name="connsiteY44" fmla="*/ 604084 h 1381968"/>
              <a:gd name="connsiteX45" fmla="*/ 2225469 w 2534562"/>
              <a:gd name="connsiteY45" fmla="*/ 568024 h 1381968"/>
              <a:gd name="connsiteX46" fmla="*/ 2194560 w 2534562"/>
              <a:gd name="connsiteY46" fmla="*/ 544842 h 1381968"/>
              <a:gd name="connsiteX47" fmla="*/ 2171378 w 2534562"/>
              <a:gd name="connsiteY47" fmla="*/ 544842 h 1381968"/>
              <a:gd name="connsiteX48" fmla="*/ 2127590 w 2534562"/>
              <a:gd name="connsiteY48" fmla="*/ 547417 h 1381968"/>
              <a:gd name="connsiteX49" fmla="*/ 2078005 w 2534562"/>
              <a:gd name="connsiteY49" fmla="*/ 514982 h 1381968"/>
              <a:gd name="connsiteX50" fmla="*/ 2058044 w 2534562"/>
              <a:gd name="connsiteY50" fmla="*/ 508781 h 1381968"/>
              <a:gd name="connsiteX51" fmla="*/ 2006528 w 2534562"/>
              <a:gd name="connsiteY51" fmla="*/ 444386 h 1381968"/>
              <a:gd name="connsiteX52" fmla="*/ 1962740 w 2534562"/>
              <a:gd name="connsiteY52" fmla="*/ 421204 h 1381968"/>
              <a:gd name="connsiteX53" fmla="*/ 1934407 w 2534562"/>
              <a:gd name="connsiteY53" fmla="*/ 336204 h 1381968"/>
              <a:gd name="connsiteX54" fmla="*/ 1893194 w 2534562"/>
              <a:gd name="connsiteY54" fmla="*/ 305295 h 1381968"/>
              <a:gd name="connsiteX55" fmla="*/ 1898346 w 2534562"/>
              <a:gd name="connsiteY55" fmla="*/ 261506 h 1381968"/>
              <a:gd name="connsiteX56" fmla="*/ 1934407 w 2534562"/>
              <a:gd name="connsiteY56" fmla="*/ 204839 h 1381968"/>
              <a:gd name="connsiteX57" fmla="*/ 1939558 w 2534562"/>
              <a:gd name="connsiteY57" fmla="*/ 140445 h 1381968"/>
              <a:gd name="connsiteX58" fmla="*/ 1967892 w 2534562"/>
              <a:gd name="connsiteY58" fmla="*/ 104384 h 1381968"/>
              <a:gd name="connsiteX59" fmla="*/ 2006755 w 2534562"/>
              <a:gd name="connsiteY59" fmla="*/ 84996 h 1381968"/>
              <a:gd name="connsiteX60" fmla="*/ 1925117 w 2534562"/>
              <a:gd name="connsiteY60" fmla="*/ 383823 h 1381968"/>
              <a:gd name="connsiteX0" fmla="*/ 0 w 2534562"/>
              <a:gd name="connsiteY0" fmla="*/ 181657 h 1340756"/>
              <a:gd name="connsiteX1" fmla="*/ 43788 w 2534562"/>
              <a:gd name="connsiteY1" fmla="*/ 212567 h 1340756"/>
              <a:gd name="connsiteX2" fmla="*/ 115910 w 2534562"/>
              <a:gd name="connsiteY2" fmla="*/ 256355 h 1340756"/>
              <a:gd name="connsiteX3" fmla="*/ 162274 w 2534562"/>
              <a:gd name="connsiteY3" fmla="*/ 269234 h 1340756"/>
              <a:gd name="connsiteX4" fmla="*/ 190607 w 2534562"/>
              <a:gd name="connsiteY4" fmla="*/ 258931 h 1340756"/>
              <a:gd name="connsiteX5" fmla="*/ 221516 w 2534562"/>
              <a:gd name="connsiteY5" fmla="*/ 276961 h 1340756"/>
              <a:gd name="connsiteX6" fmla="*/ 262729 w 2534562"/>
              <a:gd name="connsiteY6" fmla="*/ 256355 h 1340756"/>
              <a:gd name="connsiteX7" fmla="*/ 278184 w 2534562"/>
              <a:gd name="connsiteY7" fmla="*/ 233173 h 1340756"/>
              <a:gd name="connsiteX8" fmla="*/ 309093 w 2534562"/>
              <a:gd name="connsiteY8" fmla="*/ 256355 h 1340756"/>
              <a:gd name="connsiteX9" fmla="*/ 342578 w 2534562"/>
              <a:gd name="connsiteY9" fmla="*/ 235749 h 1340756"/>
              <a:gd name="connsiteX10" fmla="*/ 352881 w 2534562"/>
              <a:gd name="connsiteY10" fmla="*/ 207415 h 1340756"/>
              <a:gd name="connsiteX11" fmla="*/ 401821 w 2534562"/>
              <a:gd name="connsiteY11" fmla="*/ 228021 h 1340756"/>
              <a:gd name="connsiteX12" fmla="*/ 455912 w 2534562"/>
              <a:gd name="connsiteY12" fmla="*/ 284688 h 1340756"/>
              <a:gd name="connsiteX13" fmla="*/ 510003 w 2534562"/>
              <a:gd name="connsiteY13" fmla="*/ 289840 h 1340756"/>
              <a:gd name="connsiteX14" fmla="*/ 530609 w 2534562"/>
              <a:gd name="connsiteY14" fmla="*/ 274385 h 1340756"/>
              <a:gd name="connsiteX15" fmla="*/ 576973 w 2534562"/>
              <a:gd name="connsiteY15" fmla="*/ 276961 h 1340756"/>
              <a:gd name="connsiteX16" fmla="*/ 613034 w 2534562"/>
              <a:gd name="connsiteY16" fmla="*/ 310446 h 1340756"/>
              <a:gd name="connsiteX17" fmla="*/ 628489 w 2534562"/>
              <a:gd name="connsiteY17" fmla="*/ 369689 h 1340756"/>
              <a:gd name="connsiteX18" fmla="*/ 669701 w 2534562"/>
              <a:gd name="connsiteY18" fmla="*/ 439235 h 1340756"/>
              <a:gd name="connsiteX19" fmla="*/ 667125 w 2534562"/>
              <a:gd name="connsiteY19" fmla="*/ 488175 h 1340756"/>
              <a:gd name="connsiteX20" fmla="*/ 690307 w 2534562"/>
              <a:gd name="connsiteY20" fmla="*/ 531963 h 1340756"/>
              <a:gd name="connsiteX21" fmla="*/ 739247 w 2534562"/>
              <a:gd name="connsiteY21" fmla="*/ 542266 h 1340756"/>
              <a:gd name="connsiteX22" fmla="*/ 767581 w 2534562"/>
              <a:gd name="connsiteY22" fmla="*/ 570599 h 1340756"/>
              <a:gd name="connsiteX23" fmla="*/ 844854 w 2534562"/>
              <a:gd name="connsiteY23" fmla="*/ 598933 h 1340756"/>
              <a:gd name="connsiteX24" fmla="*/ 891218 w 2534562"/>
              <a:gd name="connsiteY24" fmla="*/ 578327 h 1340756"/>
              <a:gd name="connsiteX25" fmla="*/ 927279 w 2534562"/>
              <a:gd name="connsiteY25" fmla="*/ 578327 h 1340756"/>
              <a:gd name="connsiteX26" fmla="*/ 955612 w 2534562"/>
              <a:gd name="connsiteY26" fmla="*/ 632418 h 1340756"/>
              <a:gd name="connsiteX27" fmla="*/ 976218 w 2534562"/>
              <a:gd name="connsiteY27" fmla="*/ 673630 h 1340756"/>
              <a:gd name="connsiteX28" fmla="*/ 2519107 w 2534562"/>
              <a:gd name="connsiteY28" fmla="*/ 1340756 h 1340756"/>
              <a:gd name="connsiteX29" fmla="*/ 2498501 w 2534562"/>
              <a:gd name="connsiteY29" fmla="*/ 1307271 h 1340756"/>
              <a:gd name="connsiteX30" fmla="*/ 2526835 w 2534562"/>
              <a:gd name="connsiteY30" fmla="*/ 1268634 h 1340756"/>
              <a:gd name="connsiteX31" fmla="*/ 2534562 w 2534562"/>
              <a:gd name="connsiteY31" fmla="*/ 1235149 h 1340756"/>
              <a:gd name="connsiteX32" fmla="*/ 2498501 w 2534562"/>
              <a:gd name="connsiteY32" fmla="*/ 1183634 h 1340756"/>
              <a:gd name="connsiteX33" fmla="*/ 2436683 w 2534562"/>
              <a:gd name="connsiteY33" fmla="*/ 1134694 h 1340756"/>
              <a:gd name="connsiteX34" fmla="*/ 2423804 w 2534562"/>
              <a:gd name="connsiteY34" fmla="*/ 1085754 h 1340756"/>
              <a:gd name="connsiteX35" fmla="*/ 2413501 w 2534562"/>
              <a:gd name="connsiteY35" fmla="*/ 1029087 h 1340756"/>
              <a:gd name="connsiteX36" fmla="*/ 2392894 w 2534562"/>
              <a:gd name="connsiteY36" fmla="*/ 993026 h 1340756"/>
              <a:gd name="connsiteX37" fmla="*/ 2405773 w 2534562"/>
              <a:gd name="connsiteY37" fmla="*/ 954390 h 1340756"/>
              <a:gd name="connsiteX38" fmla="*/ 2356834 w 2534562"/>
              <a:gd name="connsiteY38" fmla="*/ 833328 h 1340756"/>
              <a:gd name="connsiteX39" fmla="*/ 2356834 w 2534562"/>
              <a:gd name="connsiteY39" fmla="*/ 789540 h 1340756"/>
              <a:gd name="connsiteX40" fmla="*/ 2331076 w 2534562"/>
              <a:gd name="connsiteY40" fmla="*/ 725146 h 1340756"/>
              <a:gd name="connsiteX41" fmla="*/ 2328500 w 2534562"/>
              <a:gd name="connsiteY41" fmla="*/ 689085 h 1340756"/>
              <a:gd name="connsiteX42" fmla="*/ 2307894 w 2534562"/>
              <a:gd name="connsiteY42" fmla="*/ 650448 h 1340756"/>
              <a:gd name="connsiteX43" fmla="*/ 2228045 w 2534562"/>
              <a:gd name="connsiteY43" fmla="*/ 604084 h 1340756"/>
              <a:gd name="connsiteX44" fmla="*/ 2225469 w 2534562"/>
              <a:gd name="connsiteY44" fmla="*/ 568024 h 1340756"/>
              <a:gd name="connsiteX45" fmla="*/ 2194560 w 2534562"/>
              <a:gd name="connsiteY45" fmla="*/ 544842 h 1340756"/>
              <a:gd name="connsiteX46" fmla="*/ 2171378 w 2534562"/>
              <a:gd name="connsiteY46" fmla="*/ 544842 h 1340756"/>
              <a:gd name="connsiteX47" fmla="*/ 2127590 w 2534562"/>
              <a:gd name="connsiteY47" fmla="*/ 547417 h 1340756"/>
              <a:gd name="connsiteX48" fmla="*/ 2078005 w 2534562"/>
              <a:gd name="connsiteY48" fmla="*/ 514982 h 1340756"/>
              <a:gd name="connsiteX49" fmla="*/ 2058044 w 2534562"/>
              <a:gd name="connsiteY49" fmla="*/ 508781 h 1340756"/>
              <a:gd name="connsiteX50" fmla="*/ 2006528 w 2534562"/>
              <a:gd name="connsiteY50" fmla="*/ 444386 h 1340756"/>
              <a:gd name="connsiteX51" fmla="*/ 1962740 w 2534562"/>
              <a:gd name="connsiteY51" fmla="*/ 421204 h 1340756"/>
              <a:gd name="connsiteX52" fmla="*/ 1934407 w 2534562"/>
              <a:gd name="connsiteY52" fmla="*/ 336204 h 1340756"/>
              <a:gd name="connsiteX53" fmla="*/ 1893194 w 2534562"/>
              <a:gd name="connsiteY53" fmla="*/ 305295 h 1340756"/>
              <a:gd name="connsiteX54" fmla="*/ 1898346 w 2534562"/>
              <a:gd name="connsiteY54" fmla="*/ 261506 h 1340756"/>
              <a:gd name="connsiteX55" fmla="*/ 1934407 w 2534562"/>
              <a:gd name="connsiteY55" fmla="*/ 204839 h 1340756"/>
              <a:gd name="connsiteX56" fmla="*/ 1939558 w 2534562"/>
              <a:gd name="connsiteY56" fmla="*/ 140445 h 1340756"/>
              <a:gd name="connsiteX57" fmla="*/ 1967892 w 2534562"/>
              <a:gd name="connsiteY57" fmla="*/ 104384 h 1340756"/>
              <a:gd name="connsiteX58" fmla="*/ 2006755 w 2534562"/>
              <a:gd name="connsiteY58" fmla="*/ 84996 h 1340756"/>
              <a:gd name="connsiteX59" fmla="*/ 1925117 w 2534562"/>
              <a:gd name="connsiteY59" fmla="*/ 383823 h 1340756"/>
              <a:gd name="connsiteX0" fmla="*/ 0 w 2534562"/>
              <a:gd name="connsiteY0" fmla="*/ 181657 h 1307271"/>
              <a:gd name="connsiteX1" fmla="*/ 43788 w 2534562"/>
              <a:gd name="connsiteY1" fmla="*/ 212567 h 1307271"/>
              <a:gd name="connsiteX2" fmla="*/ 115910 w 2534562"/>
              <a:gd name="connsiteY2" fmla="*/ 256355 h 1307271"/>
              <a:gd name="connsiteX3" fmla="*/ 162274 w 2534562"/>
              <a:gd name="connsiteY3" fmla="*/ 269234 h 1307271"/>
              <a:gd name="connsiteX4" fmla="*/ 190607 w 2534562"/>
              <a:gd name="connsiteY4" fmla="*/ 258931 h 1307271"/>
              <a:gd name="connsiteX5" fmla="*/ 221516 w 2534562"/>
              <a:gd name="connsiteY5" fmla="*/ 276961 h 1307271"/>
              <a:gd name="connsiteX6" fmla="*/ 262729 w 2534562"/>
              <a:gd name="connsiteY6" fmla="*/ 256355 h 1307271"/>
              <a:gd name="connsiteX7" fmla="*/ 278184 w 2534562"/>
              <a:gd name="connsiteY7" fmla="*/ 233173 h 1307271"/>
              <a:gd name="connsiteX8" fmla="*/ 309093 w 2534562"/>
              <a:gd name="connsiteY8" fmla="*/ 256355 h 1307271"/>
              <a:gd name="connsiteX9" fmla="*/ 342578 w 2534562"/>
              <a:gd name="connsiteY9" fmla="*/ 235749 h 1307271"/>
              <a:gd name="connsiteX10" fmla="*/ 352881 w 2534562"/>
              <a:gd name="connsiteY10" fmla="*/ 207415 h 1307271"/>
              <a:gd name="connsiteX11" fmla="*/ 401821 w 2534562"/>
              <a:gd name="connsiteY11" fmla="*/ 228021 h 1307271"/>
              <a:gd name="connsiteX12" fmla="*/ 455912 w 2534562"/>
              <a:gd name="connsiteY12" fmla="*/ 284688 h 1307271"/>
              <a:gd name="connsiteX13" fmla="*/ 510003 w 2534562"/>
              <a:gd name="connsiteY13" fmla="*/ 289840 h 1307271"/>
              <a:gd name="connsiteX14" fmla="*/ 530609 w 2534562"/>
              <a:gd name="connsiteY14" fmla="*/ 274385 h 1307271"/>
              <a:gd name="connsiteX15" fmla="*/ 576973 w 2534562"/>
              <a:gd name="connsiteY15" fmla="*/ 276961 h 1307271"/>
              <a:gd name="connsiteX16" fmla="*/ 613034 w 2534562"/>
              <a:gd name="connsiteY16" fmla="*/ 310446 h 1307271"/>
              <a:gd name="connsiteX17" fmla="*/ 628489 w 2534562"/>
              <a:gd name="connsiteY17" fmla="*/ 369689 h 1307271"/>
              <a:gd name="connsiteX18" fmla="*/ 669701 w 2534562"/>
              <a:gd name="connsiteY18" fmla="*/ 439235 h 1307271"/>
              <a:gd name="connsiteX19" fmla="*/ 667125 w 2534562"/>
              <a:gd name="connsiteY19" fmla="*/ 488175 h 1307271"/>
              <a:gd name="connsiteX20" fmla="*/ 690307 w 2534562"/>
              <a:gd name="connsiteY20" fmla="*/ 531963 h 1307271"/>
              <a:gd name="connsiteX21" fmla="*/ 739247 w 2534562"/>
              <a:gd name="connsiteY21" fmla="*/ 542266 h 1307271"/>
              <a:gd name="connsiteX22" fmla="*/ 767581 w 2534562"/>
              <a:gd name="connsiteY22" fmla="*/ 570599 h 1307271"/>
              <a:gd name="connsiteX23" fmla="*/ 844854 w 2534562"/>
              <a:gd name="connsiteY23" fmla="*/ 598933 h 1307271"/>
              <a:gd name="connsiteX24" fmla="*/ 891218 w 2534562"/>
              <a:gd name="connsiteY24" fmla="*/ 578327 h 1307271"/>
              <a:gd name="connsiteX25" fmla="*/ 927279 w 2534562"/>
              <a:gd name="connsiteY25" fmla="*/ 578327 h 1307271"/>
              <a:gd name="connsiteX26" fmla="*/ 955612 w 2534562"/>
              <a:gd name="connsiteY26" fmla="*/ 632418 h 1307271"/>
              <a:gd name="connsiteX27" fmla="*/ 976218 w 2534562"/>
              <a:gd name="connsiteY27" fmla="*/ 673630 h 1307271"/>
              <a:gd name="connsiteX28" fmla="*/ 2498501 w 2534562"/>
              <a:gd name="connsiteY28" fmla="*/ 1307271 h 1307271"/>
              <a:gd name="connsiteX29" fmla="*/ 2526835 w 2534562"/>
              <a:gd name="connsiteY29" fmla="*/ 1268634 h 1307271"/>
              <a:gd name="connsiteX30" fmla="*/ 2534562 w 2534562"/>
              <a:gd name="connsiteY30" fmla="*/ 1235149 h 1307271"/>
              <a:gd name="connsiteX31" fmla="*/ 2498501 w 2534562"/>
              <a:gd name="connsiteY31" fmla="*/ 1183634 h 1307271"/>
              <a:gd name="connsiteX32" fmla="*/ 2436683 w 2534562"/>
              <a:gd name="connsiteY32" fmla="*/ 1134694 h 1307271"/>
              <a:gd name="connsiteX33" fmla="*/ 2423804 w 2534562"/>
              <a:gd name="connsiteY33" fmla="*/ 1085754 h 1307271"/>
              <a:gd name="connsiteX34" fmla="*/ 2413501 w 2534562"/>
              <a:gd name="connsiteY34" fmla="*/ 1029087 h 1307271"/>
              <a:gd name="connsiteX35" fmla="*/ 2392894 w 2534562"/>
              <a:gd name="connsiteY35" fmla="*/ 993026 h 1307271"/>
              <a:gd name="connsiteX36" fmla="*/ 2405773 w 2534562"/>
              <a:gd name="connsiteY36" fmla="*/ 954390 h 1307271"/>
              <a:gd name="connsiteX37" fmla="*/ 2356834 w 2534562"/>
              <a:gd name="connsiteY37" fmla="*/ 833328 h 1307271"/>
              <a:gd name="connsiteX38" fmla="*/ 2356834 w 2534562"/>
              <a:gd name="connsiteY38" fmla="*/ 789540 h 1307271"/>
              <a:gd name="connsiteX39" fmla="*/ 2331076 w 2534562"/>
              <a:gd name="connsiteY39" fmla="*/ 725146 h 1307271"/>
              <a:gd name="connsiteX40" fmla="*/ 2328500 w 2534562"/>
              <a:gd name="connsiteY40" fmla="*/ 689085 h 1307271"/>
              <a:gd name="connsiteX41" fmla="*/ 2307894 w 2534562"/>
              <a:gd name="connsiteY41" fmla="*/ 650448 h 1307271"/>
              <a:gd name="connsiteX42" fmla="*/ 2228045 w 2534562"/>
              <a:gd name="connsiteY42" fmla="*/ 604084 h 1307271"/>
              <a:gd name="connsiteX43" fmla="*/ 2225469 w 2534562"/>
              <a:gd name="connsiteY43" fmla="*/ 568024 h 1307271"/>
              <a:gd name="connsiteX44" fmla="*/ 2194560 w 2534562"/>
              <a:gd name="connsiteY44" fmla="*/ 544842 h 1307271"/>
              <a:gd name="connsiteX45" fmla="*/ 2171378 w 2534562"/>
              <a:gd name="connsiteY45" fmla="*/ 544842 h 1307271"/>
              <a:gd name="connsiteX46" fmla="*/ 2127590 w 2534562"/>
              <a:gd name="connsiteY46" fmla="*/ 547417 h 1307271"/>
              <a:gd name="connsiteX47" fmla="*/ 2078005 w 2534562"/>
              <a:gd name="connsiteY47" fmla="*/ 514982 h 1307271"/>
              <a:gd name="connsiteX48" fmla="*/ 2058044 w 2534562"/>
              <a:gd name="connsiteY48" fmla="*/ 508781 h 1307271"/>
              <a:gd name="connsiteX49" fmla="*/ 2006528 w 2534562"/>
              <a:gd name="connsiteY49" fmla="*/ 444386 h 1307271"/>
              <a:gd name="connsiteX50" fmla="*/ 1962740 w 2534562"/>
              <a:gd name="connsiteY50" fmla="*/ 421204 h 1307271"/>
              <a:gd name="connsiteX51" fmla="*/ 1934407 w 2534562"/>
              <a:gd name="connsiteY51" fmla="*/ 336204 h 1307271"/>
              <a:gd name="connsiteX52" fmla="*/ 1893194 w 2534562"/>
              <a:gd name="connsiteY52" fmla="*/ 305295 h 1307271"/>
              <a:gd name="connsiteX53" fmla="*/ 1898346 w 2534562"/>
              <a:gd name="connsiteY53" fmla="*/ 261506 h 1307271"/>
              <a:gd name="connsiteX54" fmla="*/ 1934407 w 2534562"/>
              <a:gd name="connsiteY54" fmla="*/ 204839 h 1307271"/>
              <a:gd name="connsiteX55" fmla="*/ 1939558 w 2534562"/>
              <a:gd name="connsiteY55" fmla="*/ 140445 h 1307271"/>
              <a:gd name="connsiteX56" fmla="*/ 1967892 w 2534562"/>
              <a:gd name="connsiteY56" fmla="*/ 104384 h 1307271"/>
              <a:gd name="connsiteX57" fmla="*/ 2006755 w 2534562"/>
              <a:gd name="connsiteY57" fmla="*/ 84996 h 1307271"/>
              <a:gd name="connsiteX58" fmla="*/ 1925117 w 2534562"/>
              <a:gd name="connsiteY58" fmla="*/ 383823 h 1307271"/>
              <a:gd name="connsiteX0" fmla="*/ 0 w 2534562"/>
              <a:gd name="connsiteY0" fmla="*/ 181657 h 1268634"/>
              <a:gd name="connsiteX1" fmla="*/ 43788 w 2534562"/>
              <a:gd name="connsiteY1" fmla="*/ 212567 h 1268634"/>
              <a:gd name="connsiteX2" fmla="*/ 115910 w 2534562"/>
              <a:gd name="connsiteY2" fmla="*/ 256355 h 1268634"/>
              <a:gd name="connsiteX3" fmla="*/ 162274 w 2534562"/>
              <a:gd name="connsiteY3" fmla="*/ 269234 h 1268634"/>
              <a:gd name="connsiteX4" fmla="*/ 190607 w 2534562"/>
              <a:gd name="connsiteY4" fmla="*/ 258931 h 1268634"/>
              <a:gd name="connsiteX5" fmla="*/ 221516 w 2534562"/>
              <a:gd name="connsiteY5" fmla="*/ 276961 h 1268634"/>
              <a:gd name="connsiteX6" fmla="*/ 262729 w 2534562"/>
              <a:gd name="connsiteY6" fmla="*/ 256355 h 1268634"/>
              <a:gd name="connsiteX7" fmla="*/ 278184 w 2534562"/>
              <a:gd name="connsiteY7" fmla="*/ 233173 h 1268634"/>
              <a:gd name="connsiteX8" fmla="*/ 309093 w 2534562"/>
              <a:gd name="connsiteY8" fmla="*/ 256355 h 1268634"/>
              <a:gd name="connsiteX9" fmla="*/ 342578 w 2534562"/>
              <a:gd name="connsiteY9" fmla="*/ 235749 h 1268634"/>
              <a:gd name="connsiteX10" fmla="*/ 352881 w 2534562"/>
              <a:gd name="connsiteY10" fmla="*/ 207415 h 1268634"/>
              <a:gd name="connsiteX11" fmla="*/ 401821 w 2534562"/>
              <a:gd name="connsiteY11" fmla="*/ 228021 h 1268634"/>
              <a:gd name="connsiteX12" fmla="*/ 455912 w 2534562"/>
              <a:gd name="connsiteY12" fmla="*/ 284688 h 1268634"/>
              <a:gd name="connsiteX13" fmla="*/ 510003 w 2534562"/>
              <a:gd name="connsiteY13" fmla="*/ 289840 h 1268634"/>
              <a:gd name="connsiteX14" fmla="*/ 530609 w 2534562"/>
              <a:gd name="connsiteY14" fmla="*/ 274385 h 1268634"/>
              <a:gd name="connsiteX15" fmla="*/ 576973 w 2534562"/>
              <a:gd name="connsiteY15" fmla="*/ 276961 h 1268634"/>
              <a:gd name="connsiteX16" fmla="*/ 613034 w 2534562"/>
              <a:gd name="connsiteY16" fmla="*/ 310446 h 1268634"/>
              <a:gd name="connsiteX17" fmla="*/ 628489 w 2534562"/>
              <a:gd name="connsiteY17" fmla="*/ 369689 h 1268634"/>
              <a:gd name="connsiteX18" fmla="*/ 669701 w 2534562"/>
              <a:gd name="connsiteY18" fmla="*/ 439235 h 1268634"/>
              <a:gd name="connsiteX19" fmla="*/ 667125 w 2534562"/>
              <a:gd name="connsiteY19" fmla="*/ 488175 h 1268634"/>
              <a:gd name="connsiteX20" fmla="*/ 690307 w 2534562"/>
              <a:gd name="connsiteY20" fmla="*/ 531963 h 1268634"/>
              <a:gd name="connsiteX21" fmla="*/ 739247 w 2534562"/>
              <a:gd name="connsiteY21" fmla="*/ 542266 h 1268634"/>
              <a:gd name="connsiteX22" fmla="*/ 767581 w 2534562"/>
              <a:gd name="connsiteY22" fmla="*/ 570599 h 1268634"/>
              <a:gd name="connsiteX23" fmla="*/ 844854 w 2534562"/>
              <a:gd name="connsiteY23" fmla="*/ 598933 h 1268634"/>
              <a:gd name="connsiteX24" fmla="*/ 891218 w 2534562"/>
              <a:gd name="connsiteY24" fmla="*/ 578327 h 1268634"/>
              <a:gd name="connsiteX25" fmla="*/ 927279 w 2534562"/>
              <a:gd name="connsiteY25" fmla="*/ 578327 h 1268634"/>
              <a:gd name="connsiteX26" fmla="*/ 955612 w 2534562"/>
              <a:gd name="connsiteY26" fmla="*/ 632418 h 1268634"/>
              <a:gd name="connsiteX27" fmla="*/ 976218 w 2534562"/>
              <a:gd name="connsiteY27" fmla="*/ 673630 h 1268634"/>
              <a:gd name="connsiteX28" fmla="*/ 2526835 w 2534562"/>
              <a:gd name="connsiteY28" fmla="*/ 1268634 h 1268634"/>
              <a:gd name="connsiteX29" fmla="*/ 2534562 w 2534562"/>
              <a:gd name="connsiteY29" fmla="*/ 1235149 h 1268634"/>
              <a:gd name="connsiteX30" fmla="*/ 2498501 w 2534562"/>
              <a:gd name="connsiteY30" fmla="*/ 1183634 h 1268634"/>
              <a:gd name="connsiteX31" fmla="*/ 2436683 w 2534562"/>
              <a:gd name="connsiteY31" fmla="*/ 1134694 h 1268634"/>
              <a:gd name="connsiteX32" fmla="*/ 2423804 w 2534562"/>
              <a:gd name="connsiteY32" fmla="*/ 1085754 h 1268634"/>
              <a:gd name="connsiteX33" fmla="*/ 2413501 w 2534562"/>
              <a:gd name="connsiteY33" fmla="*/ 1029087 h 1268634"/>
              <a:gd name="connsiteX34" fmla="*/ 2392894 w 2534562"/>
              <a:gd name="connsiteY34" fmla="*/ 993026 h 1268634"/>
              <a:gd name="connsiteX35" fmla="*/ 2405773 w 2534562"/>
              <a:gd name="connsiteY35" fmla="*/ 954390 h 1268634"/>
              <a:gd name="connsiteX36" fmla="*/ 2356834 w 2534562"/>
              <a:gd name="connsiteY36" fmla="*/ 833328 h 1268634"/>
              <a:gd name="connsiteX37" fmla="*/ 2356834 w 2534562"/>
              <a:gd name="connsiteY37" fmla="*/ 789540 h 1268634"/>
              <a:gd name="connsiteX38" fmla="*/ 2331076 w 2534562"/>
              <a:gd name="connsiteY38" fmla="*/ 725146 h 1268634"/>
              <a:gd name="connsiteX39" fmla="*/ 2328500 w 2534562"/>
              <a:gd name="connsiteY39" fmla="*/ 689085 h 1268634"/>
              <a:gd name="connsiteX40" fmla="*/ 2307894 w 2534562"/>
              <a:gd name="connsiteY40" fmla="*/ 650448 h 1268634"/>
              <a:gd name="connsiteX41" fmla="*/ 2228045 w 2534562"/>
              <a:gd name="connsiteY41" fmla="*/ 604084 h 1268634"/>
              <a:gd name="connsiteX42" fmla="*/ 2225469 w 2534562"/>
              <a:gd name="connsiteY42" fmla="*/ 568024 h 1268634"/>
              <a:gd name="connsiteX43" fmla="*/ 2194560 w 2534562"/>
              <a:gd name="connsiteY43" fmla="*/ 544842 h 1268634"/>
              <a:gd name="connsiteX44" fmla="*/ 2171378 w 2534562"/>
              <a:gd name="connsiteY44" fmla="*/ 544842 h 1268634"/>
              <a:gd name="connsiteX45" fmla="*/ 2127590 w 2534562"/>
              <a:gd name="connsiteY45" fmla="*/ 547417 h 1268634"/>
              <a:gd name="connsiteX46" fmla="*/ 2078005 w 2534562"/>
              <a:gd name="connsiteY46" fmla="*/ 514982 h 1268634"/>
              <a:gd name="connsiteX47" fmla="*/ 2058044 w 2534562"/>
              <a:gd name="connsiteY47" fmla="*/ 508781 h 1268634"/>
              <a:gd name="connsiteX48" fmla="*/ 2006528 w 2534562"/>
              <a:gd name="connsiteY48" fmla="*/ 444386 h 1268634"/>
              <a:gd name="connsiteX49" fmla="*/ 1962740 w 2534562"/>
              <a:gd name="connsiteY49" fmla="*/ 421204 h 1268634"/>
              <a:gd name="connsiteX50" fmla="*/ 1934407 w 2534562"/>
              <a:gd name="connsiteY50" fmla="*/ 336204 h 1268634"/>
              <a:gd name="connsiteX51" fmla="*/ 1893194 w 2534562"/>
              <a:gd name="connsiteY51" fmla="*/ 305295 h 1268634"/>
              <a:gd name="connsiteX52" fmla="*/ 1898346 w 2534562"/>
              <a:gd name="connsiteY52" fmla="*/ 261506 h 1268634"/>
              <a:gd name="connsiteX53" fmla="*/ 1934407 w 2534562"/>
              <a:gd name="connsiteY53" fmla="*/ 204839 h 1268634"/>
              <a:gd name="connsiteX54" fmla="*/ 1939558 w 2534562"/>
              <a:gd name="connsiteY54" fmla="*/ 140445 h 1268634"/>
              <a:gd name="connsiteX55" fmla="*/ 1967892 w 2534562"/>
              <a:gd name="connsiteY55" fmla="*/ 104384 h 1268634"/>
              <a:gd name="connsiteX56" fmla="*/ 2006755 w 2534562"/>
              <a:gd name="connsiteY56" fmla="*/ 84996 h 1268634"/>
              <a:gd name="connsiteX57" fmla="*/ 1925117 w 2534562"/>
              <a:gd name="connsiteY57" fmla="*/ 383823 h 1268634"/>
              <a:gd name="connsiteX0" fmla="*/ 0 w 2534562"/>
              <a:gd name="connsiteY0" fmla="*/ 181657 h 1235149"/>
              <a:gd name="connsiteX1" fmla="*/ 43788 w 2534562"/>
              <a:gd name="connsiteY1" fmla="*/ 212567 h 1235149"/>
              <a:gd name="connsiteX2" fmla="*/ 115910 w 2534562"/>
              <a:gd name="connsiteY2" fmla="*/ 256355 h 1235149"/>
              <a:gd name="connsiteX3" fmla="*/ 162274 w 2534562"/>
              <a:gd name="connsiteY3" fmla="*/ 269234 h 1235149"/>
              <a:gd name="connsiteX4" fmla="*/ 190607 w 2534562"/>
              <a:gd name="connsiteY4" fmla="*/ 258931 h 1235149"/>
              <a:gd name="connsiteX5" fmla="*/ 221516 w 2534562"/>
              <a:gd name="connsiteY5" fmla="*/ 276961 h 1235149"/>
              <a:gd name="connsiteX6" fmla="*/ 262729 w 2534562"/>
              <a:gd name="connsiteY6" fmla="*/ 256355 h 1235149"/>
              <a:gd name="connsiteX7" fmla="*/ 278184 w 2534562"/>
              <a:gd name="connsiteY7" fmla="*/ 233173 h 1235149"/>
              <a:gd name="connsiteX8" fmla="*/ 309093 w 2534562"/>
              <a:gd name="connsiteY8" fmla="*/ 256355 h 1235149"/>
              <a:gd name="connsiteX9" fmla="*/ 342578 w 2534562"/>
              <a:gd name="connsiteY9" fmla="*/ 235749 h 1235149"/>
              <a:gd name="connsiteX10" fmla="*/ 352881 w 2534562"/>
              <a:gd name="connsiteY10" fmla="*/ 207415 h 1235149"/>
              <a:gd name="connsiteX11" fmla="*/ 401821 w 2534562"/>
              <a:gd name="connsiteY11" fmla="*/ 228021 h 1235149"/>
              <a:gd name="connsiteX12" fmla="*/ 455912 w 2534562"/>
              <a:gd name="connsiteY12" fmla="*/ 284688 h 1235149"/>
              <a:gd name="connsiteX13" fmla="*/ 510003 w 2534562"/>
              <a:gd name="connsiteY13" fmla="*/ 289840 h 1235149"/>
              <a:gd name="connsiteX14" fmla="*/ 530609 w 2534562"/>
              <a:gd name="connsiteY14" fmla="*/ 274385 h 1235149"/>
              <a:gd name="connsiteX15" fmla="*/ 576973 w 2534562"/>
              <a:gd name="connsiteY15" fmla="*/ 276961 h 1235149"/>
              <a:gd name="connsiteX16" fmla="*/ 613034 w 2534562"/>
              <a:gd name="connsiteY16" fmla="*/ 310446 h 1235149"/>
              <a:gd name="connsiteX17" fmla="*/ 628489 w 2534562"/>
              <a:gd name="connsiteY17" fmla="*/ 369689 h 1235149"/>
              <a:gd name="connsiteX18" fmla="*/ 669701 w 2534562"/>
              <a:gd name="connsiteY18" fmla="*/ 439235 h 1235149"/>
              <a:gd name="connsiteX19" fmla="*/ 667125 w 2534562"/>
              <a:gd name="connsiteY19" fmla="*/ 488175 h 1235149"/>
              <a:gd name="connsiteX20" fmla="*/ 690307 w 2534562"/>
              <a:gd name="connsiteY20" fmla="*/ 531963 h 1235149"/>
              <a:gd name="connsiteX21" fmla="*/ 739247 w 2534562"/>
              <a:gd name="connsiteY21" fmla="*/ 542266 h 1235149"/>
              <a:gd name="connsiteX22" fmla="*/ 767581 w 2534562"/>
              <a:gd name="connsiteY22" fmla="*/ 570599 h 1235149"/>
              <a:gd name="connsiteX23" fmla="*/ 844854 w 2534562"/>
              <a:gd name="connsiteY23" fmla="*/ 598933 h 1235149"/>
              <a:gd name="connsiteX24" fmla="*/ 891218 w 2534562"/>
              <a:gd name="connsiteY24" fmla="*/ 578327 h 1235149"/>
              <a:gd name="connsiteX25" fmla="*/ 927279 w 2534562"/>
              <a:gd name="connsiteY25" fmla="*/ 578327 h 1235149"/>
              <a:gd name="connsiteX26" fmla="*/ 955612 w 2534562"/>
              <a:gd name="connsiteY26" fmla="*/ 632418 h 1235149"/>
              <a:gd name="connsiteX27" fmla="*/ 976218 w 2534562"/>
              <a:gd name="connsiteY27" fmla="*/ 673630 h 1235149"/>
              <a:gd name="connsiteX28" fmla="*/ 2534562 w 2534562"/>
              <a:gd name="connsiteY28" fmla="*/ 1235149 h 1235149"/>
              <a:gd name="connsiteX29" fmla="*/ 2498501 w 2534562"/>
              <a:gd name="connsiteY29" fmla="*/ 1183634 h 1235149"/>
              <a:gd name="connsiteX30" fmla="*/ 2436683 w 2534562"/>
              <a:gd name="connsiteY30" fmla="*/ 1134694 h 1235149"/>
              <a:gd name="connsiteX31" fmla="*/ 2423804 w 2534562"/>
              <a:gd name="connsiteY31" fmla="*/ 1085754 h 1235149"/>
              <a:gd name="connsiteX32" fmla="*/ 2413501 w 2534562"/>
              <a:gd name="connsiteY32" fmla="*/ 1029087 h 1235149"/>
              <a:gd name="connsiteX33" fmla="*/ 2392894 w 2534562"/>
              <a:gd name="connsiteY33" fmla="*/ 993026 h 1235149"/>
              <a:gd name="connsiteX34" fmla="*/ 2405773 w 2534562"/>
              <a:gd name="connsiteY34" fmla="*/ 954390 h 1235149"/>
              <a:gd name="connsiteX35" fmla="*/ 2356834 w 2534562"/>
              <a:gd name="connsiteY35" fmla="*/ 833328 h 1235149"/>
              <a:gd name="connsiteX36" fmla="*/ 2356834 w 2534562"/>
              <a:gd name="connsiteY36" fmla="*/ 789540 h 1235149"/>
              <a:gd name="connsiteX37" fmla="*/ 2331076 w 2534562"/>
              <a:gd name="connsiteY37" fmla="*/ 725146 h 1235149"/>
              <a:gd name="connsiteX38" fmla="*/ 2328500 w 2534562"/>
              <a:gd name="connsiteY38" fmla="*/ 689085 h 1235149"/>
              <a:gd name="connsiteX39" fmla="*/ 2307894 w 2534562"/>
              <a:gd name="connsiteY39" fmla="*/ 650448 h 1235149"/>
              <a:gd name="connsiteX40" fmla="*/ 2228045 w 2534562"/>
              <a:gd name="connsiteY40" fmla="*/ 604084 h 1235149"/>
              <a:gd name="connsiteX41" fmla="*/ 2225469 w 2534562"/>
              <a:gd name="connsiteY41" fmla="*/ 568024 h 1235149"/>
              <a:gd name="connsiteX42" fmla="*/ 2194560 w 2534562"/>
              <a:gd name="connsiteY42" fmla="*/ 544842 h 1235149"/>
              <a:gd name="connsiteX43" fmla="*/ 2171378 w 2534562"/>
              <a:gd name="connsiteY43" fmla="*/ 544842 h 1235149"/>
              <a:gd name="connsiteX44" fmla="*/ 2127590 w 2534562"/>
              <a:gd name="connsiteY44" fmla="*/ 547417 h 1235149"/>
              <a:gd name="connsiteX45" fmla="*/ 2078005 w 2534562"/>
              <a:gd name="connsiteY45" fmla="*/ 514982 h 1235149"/>
              <a:gd name="connsiteX46" fmla="*/ 2058044 w 2534562"/>
              <a:gd name="connsiteY46" fmla="*/ 508781 h 1235149"/>
              <a:gd name="connsiteX47" fmla="*/ 2006528 w 2534562"/>
              <a:gd name="connsiteY47" fmla="*/ 444386 h 1235149"/>
              <a:gd name="connsiteX48" fmla="*/ 1962740 w 2534562"/>
              <a:gd name="connsiteY48" fmla="*/ 421204 h 1235149"/>
              <a:gd name="connsiteX49" fmla="*/ 1934407 w 2534562"/>
              <a:gd name="connsiteY49" fmla="*/ 336204 h 1235149"/>
              <a:gd name="connsiteX50" fmla="*/ 1893194 w 2534562"/>
              <a:gd name="connsiteY50" fmla="*/ 305295 h 1235149"/>
              <a:gd name="connsiteX51" fmla="*/ 1898346 w 2534562"/>
              <a:gd name="connsiteY51" fmla="*/ 261506 h 1235149"/>
              <a:gd name="connsiteX52" fmla="*/ 1934407 w 2534562"/>
              <a:gd name="connsiteY52" fmla="*/ 204839 h 1235149"/>
              <a:gd name="connsiteX53" fmla="*/ 1939558 w 2534562"/>
              <a:gd name="connsiteY53" fmla="*/ 140445 h 1235149"/>
              <a:gd name="connsiteX54" fmla="*/ 1967892 w 2534562"/>
              <a:gd name="connsiteY54" fmla="*/ 104384 h 1235149"/>
              <a:gd name="connsiteX55" fmla="*/ 2006755 w 2534562"/>
              <a:gd name="connsiteY55" fmla="*/ 84996 h 1235149"/>
              <a:gd name="connsiteX56" fmla="*/ 1925117 w 2534562"/>
              <a:gd name="connsiteY56" fmla="*/ 383823 h 1235149"/>
              <a:gd name="connsiteX0" fmla="*/ 0 w 2498501"/>
              <a:gd name="connsiteY0" fmla="*/ 181657 h 1183634"/>
              <a:gd name="connsiteX1" fmla="*/ 43788 w 2498501"/>
              <a:gd name="connsiteY1" fmla="*/ 212567 h 1183634"/>
              <a:gd name="connsiteX2" fmla="*/ 115910 w 2498501"/>
              <a:gd name="connsiteY2" fmla="*/ 256355 h 1183634"/>
              <a:gd name="connsiteX3" fmla="*/ 162274 w 2498501"/>
              <a:gd name="connsiteY3" fmla="*/ 269234 h 1183634"/>
              <a:gd name="connsiteX4" fmla="*/ 190607 w 2498501"/>
              <a:gd name="connsiteY4" fmla="*/ 258931 h 1183634"/>
              <a:gd name="connsiteX5" fmla="*/ 221516 w 2498501"/>
              <a:gd name="connsiteY5" fmla="*/ 276961 h 1183634"/>
              <a:gd name="connsiteX6" fmla="*/ 262729 w 2498501"/>
              <a:gd name="connsiteY6" fmla="*/ 256355 h 1183634"/>
              <a:gd name="connsiteX7" fmla="*/ 278184 w 2498501"/>
              <a:gd name="connsiteY7" fmla="*/ 233173 h 1183634"/>
              <a:gd name="connsiteX8" fmla="*/ 309093 w 2498501"/>
              <a:gd name="connsiteY8" fmla="*/ 256355 h 1183634"/>
              <a:gd name="connsiteX9" fmla="*/ 342578 w 2498501"/>
              <a:gd name="connsiteY9" fmla="*/ 235749 h 1183634"/>
              <a:gd name="connsiteX10" fmla="*/ 352881 w 2498501"/>
              <a:gd name="connsiteY10" fmla="*/ 207415 h 1183634"/>
              <a:gd name="connsiteX11" fmla="*/ 401821 w 2498501"/>
              <a:gd name="connsiteY11" fmla="*/ 228021 h 1183634"/>
              <a:gd name="connsiteX12" fmla="*/ 455912 w 2498501"/>
              <a:gd name="connsiteY12" fmla="*/ 284688 h 1183634"/>
              <a:gd name="connsiteX13" fmla="*/ 510003 w 2498501"/>
              <a:gd name="connsiteY13" fmla="*/ 289840 h 1183634"/>
              <a:gd name="connsiteX14" fmla="*/ 530609 w 2498501"/>
              <a:gd name="connsiteY14" fmla="*/ 274385 h 1183634"/>
              <a:gd name="connsiteX15" fmla="*/ 576973 w 2498501"/>
              <a:gd name="connsiteY15" fmla="*/ 276961 h 1183634"/>
              <a:gd name="connsiteX16" fmla="*/ 613034 w 2498501"/>
              <a:gd name="connsiteY16" fmla="*/ 310446 h 1183634"/>
              <a:gd name="connsiteX17" fmla="*/ 628489 w 2498501"/>
              <a:gd name="connsiteY17" fmla="*/ 369689 h 1183634"/>
              <a:gd name="connsiteX18" fmla="*/ 669701 w 2498501"/>
              <a:gd name="connsiteY18" fmla="*/ 439235 h 1183634"/>
              <a:gd name="connsiteX19" fmla="*/ 667125 w 2498501"/>
              <a:gd name="connsiteY19" fmla="*/ 488175 h 1183634"/>
              <a:gd name="connsiteX20" fmla="*/ 690307 w 2498501"/>
              <a:gd name="connsiteY20" fmla="*/ 531963 h 1183634"/>
              <a:gd name="connsiteX21" fmla="*/ 739247 w 2498501"/>
              <a:gd name="connsiteY21" fmla="*/ 542266 h 1183634"/>
              <a:gd name="connsiteX22" fmla="*/ 767581 w 2498501"/>
              <a:gd name="connsiteY22" fmla="*/ 570599 h 1183634"/>
              <a:gd name="connsiteX23" fmla="*/ 844854 w 2498501"/>
              <a:gd name="connsiteY23" fmla="*/ 598933 h 1183634"/>
              <a:gd name="connsiteX24" fmla="*/ 891218 w 2498501"/>
              <a:gd name="connsiteY24" fmla="*/ 578327 h 1183634"/>
              <a:gd name="connsiteX25" fmla="*/ 927279 w 2498501"/>
              <a:gd name="connsiteY25" fmla="*/ 578327 h 1183634"/>
              <a:gd name="connsiteX26" fmla="*/ 955612 w 2498501"/>
              <a:gd name="connsiteY26" fmla="*/ 632418 h 1183634"/>
              <a:gd name="connsiteX27" fmla="*/ 976218 w 2498501"/>
              <a:gd name="connsiteY27" fmla="*/ 673630 h 1183634"/>
              <a:gd name="connsiteX28" fmla="*/ 2498501 w 2498501"/>
              <a:gd name="connsiteY28" fmla="*/ 1183634 h 1183634"/>
              <a:gd name="connsiteX29" fmla="*/ 2436683 w 2498501"/>
              <a:gd name="connsiteY29" fmla="*/ 1134694 h 1183634"/>
              <a:gd name="connsiteX30" fmla="*/ 2423804 w 2498501"/>
              <a:gd name="connsiteY30" fmla="*/ 1085754 h 1183634"/>
              <a:gd name="connsiteX31" fmla="*/ 2413501 w 2498501"/>
              <a:gd name="connsiteY31" fmla="*/ 1029087 h 1183634"/>
              <a:gd name="connsiteX32" fmla="*/ 2392894 w 2498501"/>
              <a:gd name="connsiteY32" fmla="*/ 993026 h 1183634"/>
              <a:gd name="connsiteX33" fmla="*/ 2405773 w 2498501"/>
              <a:gd name="connsiteY33" fmla="*/ 954390 h 1183634"/>
              <a:gd name="connsiteX34" fmla="*/ 2356834 w 2498501"/>
              <a:gd name="connsiteY34" fmla="*/ 833328 h 1183634"/>
              <a:gd name="connsiteX35" fmla="*/ 2356834 w 2498501"/>
              <a:gd name="connsiteY35" fmla="*/ 789540 h 1183634"/>
              <a:gd name="connsiteX36" fmla="*/ 2331076 w 2498501"/>
              <a:gd name="connsiteY36" fmla="*/ 725146 h 1183634"/>
              <a:gd name="connsiteX37" fmla="*/ 2328500 w 2498501"/>
              <a:gd name="connsiteY37" fmla="*/ 689085 h 1183634"/>
              <a:gd name="connsiteX38" fmla="*/ 2307894 w 2498501"/>
              <a:gd name="connsiteY38" fmla="*/ 650448 h 1183634"/>
              <a:gd name="connsiteX39" fmla="*/ 2228045 w 2498501"/>
              <a:gd name="connsiteY39" fmla="*/ 604084 h 1183634"/>
              <a:gd name="connsiteX40" fmla="*/ 2225469 w 2498501"/>
              <a:gd name="connsiteY40" fmla="*/ 568024 h 1183634"/>
              <a:gd name="connsiteX41" fmla="*/ 2194560 w 2498501"/>
              <a:gd name="connsiteY41" fmla="*/ 544842 h 1183634"/>
              <a:gd name="connsiteX42" fmla="*/ 2171378 w 2498501"/>
              <a:gd name="connsiteY42" fmla="*/ 544842 h 1183634"/>
              <a:gd name="connsiteX43" fmla="*/ 2127590 w 2498501"/>
              <a:gd name="connsiteY43" fmla="*/ 547417 h 1183634"/>
              <a:gd name="connsiteX44" fmla="*/ 2078005 w 2498501"/>
              <a:gd name="connsiteY44" fmla="*/ 514982 h 1183634"/>
              <a:gd name="connsiteX45" fmla="*/ 2058044 w 2498501"/>
              <a:gd name="connsiteY45" fmla="*/ 508781 h 1183634"/>
              <a:gd name="connsiteX46" fmla="*/ 2006528 w 2498501"/>
              <a:gd name="connsiteY46" fmla="*/ 444386 h 1183634"/>
              <a:gd name="connsiteX47" fmla="*/ 1962740 w 2498501"/>
              <a:gd name="connsiteY47" fmla="*/ 421204 h 1183634"/>
              <a:gd name="connsiteX48" fmla="*/ 1934407 w 2498501"/>
              <a:gd name="connsiteY48" fmla="*/ 336204 h 1183634"/>
              <a:gd name="connsiteX49" fmla="*/ 1893194 w 2498501"/>
              <a:gd name="connsiteY49" fmla="*/ 305295 h 1183634"/>
              <a:gd name="connsiteX50" fmla="*/ 1898346 w 2498501"/>
              <a:gd name="connsiteY50" fmla="*/ 261506 h 1183634"/>
              <a:gd name="connsiteX51" fmla="*/ 1934407 w 2498501"/>
              <a:gd name="connsiteY51" fmla="*/ 204839 h 1183634"/>
              <a:gd name="connsiteX52" fmla="*/ 1939558 w 2498501"/>
              <a:gd name="connsiteY52" fmla="*/ 140445 h 1183634"/>
              <a:gd name="connsiteX53" fmla="*/ 1967892 w 2498501"/>
              <a:gd name="connsiteY53" fmla="*/ 104384 h 1183634"/>
              <a:gd name="connsiteX54" fmla="*/ 2006755 w 2498501"/>
              <a:gd name="connsiteY54" fmla="*/ 84996 h 1183634"/>
              <a:gd name="connsiteX55" fmla="*/ 1925117 w 2498501"/>
              <a:gd name="connsiteY55" fmla="*/ 383823 h 1183634"/>
              <a:gd name="connsiteX0" fmla="*/ 0 w 2436683"/>
              <a:gd name="connsiteY0" fmla="*/ 181657 h 1134694"/>
              <a:gd name="connsiteX1" fmla="*/ 43788 w 2436683"/>
              <a:gd name="connsiteY1" fmla="*/ 212567 h 1134694"/>
              <a:gd name="connsiteX2" fmla="*/ 115910 w 2436683"/>
              <a:gd name="connsiteY2" fmla="*/ 256355 h 1134694"/>
              <a:gd name="connsiteX3" fmla="*/ 162274 w 2436683"/>
              <a:gd name="connsiteY3" fmla="*/ 269234 h 1134694"/>
              <a:gd name="connsiteX4" fmla="*/ 190607 w 2436683"/>
              <a:gd name="connsiteY4" fmla="*/ 258931 h 1134694"/>
              <a:gd name="connsiteX5" fmla="*/ 221516 w 2436683"/>
              <a:gd name="connsiteY5" fmla="*/ 276961 h 1134694"/>
              <a:gd name="connsiteX6" fmla="*/ 262729 w 2436683"/>
              <a:gd name="connsiteY6" fmla="*/ 256355 h 1134694"/>
              <a:gd name="connsiteX7" fmla="*/ 278184 w 2436683"/>
              <a:gd name="connsiteY7" fmla="*/ 233173 h 1134694"/>
              <a:gd name="connsiteX8" fmla="*/ 309093 w 2436683"/>
              <a:gd name="connsiteY8" fmla="*/ 256355 h 1134694"/>
              <a:gd name="connsiteX9" fmla="*/ 342578 w 2436683"/>
              <a:gd name="connsiteY9" fmla="*/ 235749 h 1134694"/>
              <a:gd name="connsiteX10" fmla="*/ 352881 w 2436683"/>
              <a:gd name="connsiteY10" fmla="*/ 207415 h 1134694"/>
              <a:gd name="connsiteX11" fmla="*/ 401821 w 2436683"/>
              <a:gd name="connsiteY11" fmla="*/ 228021 h 1134694"/>
              <a:gd name="connsiteX12" fmla="*/ 455912 w 2436683"/>
              <a:gd name="connsiteY12" fmla="*/ 284688 h 1134694"/>
              <a:gd name="connsiteX13" fmla="*/ 510003 w 2436683"/>
              <a:gd name="connsiteY13" fmla="*/ 289840 h 1134694"/>
              <a:gd name="connsiteX14" fmla="*/ 530609 w 2436683"/>
              <a:gd name="connsiteY14" fmla="*/ 274385 h 1134694"/>
              <a:gd name="connsiteX15" fmla="*/ 576973 w 2436683"/>
              <a:gd name="connsiteY15" fmla="*/ 276961 h 1134694"/>
              <a:gd name="connsiteX16" fmla="*/ 613034 w 2436683"/>
              <a:gd name="connsiteY16" fmla="*/ 310446 h 1134694"/>
              <a:gd name="connsiteX17" fmla="*/ 628489 w 2436683"/>
              <a:gd name="connsiteY17" fmla="*/ 369689 h 1134694"/>
              <a:gd name="connsiteX18" fmla="*/ 669701 w 2436683"/>
              <a:gd name="connsiteY18" fmla="*/ 439235 h 1134694"/>
              <a:gd name="connsiteX19" fmla="*/ 667125 w 2436683"/>
              <a:gd name="connsiteY19" fmla="*/ 488175 h 1134694"/>
              <a:gd name="connsiteX20" fmla="*/ 690307 w 2436683"/>
              <a:gd name="connsiteY20" fmla="*/ 531963 h 1134694"/>
              <a:gd name="connsiteX21" fmla="*/ 739247 w 2436683"/>
              <a:gd name="connsiteY21" fmla="*/ 542266 h 1134694"/>
              <a:gd name="connsiteX22" fmla="*/ 767581 w 2436683"/>
              <a:gd name="connsiteY22" fmla="*/ 570599 h 1134694"/>
              <a:gd name="connsiteX23" fmla="*/ 844854 w 2436683"/>
              <a:gd name="connsiteY23" fmla="*/ 598933 h 1134694"/>
              <a:gd name="connsiteX24" fmla="*/ 891218 w 2436683"/>
              <a:gd name="connsiteY24" fmla="*/ 578327 h 1134694"/>
              <a:gd name="connsiteX25" fmla="*/ 927279 w 2436683"/>
              <a:gd name="connsiteY25" fmla="*/ 578327 h 1134694"/>
              <a:gd name="connsiteX26" fmla="*/ 955612 w 2436683"/>
              <a:gd name="connsiteY26" fmla="*/ 632418 h 1134694"/>
              <a:gd name="connsiteX27" fmla="*/ 976218 w 2436683"/>
              <a:gd name="connsiteY27" fmla="*/ 673630 h 1134694"/>
              <a:gd name="connsiteX28" fmla="*/ 2436683 w 2436683"/>
              <a:gd name="connsiteY28" fmla="*/ 1134694 h 1134694"/>
              <a:gd name="connsiteX29" fmla="*/ 2423804 w 2436683"/>
              <a:gd name="connsiteY29" fmla="*/ 1085754 h 1134694"/>
              <a:gd name="connsiteX30" fmla="*/ 2413501 w 2436683"/>
              <a:gd name="connsiteY30" fmla="*/ 1029087 h 1134694"/>
              <a:gd name="connsiteX31" fmla="*/ 2392894 w 2436683"/>
              <a:gd name="connsiteY31" fmla="*/ 993026 h 1134694"/>
              <a:gd name="connsiteX32" fmla="*/ 2405773 w 2436683"/>
              <a:gd name="connsiteY32" fmla="*/ 954390 h 1134694"/>
              <a:gd name="connsiteX33" fmla="*/ 2356834 w 2436683"/>
              <a:gd name="connsiteY33" fmla="*/ 833328 h 1134694"/>
              <a:gd name="connsiteX34" fmla="*/ 2356834 w 2436683"/>
              <a:gd name="connsiteY34" fmla="*/ 789540 h 1134694"/>
              <a:gd name="connsiteX35" fmla="*/ 2331076 w 2436683"/>
              <a:gd name="connsiteY35" fmla="*/ 725146 h 1134694"/>
              <a:gd name="connsiteX36" fmla="*/ 2328500 w 2436683"/>
              <a:gd name="connsiteY36" fmla="*/ 689085 h 1134694"/>
              <a:gd name="connsiteX37" fmla="*/ 2307894 w 2436683"/>
              <a:gd name="connsiteY37" fmla="*/ 650448 h 1134694"/>
              <a:gd name="connsiteX38" fmla="*/ 2228045 w 2436683"/>
              <a:gd name="connsiteY38" fmla="*/ 604084 h 1134694"/>
              <a:gd name="connsiteX39" fmla="*/ 2225469 w 2436683"/>
              <a:gd name="connsiteY39" fmla="*/ 568024 h 1134694"/>
              <a:gd name="connsiteX40" fmla="*/ 2194560 w 2436683"/>
              <a:gd name="connsiteY40" fmla="*/ 544842 h 1134694"/>
              <a:gd name="connsiteX41" fmla="*/ 2171378 w 2436683"/>
              <a:gd name="connsiteY41" fmla="*/ 544842 h 1134694"/>
              <a:gd name="connsiteX42" fmla="*/ 2127590 w 2436683"/>
              <a:gd name="connsiteY42" fmla="*/ 547417 h 1134694"/>
              <a:gd name="connsiteX43" fmla="*/ 2078005 w 2436683"/>
              <a:gd name="connsiteY43" fmla="*/ 514982 h 1134694"/>
              <a:gd name="connsiteX44" fmla="*/ 2058044 w 2436683"/>
              <a:gd name="connsiteY44" fmla="*/ 508781 h 1134694"/>
              <a:gd name="connsiteX45" fmla="*/ 2006528 w 2436683"/>
              <a:gd name="connsiteY45" fmla="*/ 444386 h 1134694"/>
              <a:gd name="connsiteX46" fmla="*/ 1962740 w 2436683"/>
              <a:gd name="connsiteY46" fmla="*/ 421204 h 1134694"/>
              <a:gd name="connsiteX47" fmla="*/ 1934407 w 2436683"/>
              <a:gd name="connsiteY47" fmla="*/ 336204 h 1134694"/>
              <a:gd name="connsiteX48" fmla="*/ 1893194 w 2436683"/>
              <a:gd name="connsiteY48" fmla="*/ 305295 h 1134694"/>
              <a:gd name="connsiteX49" fmla="*/ 1898346 w 2436683"/>
              <a:gd name="connsiteY49" fmla="*/ 261506 h 1134694"/>
              <a:gd name="connsiteX50" fmla="*/ 1934407 w 2436683"/>
              <a:gd name="connsiteY50" fmla="*/ 204839 h 1134694"/>
              <a:gd name="connsiteX51" fmla="*/ 1939558 w 2436683"/>
              <a:gd name="connsiteY51" fmla="*/ 140445 h 1134694"/>
              <a:gd name="connsiteX52" fmla="*/ 1967892 w 2436683"/>
              <a:gd name="connsiteY52" fmla="*/ 104384 h 1134694"/>
              <a:gd name="connsiteX53" fmla="*/ 2006755 w 2436683"/>
              <a:gd name="connsiteY53" fmla="*/ 84996 h 1134694"/>
              <a:gd name="connsiteX54" fmla="*/ 1925117 w 2436683"/>
              <a:gd name="connsiteY54" fmla="*/ 383823 h 1134694"/>
              <a:gd name="connsiteX0" fmla="*/ 0 w 2423804"/>
              <a:gd name="connsiteY0" fmla="*/ 181657 h 1085754"/>
              <a:gd name="connsiteX1" fmla="*/ 43788 w 2423804"/>
              <a:gd name="connsiteY1" fmla="*/ 212567 h 1085754"/>
              <a:gd name="connsiteX2" fmla="*/ 115910 w 2423804"/>
              <a:gd name="connsiteY2" fmla="*/ 256355 h 1085754"/>
              <a:gd name="connsiteX3" fmla="*/ 162274 w 2423804"/>
              <a:gd name="connsiteY3" fmla="*/ 269234 h 1085754"/>
              <a:gd name="connsiteX4" fmla="*/ 190607 w 2423804"/>
              <a:gd name="connsiteY4" fmla="*/ 258931 h 1085754"/>
              <a:gd name="connsiteX5" fmla="*/ 221516 w 2423804"/>
              <a:gd name="connsiteY5" fmla="*/ 276961 h 1085754"/>
              <a:gd name="connsiteX6" fmla="*/ 262729 w 2423804"/>
              <a:gd name="connsiteY6" fmla="*/ 256355 h 1085754"/>
              <a:gd name="connsiteX7" fmla="*/ 278184 w 2423804"/>
              <a:gd name="connsiteY7" fmla="*/ 233173 h 1085754"/>
              <a:gd name="connsiteX8" fmla="*/ 309093 w 2423804"/>
              <a:gd name="connsiteY8" fmla="*/ 256355 h 1085754"/>
              <a:gd name="connsiteX9" fmla="*/ 342578 w 2423804"/>
              <a:gd name="connsiteY9" fmla="*/ 235749 h 1085754"/>
              <a:gd name="connsiteX10" fmla="*/ 352881 w 2423804"/>
              <a:gd name="connsiteY10" fmla="*/ 207415 h 1085754"/>
              <a:gd name="connsiteX11" fmla="*/ 401821 w 2423804"/>
              <a:gd name="connsiteY11" fmla="*/ 228021 h 1085754"/>
              <a:gd name="connsiteX12" fmla="*/ 455912 w 2423804"/>
              <a:gd name="connsiteY12" fmla="*/ 284688 h 1085754"/>
              <a:gd name="connsiteX13" fmla="*/ 510003 w 2423804"/>
              <a:gd name="connsiteY13" fmla="*/ 289840 h 1085754"/>
              <a:gd name="connsiteX14" fmla="*/ 530609 w 2423804"/>
              <a:gd name="connsiteY14" fmla="*/ 274385 h 1085754"/>
              <a:gd name="connsiteX15" fmla="*/ 576973 w 2423804"/>
              <a:gd name="connsiteY15" fmla="*/ 276961 h 1085754"/>
              <a:gd name="connsiteX16" fmla="*/ 613034 w 2423804"/>
              <a:gd name="connsiteY16" fmla="*/ 310446 h 1085754"/>
              <a:gd name="connsiteX17" fmla="*/ 628489 w 2423804"/>
              <a:gd name="connsiteY17" fmla="*/ 369689 h 1085754"/>
              <a:gd name="connsiteX18" fmla="*/ 669701 w 2423804"/>
              <a:gd name="connsiteY18" fmla="*/ 439235 h 1085754"/>
              <a:gd name="connsiteX19" fmla="*/ 667125 w 2423804"/>
              <a:gd name="connsiteY19" fmla="*/ 488175 h 1085754"/>
              <a:gd name="connsiteX20" fmla="*/ 690307 w 2423804"/>
              <a:gd name="connsiteY20" fmla="*/ 531963 h 1085754"/>
              <a:gd name="connsiteX21" fmla="*/ 739247 w 2423804"/>
              <a:gd name="connsiteY21" fmla="*/ 542266 h 1085754"/>
              <a:gd name="connsiteX22" fmla="*/ 767581 w 2423804"/>
              <a:gd name="connsiteY22" fmla="*/ 570599 h 1085754"/>
              <a:gd name="connsiteX23" fmla="*/ 844854 w 2423804"/>
              <a:gd name="connsiteY23" fmla="*/ 598933 h 1085754"/>
              <a:gd name="connsiteX24" fmla="*/ 891218 w 2423804"/>
              <a:gd name="connsiteY24" fmla="*/ 578327 h 1085754"/>
              <a:gd name="connsiteX25" fmla="*/ 927279 w 2423804"/>
              <a:gd name="connsiteY25" fmla="*/ 578327 h 1085754"/>
              <a:gd name="connsiteX26" fmla="*/ 955612 w 2423804"/>
              <a:gd name="connsiteY26" fmla="*/ 632418 h 1085754"/>
              <a:gd name="connsiteX27" fmla="*/ 976218 w 2423804"/>
              <a:gd name="connsiteY27" fmla="*/ 673630 h 1085754"/>
              <a:gd name="connsiteX28" fmla="*/ 2423804 w 2423804"/>
              <a:gd name="connsiteY28" fmla="*/ 1085754 h 1085754"/>
              <a:gd name="connsiteX29" fmla="*/ 2413501 w 2423804"/>
              <a:gd name="connsiteY29" fmla="*/ 1029087 h 1085754"/>
              <a:gd name="connsiteX30" fmla="*/ 2392894 w 2423804"/>
              <a:gd name="connsiteY30" fmla="*/ 993026 h 1085754"/>
              <a:gd name="connsiteX31" fmla="*/ 2405773 w 2423804"/>
              <a:gd name="connsiteY31" fmla="*/ 954390 h 1085754"/>
              <a:gd name="connsiteX32" fmla="*/ 2356834 w 2423804"/>
              <a:gd name="connsiteY32" fmla="*/ 833328 h 1085754"/>
              <a:gd name="connsiteX33" fmla="*/ 2356834 w 2423804"/>
              <a:gd name="connsiteY33" fmla="*/ 789540 h 1085754"/>
              <a:gd name="connsiteX34" fmla="*/ 2331076 w 2423804"/>
              <a:gd name="connsiteY34" fmla="*/ 725146 h 1085754"/>
              <a:gd name="connsiteX35" fmla="*/ 2328500 w 2423804"/>
              <a:gd name="connsiteY35" fmla="*/ 689085 h 1085754"/>
              <a:gd name="connsiteX36" fmla="*/ 2307894 w 2423804"/>
              <a:gd name="connsiteY36" fmla="*/ 650448 h 1085754"/>
              <a:gd name="connsiteX37" fmla="*/ 2228045 w 2423804"/>
              <a:gd name="connsiteY37" fmla="*/ 604084 h 1085754"/>
              <a:gd name="connsiteX38" fmla="*/ 2225469 w 2423804"/>
              <a:gd name="connsiteY38" fmla="*/ 568024 h 1085754"/>
              <a:gd name="connsiteX39" fmla="*/ 2194560 w 2423804"/>
              <a:gd name="connsiteY39" fmla="*/ 544842 h 1085754"/>
              <a:gd name="connsiteX40" fmla="*/ 2171378 w 2423804"/>
              <a:gd name="connsiteY40" fmla="*/ 544842 h 1085754"/>
              <a:gd name="connsiteX41" fmla="*/ 2127590 w 2423804"/>
              <a:gd name="connsiteY41" fmla="*/ 547417 h 1085754"/>
              <a:gd name="connsiteX42" fmla="*/ 2078005 w 2423804"/>
              <a:gd name="connsiteY42" fmla="*/ 514982 h 1085754"/>
              <a:gd name="connsiteX43" fmla="*/ 2058044 w 2423804"/>
              <a:gd name="connsiteY43" fmla="*/ 508781 h 1085754"/>
              <a:gd name="connsiteX44" fmla="*/ 2006528 w 2423804"/>
              <a:gd name="connsiteY44" fmla="*/ 444386 h 1085754"/>
              <a:gd name="connsiteX45" fmla="*/ 1962740 w 2423804"/>
              <a:gd name="connsiteY45" fmla="*/ 421204 h 1085754"/>
              <a:gd name="connsiteX46" fmla="*/ 1934407 w 2423804"/>
              <a:gd name="connsiteY46" fmla="*/ 336204 h 1085754"/>
              <a:gd name="connsiteX47" fmla="*/ 1893194 w 2423804"/>
              <a:gd name="connsiteY47" fmla="*/ 305295 h 1085754"/>
              <a:gd name="connsiteX48" fmla="*/ 1898346 w 2423804"/>
              <a:gd name="connsiteY48" fmla="*/ 261506 h 1085754"/>
              <a:gd name="connsiteX49" fmla="*/ 1934407 w 2423804"/>
              <a:gd name="connsiteY49" fmla="*/ 204839 h 1085754"/>
              <a:gd name="connsiteX50" fmla="*/ 1939558 w 2423804"/>
              <a:gd name="connsiteY50" fmla="*/ 140445 h 1085754"/>
              <a:gd name="connsiteX51" fmla="*/ 1967892 w 2423804"/>
              <a:gd name="connsiteY51" fmla="*/ 104384 h 1085754"/>
              <a:gd name="connsiteX52" fmla="*/ 2006755 w 2423804"/>
              <a:gd name="connsiteY52" fmla="*/ 84996 h 1085754"/>
              <a:gd name="connsiteX53" fmla="*/ 1925117 w 2423804"/>
              <a:gd name="connsiteY53" fmla="*/ 383823 h 1085754"/>
              <a:gd name="connsiteX0" fmla="*/ 0 w 2413501"/>
              <a:gd name="connsiteY0" fmla="*/ 181657 h 1029087"/>
              <a:gd name="connsiteX1" fmla="*/ 43788 w 2413501"/>
              <a:gd name="connsiteY1" fmla="*/ 212567 h 1029087"/>
              <a:gd name="connsiteX2" fmla="*/ 115910 w 2413501"/>
              <a:gd name="connsiteY2" fmla="*/ 256355 h 1029087"/>
              <a:gd name="connsiteX3" fmla="*/ 162274 w 2413501"/>
              <a:gd name="connsiteY3" fmla="*/ 269234 h 1029087"/>
              <a:gd name="connsiteX4" fmla="*/ 190607 w 2413501"/>
              <a:gd name="connsiteY4" fmla="*/ 258931 h 1029087"/>
              <a:gd name="connsiteX5" fmla="*/ 221516 w 2413501"/>
              <a:gd name="connsiteY5" fmla="*/ 276961 h 1029087"/>
              <a:gd name="connsiteX6" fmla="*/ 262729 w 2413501"/>
              <a:gd name="connsiteY6" fmla="*/ 256355 h 1029087"/>
              <a:gd name="connsiteX7" fmla="*/ 278184 w 2413501"/>
              <a:gd name="connsiteY7" fmla="*/ 233173 h 1029087"/>
              <a:gd name="connsiteX8" fmla="*/ 309093 w 2413501"/>
              <a:gd name="connsiteY8" fmla="*/ 256355 h 1029087"/>
              <a:gd name="connsiteX9" fmla="*/ 342578 w 2413501"/>
              <a:gd name="connsiteY9" fmla="*/ 235749 h 1029087"/>
              <a:gd name="connsiteX10" fmla="*/ 352881 w 2413501"/>
              <a:gd name="connsiteY10" fmla="*/ 207415 h 1029087"/>
              <a:gd name="connsiteX11" fmla="*/ 401821 w 2413501"/>
              <a:gd name="connsiteY11" fmla="*/ 228021 h 1029087"/>
              <a:gd name="connsiteX12" fmla="*/ 455912 w 2413501"/>
              <a:gd name="connsiteY12" fmla="*/ 284688 h 1029087"/>
              <a:gd name="connsiteX13" fmla="*/ 510003 w 2413501"/>
              <a:gd name="connsiteY13" fmla="*/ 289840 h 1029087"/>
              <a:gd name="connsiteX14" fmla="*/ 530609 w 2413501"/>
              <a:gd name="connsiteY14" fmla="*/ 274385 h 1029087"/>
              <a:gd name="connsiteX15" fmla="*/ 576973 w 2413501"/>
              <a:gd name="connsiteY15" fmla="*/ 276961 h 1029087"/>
              <a:gd name="connsiteX16" fmla="*/ 613034 w 2413501"/>
              <a:gd name="connsiteY16" fmla="*/ 310446 h 1029087"/>
              <a:gd name="connsiteX17" fmla="*/ 628489 w 2413501"/>
              <a:gd name="connsiteY17" fmla="*/ 369689 h 1029087"/>
              <a:gd name="connsiteX18" fmla="*/ 669701 w 2413501"/>
              <a:gd name="connsiteY18" fmla="*/ 439235 h 1029087"/>
              <a:gd name="connsiteX19" fmla="*/ 667125 w 2413501"/>
              <a:gd name="connsiteY19" fmla="*/ 488175 h 1029087"/>
              <a:gd name="connsiteX20" fmla="*/ 690307 w 2413501"/>
              <a:gd name="connsiteY20" fmla="*/ 531963 h 1029087"/>
              <a:gd name="connsiteX21" fmla="*/ 739247 w 2413501"/>
              <a:gd name="connsiteY21" fmla="*/ 542266 h 1029087"/>
              <a:gd name="connsiteX22" fmla="*/ 767581 w 2413501"/>
              <a:gd name="connsiteY22" fmla="*/ 570599 h 1029087"/>
              <a:gd name="connsiteX23" fmla="*/ 844854 w 2413501"/>
              <a:gd name="connsiteY23" fmla="*/ 598933 h 1029087"/>
              <a:gd name="connsiteX24" fmla="*/ 891218 w 2413501"/>
              <a:gd name="connsiteY24" fmla="*/ 578327 h 1029087"/>
              <a:gd name="connsiteX25" fmla="*/ 927279 w 2413501"/>
              <a:gd name="connsiteY25" fmla="*/ 578327 h 1029087"/>
              <a:gd name="connsiteX26" fmla="*/ 955612 w 2413501"/>
              <a:gd name="connsiteY26" fmla="*/ 632418 h 1029087"/>
              <a:gd name="connsiteX27" fmla="*/ 976218 w 2413501"/>
              <a:gd name="connsiteY27" fmla="*/ 673630 h 1029087"/>
              <a:gd name="connsiteX28" fmla="*/ 2413501 w 2413501"/>
              <a:gd name="connsiteY28" fmla="*/ 1029087 h 1029087"/>
              <a:gd name="connsiteX29" fmla="*/ 2392894 w 2413501"/>
              <a:gd name="connsiteY29" fmla="*/ 993026 h 1029087"/>
              <a:gd name="connsiteX30" fmla="*/ 2405773 w 2413501"/>
              <a:gd name="connsiteY30" fmla="*/ 954390 h 1029087"/>
              <a:gd name="connsiteX31" fmla="*/ 2356834 w 2413501"/>
              <a:gd name="connsiteY31" fmla="*/ 833328 h 1029087"/>
              <a:gd name="connsiteX32" fmla="*/ 2356834 w 2413501"/>
              <a:gd name="connsiteY32" fmla="*/ 789540 h 1029087"/>
              <a:gd name="connsiteX33" fmla="*/ 2331076 w 2413501"/>
              <a:gd name="connsiteY33" fmla="*/ 725146 h 1029087"/>
              <a:gd name="connsiteX34" fmla="*/ 2328500 w 2413501"/>
              <a:gd name="connsiteY34" fmla="*/ 689085 h 1029087"/>
              <a:gd name="connsiteX35" fmla="*/ 2307894 w 2413501"/>
              <a:gd name="connsiteY35" fmla="*/ 650448 h 1029087"/>
              <a:gd name="connsiteX36" fmla="*/ 2228045 w 2413501"/>
              <a:gd name="connsiteY36" fmla="*/ 604084 h 1029087"/>
              <a:gd name="connsiteX37" fmla="*/ 2225469 w 2413501"/>
              <a:gd name="connsiteY37" fmla="*/ 568024 h 1029087"/>
              <a:gd name="connsiteX38" fmla="*/ 2194560 w 2413501"/>
              <a:gd name="connsiteY38" fmla="*/ 544842 h 1029087"/>
              <a:gd name="connsiteX39" fmla="*/ 2171378 w 2413501"/>
              <a:gd name="connsiteY39" fmla="*/ 544842 h 1029087"/>
              <a:gd name="connsiteX40" fmla="*/ 2127590 w 2413501"/>
              <a:gd name="connsiteY40" fmla="*/ 547417 h 1029087"/>
              <a:gd name="connsiteX41" fmla="*/ 2078005 w 2413501"/>
              <a:gd name="connsiteY41" fmla="*/ 514982 h 1029087"/>
              <a:gd name="connsiteX42" fmla="*/ 2058044 w 2413501"/>
              <a:gd name="connsiteY42" fmla="*/ 508781 h 1029087"/>
              <a:gd name="connsiteX43" fmla="*/ 2006528 w 2413501"/>
              <a:gd name="connsiteY43" fmla="*/ 444386 h 1029087"/>
              <a:gd name="connsiteX44" fmla="*/ 1962740 w 2413501"/>
              <a:gd name="connsiteY44" fmla="*/ 421204 h 1029087"/>
              <a:gd name="connsiteX45" fmla="*/ 1934407 w 2413501"/>
              <a:gd name="connsiteY45" fmla="*/ 336204 h 1029087"/>
              <a:gd name="connsiteX46" fmla="*/ 1893194 w 2413501"/>
              <a:gd name="connsiteY46" fmla="*/ 305295 h 1029087"/>
              <a:gd name="connsiteX47" fmla="*/ 1898346 w 2413501"/>
              <a:gd name="connsiteY47" fmla="*/ 261506 h 1029087"/>
              <a:gd name="connsiteX48" fmla="*/ 1934407 w 2413501"/>
              <a:gd name="connsiteY48" fmla="*/ 204839 h 1029087"/>
              <a:gd name="connsiteX49" fmla="*/ 1939558 w 2413501"/>
              <a:gd name="connsiteY49" fmla="*/ 140445 h 1029087"/>
              <a:gd name="connsiteX50" fmla="*/ 1967892 w 2413501"/>
              <a:gd name="connsiteY50" fmla="*/ 104384 h 1029087"/>
              <a:gd name="connsiteX51" fmla="*/ 2006755 w 2413501"/>
              <a:gd name="connsiteY51" fmla="*/ 84996 h 1029087"/>
              <a:gd name="connsiteX52" fmla="*/ 1925117 w 2413501"/>
              <a:gd name="connsiteY52" fmla="*/ 383823 h 1029087"/>
              <a:gd name="connsiteX0" fmla="*/ 0 w 2405773"/>
              <a:gd name="connsiteY0" fmla="*/ 181657 h 993026"/>
              <a:gd name="connsiteX1" fmla="*/ 43788 w 2405773"/>
              <a:gd name="connsiteY1" fmla="*/ 212567 h 993026"/>
              <a:gd name="connsiteX2" fmla="*/ 115910 w 2405773"/>
              <a:gd name="connsiteY2" fmla="*/ 256355 h 993026"/>
              <a:gd name="connsiteX3" fmla="*/ 162274 w 2405773"/>
              <a:gd name="connsiteY3" fmla="*/ 269234 h 993026"/>
              <a:gd name="connsiteX4" fmla="*/ 190607 w 2405773"/>
              <a:gd name="connsiteY4" fmla="*/ 258931 h 993026"/>
              <a:gd name="connsiteX5" fmla="*/ 221516 w 2405773"/>
              <a:gd name="connsiteY5" fmla="*/ 276961 h 993026"/>
              <a:gd name="connsiteX6" fmla="*/ 262729 w 2405773"/>
              <a:gd name="connsiteY6" fmla="*/ 256355 h 993026"/>
              <a:gd name="connsiteX7" fmla="*/ 278184 w 2405773"/>
              <a:gd name="connsiteY7" fmla="*/ 233173 h 993026"/>
              <a:gd name="connsiteX8" fmla="*/ 309093 w 2405773"/>
              <a:gd name="connsiteY8" fmla="*/ 256355 h 993026"/>
              <a:gd name="connsiteX9" fmla="*/ 342578 w 2405773"/>
              <a:gd name="connsiteY9" fmla="*/ 235749 h 993026"/>
              <a:gd name="connsiteX10" fmla="*/ 352881 w 2405773"/>
              <a:gd name="connsiteY10" fmla="*/ 207415 h 993026"/>
              <a:gd name="connsiteX11" fmla="*/ 401821 w 2405773"/>
              <a:gd name="connsiteY11" fmla="*/ 228021 h 993026"/>
              <a:gd name="connsiteX12" fmla="*/ 455912 w 2405773"/>
              <a:gd name="connsiteY12" fmla="*/ 284688 h 993026"/>
              <a:gd name="connsiteX13" fmla="*/ 510003 w 2405773"/>
              <a:gd name="connsiteY13" fmla="*/ 289840 h 993026"/>
              <a:gd name="connsiteX14" fmla="*/ 530609 w 2405773"/>
              <a:gd name="connsiteY14" fmla="*/ 274385 h 993026"/>
              <a:gd name="connsiteX15" fmla="*/ 576973 w 2405773"/>
              <a:gd name="connsiteY15" fmla="*/ 276961 h 993026"/>
              <a:gd name="connsiteX16" fmla="*/ 613034 w 2405773"/>
              <a:gd name="connsiteY16" fmla="*/ 310446 h 993026"/>
              <a:gd name="connsiteX17" fmla="*/ 628489 w 2405773"/>
              <a:gd name="connsiteY17" fmla="*/ 369689 h 993026"/>
              <a:gd name="connsiteX18" fmla="*/ 669701 w 2405773"/>
              <a:gd name="connsiteY18" fmla="*/ 439235 h 993026"/>
              <a:gd name="connsiteX19" fmla="*/ 667125 w 2405773"/>
              <a:gd name="connsiteY19" fmla="*/ 488175 h 993026"/>
              <a:gd name="connsiteX20" fmla="*/ 690307 w 2405773"/>
              <a:gd name="connsiteY20" fmla="*/ 531963 h 993026"/>
              <a:gd name="connsiteX21" fmla="*/ 739247 w 2405773"/>
              <a:gd name="connsiteY21" fmla="*/ 542266 h 993026"/>
              <a:gd name="connsiteX22" fmla="*/ 767581 w 2405773"/>
              <a:gd name="connsiteY22" fmla="*/ 570599 h 993026"/>
              <a:gd name="connsiteX23" fmla="*/ 844854 w 2405773"/>
              <a:gd name="connsiteY23" fmla="*/ 598933 h 993026"/>
              <a:gd name="connsiteX24" fmla="*/ 891218 w 2405773"/>
              <a:gd name="connsiteY24" fmla="*/ 578327 h 993026"/>
              <a:gd name="connsiteX25" fmla="*/ 927279 w 2405773"/>
              <a:gd name="connsiteY25" fmla="*/ 578327 h 993026"/>
              <a:gd name="connsiteX26" fmla="*/ 955612 w 2405773"/>
              <a:gd name="connsiteY26" fmla="*/ 632418 h 993026"/>
              <a:gd name="connsiteX27" fmla="*/ 976218 w 2405773"/>
              <a:gd name="connsiteY27" fmla="*/ 673630 h 993026"/>
              <a:gd name="connsiteX28" fmla="*/ 2392894 w 2405773"/>
              <a:gd name="connsiteY28" fmla="*/ 993026 h 993026"/>
              <a:gd name="connsiteX29" fmla="*/ 2405773 w 2405773"/>
              <a:gd name="connsiteY29" fmla="*/ 954390 h 993026"/>
              <a:gd name="connsiteX30" fmla="*/ 2356834 w 2405773"/>
              <a:gd name="connsiteY30" fmla="*/ 833328 h 993026"/>
              <a:gd name="connsiteX31" fmla="*/ 2356834 w 2405773"/>
              <a:gd name="connsiteY31" fmla="*/ 789540 h 993026"/>
              <a:gd name="connsiteX32" fmla="*/ 2331076 w 2405773"/>
              <a:gd name="connsiteY32" fmla="*/ 725146 h 993026"/>
              <a:gd name="connsiteX33" fmla="*/ 2328500 w 2405773"/>
              <a:gd name="connsiteY33" fmla="*/ 689085 h 993026"/>
              <a:gd name="connsiteX34" fmla="*/ 2307894 w 2405773"/>
              <a:gd name="connsiteY34" fmla="*/ 650448 h 993026"/>
              <a:gd name="connsiteX35" fmla="*/ 2228045 w 2405773"/>
              <a:gd name="connsiteY35" fmla="*/ 604084 h 993026"/>
              <a:gd name="connsiteX36" fmla="*/ 2225469 w 2405773"/>
              <a:gd name="connsiteY36" fmla="*/ 568024 h 993026"/>
              <a:gd name="connsiteX37" fmla="*/ 2194560 w 2405773"/>
              <a:gd name="connsiteY37" fmla="*/ 544842 h 993026"/>
              <a:gd name="connsiteX38" fmla="*/ 2171378 w 2405773"/>
              <a:gd name="connsiteY38" fmla="*/ 544842 h 993026"/>
              <a:gd name="connsiteX39" fmla="*/ 2127590 w 2405773"/>
              <a:gd name="connsiteY39" fmla="*/ 547417 h 993026"/>
              <a:gd name="connsiteX40" fmla="*/ 2078005 w 2405773"/>
              <a:gd name="connsiteY40" fmla="*/ 514982 h 993026"/>
              <a:gd name="connsiteX41" fmla="*/ 2058044 w 2405773"/>
              <a:gd name="connsiteY41" fmla="*/ 508781 h 993026"/>
              <a:gd name="connsiteX42" fmla="*/ 2006528 w 2405773"/>
              <a:gd name="connsiteY42" fmla="*/ 444386 h 993026"/>
              <a:gd name="connsiteX43" fmla="*/ 1962740 w 2405773"/>
              <a:gd name="connsiteY43" fmla="*/ 421204 h 993026"/>
              <a:gd name="connsiteX44" fmla="*/ 1934407 w 2405773"/>
              <a:gd name="connsiteY44" fmla="*/ 336204 h 993026"/>
              <a:gd name="connsiteX45" fmla="*/ 1893194 w 2405773"/>
              <a:gd name="connsiteY45" fmla="*/ 305295 h 993026"/>
              <a:gd name="connsiteX46" fmla="*/ 1898346 w 2405773"/>
              <a:gd name="connsiteY46" fmla="*/ 261506 h 993026"/>
              <a:gd name="connsiteX47" fmla="*/ 1934407 w 2405773"/>
              <a:gd name="connsiteY47" fmla="*/ 204839 h 993026"/>
              <a:gd name="connsiteX48" fmla="*/ 1939558 w 2405773"/>
              <a:gd name="connsiteY48" fmla="*/ 140445 h 993026"/>
              <a:gd name="connsiteX49" fmla="*/ 1967892 w 2405773"/>
              <a:gd name="connsiteY49" fmla="*/ 104384 h 993026"/>
              <a:gd name="connsiteX50" fmla="*/ 2006755 w 2405773"/>
              <a:gd name="connsiteY50" fmla="*/ 84996 h 993026"/>
              <a:gd name="connsiteX51" fmla="*/ 1925117 w 2405773"/>
              <a:gd name="connsiteY51" fmla="*/ 383823 h 993026"/>
              <a:gd name="connsiteX0" fmla="*/ 0 w 2405773"/>
              <a:gd name="connsiteY0" fmla="*/ 181657 h 954390"/>
              <a:gd name="connsiteX1" fmla="*/ 43788 w 2405773"/>
              <a:gd name="connsiteY1" fmla="*/ 212567 h 954390"/>
              <a:gd name="connsiteX2" fmla="*/ 115910 w 2405773"/>
              <a:gd name="connsiteY2" fmla="*/ 256355 h 954390"/>
              <a:gd name="connsiteX3" fmla="*/ 162274 w 2405773"/>
              <a:gd name="connsiteY3" fmla="*/ 269234 h 954390"/>
              <a:gd name="connsiteX4" fmla="*/ 190607 w 2405773"/>
              <a:gd name="connsiteY4" fmla="*/ 258931 h 954390"/>
              <a:gd name="connsiteX5" fmla="*/ 221516 w 2405773"/>
              <a:gd name="connsiteY5" fmla="*/ 276961 h 954390"/>
              <a:gd name="connsiteX6" fmla="*/ 262729 w 2405773"/>
              <a:gd name="connsiteY6" fmla="*/ 256355 h 954390"/>
              <a:gd name="connsiteX7" fmla="*/ 278184 w 2405773"/>
              <a:gd name="connsiteY7" fmla="*/ 233173 h 954390"/>
              <a:gd name="connsiteX8" fmla="*/ 309093 w 2405773"/>
              <a:gd name="connsiteY8" fmla="*/ 256355 h 954390"/>
              <a:gd name="connsiteX9" fmla="*/ 342578 w 2405773"/>
              <a:gd name="connsiteY9" fmla="*/ 235749 h 954390"/>
              <a:gd name="connsiteX10" fmla="*/ 352881 w 2405773"/>
              <a:gd name="connsiteY10" fmla="*/ 207415 h 954390"/>
              <a:gd name="connsiteX11" fmla="*/ 401821 w 2405773"/>
              <a:gd name="connsiteY11" fmla="*/ 228021 h 954390"/>
              <a:gd name="connsiteX12" fmla="*/ 455912 w 2405773"/>
              <a:gd name="connsiteY12" fmla="*/ 284688 h 954390"/>
              <a:gd name="connsiteX13" fmla="*/ 510003 w 2405773"/>
              <a:gd name="connsiteY13" fmla="*/ 289840 h 954390"/>
              <a:gd name="connsiteX14" fmla="*/ 530609 w 2405773"/>
              <a:gd name="connsiteY14" fmla="*/ 274385 h 954390"/>
              <a:gd name="connsiteX15" fmla="*/ 576973 w 2405773"/>
              <a:gd name="connsiteY15" fmla="*/ 276961 h 954390"/>
              <a:gd name="connsiteX16" fmla="*/ 613034 w 2405773"/>
              <a:gd name="connsiteY16" fmla="*/ 310446 h 954390"/>
              <a:gd name="connsiteX17" fmla="*/ 628489 w 2405773"/>
              <a:gd name="connsiteY17" fmla="*/ 369689 h 954390"/>
              <a:gd name="connsiteX18" fmla="*/ 669701 w 2405773"/>
              <a:gd name="connsiteY18" fmla="*/ 439235 h 954390"/>
              <a:gd name="connsiteX19" fmla="*/ 667125 w 2405773"/>
              <a:gd name="connsiteY19" fmla="*/ 488175 h 954390"/>
              <a:gd name="connsiteX20" fmla="*/ 690307 w 2405773"/>
              <a:gd name="connsiteY20" fmla="*/ 531963 h 954390"/>
              <a:gd name="connsiteX21" fmla="*/ 739247 w 2405773"/>
              <a:gd name="connsiteY21" fmla="*/ 542266 h 954390"/>
              <a:gd name="connsiteX22" fmla="*/ 767581 w 2405773"/>
              <a:gd name="connsiteY22" fmla="*/ 570599 h 954390"/>
              <a:gd name="connsiteX23" fmla="*/ 844854 w 2405773"/>
              <a:gd name="connsiteY23" fmla="*/ 598933 h 954390"/>
              <a:gd name="connsiteX24" fmla="*/ 891218 w 2405773"/>
              <a:gd name="connsiteY24" fmla="*/ 578327 h 954390"/>
              <a:gd name="connsiteX25" fmla="*/ 927279 w 2405773"/>
              <a:gd name="connsiteY25" fmla="*/ 578327 h 954390"/>
              <a:gd name="connsiteX26" fmla="*/ 955612 w 2405773"/>
              <a:gd name="connsiteY26" fmla="*/ 632418 h 954390"/>
              <a:gd name="connsiteX27" fmla="*/ 976218 w 2405773"/>
              <a:gd name="connsiteY27" fmla="*/ 673630 h 954390"/>
              <a:gd name="connsiteX28" fmla="*/ 2405773 w 2405773"/>
              <a:gd name="connsiteY28" fmla="*/ 954390 h 954390"/>
              <a:gd name="connsiteX29" fmla="*/ 2356834 w 2405773"/>
              <a:gd name="connsiteY29" fmla="*/ 833328 h 954390"/>
              <a:gd name="connsiteX30" fmla="*/ 2356834 w 2405773"/>
              <a:gd name="connsiteY30" fmla="*/ 789540 h 954390"/>
              <a:gd name="connsiteX31" fmla="*/ 2331076 w 2405773"/>
              <a:gd name="connsiteY31" fmla="*/ 725146 h 954390"/>
              <a:gd name="connsiteX32" fmla="*/ 2328500 w 2405773"/>
              <a:gd name="connsiteY32" fmla="*/ 689085 h 954390"/>
              <a:gd name="connsiteX33" fmla="*/ 2307894 w 2405773"/>
              <a:gd name="connsiteY33" fmla="*/ 650448 h 954390"/>
              <a:gd name="connsiteX34" fmla="*/ 2228045 w 2405773"/>
              <a:gd name="connsiteY34" fmla="*/ 604084 h 954390"/>
              <a:gd name="connsiteX35" fmla="*/ 2225469 w 2405773"/>
              <a:gd name="connsiteY35" fmla="*/ 568024 h 954390"/>
              <a:gd name="connsiteX36" fmla="*/ 2194560 w 2405773"/>
              <a:gd name="connsiteY36" fmla="*/ 544842 h 954390"/>
              <a:gd name="connsiteX37" fmla="*/ 2171378 w 2405773"/>
              <a:gd name="connsiteY37" fmla="*/ 544842 h 954390"/>
              <a:gd name="connsiteX38" fmla="*/ 2127590 w 2405773"/>
              <a:gd name="connsiteY38" fmla="*/ 547417 h 954390"/>
              <a:gd name="connsiteX39" fmla="*/ 2078005 w 2405773"/>
              <a:gd name="connsiteY39" fmla="*/ 514982 h 954390"/>
              <a:gd name="connsiteX40" fmla="*/ 2058044 w 2405773"/>
              <a:gd name="connsiteY40" fmla="*/ 508781 h 954390"/>
              <a:gd name="connsiteX41" fmla="*/ 2006528 w 2405773"/>
              <a:gd name="connsiteY41" fmla="*/ 444386 h 954390"/>
              <a:gd name="connsiteX42" fmla="*/ 1962740 w 2405773"/>
              <a:gd name="connsiteY42" fmla="*/ 421204 h 954390"/>
              <a:gd name="connsiteX43" fmla="*/ 1934407 w 2405773"/>
              <a:gd name="connsiteY43" fmla="*/ 336204 h 954390"/>
              <a:gd name="connsiteX44" fmla="*/ 1893194 w 2405773"/>
              <a:gd name="connsiteY44" fmla="*/ 305295 h 954390"/>
              <a:gd name="connsiteX45" fmla="*/ 1898346 w 2405773"/>
              <a:gd name="connsiteY45" fmla="*/ 261506 h 954390"/>
              <a:gd name="connsiteX46" fmla="*/ 1934407 w 2405773"/>
              <a:gd name="connsiteY46" fmla="*/ 204839 h 954390"/>
              <a:gd name="connsiteX47" fmla="*/ 1939558 w 2405773"/>
              <a:gd name="connsiteY47" fmla="*/ 140445 h 954390"/>
              <a:gd name="connsiteX48" fmla="*/ 1967892 w 2405773"/>
              <a:gd name="connsiteY48" fmla="*/ 104384 h 954390"/>
              <a:gd name="connsiteX49" fmla="*/ 2006755 w 2405773"/>
              <a:gd name="connsiteY49" fmla="*/ 84996 h 954390"/>
              <a:gd name="connsiteX50" fmla="*/ 1925117 w 2405773"/>
              <a:gd name="connsiteY50" fmla="*/ 383823 h 954390"/>
              <a:gd name="connsiteX0" fmla="*/ 0 w 2356834"/>
              <a:gd name="connsiteY0" fmla="*/ 181657 h 833328"/>
              <a:gd name="connsiteX1" fmla="*/ 43788 w 2356834"/>
              <a:gd name="connsiteY1" fmla="*/ 212567 h 833328"/>
              <a:gd name="connsiteX2" fmla="*/ 115910 w 2356834"/>
              <a:gd name="connsiteY2" fmla="*/ 256355 h 833328"/>
              <a:gd name="connsiteX3" fmla="*/ 162274 w 2356834"/>
              <a:gd name="connsiteY3" fmla="*/ 269234 h 833328"/>
              <a:gd name="connsiteX4" fmla="*/ 190607 w 2356834"/>
              <a:gd name="connsiteY4" fmla="*/ 258931 h 833328"/>
              <a:gd name="connsiteX5" fmla="*/ 221516 w 2356834"/>
              <a:gd name="connsiteY5" fmla="*/ 276961 h 833328"/>
              <a:gd name="connsiteX6" fmla="*/ 262729 w 2356834"/>
              <a:gd name="connsiteY6" fmla="*/ 256355 h 833328"/>
              <a:gd name="connsiteX7" fmla="*/ 278184 w 2356834"/>
              <a:gd name="connsiteY7" fmla="*/ 233173 h 833328"/>
              <a:gd name="connsiteX8" fmla="*/ 309093 w 2356834"/>
              <a:gd name="connsiteY8" fmla="*/ 256355 h 833328"/>
              <a:gd name="connsiteX9" fmla="*/ 342578 w 2356834"/>
              <a:gd name="connsiteY9" fmla="*/ 235749 h 833328"/>
              <a:gd name="connsiteX10" fmla="*/ 352881 w 2356834"/>
              <a:gd name="connsiteY10" fmla="*/ 207415 h 833328"/>
              <a:gd name="connsiteX11" fmla="*/ 401821 w 2356834"/>
              <a:gd name="connsiteY11" fmla="*/ 228021 h 833328"/>
              <a:gd name="connsiteX12" fmla="*/ 455912 w 2356834"/>
              <a:gd name="connsiteY12" fmla="*/ 284688 h 833328"/>
              <a:gd name="connsiteX13" fmla="*/ 510003 w 2356834"/>
              <a:gd name="connsiteY13" fmla="*/ 289840 h 833328"/>
              <a:gd name="connsiteX14" fmla="*/ 530609 w 2356834"/>
              <a:gd name="connsiteY14" fmla="*/ 274385 h 833328"/>
              <a:gd name="connsiteX15" fmla="*/ 576973 w 2356834"/>
              <a:gd name="connsiteY15" fmla="*/ 276961 h 833328"/>
              <a:gd name="connsiteX16" fmla="*/ 613034 w 2356834"/>
              <a:gd name="connsiteY16" fmla="*/ 310446 h 833328"/>
              <a:gd name="connsiteX17" fmla="*/ 628489 w 2356834"/>
              <a:gd name="connsiteY17" fmla="*/ 369689 h 833328"/>
              <a:gd name="connsiteX18" fmla="*/ 669701 w 2356834"/>
              <a:gd name="connsiteY18" fmla="*/ 439235 h 833328"/>
              <a:gd name="connsiteX19" fmla="*/ 667125 w 2356834"/>
              <a:gd name="connsiteY19" fmla="*/ 488175 h 833328"/>
              <a:gd name="connsiteX20" fmla="*/ 690307 w 2356834"/>
              <a:gd name="connsiteY20" fmla="*/ 531963 h 833328"/>
              <a:gd name="connsiteX21" fmla="*/ 739247 w 2356834"/>
              <a:gd name="connsiteY21" fmla="*/ 542266 h 833328"/>
              <a:gd name="connsiteX22" fmla="*/ 767581 w 2356834"/>
              <a:gd name="connsiteY22" fmla="*/ 570599 h 833328"/>
              <a:gd name="connsiteX23" fmla="*/ 844854 w 2356834"/>
              <a:gd name="connsiteY23" fmla="*/ 598933 h 833328"/>
              <a:gd name="connsiteX24" fmla="*/ 891218 w 2356834"/>
              <a:gd name="connsiteY24" fmla="*/ 578327 h 833328"/>
              <a:gd name="connsiteX25" fmla="*/ 927279 w 2356834"/>
              <a:gd name="connsiteY25" fmla="*/ 578327 h 833328"/>
              <a:gd name="connsiteX26" fmla="*/ 955612 w 2356834"/>
              <a:gd name="connsiteY26" fmla="*/ 632418 h 833328"/>
              <a:gd name="connsiteX27" fmla="*/ 976218 w 2356834"/>
              <a:gd name="connsiteY27" fmla="*/ 673630 h 833328"/>
              <a:gd name="connsiteX28" fmla="*/ 2356834 w 2356834"/>
              <a:gd name="connsiteY28" fmla="*/ 833328 h 833328"/>
              <a:gd name="connsiteX29" fmla="*/ 2356834 w 2356834"/>
              <a:gd name="connsiteY29" fmla="*/ 789540 h 833328"/>
              <a:gd name="connsiteX30" fmla="*/ 2331076 w 2356834"/>
              <a:gd name="connsiteY30" fmla="*/ 725146 h 833328"/>
              <a:gd name="connsiteX31" fmla="*/ 2328500 w 2356834"/>
              <a:gd name="connsiteY31" fmla="*/ 689085 h 833328"/>
              <a:gd name="connsiteX32" fmla="*/ 2307894 w 2356834"/>
              <a:gd name="connsiteY32" fmla="*/ 650448 h 833328"/>
              <a:gd name="connsiteX33" fmla="*/ 2228045 w 2356834"/>
              <a:gd name="connsiteY33" fmla="*/ 604084 h 833328"/>
              <a:gd name="connsiteX34" fmla="*/ 2225469 w 2356834"/>
              <a:gd name="connsiteY34" fmla="*/ 568024 h 833328"/>
              <a:gd name="connsiteX35" fmla="*/ 2194560 w 2356834"/>
              <a:gd name="connsiteY35" fmla="*/ 544842 h 833328"/>
              <a:gd name="connsiteX36" fmla="*/ 2171378 w 2356834"/>
              <a:gd name="connsiteY36" fmla="*/ 544842 h 833328"/>
              <a:gd name="connsiteX37" fmla="*/ 2127590 w 2356834"/>
              <a:gd name="connsiteY37" fmla="*/ 547417 h 833328"/>
              <a:gd name="connsiteX38" fmla="*/ 2078005 w 2356834"/>
              <a:gd name="connsiteY38" fmla="*/ 514982 h 833328"/>
              <a:gd name="connsiteX39" fmla="*/ 2058044 w 2356834"/>
              <a:gd name="connsiteY39" fmla="*/ 508781 h 833328"/>
              <a:gd name="connsiteX40" fmla="*/ 2006528 w 2356834"/>
              <a:gd name="connsiteY40" fmla="*/ 444386 h 833328"/>
              <a:gd name="connsiteX41" fmla="*/ 1962740 w 2356834"/>
              <a:gd name="connsiteY41" fmla="*/ 421204 h 833328"/>
              <a:gd name="connsiteX42" fmla="*/ 1934407 w 2356834"/>
              <a:gd name="connsiteY42" fmla="*/ 336204 h 833328"/>
              <a:gd name="connsiteX43" fmla="*/ 1893194 w 2356834"/>
              <a:gd name="connsiteY43" fmla="*/ 305295 h 833328"/>
              <a:gd name="connsiteX44" fmla="*/ 1898346 w 2356834"/>
              <a:gd name="connsiteY44" fmla="*/ 261506 h 833328"/>
              <a:gd name="connsiteX45" fmla="*/ 1934407 w 2356834"/>
              <a:gd name="connsiteY45" fmla="*/ 204839 h 833328"/>
              <a:gd name="connsiteX46" fmla="*/ 1939558 w 2356834"/>
              <a:gd name="connsiteY46" fmla="*/ 140445 h 833328"/>
              <a:gd name="connsiteX47" fmla="*/ 1967892 w 2356834"/>
              <a:gd name="connsiteY47" fmla="*/ 104384 h 833328"/>
              <a:gd name="connsiteX48" fmla="*/ 2006755 w 2356834"/>
              <a:gd name="connsiteY48" fmla="*/ 84996 h 833328"/>
              <a:gd name="connsiteX49" fmla="*/ 1925117 w 2356834"/>
              <a:gd name="connsiteY49" fmla="*/ 383823 h 833328"/>
              <a:gd name="connsiteX0" fmla="*/ 0 w 2356834"/>
              <a:gd name="connsiteY0" fmla="*/ 181657 h 789540"/>
              <a:gd name="connsiteX1" fmla="*/ 43788 w 2356834"/>
              <a:gd name="connsiteY1" fmla="*/ 212567 h 789540"/>
              <a:gd name="connsiteX2" fmla="*/ 115910 w 2356834"/>
              <a:gd name="connsiteY2" fmla="*/ 256355 h 789540"/>
              <a:gd name="connsiteX3" fmla="*/ 162274 w 2356834"/>
              <a:gd name="connsiteY3" fmla="*/ 269234 h 789540"/>
              <a:gd name="connsiteX4" fmla="*/ 190607 w 2356834"/>
              <a:gd name="connsiteY4" fmla="*/ 258931 h 789540"/>
              <a:gd name="connsiteX5" fmla="*/ 221516 w 2356834"/>
              <a:gd name="connsiteY5" fmla="*/ 276961 h 789540"/>
              <a:gd name="connsiteX6" fmla="*/ 262729 w 2356834"/>
              <a:gd name="connsiteY6" fmla="*/ 256355 h 789540"/>
              <a:gd name="connsiteX7" fmla="*/ 278184 w 2356834"/>
              <a:gd name="connsiteY7" fmla="*/ 233173 h 789540"/>
              <a:gd name="connsiteX8" fmla="*/ 309093 w 2356834"/>
              <a:gd name="connsiteY8" fmla="*/ 256355 h 789540"/>
              <a:gd name="connsiteX9" fmla="*/ 342578 w 2356834"/>
              <a:gd name="connsiteY9" fmla="*/ 235749 h 789540"/>
              <a:gd name="connsiteX10" fmla="*/ 352881 w 2356834"/>
              <a:gd name="connsiteY10" fmla="*/ 207415 h 789540"/>
              <a:gd name="connsiteX11" fmla="*/ 401821 w 2356834"/>
              <a:gd name="connsiteY11" fmla="*/ 228021 h 789540"/>
              <a:gd name="connsiteX12" fmla="*/ 455912 w 2356834"/>
              <a:gd name="connsiteY12" fmla="*/ 284688 h 789540"/>
              <a:gd name="connsiteX13" fmla="*/ 510003 w 2356834"/>
              <a:gd name="connsiteY13" fmla="*/ 289840 h 789540"/>
              <a:gd name="connsiteX14" fmla="*/ 530609 w 2356834"/>
              <a:gd name="connsiteY14" fmla="*/ 274385 h 789540"/>
              <a:gd name="connsiteX15" fmla="*/ 576973 w 2356834"/>
              <a:gd name="connsiteY15" fmla="*/ 276961 h 789540"/>
              <a:gd name="connsiteX16" fmla="*/ 613034 w 2356834"/>
              <a:gd name="connsiteY16" fmla="*/ 310446 h 789540"/>
              <a:gd name="connsiteX17" fmla="*/ 628489 w 2356834"/>
              <a:gd name="connsiteY17" fmla="*/ 369689 h 789540"/>
              <a:gd name="connsiteX18" fmla="*/ 669701 w 2356834"/>
              <a:gd name="connsiteY18" fmla="*/ 439235 h 789540"/>
              <a:gd name="connsiteX19" fmla="*/ 667125 w 2356834"/>
              <a:gd name="connsiteY19" fmla="*/ 488175 h 789540"/>
              <a:gd name="connsiteX20" fmla="*/ 690307 w 2356834"/>
              <a:gd name="connsiteY20" fmla="*/ 531963 h 789540"/>
              <a:gd name="connsiteX21" fmla="*/ 739247 w 2356834"/>
              <a:gd name="connsiteY21" fmla="*/ 542266 h 789540"/>
              <a:gd name="connsiteX22" fmla="*/ 767581 w 2356834"/>
              <a:gd name="connsiteY22" fmla="*/ 570599 h 789540"/>
              <a:gd name="connsiteX23" fmla="*/ 844854 w 2356834"/>
              <a:gd name="connsiteY23" fmla="*/ 598933 h 789540"/>
              <a:gd name="connsiteX24" fmla="*/ 891218 w 2356834"/>
              <a:gd name="connsiteY24" fmla="*/ 578327 h 789540"/>
              <a:gd name="connsiteX25" fmla="*/ 927279 w 2356834"/>
              <a:gd name="connsiteY25" fmla="*/ 578327 h 789540"/>
              <a:gd name="connsiteX26" fmla="*/ 955612 w 2356834"/>
              <a:gd name="connsiteY26" fmla="*/ 632418 h 789540"/>
              <a:gd name="connsiteX27" fmla="*/ 976218 w 2356834"/>
              <a:gd name="connsiteY27" fmla="*/ 673630 h 789540"/>
              <a:gd name="connsiteX28" fmla="*/ 2356834 w 2356834"/>
              <a:gd name="connsiteY28" fmla="*/ 789540 h 789540"/>
              <a:gd name="connsiteX29" fmla="*/ 2331076 w 2356834"/>
              <a:gd name="connsiteY29" fmla="*/ 725146 h 789540"/>
              <a:gd name="connsiteX30" fmla="*/ 2328500 w 2356834"/>
              <a:gd name="connsiteY30" fmla="*/ 689085 h 789540"/>
              <a:gd name="connsiteX31" fmla="*/ 2307894 w 2356834"/>
              <a:gd name="connsiteY31" fmla="*/ 650448 h 789540"/>
              <a:gd name="connsiteX32" fmla="*/ 2228045 w 2356834"/>
              <a:gd name="connsiteY32" fmla="*/ 604084 h 789540"/>
              <a:gd name="connsiteX33" fmla="*/ 2225469 w 2356834"/>
              <a:gd name="connsiteY33" fmla="*/ 568024 h 789540"/>
              <a:gd name="connsiteX34" fmla="*/ 2194560 w 2356834"/>
              <a:gd name="connsiteY34" fmla="*/ 544842 h 789540"/>
              <a:gd name="connsiteX35" fmla="*/ 2171378 w 2356834"/>
              <a:gd name="connsiteY35" fmla="*/ 544842 h 789540"/>
              <a:gd name="connsiteX36" fmla="*/ 2127590 w 2356834"/>
              <a:gd name="connsiteY36" fmla="*/ 547417 h 789540"/>
              <a:gd name="connsiteX37" fmla="*/ 2078005 w 2356834"/>
              <a:gd name="connsiteY37" fmla="*/ 514982 h 789540"/>
              <a:gd name="connsiteX38" fmla="*/ 2058044 w 2356834"/>
              <a:gd name="connsiteY38" fmla="*/ 508781 h 789540"/>
              <a:gd name="connsiteX39" fmla="*/ 2006528 w 2356834"/>
              <a:gd name="connsiteY39" fmla="*/ 444386 h 789540"/>
              <a:gd name="connsiteX40" fmla="*/ 1962740 w 2356834"/>
              <a:gd name="connsiteY40" fmla="*/ 421204 h 789540"/>
              <a:gd name="connsiteX41" fmla="*/ 1934407 w 2356834"/>
              <a:gd name="connsiteY41" fmla="*/ 336204 h 789540"/>
              <a:gd name="connsiteX42" fmla="*/ 1893194 w 2356834"/>
              <a:gd name="connsiteY42" fmla="*/ 305295 h 789540"/>
              <a:gd name="connsiteX43" fmla="*/ 1898346 w 2356834"/>
              <a:gd name="connsiteY43" fmla="*/ 261506 h 789540"/>
              <a:gd name="connsiteX44" fmla="*/ 1934407 w 2356834"/>
              <a:gd name="connsiteY44" fmla="*/ 204839 h 789540"/>
              <a:gd name="connsiteX45" fmla="*/ 1939558 w 2356834"/>
              <a:gd name="connsiteY45" fmla="*/ 140445 h 789540"/>
              <a:gd name="connsiteX46" fmla="*/ 1967892 w 2356834"/>
              <a:gd name="connsiteY46" fmla="*/ 104384 h 789540"/>
              <a:gd name="connsiteX47" fmla="*/ 2006755 w 2356834"/>
              <a:gd name="connsiteY47" fmla="*/ 84996 h 789540"/>
              <a:gd name="connsiteX48" fmla="*/ 1925117 w 2356834"/>
              <a:gd name="connsiteY48" fmla="*/ 383823 h 789540"/>
              <a:gd name="connsiteX0" fmla="*/ 0 w 2331076"/>
              <a:gd name="connsiteY0" fmla="*/ 181657 h 725146"/>
              <a:gd name="connsiteX1" fmla="*/ 43788 w 2331076"/>
              <a:gd name="connsiteY1" fmla="*/ 212567 h 725146"/>
              <a:gd name="connsiteX2" fmla="*/ 115910 w 2331076"/>
              <a:gd name="connsiteY2" fmla="*/ 256355 h 725146"/>
              <a:gd name="connsiteX3" fmla="*/ 162274 w 2331076"/>
              <a:gd name="connsiteY3" fmla="*/ 269234 h 725146"/>
              <a:gd name="connsiteX4" fmla="*/ 190607 w 2331076"/>
              <a:gd name="connsiteY4" fmla="*/ 258931 h 725146"/>
              <a:gd name="connsiteX5" fmla="*/ 221516 w 2331076"/>
              <a:gd name="connsiteY5" fmla="*/ 276961 h 725146"/>
              <a:gd name="connsiteX6" fmla="*/ 262729 w 2331076"/>
              <a:gd name="connsiteY6" fmla="*/ 256355 h 725146"/>
              <a:gd name="connsiteX7" fmla="*/ 278184 w 2331076"/>
              <a:gd name="connsiteY7" fmla="*/ 233173 h 725146"/>
              <a:gd name="connsiteX8" fmla="*/ 309093 w 2331076"/>
              <a:gd name="connsiteY8" fmla="*/ 256355 h 725146"/>
              <a:gd name="connsiteX9" fmla="*/ 342578 w 2331076"/>
              <a:gd name="connsiteY9" fmla="*/ 235749 h 725146"/>
              <a:gd name="connsiteX10" fmla="*/ 352881 w 2331076"/>
              <a:gd name="connsiteY10" fmla="*/ 207415 h 725146"/>
              <a:gd name="connsiteX11" fmla="*/ 401821 w 2331076"/>
              <a:gd name="connsiteY11" fmla="*/ 228021 h 725146"/>
              <a:gd name="connsiteX12" fmla="*/ 455912 w 2331076"/>
              <a:gd name="connsiteY12" fmla="*/ 284688 h 725146"/>
              <a:gd name="connsiteX13" fmla="*/ 510003 w 2331076"/>
              <a:gd name="connsiteY13" fmla="*/ 289840 h 725146"/>
              <a:gd name="connsiteX14" fmla="*/ 530609 w 2331076"/>
              <a:gd name="connsiteY14" fmla="*/ 274385 h 725146"/>
              <a:gd name="connsiteX15" fmla="*/ 576973 w 2331076"/>
              <a:gd name="connsiteY15" fmla="*/ 276961 h 725146"/>
              <a:gd name="connsiteX16" fmla="*/ 613034 w 2331076"/>
              <a:gd name="connsiteY16" fmla="*/ 310446 h 725146"/>
              <a:gd name="connsiteX17" fmla="*/ 628489 w 2331076"/>
              <a:gd name="connsiteY17" fmla="*/ 369689 h 725146"/>
              <a:gd name="connsiteX18" fmla="*/ 669701 w 2331076"/>
              <a:gd name="connsiteY18" fmla="*/ 439235 h 725146"/>
              <a:gd name="connsiteX19" fmla="*/ 667125 w 2331076"/>
              <a:gd name="connsiteY19" fmla="*/ 488175 h 725146"/>
              <a:gd name="connsiteX20" fmla="*/ 690307 w 2331076"/>
              <a:gd name="connsiteY20" fmla="*/ 531963 h 725146"/>
              <a:gd name="connsiteX21" fmla="*/ 739247 w 2331076"/>
              <a:gd name="connsiteY21" fmla="*/ 542266 h 725146"/>
              <a:gd name="connsiteX22" fmla="*/ 767581 w 2331076"/>
              <a:gd name="connsiteY22" fmla="*/ 570599 h 725146"/>
              <a:gd name="connsiteX23" fmla="*/ 844854 w 2331076"/>
              <a:gd name="connsiteY23" fmla="*/ 598933 h 725146"/>
              <a:gd name="connsiteX24" fmla="*/ 891218 w 2331076"/>
              <a:gd name="connsiteY24" fmla="*/ 578327 h 725146"/>
              <a:gd name="connsiteX25" fmla="*/ 927279 w 2331076"/>
              <a:gd name="connsiteY25" fmla="*/ 578327 h 725146"/>
              <a:gd name="connsiteX26" fmla="*/ 955612 w 2331076"/>
              <a:gd name="connsiteY26" fmla="*/ 632418 h 725146"/>
              <a:gd name="connsiteX27" fmla="*/ 976218 w 2331076"/>
              <a:gd name="connsiteY27" fmla="*/ 673630 h 725146"/>
              <a:gd name="connsiteX28" fmla="*/ 2331076 w 2331076"/>
              <a:gd name="connsiteY28" fmla="*/ 725146 h 725146"/>
              <a:gd name="connsiteX29" fmla="*/ 2328500 w 2331076"/>
              <a:gd name="connsiteY29" fmla="*/ 689085 h 725146"/>
              <a:gd name="connsiteX30" fmla="*/ 2307894 w 2331076"/>
              <a:gd name="connsiteY30" fmla="*/ 650448 h 725146"/>
              <a:gd name="connsiteX31" fmla="*/ 2228045 w 2331076"/>
              <a:gd name="connsiteY31" fmla="*/ 604084 h 725146"/>
              <a:gd name="connsiteX32" fmla="*/ 2225469 w 2331076"/>
              <a:gd name="connsiteY32" fmla="*/ 568024 h 725146"/>
              <a:gd name="connsiteX33" fmla="*/ 2194560 w 2331076"/>
              <a:gd name="connsiteY33" fmla="*/ 544842 h 725146"/>
              <a:gd name="connsiteX34" fmla="*/ 2171378 w 2331076"/>
              <a:gd name="connsiteY34" fmla="*/ 544842 h 725146"/>
              <a:gd name="connsiteX35" fmla="*/ 2127590 w 2331076"/>
              <a:gd name="connsiteY35" fmla="*/ 547417 h 725146"/>
              <a:gd name="connsiteX36" fmla="*/ 2078005 w 2331076"/>
              <a:gd name="connsiteY36" fmla="*/ 514982 h 725146"/>
              <a:gd name="connsiteX37" fmla="*/ 2058044 w 2331076"/>
              <a:gd name="connsiteY37" fmla="*/ 508781 h 725146"/>
              <a:gd name="connsiteX38" fmla="*/ 2006528 w 2331076"/>
              <a:gd name="connsiteY38" fmla="*/ 444386 h 725146"/>
              <a:gd name="connsiteX39" fmla="*/ 1962740 w 2331076"/>
              <a:gd name="connsiteY39" fmla="*/ 421204 h 725146"/>
              <a:gd name="connsiteX40" fmla="*/ 1934407 w 2331076"/>
              <a:gd name="connsiteY40" fmla="*/ 336204 h 725146"/>
              <a:gd name="connsiteX41" fmla="*/ 1893194 w 2331076"/>
              <a:gd name="connsiteY41" fmla="*/ 305295 h 725146"/>
              <a:gd name="connsiteX42" fmla="*/ 1898346 w 2331076"/>
              <a:gd name="connsiteY42" fmla="*/ 261506 h 725146"/>
              <a:gd name="connsiteX43" fmla="*/ 1934407 w 2331076"/>
              <a:gd name="connsiteY43" fmla="*/ 204839 h 725146"/>
              <a:gd name="connsiteX44" fmla="*/ 1939558 w 2331076"/>
              <a:gd name="connsiteY44" fmla="*/ 140445 h 725146"/>
              <a:gd name="connsiteX45" fmla="*/ 1967892 w 2331076"/>
              <a:gd name="connsiteY45" fmla="*/ 104384 h 725146"/>
              <a:gd name="connsiteX46" fmla="*/ 2006755 w 2331076"/>
              <a:gd name="connsiteY46" fmla="*/ 84996 h 725146"/>
              <a:gd name="connsiteX47" fmla="*/ 1925117 w 2331076"/>
              <a:gd name="connsiteY47" fmla="*/ 383823 h 725146"/>
              <a:gd name="connsiteX0" fmla="*/ 0 w 2328500"/>
              <a:gd name="connsiteY0" fmla="*/ 181657 h 689085"/>
              <a:gd name="connsiteX1" fmla="*/ 43788 w 2328500"/>
              <a:gd name="connsiteY1" fmla="*/ 212567 h 689085"/>
              <a:gd name="connsiteX2" fmla="*/ 115910 w 2328500"/>
              <a:gd name="connsiteY2" fmla="*/ 256355 h 689085"/>
              <a:gd name="connsiteX3" fmla="*/ 162274 w 2328500"/>
              <a:gd name="connsiteY3" fmla="*/ 269234 h 689085"/>
              <a:gd name="connsiteX4" fmla="*/ 190607 w 2328500"/>
              <a:gd name="connsiteY4" fmla="*/ 258931 h 689085"/>
              <a:gd name="connsiteX5" fmla="*/ 221516 w 2328500"/>
              <a:gd name="connsiteY5" fmla="*/ 276961 h 689085"/>
              <a:gd name="connsiteX6" fmla="*/ 262729 w 2328500"/>
              <a:gd name="connsiteY6" fmla="*/ 256355 h 689085"/>
              <a:gd name="connsiteX7" fmla="*/ 278184 w 2328500"/>
              <a:gd name="connsiteY7" fmla="*/ 233173 h 689085"/>
              <a:gd name="connsiteX8" fmla="*/ 309093 w 2328500"/>
              <a:gd name="connsiteY8" fmla="*/ 256355 h 689085"/>
              <a:gd name="connsiteX9" fmla="*/ 342578 w 2328500"/>
              <a:gd name="connsiteY9" fmla="*/ 235749 h 689085"/>
              <a:gd name="connsiteX10" fmla="*/ 352881 w 2328500"/>
              <a:gd name="connsiteY10" fmla="*/ 207415 h 689085"/>
              <a:gd name="connsiteX11" fmla="*/ 401821 w 2328500"/>
              <a:gd name="connsiteY11" fmla="*/ 228021 h 689085"/>
              <a:gd name="connsiteX12" fmla="*/ 455912 w 2328500"/>
              <a:gd name="connsiteY12" fmla="*/ 284688 h 689085"/>
              <a:gd name="connsiteX13" fmla="*/ 510003 w 2328500"/>
              <a:gd name="connsiteY13" fmla="*/ 289840 h 689085"/>
              <a:gd name="connsiteX14" fmla="*/ 530609 w 2328500"/>
              <a:gd name="connsiteY14" fmla="*/ 274385 h 689085"/>
              <a:gd name="connsiteX15" fmla="*/ 576973 w 2328500"/>
              <a:gd name="connsiteY15" fmla="*/ 276961 h 689085"/>
              <a:gd name="connsiteX16" fmla="*/ 613034 w 2328500"/>
              <a:gd name="connsiteY16" fmla="*/ 310446 h 689085"/>
              <a:gd name="connsiteX17" fmla="*/ 628489 w 2328500"/>
              <a:gd name="connsiteY17" fmla="*/ 369689 h 689085"/>
              <a:gd name="connsiteX18" fmla="*/ 669701 w 2328500"/>
              <a:gd name="connsiteY18" fmla="*/ 439235 h 689085"/>
              <a:gd name="connsiteX19" fmla="*/ 667125 w 2328500"/>
              <a:gd name="connsiteY19" fmla="*/ 488175 h 689085"/>
              <a:gd name="connsiteX20" fmla="*/ 690307 w 2328500"/>
              <a:gd name="connsiteY20" fmla="*/ 531963 h 689085"/>
              <a:gd name="connsiteX21" fmla="*/ 739247 w 2328500"/>
              <a:gd name="connsiteY21" fmla="*/ 542266 h 689085"/>
              <a:gd name="connsiteX22" fmla="*/ 767581 w 2328500"/>
              <a:gd name="connsiteY22" fmla="*/ 570599 h 689085"/>
              <a:gd name="connsiteX23" fmla="*/ 844854 w 2328500"/>
              <a:gd name="connsiteY23" fmla="*/ 598933 h 689085"/>
              <a:gd name="connsiteX24" fmla="*/ 891218 w 2328500"/>
              <a:gd name="connsiteY24" fmla="*/ 578327 h 689085"/>
              <a:gd name="connsiteX25" fmla="*/ 927279 w 2328500"/>
              <a:gd name="connsiteY25" fmla="*/ 578327 h 689085"/>
              <a:gd name="connsiteX26" fmla="*/ 955612 w 2328500"/>
              <a:gd name="connsiteY26" fmla="*/ 632418 h 689085"/>
              <a:gd name="connsiteX27" fmla="*/ 976218 w 2328500"/>
              <a:gd name="connsiteY27" fmla="*/ 673630 h 689085"/>
              <a:gd name="connsiteX28" fmla="*/ 2328500 w 2328500"/>
              <a:gd name="connsiteY28" fmla="*/ 689085 h 689085"/>
              <a:gd name="connsiteX29" fmla="*/ 2307894 w 2328500"/>
              <a:gd name="connsiteY29" fmla="*/ 650448 h 689085"/>
              <a:gd name="connsiteX30" fmla="*/ 2228045 w 2328500"/>
              <a:gd name="connsiteY30" fmla="*/ 604084 h 689085"/>
              <a:gd name="connsiteX31" fmla="*/ 2225469 w 2328500"/>
              <a:gd name="connsiteY31" fmla="*/ 568024 h 689085"/>
              <a:gd name="connsiteX32" fmla="*/ 2194560 w 2328500"/>
              <a:gd name="connsiteY32" fmla="*/ 544842 h 689085"/>
              <a:gd name="connsiteX33" fmla="*/ 2171378 w 2328500"/>
              <a:gd name="connsiteY33" fmla="*/ 544842 h 689085"/>
              <a:gd name="connsiteX34" fmla="*/ 2127590 w 2328500"/>
              <a:gd name="connsiteY34" fmla="*/ 547417 h 689085"/>
              <a:gd name="connsiteX35" fmla="*/ 2078005 w 2328500"/>
              <a:gd name="connsiteY35" fmla="*/ 514982 h 689085"/>
              <a:gd name="connsiteX36" fmla="*/ 2058044 w 2328500"/>
              <a:gd name="connsiteY36" fmla="*/ 508781 h 689085"/>
              <a:gd name="connsiteX37" fmla="*/ 2006528 w 2328500"/>
              <a:gd name="connsiteY37" fmla="*/ 444386 h 689085"/>
              <a:gd name="connsiteX38" fmla="*/ 1962740 w 2328500"/>
              <a:gd name="connsiteY38" fmla="*/ 421204 h 689085"/>
              <a:gd name="connsiteX39" fmla="*/ 1934407 w 2328500"/>
              <a:gd name="connsiteY39" fmla="*/ 336204 h 689085"/>
              <a:gd name="connsiteX40" fmla="*/ 1893194 w 2328500"/>
              <a:gd name="connsiteY40" fmla="*/ 305295 h 689085"/>
              <a:gd name="connsiteX41" fmla="*/ 1898346 w 2328500"/>
              <a:gd name="connsiteY41" fmla="*/ 261506 h 689085"/>
              <a:gd name="connsiteX42" fmla="*/ 1934407 w 2328500"/>
              <a:gd name="connsiteY42" fmla="*/ 204839 h 689085"/>
              <a:gd name="connsiteX43" fmla="*/ 1939558 w 2328500"/>
              <a:gd name="connsiteY43" fmla="*/ 140445 h 689085"/>
              <a:gd name="connsiteX44" fmla="*/ 1967892 w 2328500"/>
              <a:gd name="connsiteY44" fmla="*/ 104384 h 689085"/>
              <a:gd name="connsiteX45" fmla="*/ 2006755 w 2328500"/>
              <a:gd name="connsiteY45" fmla="*/ 84996 h 689085"/>
              <a:gd name="connsiteX46" fmla="*/ 1925117 w 2328500"/>
              <a:gd name="connsiteY46" fmla="*/ 383823 h 689085"/>
              <a:gd name="connsiteX0" fmla="*/ 0 w 2307894"/>
              <a:gd name="connsiteY0" fmla="*/ 181657 h 673630"/>
              <a:gd name="connsiteX1" fmla="*/ 43788 w 2307894"/>
              <a:gd name="connsiteY1" fmla="*/ 212567 h 673630"/>
              <a:gd name="connsiteX2" fmla="*/ 115910 w 2307894"/>
              <a:gd name="connsiteY2" fmla="*/ 256355 h 673630"/>
              <a:gd name="connsiteX3" fmla="*/ 162274 w 2307894"/>
              <a:gd name="connsiteY3" fmla="*/ 269234 h 673630"/>
              <a:gd name="connsiteX4" fmla="*/ 190607 w 2307894"/>
              <a:gd name="connsiteY4" fmla="*/ 258931 h 673630"/>
              <a:gd name="connsiteX5" fmla="*/ 221516 w 2307894"/>
              <a:gd name="connsiteY5" fmla="*/ 276961 h 673630"/>
              <a:gd name="connsiteX6" fmla="*/ 262729 w 2307894"/>
              <a:gd name="connsiteY6" fmla="*/ 256355 h 673630"/>
              <a:gd name="connsiteX7" fmla="*/ 278184 w 2307894"/>
              <a:gd name="connsiteY7" fmla="*/ 233173 h 673630"/>
              <a:gd name="connsiteX8" fmla="*/ 309093 w 2307894"/>
              <a:gd name="connsiteY8" fmla="*/ 256355 h 673630"/>
              <a:gd name="connsiteX9" fmla="*/ 342578 w 2307894"/>
              <a:gd name="connsiteY9" fmla="*/ 235749 h 673630"/>
              <a:gd name="connsiteX10" fmla="*/ 352881 w 2307894"/>
              <a:gd name="connsiteY10" fmla="*/ 207415 h 673630"/>
              <a:gd name="connsiteX11" fmla="*/ 401821 w 2307894"/>
              <a:gd name="connsiteY11" fmla="*/ 228021 h 673630"/>
              <a:gd name="connsiteX12" fmla="*/ 455912 w 2307894"/>
              <a:gd name="connsiteY12" fmla="*/ 284688 h 673630"/>
              <a:gd name="connsiteX13" fmla="*/ 510003 w 2307894"/>
              <a:gd name="connsiteY13" fmla="*/ 289840 h 673630"/>
              <a:gd name="connsiteX14" fmla="*/ 530609 w 2307894"/>
              <a:gd name="connsiteY14" fmla="*/ 274385 h 673630"/>
              <a:gd name="connsiteX15" fmla="*/ 576973 w 2307894"/>
              <a:gd name="connsiteY15" fmla="*/ 276961 h 673630"/>
              <a:gd name="connsiteX16" fmla="*/ 613034 w 2307894"/>
              <a:gd name="connsiteY16" fmla="*/ 310446 h 673630"/>
              <a:gd name="connsiteX17" fmla="*/ 628489 w 2307894"/>
              <a:gd name="connsiteY17" fmla="*/ 369689 h 673630"/>
              <a:gd name="connsiteX18" fmla="*/ 669701 w 2307894"/>
              <a:gd name="connsiteY18" fmla="*/ 439235 h 673630"/>
              <a:gd name="connsiteX19" fmla="*/ 667125 w 2307894"/>
              <a:gd name="connsiteY19" fmla="*/ 488175 h 673630"/>
              <a:gd name="connsiteX20" fmla="*/ 690307 w 2307894"/>
              <a:gd name="connsiteY20" fmla="*/ 531963 h 673630"/>
              <a:gd name="connsiteX21" fmla="*/ 739247 w 2307894"/>
              <a:gd name="connsiteY21" fmla="*/ 542266 h 673630"/>
              <a:gd name="connsiteX22" fmla="*/ 767581 w 2307894"/>
              <a:gd name="connsiteY22" fmla="*/ 570599 h 673630"/>
              <a:gd name="connsiteX23" fmla="*/ 844854 w 2307894"/>
              <a:gd name="connsiteY23" fmla="*/ 598933 h 673630"/>
              <a:gd name="connsiteX24" fmla="*/ 891218 w 2307894"/>
              <a:gd name="connsiteY24" fmla="*/ 578327 h 673630"/>
              <a:gd name="connsiteX25" fmla="*/ 927279 w 2307894"/>
              <a:gd name="connsiteY25" fmla="*/ 578327 h 673630"/>
              <a:gd name="connsiteX26" fmla="*/ 955612 w 2307894"/>
              <a:gd name="connsiteY26" fmla="*/ 632418 h 673630"/>
              <a:gd name="connsiteX27" fmla="*/ 976218 w 2307894"/>
              <a:gd name="connsiteY27" fmla="*/ 673630 h 673630"/>
              <a:gd name="connsiteX28" fmla="*/ 2307894 w 2307894"/>
              <a:gd name="connsiteY28" fmla="*/ 650448 h 673630"/>
              <a:gd name="connsiteX29" fmla="*/ 2228045 w 2307894"/>
              <a:gd name="connsiteY29" fmla="*/ 604084 h 673630"/>
              <a:gd name="connsiteX30" fmla="*/ 2225469 w 2307894"/>
              <a:gd name="connsiteY30" fmla="*/ 568024 h 673630"/>
              <a:gd name="connsiteX31" fmla="*/ 2194560 w 2307894"/>
              <a:gd name="connsiteY31" fmla="*/ 544842 h 673630"/>
              <a:gd name="connsiteX32" fmla="*/ 2171378 w 2307894"/>
              <a:gd name="connsiteY32" fmla="*/ 544842 h 673630"/>
              <a:gd name="connsiteX33" fmla="*/ 2127590 w 2307894"/>
              <a:gd name="connsiteY33" fmla="*/ 547417 h 673630"/>
              <a:gd name="connsiteX34" fmla="*/ 2078005 w 2307894"/>
              <a:gd name="connsiteY34" fmla="*/ 514982 h 673630"/>
              <a:gd name="connsiteX35" fmla="*/ 2058044 w 2307894"/>
              <a:gd name="connsiteY35" fmla="*/ 508781 h 673630"/>
              <a:gd name="connsiteX36" fmla="*/ 2006528 w 2307894"/>
              <a:gd name="connsiteY36" fmla="*/ 444386 h 673630"/>
              <a:gd name="connsiteX37" fmla="*/ 1962740 w 2307894"/>
              <a:gd name="connsiteY37" fmla="*/ 421204 h 673630"/>
              <a:gd name="connsiteX38" fmla="*/ 1934407 w 2307894"/>
              <a:gd name="connsiteY38" fmla="*/ 336204 h 673630"/>
              <a:gd name="connsiteX39" fmla="*/ 1893194 w 2307894"/>
              <a:gd name="connsiteY39" fmla="*/ 305295 h 673630"/>
              <a:gd name="connsiteX40" fmla="*/ 1898346 w 2307894"/>
              <a:gd name="connsiteY40" fmla="*/ 261506 h 673630"/>
              <a:gd name="connsiteX41" fmla="*/ 1934407 w 2307894"/>
              <a:gd name="connsiteY41" fmla="*/ 204839 h 673630"/>
              <a:gd name="connsiteX42" fmla="*/ 1939558 w 2307894"/>
              <a:gd name="connsiteY42" fmla="*/ 140445 h 673630"/>
              <a:gd name="connsiteX43" fmla="*/ 1967892 w 2307894"/>
              <a:gd name="connsiteY43" fmla="*/ 104384 h 673630"/>
              <a:gd name="connsiteX44" fmla="*/ 2006755 w 2307894"/>
              <a:gd name="connsiteY44" fmla="*/ 84996 h 673630"/>
              <a:gd name="connsiteX45" fmla="*/ 1925117 w 2307894"/>
              <a:gd name="connsiteY45" fmla="*/ 383823 h 673630"/>
              <a:gd name="connsiteX0" fmla="*/ 0 w 2228045"/>
              <a:gd name="connsiteY0" fmla="*/ 181657 h 673630"/>
              <a:gd name="connsiteX1" fmla="*/ 43788 w 2228045"/>
              <a:gd name="connsiteY1" fmla="*/ 212567 h 673630"/>
              <a:gd name="connsiteX2" fmla="*/ 115910 w 2228045"/>
              <a:gd name="connsiteY2" fmla="*/ 256355 h 673630"/>
              <a:gd name="connsiteX3" fmla="*/ 162274 w 2228045"/>
              <a:gd name="connsiteY3" fmla="*/ 269234 h 673630"/>
              <a:gd name="connsiteX4" fmla="*/ 190607 w 2228045"/>
              <a:gd name="connsiteY4" fmla="*/ 258931 h 673630"/>
              <a:gd name="connsiteX5" fmla="*/ 221516 w 2228045"/>
              <a:gd name="connsiteY5" fmla="*/ 276961 h 673630"/>
              <a:gd name="connsiteX6" fmla="*/ 262729 w 2228045"/>
              <a:gd name="connsiteY6" fmla="*/ 256355 h 673630"/>
              <a:gd name="connsiteX7" fmla="*/ 278184 w 2228045"/>
              <a:gd name="connsiteY7" fmla="*/ 233173 h 673630"/>
              <a:gd name="connsiteX8" fmla="*/ 309093 w 2228045"/>
              <a:gd name="connsiteY8" fmla="*/ 256355 h 673630"/>
              <a:gd name="connsiteX9" fmla="*/ 342578 w 2228045"/>
              <a:gd name="connsiteY9" fmla="*/ 235749 h 673630"/>
              <a:gd name="connsiteX10" fmla="*/ 352881 w 2228045"/>
              <a:gd name="connsiteY10" fmla="*/ 207415 h 673630"/>
              <a:gd name="connsiteX11" fmla="*/ 401821 w 2228045"/>
              <a:gd name="connsiteY11" fmla="*/ 228021 h 673630"/>
              <a:gd name="connsiteX12" fmla="*/ 455912 w 2228045"/>
              <a:gd name="connsiteY12" fmla="*/ 284688 h 673630"/>
              <a:gd name="connsiteX13" fmla="*/ 510003 w 2228045"/>
              <a:gd name="connsiteY13" fmla="*/ 289840 h 673630"/>
              <a:gd name="connsiteX14" fmla="*/ 530609 w 2228045"/>
              <a:gd name="connsiteY14" fmla="*/ 274385 h 673630"/>
              <a:gd name="connsiteX15" fmla="*/ 576973 w 2228045"/>
              <a:gd name="connsiteY15" fmla="*/ 276961 h 673630"/>
              <a:gd name="connsiteX16" fmla="*/ 613034 w 2228045"/>
              <a:gd name="connsiteY16" fmla="*/ 310446 h 673630"/>
              <a:gd name="connsiteX17" fmla="*/ 628489 w 2228045"/>
              <a:gd name="connsiteY17" fmla="*/ 369689 h 673630"/>
              <a:gd name="connsiteX18" fmla="*/ 669701 w 2228045"/>
              <a:gd name="connsiteY18" fmla="*/ 439235 h 673630"/>
              <a:gd name="connsiteX19" fmla="*/ 667125 w 2228045"/>
              <a:gd name="connsiteY19" fmla="*/ 488175 h 673630"/>
              <a:gd name="connsiteX20" fmla="*/ 690307 w 2228045"/>
              <a:gd name="connsiteY20" fmla="*/ 531963 h 673630"/>
              <a:gd name="connsiteX21" fmla="*/ 739247 w 2228045"/>
              <a:gd name="connsiteY21" fmla="*/ 542266 h 673630"/>
              <a:gd name="connsiteX22" fmla="*/ 767581 w 2228045"/>
              <a:gd name="connsiteY22" fmla="*/ 570599 h 673630"/>
              <a:gd name="connsiteX23" fmla="*/ 844854 w 2228045"/>
              <a:gd name="connsiteY23" fmla="*/ 598933 h 673630"/>
              <a:gd name="connsiteX24" fmla="*/ 891218 w 2228045"/>
              <a:gd name="connsiteY24" fmla="*/ 578327 h 673630"/>
              <a:gd name="connsiteX25" fmla="*/ 927279 w 2228045"/>
              <a:gd name="connsiteY25" fmla="*/ 578327 h 673630"/>
              <a:gd name="connsiteX26" fmla="*/ 955612 w 2228045"/>
              <a:gd name="connsiteY26" fmla="*/ 632418 h 673630"/>
              <a:gd name="connsiteX27" fmla="*/ 976218 w 2228045"/>
              <a:gd name="connsiteY27" fmla="*/ 673630 h 673630"/>
              <a:gd name="connsiteX28" fmla="*/ 2228045 w 2228045"/>
              <a:gd name="connsiteY28" fmla="*/ 604084 h 673630"/>
              <a:gd name="connsiteX29" fmla="*/ 2225469 w 2228045"/>
              <a:gd name="connsiteY29" fmla="*/ 568024 h 673630"/>
              <a:gd name="connsiteX30" fmla="*/ 2194560 w 2228045"/>
              <a:gd name="connsiteY30" fmla="*/ 544842 h 673630"/>
              <a:gd name="connsiteX31" fmla="*/ 2171378 w 2228045"/>
              <a:gd name="connsiteY31" fmla="*/ 544842 h 673630"/>
              <a:gd name="connsiteX32" fmla="*/ 2127590 w 2228045"/>
              <a:gd name="connsiteY32" fmla="*/ 547417 h 673630"/>
              <a:gd name="connsiteX33" fmla="*/ 2078005 w 2228045"/>
              <a:gd name="connsiteY33" fmla="*/ 514982 h 673630"/>
              <a:gd name="connsiteX34" fmla="*/ 2058044 w 2228045"/>
              <a:gd name="connsiteY34" fmla="*/ 508781 h 673630"/>
              <a:gd name="connsiteX35" fmla="*/ 2006528 w 2228045"/>
              <a:gd name="connsiteY35" fmla="*/ 444386 h 673630"/>
              <a:gd name="connsiteX36" fmla="*/ 1962740 w 2228045"/>
              <a:gd name="connsiteY36" fmla="*/ 421204 h 673630"/>
              <a:gd name="connsiteX37" fmla="*/ 1934407 w 2228045"/>
              <a:gd name="connsiteY37" fmla="*/ 336204 h 673630"/>
              <a:gd name="connsiteX38" fmla="*/ 1893194 w 2228045"/>
              <a:gd name="connsiteY38" fmla="*/ 305295 h 673630"/>
              <a:gd name="connsiteX39" fmla="*/ 1898346 w 2228045"/>
              <a:gd name="connsiteY39" fmla="*/ 261506 h 673630"/>
              <a:gd name="connsiteX40" fmla="*/ 1934407 w 2228045"/>
              <a:gd name="connsiteY40" fmla="*/ 204839 h 673630"/>
              <a:gd name="connsiteX41" fmla="*/ 1939558 w 2228045"/>
              <a:gd name="connsiteY41" fmla="*/ 140445 h 673630"/>
              <a:gd name="connsiteX42" fmla="*/ 1967892 w 2228045"/>
              <a:gd name="connsiteY42" fmla="*/ 104384 h 673630"/>
              <a:gd name="connsiteX43" fmla="*/ 2006755 w 2228045"/>
              <a:gd name="connsiteY43" fmla="*/ 84996 h 673630"/>
              <a:gd name="connsiteX44" fmla="*/ 1925117 w 2228045"/>
              <a:gd name="connsiteY44" fmla="*/ 383823 h 673630"/>
              <a:gd name="connsiteX0" fmla="*/ 0 w 2225469"/>
              <a:gd name="connsiteY0" fmla="*/ 181657 h 673630"/>
              <a:gd name="connsiteX1" fmla="*/ 43788 w 2225469"/>
              <a:gd name="connsiteY1" fmla="*/ 212567 h 673630"/>
              <a:gd name="connsiteX2" fmla="*/ 115910 w 2225469"/>
              <a:gd name="connsiteY2" fmla="*/ 256355 h 673630"/>
              <a:gd name="connsiteX3" fmla="*/ 162274 w 2225469"/>
              <a:gd name="connsiteY3" fmla="*/ 269234 h 673630"/>
              <a:gd name="connsiteX4" fmla="*/ 190607 w 2225469"/>
              <a:gd name="connsiteY4" fmla="*/ 258931 h 673630"/>
              <a:gd name="connsiteX5" fmla="*/ 221516 w 2225469"/>
              <a:gd name="connsiteY5" fmla="*/ 276961 h 673630"/>
              <a:gd name="connsiteX6" fmla="*/ 262729 w 2225469"/>
              <a:gd name="connsiteY6" fmla="*/ 256355 h 673630"/>
              <a:gd name="connsiteX7" fmla="*/ 278184 w 2225469"/>
              <a:gd name="connsiteY7" fmla="*/ 233173 h 673630"/>
              <a:gd name="connsiteX8" fmla="*/ 309093 w 2225469"/>
              <a:gd name="connsiteY8" fmla="*/ 256355 h 673630"/>
              <a:gd name="connsiteX9" fmla="*/ 342578 w 2225469"/>
              <a:gd name="connsiteY9" fmla="*/ 235749 h 673630"/>
              <a:gd name="connsiteX10" fmla="*/ 352881 w 2225469"/>
              <a:gd name="connsiteY10" fmla="*/ 207415 h 673630"/>
              <a:gd name="connsiteX11" fmla="*/ 401821 w 2225469"/>
              <a:gd name="connsiteY11" fmla="*/ 228021 h 673630"/>
              <a:gd name="connsiteX12" fmla="*/ 455912 w 2225469"/>
              <a:gd name="connsiteY12" fmla="*/ 284688 h 673630"/>
              <a:gd name="connsiteX13" fmla="*/ 510003 w 2225469"/>
              <a:gd name="connsiteY13" fmla="*/ 289840 h 673630"/>
              <a:gd name="connsiteX14" fmla="*/ 530609 w 2225469"/>
              <a:gd name="connsiteY14" fmla="*/ 274385 h 673630"/>
              <a:gd name="connsiteX15" fmla="*/ 576973 w 2225469"/>
              <a:gd name="connsiteY15" fmla="*/ 276961 h 673630"/>
              <a:gd name="connsiteX16" fmla="*/ 613034 w 2225469"/>
              <a:gd name="connsiteY16" fmla="*/ 310446 h 673630"/>
              <a:gd name="connsiteX17" fmla="*/ 628489 w 2225469"/>
              <a:gd name="connsiteY17" fmla="*/ 369689 h 673630"/>
              <a:gd name="connsiteX18" fmla="*/ 669701 w 2225469"/>
              <a:gd name="connsiteY18" fmla="*/ 439235 h 673630"/>
              <a:gd name="connsiteX19" fmla="*/ 667125 w 2225469"/>
              <a:gd name="connsiteY19" fmla="*/ 488175 h 673630"/>
              <a:gd name="connsiteX20" fmla="*/ 690307 w 2225469"/>
              <a:gd name="connsiteY20" fmla="*/ 531963 h 673630"/>
              <a:gd name="connsiteX21" fmla="*/ 739247 w 2225469"/>
              <a:gd name="connsiteY21" fmla="*/ 542266 h 673630"/>
              <a:gd name="connsiteX22" fmla="*/ 767581 w 2225469"/>
              <a:gd name="connsiteY22" fmla="*/ 570599 h 673630"/>
              <a:gd name="connsiteX23" fmla="*/ 844854 w 2225469"/>
              <a:gd name="connsiteY23" fmla="*/ 598933 h 673630"/>
              <a:gd name="connsiteX24" fmla="*/ 891218 w 2225469"/>
              <a:gd name="connsiteY24" fmla="*/ 578327 h 673630"/>
              <a:gd name="connsiteX25" fmla="*/ 927279 w 2225469"/>
              <a:gd name="connsiteY25" fmla="*/ 578327 h 673630"/>
              <a:gd name="connsiteX26" fmla="*/ 955612 w 2225469"/>
              <a:gd name="connsiteY26" fmla="*/ 632418 h 673630"/>
              <a:gd name="connsiteX27" fmla="*/ 976218 w 2225469"/>
              <a:gd name="connsiteY27" fmla="*/ 673630 h 673630"/>
              <a:gd name="connsiteX28" fmla="*/ 2225469 w 2225469"/>
              <a:gd name="connsiteY28" fmla="*/ 568024 h 673630"/>
              <a:gd name="connsiteX29" fmla="*/ 2194560 w 2225469"/>
              <a:gd name="connsiteY29" fmla="*/ 544842 h 673630"/>
              <a:gd name="connsiteX30" fmla="*/ 2171378 w 2225469"/>
              <a:gd name="connsiteY30" fmla="*/ 544842 h 673630"/>
              <a:gd name="connsiteX31" fmla="*/ 2127590 w 2225469"/>
              <a:gd name="connsiteY31" fmla="*/ 547417 h 673630"/>
              <a:gd name="connsiteX32" fmla="*/ 2078005 w 2225469"/>
              <a:gd name="connsiteY32" fmla="*/ 514982 h 673630"/>
              <a:gd name="connsiteX33" fmla="*/ 2058044 w 2225469"/>
              <a:gd name="connsiteY33" fmla="*/ 508781 h 673630"/>
              <a:gd name="connsiteX34" fmla="*/ 2006528 w 2225469"/>
              <a:gd name="connsiteY34" fmla="*/ 444386 h 673630"/>
              <a:gd name="connsiteX35" fmla="*/ 1962740 w 2225469"/>
              <a:gd name="connsiteY35" fmla="*/ 421204 h 673630"/>
              <a:gd name="connsiteX36" fmla="*/ 1934407 w 2225469"/>
              <a:gd name="connsiteY36" fmla="*/ 336204 h 673630"/>
              <a:gd name="connsiteX37" fmla="*/ 1893194 w 2225469"/>
              <a:gd name="connsiteY37" fmla="*/ 305295 h 673630"/>
              <a:gd name="connsiteX38" fmla="*/ 1898346 w 2225469"/>
              <a:gd name="connsiteY38" fmla="*/ 261506 h 673630"/>
              <a:gd name="connsiteX39" fmla="*/ 1934407 w 2225469"/>
              <a:gd name="connsiteY39" fmla="*/ 204839 h 673630"/>
              <a:gd name="connsiteX40" fmla="*/ 1939558 w 2225469"/>
              <a:gd name="connsiteY40" fmla="*/ 140445 h 673630"/>
              <a:gd name="connsiteX41" fmla="*/ 1967892 w 2225469"/>
              <a:gd name="connsiteY41" fmla="*/ 104384 h 673630"/>
              <a:gd name="connsiteX42" fmla="*/ 2006755 w 2225469"/>
              <a:gd name="connsiteY42" fmla="*/ 84996 h 673630"/>
              <a:gd name="connsiteX43" fmla="*/ 1925117 w 2225469"/>
              <a:gd name="connsiteY43" fmla="*/ 383823 h 673630"/>
              <a:gd name="connsiteX0" fmla="*/ 0 w 2225469"/>
              <a:gd name="connsiteY0" fmla="*/ 77273 h 569246"/>
              <a:gd name="connsiteX1" fmla="*/ 43788 w 2225469"/>
              <a:gd name="connsiteY1" fmla="*/ 108183 h 569246"/>
              <a:gd name="connsiteX2" fmla="*/ 115910 w 2225469"/>
              <a:gd name="connsiteY2" fmla="*/ 151971 h 569246"/>
              <a:gd name="connsiteX3" fmla="*/ 162274 w 2225469"/>
              <a:gd name="connsiteY3" fmla="*/ 164850 h 569246"/>
              <a:gd name="connsiteX4" fmla="*/ 190607 w 2225469"/>
              <a:gd name="connsiteY4" fmla="*/ 154547 h 569246"/>
              <a:gd name="connsiteX5" fmla="*/ 221516 w 2225469"/>
              <a:gd name="connsiteY5" fmla="*/ 172577 h 569246"/>
              <a:gd name="connsiteX6" fmla="*/ 262729 w 2225469"/>
              <a:gd name="connsiteY6" fmla="*/ 151971 h 569246"/>
              <a:gd name="connsiteX7" fmla="*/ 278184 w 2225469"/>
              <a:gd name="connsiteY7" fmla="*/ 128789 h 569246"/>
              <a:gd name="connsiteX8" fmla="*/ 309093 w 2225469"/>
              <a:gd name="connsiteY8" fmla="*/ 151971 h 569246"/>
              <a:gd name="connsiteX9" fmla="*/ 342578 w 2225469"/>
              <a:gd name="connsiteY9" fmla="*/ 131365 h 569246"/>
              <a:gd name="connsiteX10" fmla="*/ 352881 w 2225469"/>
              <a:gd name="connsiteY10" fmla="*/ 103031 h 569246"/>
              <a:gd name="connsiteX11" fmla="*/ 401821 w 2225469"/>
              <a:gd name="connsiteY11" fmla="*/ 123637 h 569246"/>
              <a:gd name="connsiteX12" fmla="*/ 455912 w 2225469"/>
              <a:gd name="connsiteY12" fmla="*/ 180304 h 569246"/>
              <a:gd name="connsiteX13" fmla="*/ 510003 w 2225469"/>
              <a:gd name="connsiteY13" fmla="*/ 185456 h 569246"/>
              <a:gd name="connsiteX14" fmla="*/ 530609 w 2225469"/>
              <a:gd name="connsiteY14" fmla="*/ 170001 h 569246"/>
              <a:gd name="connsiteX15" fmla="*/ 576973 w 2225469"/>
              <a:gd name="connsiteY15" fmla="*/ 172577 h 569246"/>
              <a:gd name="connsiteX16" fmla="*/ 613034 w 2225469"/>
              <a:gd name="connsiteY16" fmla="*/ 206062 h 569246"/>
              <a:gd name="connsiteX17" fmla="*/ 628489 w 2225469"/>
              <a:gd name="connsiteY17" fmla="*/ 265305 h 569246"/>
              <a:gd name="connsiteX18" fmla="*/ 669701 w 2225469"/>
              <a:gd name="connsiteY18" fmla="*/ 334851 h 569246"/>
              <a:gd name="connsiteX19" fmla="*/ 667125 w 2225469"/>
              <a:gd name="connsiteY19" fmla="*/ 383791 h 569246"/>
              <a:gd name="connsiteX20" fmla="*/ 690307 w 2225469"/>
              <a:gd name="connsiteY20" fmla="*/ 427579 h 569246"/>
              <a:gd name="connsiteX21" fmla="*/ 739247 w 2225469"/>
              <a:gd name="connsiteY21" fmla="*/ 437882 h 569246"/>
              <a:gd name="connsiteX22" fmla="*/ 767581 w 2225469"/>
              <a:gd name="connsiteY22" fmla="*/ 466215 h 569246"/>
              <a:gd name="connsiteX23" fmla="*/ 844854 w 2225469"/>
              <a:gd name="connsiteY23" fmla="*/ 494549 h 569246"/>
              <a:gd name="connsiteX24" fmla="*/ 891218 w 2225469"/>
              <a:gd name="connsiteY24" fmla="*/ 473943 h 569246"/>
              <a:gd name="connsiteX25" fmla="*/ 927279 w 2225469"/>
              <a:gd name="connsiteY25" fmla="*/ 473943 h 569246"/>
              <a:gd name="connsiteX26" fmla="*/ 955612 w 2225469"/>
              <a:gd name="connsiteY26" fmla="*/ 528034 h 569246"/>
              <a:gd name="connsiteX27" fmla="*/ 976218 w 2225469"/>
              <a:gd name="connsiteY27" fmla="*/ 569246 h 569246"/>
              <a:gd name="connsiteX28" fmla="*/ 2225469 w 2225469"/>
              <a:gd name="connsiteY28" fmla="*/ 463640 h 569246"/>
              <a:gd name="connsiteX29" fmla="*/ 2194560 w 2225469"/>
              <a:gd name="connsiteY29" fmla="*/ 440458 h 569246"/>
              <a:gd name="connsiteX30" fmla="*/ 2171378 w 2225469"/>
              <a:gd name="connsiteY30" fmla="*/ 440458 h 569246"/>
              <a:gd name="connsiteX31" fmla="*/ 2127590 w 2225469"/>
              <a:gd name="connsiteY31" fmla="*/ 443033 h 569246"/>
              <a:gd name="connsiteX32" fmla="*/ 2078005 w 2225469"/>
              <a:gd name="connsiteY32" fmla="*/ 410598 h 569246"/>
              <a:gd name="connsiteX33" fmla="*/ 2058044 w 2225469"/>
              <a:gd name="connsiteY33" fmla="*/ 404397 h 569246"/>
              <a:gd name="connsiteX34" fmla="*/ 2006528 w 2225469"/>
              <a:gd name="connsiteY34" fmla="*/ 340002 h 569246"/>
              <a:gd name="connsiteX35" fmla="*/ 1962740 w 2225469"/>
              <a:gd name="connsiteY35" fmla="*/ 316820 h 569246"/>
              <a:gd name="connsiteX36" fmla="*/ 1934407 w 2225469"/>
              <a:gd name="connsiteY36" fmla="*/ 231820 h 569246"/>
              <a:gd name="connsiteX37" fmla="*/ 1893194 w 2225469"/>
              <a:gd name="connsiteY37" fmla="*/ 200911 h 569246"/>
              <a:gd name="connsiteX38" fmla="*/ 1898346 w 2225469"/>
              <a:gd name="connsiteY38" fmla="*/ 157122 h 569246"/>
              <a:gd name="connsiteX39" fmla="*/ 1934407 w 2225469"/>
              <a:gd name="connsiteY39" fmla="*/ 100455 h 569246"/>
              <a:gd name="connsiteX40" fmla="*/ 1939558 w 2225469"/>
              <a:gd name="connsiteY40" fmla="*/ 36061 h 569246"/>
              <a:gd name="connsiteX41" fmla="*/ 1967892 w 2225469"/>
              <a:gd name="connsiteY41" fmla="*/ 0 h 569246"/>
              <a:gd name="connsiteX42" fmla="*/ 1925117 w 2225469"/>
              <a:gd name="connsiteY42" fmla="*/ 279439 h 569246"/>
              <a:gd name="connsiteX0" fmla="*/ 0 w 2225469"/>
              <a:gd name="connsiteY0" fmla="*/ 77273 h 569246"/>
              <a:gd name="connsiteX1" fmla="*/ 43788 w 2225469"/>
              <a:gd name="connsiteY1" fmla="*/ 108183 h 569246"/>
              <a:gd name="connsiteX2" fmla="*/ 115910 w 2225469"/>
              <a:gd name="connsiteY2" fmla="*/ 151971 h 569246"/>
              <a:gd name="connsiteX3" fmla="*/ 162274 w 2225469"/>
              <a:gd name="connsiteY3" fmla="*/ 164850 h 569246"/>
              <a:gd name="connsiteX4" fmla="*/ 190607 w 2225469"/>
              <a:gd name="connsiteY4" fmla="*/ 154547 h 569246"/>
              <a:gd name="connsiteX5" fmla="*/ 221516 w 2225469"/>
              <a:gd name="connsiteY5" fmla="*/ 172577 h 569246"/>
              <a:gd name="connsiteX6" fmla="*/ 262729 w 2225469"/>
              <a:gd name="connsiteY6" fmla="*/ 151971 h 569246"/>
              <a:gd name="connsiteX7" fmla="*/ 278184 w 2225469"/>
              <a:gd name="connsiteY7" fmla="*/ 128789 h 569246"/>
              <a:gd name="connsiteX8" fmla="*/ 309093 w 2225469"/>
              <a:gd name="connsiteY8" fmla="*/ 151971 h 569246"/>
              <a:gd name="connsiteX9" fmla="*/ 342578 w 2225469"/>
              <a:gd name="connsiteY9" fmla="*/ 131365 h 569246"/>
              <a:gd name="connsiteX10" fmla="*/ 352881 w 2225469"/>
              <a:gd name="connsiteY10" fmla="*/ 103031 h 569246"/>
              <a:gd name="connsiteX11" fmla="*/ 401821 w 2225469"/>
              <a:gd name="connsiteY11" fmla="*/ 123637 h 569246"/>
              <a:gd name="connsiteX12" fmla="*/ 455912 w 2225469"/>
              <a:gd name="connsiteY12" fmla="*/ 180304 h 569246"/>
              <a:gd name="connsiteX13" fmla="*/ 510003 w 2225469"/>
              <a:gd name="connsiteY13" fmla="*/ 185456 h 569246"/>
              <a:gd name="connsiteX14" fmla="*/ 530609 w 2225469"/>
              <a:gd name="connsiteY14" fmla="*/ 170001 h 569246"/>
              <a:gd name="connsiteX15" fmla="*/ 576973 w 2225469"/>
              <a:gd name="connsiteY15" fmla="*/ 172577 h 569246"/>
              <a:gd name="connsiteX16" fmla="*/ 613034 w 2225469"/>
              <a:gd name="connsiteY16" fmla="*/ 206062 h 569246"/>
              <a:gd name="connsiteX17" fmla="*/ 628489 w 2225469"/>
              <a:gd name="connsiteY17" fmla="*/ 265305 h 569246"/>
              <a:gd name="connsiteX18" fmla="*/ 669701 w 2225469"/>
              <a:gd name="connsiteY18" fmla="*/ 334851 h 569246"/>
              <a:gd name="connsiteX19" fmla="*/ 667125 w 2225469"/>
              <a:gd name="connsiteY19" fmla="*/ 383791 h 569246"/>
              <a:gd name="connsiteX20" fmla="*/ 690307 w 2225469"/>
              <a:gd name="connsiteY20" fmla="*/ 427579 h 569246"/>
              <a:gd name="connsiteX21" fmla="*/ 739247 w 2225469"/>
              <a:gd name="connsiteY21" fmla="*/ 437882 h 569246"/>
              <a:gd name="connsiteX22" fmla="*/ 767581 w 2225469"/>
              <a:gd name="connsiteY22" fmla="*/ 466215 h 569246"/>
              <a:gd name="connsiteX23" fmla="*/ 844854 w 2225469"/>
              <a:gd name="connsiteY23" fmla="*/ 494549 h 569246"/>
              <a:gd name="connsiteX24" fmla="*/ 891218 w 2225469"/>
              <a:gd name="connsiteY24" fmla="*/ 473943 h 569246"/>
              <a:gd name="connsiteX25" fmla="*/ 927279 w 2225469"/>
              <a:gd name="connsiteY25" fmla="*/ 473943 h 569246"/>
              <a:gd name="connsiteX26" fmla="*/ 955612 w 2225469"/>
              <a:gd name="connsiteY26" fmla="*/ 528034 h 569246"/>
              <a:gd name="connsiteX27" fmla="*/ 976218 w 2225469"/>
              <a:gd name="connsiteY27" fmla="*/ 569246 h 569246"/>
              <a:gd name="connsiteX28" fmla="*/ 2225469 w 2225469"/>
              <a:gd name="connsiteY28" fmla="*/ 463640 h 569246"/>
              <a:gd name="connsiteX29" fmla="*/ 2194560 w 2225469"/>
              <a:gd name="connsiteY29" fmla="*/ 440458 h 569246"/>
              <a:gd name="connsiteX30" fmla="*/ 2171378 w 2225469"/>
              <a:gd name="connsiteY30" fmla="*/ 440458 h 569246"/>
              <a:gd name="connsiteX31" fmla="*/ 2127590 w 2225469"/>
              <a:gd name="connsiteY31" fmla="*/ 443033 h 569246"/>
              <a:gd name="connsiteX32" fmla="*/ 2078005 w 2225469"/>
              <a:gd name="connsiteY32" fmla="*/ 410598 h 569246"/>
              <a:gd name="connsiteX33" fmla="*/ 2058044 w 2225469"/>
              <a:gd name="connsiteY33" fmla="*/ 404397 h 569246"/>
              <a:gd name="connsiteX34" fmla="*/ 2006528 w 2225469"/>
              <a:gd name="connsiteY34" fmla="*/ 340002 h 569246"/>
              <a:gd name="connsiteX35" fmla="*/ 1962740 w 2225469"/>
              <a:gd name="connsiteY35" fmla="*/ 316820 h 569246"/>
              <a:gd name="connsiteX36" fmla="*/ 1934407 w 2225469"/>
              <a:gd name="connsiteY36" fmla="*/ 231820 h 569246"/>
              <a:gd name="connsiteX37" fmla="*/ 1893194 w 2225469"/>
              <a:gd name="connsiteY37" fmla="*/ 200911 h 569246"/>
              <a:gd name="connsiteX38" fmla="*/ 1898346 w 2225469"/>
              <a:gd name="connsiteY38" fmla="*/ 157122 h 569246"/>
              <a:gd name="connsiteX39" fmla="*/ 1934407 w 2225469"/>
              <a:gd name="connsiteY39" fmla="*/ 100455 h 569246"/>
              <a:gd name="connsiteX40" fmla="*/ 1939558 w 2225469"/>
              <a:gd name="connsiteY40" fmla="*/ 36061 h 569246"/>
              <a:gd name="connsiteX41" fmla="*/ 1946747 w 2225469"/>
              <a:gd name="connsiteY41" fmla="*/ 12303 h 569246"/>
              <a:gd name="connsiteX42" fmla="*/ 1967892 w 2225469"/>
              <a:gd name="connsiteY42" fmla="*/ 0 h 569246"/>
              <a:gd name="connsiteX43" fmla="*/ 1925117 w 2225469"/>
              <a:gd name="connsiteY43" fmla="*/ 279439 h 569246"/>
              <a:gd name="connsiteX0" fmla="*/ 0 w 2225469"/>
              <a:gd name="connsiteY0" fmla="*/ 77273 h 569246"/>
              <a:gd name="connsiteX1" fmla="*/ 43788 w 2225469"/>
              <a:gd name="connsiteY1" fmla="*/ 108183 h 569246"/>
              <a:gd name="connsiteX2" fmla="*/ 115910 w 2225469"/>
              <a:gd name="connsiteY2" fmla="*/ 151971 h 569246"/>
              <a:gd name="connsiteX3" fmla="*/ 162274 w 2225469"/>
              <a:gd name="connsiteY3" fmla="*/ 164850 h 569246"/>
              <a:gd name="connsiteX4" fmla="*/ 190607 w 2225469"/>
              <a:gd name="connsiteY4" fmla="*/ 154547 h 569246"/>
              <a:gd name="connsiteX5" fmla="*/ 221516 w 2225469"/>
              <a:gd name="connsiteY5" fmla="*/ 172577 h 569246"/>
              <a:gd name="connsiteX6" fmla="*/ 262729 w 2225469"/>
              <a:gd name="connsiteY6" fmla="*/ 151971 h 569246"/>
              <a:gd name="connsiteX7" fmla="*/ 278184 w 2225469"/>
              <a:gd name="connsiteY7" fmla="*/ 128789 h 569246"/>
              <a:gd name="connsiteX8" fmla="*/ 309093 w 2225469"/>
              <a:gd name="connsiteY8" fmla="*/ 151971 h 569246"/>
              <a:gd name="connsiteX9" fmla="*/ 342578 w 2225469"/>
              <a:gd name="connsiteY9" fmla="*/ 131365 h 569246"/>
              <a:gd name="connsiteX10" fmla="*/ 352881 w 2225469"/>
              <a:gd name="connsiteY10" fmla="*/ 103031 h 569246"/>
              <a:gd name="connsiteX11" fmla="*/ 401821 w 2225469"/>
              <a:gd name="connsiteY11" fmla="*/ 123637 h 569246"/>
              <a:gd name="connsiteX12" fmla="*/ 455912 w 2225469"/>
              <a:gd name="connsiteY12" fmla="*/ 180304 h 569246"/>
              <a:gd name="connsiteX13" fmla="*/ 510003 w 2225469"/>
              <a:gd name="connsiteY13" fmla="*/ 185456 h 569246"/>
              <a:gd name="connsiteX14" fmla="*/ 530609 w 2225469"/>
              <a:gd name="connsiteY14" fmla="*/ 170001 h 569246"/>
              <a:gd name="connsiteX15" fmla="*/ 576973 w 2225469"/>
              <a:gd name="connsiteY15" fmla="*/ 172577 h 569246"/>
              <a:gd name="connsiteX16" fmla="*/ 613034 w 2225469"/>
              <a:gd name="connsiteY16" fmla="*/ 206062 h 569246"/>
              <a:gd name="connsiteX17" fmla="*/ 628489 w 2225469"/>
              <a:gd name="connsiteY17" fmla="*/ 265305 h 569246"/>
              <a:gd name="connsiteX18" fmla="*/ 669701 w 2225469"/>
              <a:gd name="connsiteY18" fmla="*/ 334851 h 569246"/>
              <a:gd name="connsiteX19" fmla="*/ 667125 w 2225469"/>
              <a:gd name="connsiteY19" fmla="*/ 383791 h 569246"/>
              <a:gd name="connsiteX20" fmla="*/ 690307 w 2225469"/>
              <a:gd name="connsiteY20" fmla="*/ 427579 h 569246"/>
              <a:gd name="connsiteX21" fmla="*/ 739247 w 2225469"/>
              <a:gd name="connsiteY21" fmla="*/ 437882 h 569246"/>
              <a:gd name="connsiteX22" fmla="*/ 767581 w 2225469"/>
              <a:gd name="connsiteY22" fmla="*/ 466215 h 569246"/>
              <a:gd name="connsiteX23" fmla="*/ 844854 w 2225469"/>
              <a:gd name="connsiteY23" fmla="*/ 494549 h 569246"/>
              <a:gd name="connsiteX24" fmla="*/ 891218 w 2225469"/>
              <a:gd name="connsiteY24" fmla="*/ 473943 h 569246"/>
              <a:gd name="connsiteX25" fmla="*/ 927279 w 2225469"/>
              <a:gd name="connsiteY25" fmla="*/ 473943 h 569246"/>
              <a:gd name="connsiteX26" fmla="*/ 955612 w 2225469"/>
              <a:gd name="connsiteY26" fmla="*/ 528034 h 569246"/>
              <a:gd name="connsiteX27" fmla="*/ 976218 w 2225469"/>
              <a:gd name="connsiteY27" fmla="*/ 569246 h 569246"/>
              <a:gd name="connsiteX28" fmla="*/ 2225469 w 2225469"/>
              <a:gd name="connsiteY28" fmla="*/ 463640 h 569246"/>
              <a:gd name="connsiteX29" fmla="*/ 2194560 w 2225469"/>
              <a:gd name="connsiteY29" fmla="*/ 440458 h 569246"/>
              <a:gd name="connsiteX30" fmla="*/ 2171378 w 2225469"/>
              <a:gd name="connsiteY30" fmla="*/ 440458 h 569246"/>
              <a:gd name="connsiteX31" fmla="*/ 2127590 w 2225469"/>
              <a:gd name="connsiteY31" fmla="*/ 443033 h 569246"/>
              <a:gd name="connsiteX32" fmla="*/ 2078005 w 2225469"/>
              <a:gd name="connsiteY32" fmla="*/ 410598 h 569246"/>
              <a:gd name="connsiteX33" fmla="*/ 2058044 w 2225469"/>
              <a:gd name="connsiteY33" fmla="*/ 404397 h 569246"/>
              <a:gd name="connsiteX34" fmla="*/ 2006528 w 2225469"/>
              <a:gd name="connsiteY34" fmla="*/ 340002 h 569246"/>
              <a:gd name="connsiteX35" fmla="*/ 1962740 w 2225469"/>
              <a:gd name="connsiteY35" fmla="*/ 316820 h 569246"/>
              <a:gd name="connsiteX36" fmla="*/ 1934407 w 2225469"/>
              <a:gd name="connsiteY36" fmla="*/ 231820 h 569246"/>
              <a:gd name="connsiteX37" fmla="*/ 1893194 w 2225469"/>
              <a:gd name="connsiteY37" fmla="*/ 200911 h 569246"/>
              <a:gd name="connsiteX38" fmla="*/ 1898346 w 2225469"/>
              <a:gd name="connsiteY38" fmla="*/ 157122 h 569246"/>
              <a:gd name="connsiteX39" fmla="*/ 1934407 w 2225469"/>
              <a:gd name="connsiteY39" fmla="*/ 100455 h 569246"/>
              <a:gd name="connsiteX40" fmla="*/ 1939558 w 2225469"/>
              <a:gd name="connsiteY40" fmla="*/ 36061 h 569246"/>
              <a:gd name="connsiteX41" fmla="*/ 1967892 w 2225469"/>
              <a:gd name="connsiteY41" fmla="*/ 0 h 569246"/>
              <a:gd name="connsiteX42" fmla="*/ 1925117 w 2225469"/>
              <a:gd name="connsiteY42" fmla="*/ 279439 h 569246"/>
              <a:gd name="connsiteX0" fmla="*/ 0 w 2225469"/>
              <a:gd name="connsiteY0" fmla="*/ 41212 h 533185"/>
              <a:gd name="connsiteX1" fmla="*/ 43788 w 2225469"/>
              <a:gd name="connsiteY1" fmla="*/ 72122 h 533185"/>
              <a:gd name="connsiteX2" fmla="*/ 115910 w 2225469"/>
              <a:gd name="connsiteY2" fmla="*/ 115910 h 533185"/>
              <a:gd name="connsiteX3" fmla="*/ 162274 w 2225469"/>
              <a:gd name="connsiteY3" fmla="*/ 128789 h 533185"/>
              <a:gd name="connsiteX4" fmla="*/ 190607 w 2225469"/>
              <a:gd name="connsiteY4" fmla="*/ 118486 h 533185"/>
              <a:gd name="connsiteX5" fmla="*/ 221516 w 2225469"/>
              <a:gd name="connsiteY5" fmla="*/ 136516 h 533185"/>
              <a:gd name="connsiteX6" fmla="*/ 262729 w 2225469"/>
              <a:gd name="connsiteY6" fmla="*/ 115910 h 533185"/>
              <a:gd name="connsiteX7" fmla="*/ 278184 w 2225469"/>
              <a:gd name="connsiteY7" fmla="*/ 92728 h 533185"/>
              <a:gd name="connsiteX8" fmla="*/ 309093 w 2225469"/>
              <a:gd name="connsiteY8" fmla="*/ 115910 h 533185"/>
              <a:gd name="connsiteX9" fmla="*/ 342578 w 2225469"/>
              <a:gd name="connsiteY9" fmla="*/ 95304 h 533185"/>
              <a:gd name="connsiteX10" fmla="*/ 352881 w 2225469"/>
              <a:gd name="connsiteY10" fmla="*/ 66970 h 533185"/>
              <a:gd name="connsiteX11" fmla="*/ 401821 w 2225469"/>
              <a:gd name="connsiteY11" fmla="*/ 87576 h 533185"/>
              <a:gd name="connsiteX12" fmla="*/ 455912 w 2225469"/>
              <a:gd name="connsiteY12" fmla="*/ 144243 h 533185"/>
              <a:gd name="connsiteX13" fmla="*/ 510003 w 2225469"/>
              <a:gd name="connsiteY13" fmla="*/ 149395 h 533185"/>
              <a:gd name="connsiteX14" fmla="*/ 530609 w 2225469"/>
              <a:gd name="connsiteY14" fmla="*/ 133940 h 533185"/>
              <a:gd name="connsiteX15" fmla="*/ 576973 w 2225469"/>
              <a:gd name="connsiteY15" fmla="*/ 136516 h 533185"/>
              <a:gd name="connsiteX16" fmla="*/ 613034 w 2225469"/>
              <a:gd name="connsiteY16" fmla="*/ 170001 h 533185"/>
              <a:gd name="connsiteX17" fmla="*/ 628489 w 2225469"/>
              <a:gd name="connsiteY17" fmla="*/ 229244 h 533185"/>
              <a:gd name="connsiteX18" fmla="*/ 669701 w 2225469"/>
              <a:gd name="connsiteY18" fmla="*/ 298790 h 533185"/>
              <a:gd name="connsiteX19" fmla="*/ 667125 w 2225469"/>
              <a:gd name="connsiteY19" fmla="*/ 347730 h 533185"/>
              <a:gd name="connsiteX20" fmla="*/ 690307 w 2225469"/>
              <a:gd name="connsiteY20" fmla="*/ 391518 h 533185"/>
              <a:gd name="connsiteX21" fmla="*/ 739247 w 2225469"/>
              <a:gd name="connsiteY21" fmla="*/ 401821 h 533185"/>
              <a:gd name="connsiteX22" fmla="*/ 767581 w 2225469"/>
              <a:gd name="connsiteY22" fmla="*/ 430154 h 533185"/>
              <a:gd name="connsiteX23" fmla="*/ 844854 w 2225469"/>
              <a:gd name="connsiteY23" fmla="*/ 458488 h 533185"/>
              <a:gd name="connsiteX24" fmla="*/ 891218 w 2225469"/>
              <a:gd name="connsiteY24" fmla="*/ 437882 h 533185"/>
              <a:gd name="connsiteX25" fmla="*/ 927279 w 2225469"/>
              <a:gd name="connsiteY25" fmla="*/ 437882 h 533185"/>
              <a:gd name="connsiteX26" fmla="*/ 955612 w 2225469"/>
              <a:gd name="connsiteY26" fmla="*/ 491973 h 533185"/>
              <a:gd name="connsiteX27" fmla="*/ 976218 w 2225469"/>
              <a:gd name="connsiteY27" fmla="*/ 533185 h 533185"/>
              <a:gd name="connsiteX28" fmla="*/ 2225469 w 2225469"/>
              <a:gd name="connsiteY28" fmla="*/ 427579 h 533185"/>
              <a:gd name="connsiteX29" fmla="*/ 2194560 w 2225469"/>
              <a:gd name="connsiteY29" fmla="*/ 404397 h 533185"/>
              <a:gd name="connsiteX30" fmla="*/ 2171378 w 2225469"/>
              <a:gd name="connsiteY30" fmla="*/ 404397 h 533185"/>
              <a:gd name="connsiteX31" fmla="*/ 2127590 w 2225469"/>
              <a:gd name="connsiteY31" fmla="*/ 406972 h 533185"/>
              <a:gd name="connsiteX32" fmla="*/ 2078005 w 2225469"/>
              <a:gd name="connsiteY32" fmla="*/ 374537 h 533185"/>
              <a:gd name="connsiteX33" fmla="*/ 2058044 w 2225469"/>
              <a:gd name="connsiteY33" fmla="*/ 368336 h 533185"/>
              <a:gd name="connsiteX34" fmla="*/ 2006528 w 2225469"/>
              <a:gd name="connsiteY34" fmla="*/ 303941 h 533185"/>
              <a:gd name="connsiteX35" fmla="*/ 1962740 w 2225469"/>
              <a:gd name="connsiteY35" fmla="*/ 280759 h 533185"/>
              <a:gd name="connsiteX36" fmla="*/ 1934407 w 2225469"/>
              <a:gd name="connsiteY36" fmla="*/ 195759 h 533185"/>
              <a:gd name="connsiteX37" fmla="*/ 1893194 w 2225469"/>
              <a:gd name="connsiteY37" fmla="*/ 164850 h 533185"/>
              <a:gd name="connsiteX38" fmla="*/ 1898346 w 2225469"/>
              <a:gd name="connsiteY38" fmla="*/ 121061 h 533185"/>
              <a:gd name="connsiteX39" fmla="*/ 1934407 w 2225469"/>
              <a:gd name="connsiteY39" fmla="*/ 64394 h 533185"/>
              <a:gd name="connsiteX40" fmla="*/ 1939558 w 2225469"/>
              <a:gd name="connsiteY40" fmla="*/ 0 h 533185"/>
              <a:gd name="connsiteX41" fmla="*/ 1925117 w 2225469"/>
              <a:gd name="connsiteY41" fmla="*/ 243378 h 533185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4407 w 2225469"/>
              <a:gd name="connsiteY36" fmla="*/ 154547 h 491973"/>
              <a:gd name="connsiteX37" fmla="*/ 1893194 w 2225469"/>
              <a:gd name="connsiteY37" fmla="*/ 123638 h 491973"/>
              <a:gd name="connsiteX38" fmla="*/ 1898346 w 2225469"/>
              <a:gd name="connsiteY38" fmla="*/ 79849 h 491973"/>
              <a:gd name="connsiteX39" fmla="*/ 1934407 w 2225469"/>
              <a:gd name="connsiteY39" fmla="*/ 23182 h 491973"/>
              <a:gd name="connsiteX40" fmla="*/ 1925117 w 2225469"/>
              <a:gd name="connsiteY40" fmla="*/ 202166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4407 w 2225469"/>
              <a:gd name="connsiteY36" fmla="*/ 154547 h 491973"/>
              <a:gd name="connsiteX37" fmla="*/ 1893194 w 2225469"/>
              <a:gd name="connsiteY37" fmla="*/ 123638 h 491973"/>
              <a:gd name="connsiteX38" fmla="*/ 1898346 w 2225469"/>
              <a:gd name="connsiteY38" fmla="*/ 79849 h 491973"/>
              <a:gd name="connsiteX39" fmla="*/ 1934407 w 2225469"/>
              <a:gd name="connsiteY39" fmla="*/ 23182 h 491973"/>
              <a:gd name="connsiteX40" fmla="*/ 1924245 w 2225469"/>
              <a:gd name="connsiteY40" fmla="*/ 37450 h 491973"/>
              <a:gd name="connsiteX41" fmla="*/ 1925117 w 2225469"/>
              <a:gd name="connsiteY41" fmla="*/ 202166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5496 w 2225469"/>
              <a:gd name="connsiteY36" fmla="*/ 170215 h 491973"/>
              <a:gd name="connsiteX37" fmla="*/ 1934407 w 2225469"/>
              <a:gd name="connsiteY37" fmla="*/ 154547 h 491973"/>
              <a:gd name="connsiteX38" fmla="*/ 1893194 w 2225469"/>
              <a:gd name="connsiteY38" fmla="*/ 123638 h 491973"/>
              <a:gd name="connsiteX39" fmla="*/ 1898346 w 2225469"/>
              <a:gd name="connsiteY39" fmla="*/ 79849 h 491973"/>
              <a:gd name="connsiteX40" fmla="*/ 1934407 w 2225469"/>
              <a:gd name="connsiteY40" fmla="*/ 23182 h 491973"/>
              <a:gd name="connsiteX41" fmla="*/ 1924245 w 2225469"/>
              <a:gd name="connsiteY41" fmla="*/ 37450 h 491973"/>
              <a:gd name="connsiteX42" fmla="*/ 1925117 w 2225469"/>
              <a:gd name="connsiteY42" fmla="*/ 202166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5496 w 2225469"/>
              <a:gd name="connsiteY36" fmla="*/ 170215 h 491973"/>
              <a:gd name="connsiteX37" fmla="*/ 1934407 w 2225469"/>
              <a:gd name="connsiteY37" fmla="*/ 154547 h 491973"/>
              <a:gd name="connsiteX38" fmla="*/ 1893194 w 2225469"/>
              <a:gd name="connsiteY38" fmla="*/ 123638 h 491973"/>
              <a:gd name="connsiteX39" fmla="*/ 1898346 w 2225469"/>
              <a:gd name="connsiteY39" fmla="*/ 79849 h 491973"/>
              <a:gd name="connsiteX40" fmla="*/ 1934407 w 2225469"/>
              <a:gd name="connsiteY40" fmla="*/ 23182 h 491973"/>
              <a:gd name="connsiteX41" fmla="*/ 1924245 w 2225469"/>
              <a:gd name="connsiteY41" fmla="*/ 37450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4407 w 2225469"/>
              <a:gd name="connsiteY36" fmla="*/ 154547 h 491973"/>
              <a:gd name="connsiteX37" fmla="*/ 1893194 w 2225469"/>
              <a:gd name="connsiteY37" fmla="*/ 123638 h 491973"/>
              <a:gd name="connsiteX38" fmla="*/ 1898346 w 2225469"/>
              <a:gd name="connsiteY38" fmla="*/ 79849 h 491973"/>
              <a:gd name="connsiteX39" fmla="*/ 1934407 w 2225469"/>
              <a:gd name="connsiteY39" fmla="*/ 23182 h 491973"/>
              <a:gd name="connsiteX40" fmla="*/ 1924245 w 2225469"/>
              <a:gd name="connsiteY40" fmla="*/ 37450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1746 w 2225469"/>
              <a:gd name="connsiteY36" fmla="*/ 166422 h 491973"/>
              <a:gd name="connsiteX37" fmla="*/ 1934407 w 2225469"/>
              <a:gd name="connsiteY37" fmla="*/ 154547 h 491973"/>
              <a:gd name="connsiteX38" fmla="*/ 1893194 w 2225469"/>
              <a:gd name="connsiteY38" fmla="*/ 123638 h 491973"/>
              <a:gd name="connsiteX39" fmla="*/ 1898346 w 2225469"/>
              <a:gd name="connsiteY39" fmla="*/ 79849 h 491973"/>
              <a:gd name="connsiteX40" fmla="*/ 1934407 w 2225469"/>
              <a:gd name="connsiteY40" fmla="*/ 23182 h 491973"/>
              <a:gd name="connsiteX41" fmla="*/ 1924245 w 2225469"/>
              <a:gd name="connsiteY41" fmla="*/ 37450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1746 w 2225469"/>
              <a:gd name="connsiteY36" fmla="*/ 166422 h 491973"/>
              <a:gd name="connsiteX37" fmla="*/ 1934407 w 2225469"/>
              <a:gd name="connsiteY37" fmla="*/ 154547 h 491973"/>
              <a:gd name="connsiteX38" fmla="*/ 1893194 w 2225469"/>
              <a:gd name="connsiteY38" fmla="*/ 123638 h 491973"/>
              <a:gd name="connsiteX39" fmla="*/ 1898346 w 2225469"/>
              <a:gd name="connsiteY39" fmla="*/ 79849 h 491973"/>
              <a:gd name="connsiteX40" fmla="*/ 1934407 w 2225469"/>
              <a:gd name="connsiteY40" fmla="*/ 23182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1746 w 2225469"/>
              <a:gd name="connsiteY36" fmla="*/ 166422 h 491973"/>
              <a:gd name="connsiteX37" fmla="*/ 1934407 w 2225469"/>
              <a:gd name="connsiteY37" fmla="*/ 154547 h 491973"/>
              <a:gd name="connsiteX38" fmla="*/ 1893194 w 2225469"/>
              <a:gd name="connsiteY38" fmla="*/ 123638 h 491973"/>
              <a:gd name="connsiteX39" fmla="*/ 1898346 w 2225469"/>
              <a:gd name="connsiteY39" fmla="*/ 79849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1746 w 2225469"/>
              <a:gd name="connsiteY36" fmla="*/ 166422 h 491973"/>
              <a:gd name="connsiteX37" fmla="*/ 1934407 w 2225469"/>
              <a:gd name="connsiteY37" fmla="*/ 154547 h 491973"/>
              <a:gd name="connsiteX38" fmla="*/ 1893194 w 2225469"/>
              <a:gd name="connsiteY38" fmla="*/ 123638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1746 w 2225469"/>
              <a:gd name="connsiteY36" fmla="*/ 166422 h 491973"/>
              <a:gd name="connsiteX37" fmla="*/ 1934407 w 2225469"/>
              <a:gd name="connsiteY37" fmla="*/ 154547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4407 w 2225469"/>
              <a:gd name="connsiteY36" fmla="*/ 154547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9247 w 2225469"/>
              <a:gd name="connsiteY36" fmla="*/ 177802 h 491973"/>
              <a:gd name="connsiteX37" fmla="*/ 1934407 w 2225469"/>
              <a:gd name="connsiteY37" fmla="*/ 154547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36" fmla="*/ 1939247 w 2225469"/>
              <a:gd name="connsiteY36" fmla="*/ 177802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35" fmla="*/ 1962740 w 2225469"/>
              <a:gd name="connsiteY35" fmla="*/ 239547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34" fmla="*/ 2006528 w 2225469"/>
              <a:gd name="connsiteY34" fmla="*/ 262729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33" fmla="*/ 2058044 w 2225469"/>
              <a:gd name="connsiteY33" fmla="*/ 327124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32" fmla="*/ 2078005 w 2225469"/>
              <a:gd name="connsiteY32" fmla="*/ 333325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71378 w 2225469"/>
              <a:gd name="connsiteY30" fmla="*/ 363185 h 491973"/>
              <a:gd name="connsiteX31" fmla="*/ 2127590 w 2225469"/>
              <a:gd name="connsiteY31" fmla="*/ 365760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30" fmla="*/ 2127590 w 2225469"/>
              <a:gd name="connsiteY30" fmla="*/ 365760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29" fmla="*/ 2194560 w 2225469"/>
              <a:gd name="connsiteY29" fmla="*/ 363185 h 491973"/>
              <a:gd name="connsiteX0" fmla="*/ 0 w 2225469"/>
              <a:gd name="connsiteY0" fmla="*/ 0 h 491973"/>
              <a:gd name="connsiteX1" fmla="*/ 43788 w 2225469"/>
              <a:gd name="connsiteY1" fmla="*/ 30910 h 491973"/>
              <a:gd name="connsiteX2" fmla="*/ 115910 w 2225469"/>
              <a:gd name="connsiteY2" fmla="*/ 74698 h 491973"/>
              <a:gd name="connsiteX3" fmla="*/ 162274 w 2225469"/>
              <a:gd name="connsiteY3" fmla="*/ 87577 h 491973"/>
              <a:gd name="connsiteX4" fmla="*/ 190607 w 2225469"/>
              <a:gd name="connsiteY4" fmla="*/ 77274 h 491973"/>
              <a:gd name="connsiteX5" fmla="*/ 221516 w 2225469"/>
              <a:gd name="connsiteY5" fmla="*/ 95304 h 491973"/>
              <a:gd name="connsiteX6" fmla="*/ 262729 w 2225469"/>
              <a:gd name="connsiteY6" fmla="*/ 74698 h 491973"/>
              <a:gd name="connsiteX7" fmla="*/ 278184 w 2225469"/>
              <a:gd name="connsiteY7" fmla="*/ 51516 h 491973"/>
              <a:gd name="connsiteX8" fmla="*/ 309093 w 2225469"/>
              <a:gd name="connsiteY8" fmla="*/ 74698 h 491973"/>
              <a:gd name="connsiteX9" fmla="*/ 342578 w 2225469"/>
              <a:gd name="connsiteY9" fmla="*/ 54092 h 491973"/>
              <a:gd name="connsiteX10" fmla="*/ 352881 w 2225469"/>
              <a:gd name="connsiteY10" fmla="*/ 25758 h 491973"/>
              <a:gd name="connsiteX11" fmla="*/ 401821 w 2225469"/>
              <a:gd name="connsiteY11" fmla="*/ 46364 h 491973"/>
              <a:gd name="connsiteX12" fmla="*/ 455912 w 2225469"/>
              <a:gd name="connsiteY12" fmla="*/ 103031 h 491973"/>
              <a:gd name="connsiteX13" fmla="*/ 510003 w 2225469"/>
              <a:gd name="connsiteY13" fmla="*/ 108183 h 491973"/>
              <a:gd name="connsiteX14" fmla="*/ 530609 w 2225469"/>
              <a:gd name="connsiteY14" fmla="*/ 92728 h 491973"/>
              <a:gd name="connsiteX15" fmla="*/ 576973 w 2225469"/>
              <a:gd name="connsiteY15" fmla="*/ 95304 h 491973"/>
              <a:gd name="connsiteX16" fmla="*/ 613034 w 2225469"/>
              <a:gd name="connsiteY16" fmla="*/ 128789 h 491973"/>
              <a:gd name="connsiteX17" fmla="*/ 628489 w 2225469"/>
              <a:gd name="connsiteY17" fmla="*/ 188032 h 491973"/>
              <a:gd name="connsiteX18" fmla="*/ 669701 w 2225469"/>
              <a:gd name="connsiteY18" fmla="*/ 257578 h 491973"/>
              <a:gd name="connsiteX19" fmla="*/ 667125 w 2225469"/>
              <a:gd name="connsiteY19" fmla="*/ 306518 h 491973"/>
              <a:gd name="connsiteX20" fmla="*/ 690307 w 2225469"/>
              <a:gd name="connsiteY20" fmla="*/ 350306 h 491973"/>
              <a:gd name="connsiteX21" fmla="*/ 739247 w 2225469"/>
              <a:gd name="connsiteY21" fmla="*/ 360609 h 491973"/>
              <a:gd name="connsiteX22" fmla="*/ 767581 w 2225469"/>
              <a:gd name="connsiteY22" fmla="*/ 388942 h 491973"/>
              <a:gd name="connsiteX23" fmla="*/ 844854 w 2225469"/>
              <a:gd name="connsiteY23" fmla="*/ 417276 h 491973"/>
              <a:gd name="connsiteX24" fmla="*/ 891218 w 2225469"/>
              <a:gd name="connsiteY24" fmla="*/ 396670 h 491973"/>
              <a:gd name="connsiteX25" fmla="*/ 927279 w 2225469"/>
              <a:gd name="connsiteY25" fmla="*/ 396670 h 491973"/>
              <a:gd name="connsiteX26" fmla="*/ 955612 w 2225469"/>
              <a:gd name="connsiteY26" fmla="*/ 450761 h 491973"/>
              <a:gd name="connsiteX27" fmla="*/ 976218 w 2225469"/>
              <a:gd name="connsiteY27" fmla="*/ 491973 h 491973"/>
              <a:gd name="connsiteX28" fmla="*/ 2225469 w 2225469"/>
              <a:gd name="connsiteY28" fmla="*/ 386367 h 491973"/>
              <a:gd name="connsiteX0" fmla="*/ 0 w 976218"/>
              <a:gd name="connsiteY0" fmla="*/ 0 h 491973"/>
              <a:gd name="connsiteX1" fmla="*/ 43788 w 976218"/>
              <a:gd name="connsiteY1" fmla="*/ 30910 h 491973"/>
              <a:gd name="connsiteX2" fmla="*/ 115910 w 976218"/>
              <a:gd name="connsiteY2" fmla="*/ 74698 h 491973"/>
              <a:gd name="connsiteX3" fmla="*/ 162274 w 976218"/>
              <a:gd name="connsiteY3" fmla="*/ 87577 h 491973"/>
              <a:gd name="connsiteX4" fmla="*/ 190607 w 976218"/>
              <a:gd name="connsiteY4" fmla="*/ 77274 h 491973"/>
              <a:gd name="connsiteX5" fmla="*/ 221516 w 976218"/>
              <a:gd name="connsiteY5" fmla="*/ 95304 h 491973"/>
              <a:gd name="connsiteX6" fmla="*/ 262729 w 976218"/>
              <a:gd name="connsiteY6" fmla="*/ 74698 h 491973"/>
              <a:gd name="connsiteX7" fmla="*/ 278184 w 976218"/>
              <a:gd name="connsiteY7" fmla="*/ 51516 h 491973"/>
              <a:gd name="connsiteX8" fmla="*/ 309093 w 976218"/>
              <a:gd name="connsiteY8" fmla="*/ 74698 h 491973"/>
              <a:gd name="connsiteX9" fmla="*/ 342578 w 976218"/>
              <a:gd name="connsiteY9" fmla="*/ 54092 h 491973"/>
              <a:gd name="connsiteX10" fmla="*/ 352881 w 976218"/>
              <a:gd name="connsiteY10" fmla="*/ 25758 h 491973"/>
              <a:gd name="connsiteX11" fmla="*/ 401821 w 976218"/>
              <a:gd name="connsiteY11" fmla="*/ 46364 h 491973"/>
              <a:gd name="connsiteX12" fmla="*/ 455912 w 976218"/>
              <a:gd name="connsiteY12" fmla="*/ 103031 h 491973"/>
              <a:gd name="connsiteX13" fmla="*/ 510003 w 976218"/>
              <a:gd name="connsiteY13" fmla="*/ 108183 h 491973"/>
              <a:gd name="connsiteX14" fmla="*/ 530609 w 976218"/>
              <a:gd name="connsiteY14" fmla="*/ 92728 h 491973"/>
              <a:gd name="connsiteX15" fmla="*/ 576973 w 976218"/>
              <a:gd name="connsiteY15" fmla="*/ 95304 h 491973"/>
              <a:gd name="connsiteX16" fmla="*/ 613034 w 976218"/>
              <a:gd name="connsiteY16" fmla="*/ 128789 h 491973"/>
              <a:gd name="connsiteX17" fmla="*/ 628489 w 976218"/>
              <a:gd name="connsiteY17" fmla="*/ 188032 h 491973"/>
              <a:gd name="connsiteX18" fmla="*/ 669701 w 976218"/>
              <a:gd name="connsiteY18" fmla="*/ 257578 h 491973"/>
              <a:gd name="connsiteX19" fmla="*/ 667125 w 976218"/>
              <a:gd name="connsiteY19" fmla="*/ 306518 h 491973"/>
              <a:gd name="connsiteX20" fmla="*/ 690307 w 976218"/>
              <a:gd name="connsiteY20" fmla="*/ 350306 h 491973"/>
              <a:gd name="connsiteX21" fmla="*/ 739247 w 976218"/>
              <a:gd name="connsiteY21" fmla="*/ 360609 h 491973"/>
              <a:gd name="connsiteX22" fmla="*/ 767581 w 976218"/>
              <a:gd name="connsiteY22" fmla="*/ 388942 h 491973"/>
              <a:gd name="connsiteX23" fmla="*/ 844854 w 976218"/>
              <a:gd name="connsiteY23" fmla="*/ 417276 h 491973"/>
              <a:gd name="connsiteX24" fmla="*/ 891218 w 976218"/>
              <a:gd name="connsiteY24" fmla="*/ 396670 h 491973"/>
              <a:gd name="connsiteX25" fmla="*/ 927279 w 976218"/>
              <a:gd name="connsiteY25" fmla="*/ 396670 h 491973"/>
              <a:gd name="connsiteX26" fmla="*/ 955612 w 976218"/>
              <a:gd name="connsiteY26" fmla="*/ 450761 h 491973"/>
              <a:gd name="connsiteX27" fmla="*/ 976218 w 976218"/>
              <a:gd name="connsiteY27" fmla="*/ 491973 h 491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976218" h="491973">
                <a:moveTo>
                  <a:pt x="0" y="0"/>
                </a:moveTo>
                <a:lnTo>
                  <a:pt x="43788" y="30910"/>
                </a:lnTo>
                <a:lnTo>
                  <a:pt x="115910" y="74698"/>
                </a:lnTo>
                <a:lnTo>
                  <a:pt x="162274" y="87577"/>
                </a:lnTo>
                <a:lnTo>
                  <a:pt x="190607" y="77274"/>
                </a:lnTo>
                <a:lnTo>
                  <a:pt x="221516" y="95304"/>
                </a:lnTo>
                <a:lnTo>
                  <a:pt x="262729" y="74698"/>
                </a:lnTo>
                <a:lnTo>
                  <a:pt x="278184" y="51516"/>
                </a:lnTo>
                <a:lnTo>
                  <a:pt x="309093" y="74698"/>
                </a:lnTo>
                <a:lnTo>
                  <a:pt x="342578" y="54092"/>
                </a:lnTo>
                <a:lnTo>
                  <a:pt x="352881" y="25758"/>
                </a:lnTo>
                <a:lnTo>
                  <a:pt x="401821" y="46364"/>
                </a:lnTo>
                <a:lnTo>
                  <a:pt x="455912" y="103031"/>
                </a:lnTo>
                <a:lnTo>
                  <a:pt x="510003" y="108183"/>
                </a:lnTo>
                <a:lnTo>
                  <a:pt x="530609" y="92728"/>
                </a:lnTo>
                <a:lnTo>
                  <a:pt x="576973" y="95304"/>
                </a:lnTo>
                <a:lnTo>
                  <a:pt x="613034" y="128789"/>
                </a:lnTo>
                <a:lnTo>
                  <a:pt x="628489" y="188032"/>
                </a:lnTo>
                <a:lnTo>
                  <a:pt x="669701" y="257578"/>
                </a:lnTo>
                <a:lnTo>
                  <a:pt x="667125" y="306518"/>
                </a:lnTo>
                <a:lnTo>
                  <a:pt x="690307" y="350306"/>
                </a:lnTo>
                <a:lnTo>
                  <a:pt x="739247" y="360609"/>
                </a:lnTo>
                <a:lnTo>
                  <a:pt x="767581" y="388942"/>
                </a:lnTo>
                <a:lnTo>
                  <a:pt x="844854" y="417276"/>
                </a:lnTo>
                <a:lnTo>
                  <a:pt x="891218" y="396670"/>
                </a:lnTo>
                <a:lnTo>
                  <a:pt x="927279" y="396670"/>
                </a:lnTo>
                <a:lnTo>
                  <a:pt x="955612" y="450761"/>
                </a:lnTo>
                <a:lnTo>
                  <a:pt x="976218" y="491973"/>
                </a:ln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Freeform 28"/>
          <p:cNvSpPr/>
          <p:nvPr/>
        </p:nvSpPr>
        <p:spPr bwMode="auto">
          <a:xfrm>
            <a:off x="5232750" y="5097886"/>
            <a:ext cx="4672021" cy="1745687"/>
          </a:xfrm>
          <a:custGeom>
            <a:avLst/>
            <a:gdLst>
              <a:gd name="connsiteX0" fmla="*/ 0 w 4029075"/>
              <a:gd name="connsiteY0" fmla="*/ 1300162 h 1383506"/>
              <a:gd name="connsiteX1" fmla="*/ 35719 w 4029075"/>
              <a:gd name="connsiteY1" fmla="*/ 1304925 h 1383506"/>
              <a:gd name="connsiteX2" fmla="*/ 76200 w 4029075"/>
              <a:gd name="connsiteY2" fmla="*/ 1259681 h 1383506"/>
              <a:gd name="connsiteX3" fmla="*/ 107156 w 4029075"/>
              <a:gd name="connsiteY3" fmla="*/ 1247775 h 1383506"/>
              <a:gd name="connsiteX4" fmla="*/ 157162 w 4029075"/>
              <a:gd name="connsiteY4" fmla="*/ 1257300 h 1383506"/>
              <a:gd name="connsiteX5" fmla="*/ 204787 w 4029075"/>
              <a:gd name="connsiteY5" fmla="*/ 1207293 h 1383506"/>
              <a:gd name="connsiteX6" fmla="*/ 252412 w 4029075"/>
              <a:gd name="connsiteY6" fmla="*/ 1214437 h 1383506"/>
              <a:gd name="connsiteX7" fmla="*/ 273844 w 4029075"/>
              <a:gd name="connsiteY7" fmla="*/ 1214437 h 1383506"/>
              <a:gd name="connsiteX8" fmla="*/ 309562 w 4029075"/>
              <a:gd name="connsiteY8" fmla="*/ 1195387 h 1383506"/>
              <a:gd name="connsiteX9" fmla="*/ 333375 w 4029075"/>
              <a:gd name="connsiteY9" fmla="*/ 1157287 h 1383506"/>
              <a:gd name="connsiteX10" fmla="*/ 378619 w 4029075"/>
              <a:gd name="connsiteY10" fmla="*/ 1157287 h 1383506"/>
              <a:gd name="connsiteX11" fmla="*/ 404812 w 4029075"/>
              <a:gd name="connsiteY11" fmla="*/ 1119187 h 1383506"/>
              <a:gd name="connsiteX12" fmla="*/ 431006 w 4029075"/>
              <a:gd name="connsiteY12" fmla="*/ 1100137 h 1383506"/>
              <a:gd name="connsiteX13" fmla="*/ 450056 w 4029075"/>
              <a:gd name="connsiteY13" fmla="*/ 1071562 h 1383506"/>
              <a:gd name="connsiteX14" fmla="*/ 495300 w 4029075"/>
              <a:gd name="connsiteY14" fmla="*/ 1064418 h 1383506"/>
              <a:gd name="connsiteX15" fmla="*/ 507206 w 4029075"/>
              <a:gd name="connsiteY15" fmla="*/ 1031081 h 1383506"/>
              <a:gd name="connsiteX16" fmla="*/ 542925 w 4029075"/>
              <a:gd name="connsiteY16" fmla="*/ 1012031 h 1383506"/>
              <a:gd name="connsiteX17" fmla="*/ 564356 w 4029075"/>
              <a:gd name="connsiteY17" fmla="*/ 988218 h 1383506"/>
              <a:gd name="connsiteX18" fmla="*/ 645319 w 4029075"/>
              <a:gd name="connsiteY18" fmla="*/ 966787 h 1383506"/>
              <a:gd name="connsiteX19" fmla="*/ 659606 w 4029075"/>
              <a:gd name="connsiteY19" fmla="*/ 952500 h 1383506"/>
              <a:gd name="connsiteX20" fmla="*/ 669131 w 4029075"/>
              <a:gd name="connsiteY20" fmla="*/ 919162 h 1383506"/>
              <a:gd name="connsiteX21" fmla="*/ 750094 w 4029075"/>
              <a:gd name="connsiteY21" fmla="*/ 878681 h 1383506"/>
              <a:gd name="connsiteX22" fmla="*/ 769144 w 4029075"/>
              <a:gd name="connsiteY22" fmla="*/ 873918 h 1383506"/>
              <a:gd name="connsiteX23" fmla="*/ 828675 w 4029075"/>
              <a:gd name="connsiteY23" fmla="*/ 809625 h 1383506"/>
              <a:gd name="connsiteX24" fmla="*/ 833437 w 4029075"/>
              <a:gd name="connsiteY24" fmla="*/ 759618 h 1383506"/>
              <a:gd name="connsiteX25" fmla="*/ 859631 w 4029075"/>
              <a:gd name="connsiteY25" fmla="*/ 733425 h 1383506"/>
              <a:gd name="connsiteX26" fmla="*/ 885825 w 4029075"/>
              <a:gd name="connsiteY26" fmla="*/ 728662 h 1383506"/>
              <a:gd name="connsiteX27" fmla="*/ 947737 w 4029075"/>
              <a:gd name="connsiteY27" fmla="*/ 683418 h 1383506"/>
              <a:gd name="connsiteX28" fmla="*/ 1033462 w 4029075"/>
              <a:gd name="connsiteY28" fmla="*/ 640556 h 1383506"/>
              <a:gd name="connsiteX29" fmla="*/ 1069181 w 4029075"/>
              <a:gd name="connsiteY29" fmla="*/ 600075 h 1383506"/>
              <a:gd name="connsiteX30" fmla="*/ 1097756 w 4029075"/>
              <a:gd name="connsiteY30" fmla="*/ 585787 h 1383506"/>
              <a:gd name="connsiteX31" fmla="*/ 1104900 w 4029075"/>
              <a:gd name="connsiteY31" fmla="*/ 519112 h 1383506"/>
              <a:gd name="connsiteX32" fmla="*/ 1121569 w 4029075"/>
              <a:gd name="connsiteY32" fmla="*/ 473868 h 1383506"/>
              <a:gd name="connsiteX33" fmla="*/ 1107281 w 4029075"/>
              <a:gd name="connsiteY33" fmla="*/ 433387 h 1383506"/>
              <a:gd name="connsiteX34" fmla="*/ 1112044 w 4029075"/>
              <a:gd name="connsiteY34" fmla="*/ 347662 h 1383506"/>
              <a:gd name="connsiteX35" fmla="*/ 1107281 w 4029075"/>
              <a:gd name="connsiteY35" fmla="*/ 307181 h 1383506"/>
              <a:gd name="connsiteX36" fmla="*/ 1107281 w 4029075"/>
              <a:gd name="connsiteY36" fmla="*/ 264318 h 1383506"/>
              <a:gd name="connsiteX37" fmla="*/ 1133475 w 4029075"/>
              <a:gd name="connsiteY37" fmla="*/ 254793 h 1383506"/>
              <a:gd name="connsiteX38" fmla="*/ 1154906 w 4029075"/>
              <a:gd name="connsiteY38" fmla="*/ 271462 h 1383506"/>
              <a:gd name="connsiteX39" fmla="*/ 1169194 w 4029075"/>
              <a:gd name="connsiteY39" fmla="*/ 297656 h 1383506"/>
              <a:gd name="connsiteX40" fmla="*/ 1197769 w 4029075"/>
              <a:gd name="connsiteY40" fmla="*/ 300037 h 1383506"/>
              <a:gd name="connsiteX41" fmla="*/ 1219200 w 4029075"/>
              <a:gd name="connsiteY41" fmla="*/ 278606 h 1383506"/>
              <a:gd name="connsiteX42" fmla="*/ 1304925 w 4029075"/>
              <a:gd name="connsiteY42" fmla="*/ 280987 h 1383506"/>
              <a:gd name="connsiteX43" fmla="*/ 1357312 w 4029075"/>
              <a:gd name="connsiteY43" fmla="*/ 290512 h 1383506"/>
              <a:gd name="connsiteX44" fmla="*/ 1404937 w 4029075"/>
              <a:gd name="connsiteY44" fmla="*/ 266700 h 1383506"/>
              <a:gd name="connsiteX45" fmla="*/ 1416844 w 4029075"/>
              <a:gd name="connsiteY45" fmla="*/ 233362 h 1383506"/>
              <a:gd name="connsiteX46" fmla="*/ 1457325 w 4029075"/>
              <a:gd name="connsiteY46" fmla="*/ 200025 h 1383506"/>
              <a:gd name="connsiteX47" fmla="*/ 1447800 w 4029075"/>
              <a:gd name="connsiteY47" fmla="*/ 173831 h 1383506"/>
              <a:gd name="connsiteX48" fmla="*/ 1464469 w 4029075"/>
              <a:gd name="connsiteY48" fmla="*/ 147637 h 1383506"/>
              <a:gd name="connsiteX49" fmla="*/ 1519237 w 4029075"/>
              <a:gd name="connsiteY49" fmla="*/ 169068 h 1383506"/>
              <a:gd name="connsiteX50" fmla="*/ 1566862 w 4029075"/>
              <a:gd name="connsiteY50" fmla="*/ 173831 h 1383506"/>
              <a:gd name="connsiteX51" fmla="*/ 1602581 w 4029075"/>
              <a:gd name="connsiteY51" fmla="*/ 209550 h 1383506"/>
              <a:gd name="connsiteX52" fmla="*/ 1631156 w 4029075"/>
              <a:gd name="connsiteY52" fmla="*/ 223837 h 1383506"/>
              <a:gd name="connsiteX53" fmla="*/ 1650206 w 4029075"/>
              <a:gd name="connsiteY53" fmla="*/ 280987 h 1383506"/>
              <a:gd name="connsiteX54" fmla="*/ 1719262 w 4029075"/>
              <a:gd name="connsiteY54" fmla="*/ 316706 h 1383506"/>
              <a:gd name="connsiteX55" fmla="*/ 1788319 w 4029075"/>
              <a:gd name="connsiteY55" fmla="*/ 307181 h 1383506"/>
              <a:gd name="connsiteX56" fmla="*/ 1835944 w 4029075"/>
              <a:gd name="connsiteY56" fmla="*/ 295275 h 1383506"/>
              <a:gd name="connsiteX57" fmla="*/ 1874044 w 4029075"/>
              <a:gd name="connsiteY57" fmla="*/ 307181 h 1383506"/>
              <a:gd name="connsiteX58" fmla="*/ 1924050 w 4029075"/>
              <a:gd name="connsiteY58" fmla="*/ 304800 h 1383506"/>
              <a:gd name="connsiteX59" fmla="*/ 1969294 w 4029075"/>
              <a:gd name="connsiteY59" fmla="*/ 316706 h 1383506"/>
              <a:gd name="connsiteX60" fmla="*/ 2014537 w 4029075"/>
              <a:gd name="connsiteY60" fmla="*/ 302418 h 1383506"/>
              <a:gd name="connsiteX61" fmla="*/ 2035969 w 4029075"/>
              <a:gd name="connsiteY61" fmla="*/ 276225 h 1383506"/>
              <a:gd name="connsiteX62" fmla="*/ 2114550 w 4029075"/>
              <a:gd name="connsiteY62" fmla="*/ 297656 h 1383506"/>
              <a:gd name="connsiteX63" fmla="*/ 2155031 w 4029075"/>
              <a:gd name="connsiteY63" fmla="*/ 283368 h 1383506"/>
              <a:gd name="connsiteX64" fmla="*/ 2162175 w 4029075"/>
              <a:gd name="connsiteY64" fmla="*/ 242887 h 1383506"/>
              <a:gd name="connsiteX65" fmla="*/ 2133600 w 4029075"/>
              <a:gd name="connsiteY65" fmla="*/ 195262 h 1383506"/>
              <a:gd name="connsiteX66" fmla="*/ 2116931 w 4029075"/>
              <a:gd name="connsiteY66" fmla="*/ 135731 h 1383506"/>
              <a:gd name="connsiteX67" fmla="*/ 2083594 w 4029075"/>
              <a:gd name="connsiteY67" fmla="*/ 102393 h 1383506"/>
              <a:gd name="connsiteX68" fmla="*/ 2059781 w 4029075"/>
              <a:gd name="connsiteY68" fmla="*/ 59531 h 1383506"/>
              <a:gd name="connsiteX69" fmla="*/ 2069306 w 4029075"/>
              <a:gd name="connsiteY69" fmla="*/ 38100 h 1383506"/>
              <a:gd name="connsiteX70" fmla="*/ 2105025 w 4029075"/>
              <a:gd name="connsiteY70" fmla="*/ 0 h 1383506"/>
              <a:gd name="connsiteX71" fmla="*/ 2124075 w 4029075"/>
              <a:gd name="connsiteY71" fmla="*/ 16668 h 1383506"/>
              <a:gd name="connsiteX72" fmla="*/ 2205037 w 4029075"/>
              <a:gd name="connsiteY72" fmla="*/ 30956 h 1383506"/>
              <a:gd name="connsiteX73" fmla="*/ 2288381 w 4029075"/>
              <a:gd name="connsiteY73" fmla="*/ 47625 h 1383506"/>
              <a:gd name="connsiteX74" fmla="*/ 2338387 w 4029075"/>
              <a:gd name="connsiteY74" fmla="*/ 66675 h 1383506"/>
              <a:gd name="connsiteX75" fmla="*/ 2388394 w 4029075"/>
              <a:gd name="connsiteY75" fmla="*/ 61912 h 1383506"/>
              <a:gd name="connsiteX76" fmla="*/ 2436019 w 4029075"/>
              <a:gd name="connsiteY76" fmla="*/ 92868 h 1383506"/>
              <a:gd name="connsiteX77" fmla="*/ 2478881 w 4029075"/>
              <a:gd name="connsiteY77" fmla="*/ 119062 h 1383506"/>
              <a:gd name="connsiteX78" fmla="*/ 2500312 w 4029075"/>
              <a:gd name="connsiteY78" fmla="*/ 150018 h 1383506"/>
              <a:gd name="connsiteX79" fmla="*/ 2550319 w 4029075"/>
              <a:gd name="connsiteY79" fmla="*/ 157162 h 1383506"/>
              <a:gd name="connsiteX80" fmla="*/ 2576512 w 4029075"/>
              <a:gd name="connsiteY80" fmla="*/ 202406 h 1383506"/>
              <a:gd name="connsiteX81" fmla="*/ 2602706 w 4029075"/>
              <a:gd name="connsiteY81" fmla="*/ 233362 h 1383506"/>
              <a:gd name="connsiteX82" fmla="*/ 2619375 w 4029075"/>
              <a:gd name="connsiteY82" fmla="*/ 278606 h 1383506"/>
              <a:gd name="connsiteX83" fmla="*/ 2678906 w 4029075"/>
              <a:gd name="connsiteY83" fmla="*/ 295275 h 1383506"/>
              <a:gd name="connsiteX84" fmla="*/ 2707481 w 4029075"/>
              <a:gd name="connsiteY84" fmla="*/ 326231 h 1383506"/>
              <a:gd name="connsiteX85" fmla="*/ 2728912 w 4029075"/>
              <a:gd name="connsiteY85" fmla="*/ 335756 h 1383506"/>
              <a:gd name="connsiteX86" fmla="*/ 2740819 w 4029075"/>
              <a:gd name="connsiteY86" fmla="*/ 376237 h 1383506"/>
              <a:gd name="connsiteX87" fmla="*/ 2771775 w 4029075"/>
              <a:gd name="connsiteY87" fmla="*/ 383381 h 1383506"/>
              <a:gd name="connsiteX88" fmla="*/ 2809875 w 4029075"/>
              <a:gd name="connsiteY88" fmla="*/ 447675 h 1383506"/>
              <a:gd name="connsiteX89" fmla="*/ 2805112 w 4029075"/>
              <a:gd name="connsiteY89" fmla="*/ 502443 h 1383506"/>
              <a:gd name="connsiteX90" fmla="*/ 2793206 w 4029075"/>
              <a:gd name="connsiteY90" fmla="*/ 531018 h 1383506"/>
              <a:gd name="connsiteX91" fmla="*/ 2833687 w 4029075"/>
              <a:gd name="connsiteY91" fmla="*/ 564356 h 1383506"/>
              <a:gd name="connsiteX92" fmla="*/ 2831306 w 4029075"/>
              <a:gd name="connsiteY92" fmla="*/ 647700 h 1383506"/>
              <a:gd name="connsiteX93" fmla="*/ 2812256 w 4029075"/>
              <a:gd name="connsiteY93" fmla="*/ 664368 h 1383506"/>
              <a:gd name="connsiteX94" fmla="*/ 2795587 w 4029075"/>
              <a:gd name="connsiteY94" fmla="*/ 738187 h 1383506"/>
              <a:gd name="connsiteX95" fmla="*/ 2817019 w 4029075"/>
              <a:gd name="connsiteY95" fmla="*/ 773906 h 1383506"/>
              <a:gd name="connsiteX96" fmla="*/ 2871787 w 4029075"/>
              <a:gd name="connsiteY96" fmla="*/ 797718 h 1383506"/>
              <a:gd name="connsiteX97" fmla="*/ 2909887 w 4029075"/>
              <a:gd name="connsiteY97" fmla="*/ 778668 h 1383506"/>
              <a:gd name="connsiteX98" fmla="*/ 2952750 w 4029075"/>
              <a:gd name="connsiteY98" fmla="*/ 797718 h 1383506"/>
              <a:gd name="connsiteX99" fmla="*/ 2988469 w 4029075"/>
              <a:gd name="connsiteY99" fmla="*/ 783431 h 1383506"/>
              <a:gd name="connsiteX100" fmla="*/ 3026569 w 4029075"/>
              <a:gd name="connsiteY100" fmla="*/ 826293 h 1383506"/>
              <a:gd name="connsiteX101" fmla="*/ 3105150 w 4029075"/>
              <a:gd name="connsiteY101" fmla="*/ 902493 h 1383506"/>
              <a:gd name="connsiteX102" fmla="*/ 3174206 w 4029075"/>
              <a:gd name="connsiteY102" fmla="*/ 916781 h 1383506"/>
              <a:gd name="connsiteX103" fmla="*/ 3269456 w 4029075"/>
              <a:gd name="connsiteY103" fmla="*/ 959643 h 1383506"/>
              <a:gd name="connsiteX104" fmla="*/ 3336131 w 4029075"/>
              <a:gd name="connsiteY104" fmla="*/ 992981 h 1383506"/>
              <a:gd name="connsiteX105" fmla="*/ 3352800 w 4029075"/>
              <a:gd name="connsiteY105" fmla="*/ 1035843 h 1383506"/>
              <a:gd name="connsiteX106" fmla="*/ 3362325 w 4029075"/>
              <a:gd name="connsiteY106" fmla="*/ 1081087 h 1383506"/>
              <a:gd name="connsiteX107" fmla="*/ 3409950 w 4029075"/>
              <a:gd name="connsiteY107" fmla="*/ 1109662 h 1383506"/>
              <a:gd name="connsiteX108" fmla="*/ 3445669 w 4029075"/>
              <a:gd name="connsiteY108" fmla="*/ 1107281 h 1383506"/>
              <a:gd name="connsiteX109" fmla="*/ 3512344 w 4029075"/>
              <a:gd name="connsiteY109" fmla="*/ 1145381 h 1383506"/>
              <a:gd name="connsiteX110" fmla="*/ 3571875 w 4029075"/>
              <a:gd name="connsiteY110" fmla="*/ 1197768 h 1383506"/>
              <a:gd name="connsiteX111" fmla="*/ 3655219 w 4029075"/>
              <a:gd name="connsiteY111" fmla="*/ 1240631 h 1383506"/>
              <a:gd name="connsiteX112" fmla="*/ 3721894 w 4029075"/>
              <a:gd name="connsiteY112" fmla="*/ 1302543 h 1383506"/>
              <a:gd name="connsiteX113" fmla="*/ 3798094 w 4029075"/>
              <a:gd name="connsiteY113" fmla="*/ 1359693 h 1383506"/>
              <a:gd name="connsiteX114" fmla="*/ 3838575 w 4029075"/>
              <a:gd name="connsiteY114" fmla="*/ 1357312 h 1383506"/>
              <a:gd name="connsiteX115" fmla="*/ 3895725 w 4029075"/>
              <a:gd name="connsiteY115" fmla="*/ 1383506 h 1383506"/>
              <a:gd name="connsiteX116" fmla="*/ 4005262 w 4029075"/>
              <a:gd name="connsiteY116" fmla="*/ 1345406 h 1383506"/>
              <a:gd name="connsiteX117" fmla="*/ 4029075 w 4029075"/>
              <a:gd name="connsiteY117" fmla="*/ 1302543 h 1383506"/>
              <a:gd name="connsiteX118" fmla="*/ 4024312 w 4029075"/>
              <a:gd name="connsiteY118" fmla="*/ 1235868 h 1383506"/>
              <a:gd name="connsiteX119" fmla="*/ 4021931 w 4029075"/>
              <a:gd name="connsiteY119" fmla="*/ 1116806 h 1383506"/>
              <a:gd name="connsiteX120" fmla="*/ 3995737 w 4029075"/>
              <a:gd name="connsiteY120" fmla="*/ 1078706 h 1383506"/>
              <a:gd name="connsiteX121" fmla="*/ 3933825 w 4029075"/>
              <a:gd name="connsiteY121" fmla="*/ 1057275 h 1383506"/>
              <a:gd name="connsiteX122" fmla="*/ 3917156 w 4029075"/>
              <a:gd name="connsiteY122" fmla="*/ 1014412 h 1383506"/>
              <a:gd name="connsiteX123" fmla="*/ 3890962 w 4029075"/>
              <a:gd name="connsiteY123" fmla="*/ 931068 h 1383506"/>
              <a:gd name="connsiteX124" fmla="*/ 3862387 w 4029075"/>
              <a:gd name="connsiteY124" fmla="*/ 890587 h 1383506"/>
              <a:gd name="connsiteX125" fmla="*/ 3888581 w 4029075"/>
              <a:gd name="connsiteY125" fmla="*/ 862012 h 1383506"/>
              <a:gd name="connsiteX126" fmla="*/ 3957637 w 4029075"/>
              <a:gd name="connsiteY126" fmla="*/ 840581 h 1383506"/>
              <a:gd name="connsiteX0" fmla="*/ 0 w 4667161"/>
              <a:gd name="connsiteY0" fmla="*/ 1958188 h 1958188"/>
              <a:gd name="connsiteX1" fmla="*/ 673805 w 4667161"/>
              <a:gd name="connsiteY1" fmla="*/ 1304925 h 1958188"/>
              <a:gd name="connsiteX2" fmla="*/ 714286 w 4667161"/>
              <a:gd name="connsiteY2" fmla="*/ 1259681 h 1958188"/>
              <a:gd name="connsiteX3" fmla="*/ 745242 w 4667161"/>
              <a:gd name="connsiteY3" fmla="*/ 1247775 h 1958188"/>
              <a:gd name="connsiteX4" fmla="*/ 795248 w 4667161"/>
              <a:gd name="connsiteY4" fmla="*/ 1257300 h 1958188"/>
              <a:gd name="connsiteX5" fmla="*/ 842873 w 4667161"/>
              <a:gd name="connsiteY5" fmla="*/ 1207293 h 1958188"/>
              <a:gd name="connsiteX6" fmla="*/ 890498 w 4667161"/>
              <a:gd name="connsiteY6" fmla="*/ 1214437 h 1958188"/>
              <a:gd name="connsiteX7" fmla="*/ 911930 w 4667161"/>
              <a:gd name="connsiteY7" fmla="*/ 1214437 h 1958188"/>
              <a:gd name="connsiteX8" fmla="*/ 947648 w 4667161"/>
              <a:gd name="connsiteY8" fmla="*/ 1195387 h 1958188"/>
              <a:gd name="connsiteX9" fmla="*/ 971461 w 4667161"/>
              <a:gd name="connsiteY9" fmla="*/ 1157287 h 1958188"/>
              <a:gd name="connsiteX10" fmla="*/ 1016705 w 4667161"/>
              <a:gd name="connsiteY10" fmla="*/ 1157287 h 1958188"/>
              <a:gd name="connsiteX11" fmla="*/ 1042898 w 4667161"/>
              <a:gd name="connsiteY11" fmla="*/ 1119187 h 1958188"/>
              <a:gd name="connsiteX12" fmla="*/ 1069092 w 4667161"/>
              <a:gd name="connsiteY12" fmla="*/ 1100137 h 1958188"/>
              <a:gd name="connsiteX13" fmla="*/ 1088142 w 4667161"/>
              <a:gd name="connsiteY13" fmla="*/ 1071562 h 1958188"/>
              <a:gd name="connsiteX14" fmla="*/ 1133386 w 4667161"/>
              <a:gd name="connsiteY14" fmla="*/ 1064418 h 1958188"/>
              <a:gd name="connsiteX15" fmla="*/ 1145292 w 4667161"/>
              <a:gd name="connsiteY15" fmla="*/ 1031081 h 1958188"/>
              <a:gd name="connsiteX16" fmla="*/ 1181011 w 4667161"/>
              <a:gd name="connsiteY16" fmla="*/ 1012031 h 1958188"/>
              <a:gd name="connsiteX17" fmla="*/ 1202442 w 4667161"/>
              <a:gd name="connsiteY17" fmla="*/ 988218 h 1958188"/>
              <a:gd name="connsiteX18" fmla="*/ 1283405 w 4667161"/>
              <a:gd name="connsiteY18" fmla="*/ 966787 h 1958188"/>
              <a:gd name="connsiteX19" fmla="*/ 1297692 w 4667161"/>
              <a:gd name="connsiteY19" fmla="*/ 952500 h 1958188"/>
              <a:gd name="connsiteX20" fmla="*/ 1307217 w 4667161"/>
              <a:gd name="connsiteY20" fmla="*/ 919162 h 1958188"/>
              <a:gd name="connsiteX21" fmla="*/ 1388180 w 4667161"/>
              <a:gd name="connsiteY21" fmla="*/ 878681 h 1958188"/>
              <a:gd name="connsiteX22" fmla="*/ 1407230 w 4667161"/>
              <a:gd name="connsiteY22" fmla="*/ 873918 h 1958188"/>
              <a:gd name="connsiteX23" fmla="*/ 1466761 w 4667161"/>
              <a:gd name="connsiteY23" fmla="*/ 809625 h 1958188"/>
              <a:gd name="connsiteX24" fmla="*/ 1471523 w 4667161"/>
              <a:gd name="connsiteY24" fmla="*/ 759618 h 1958188"/>
              <a:gd name="connsiteX25" fmla="*/ 1497717 w 4667161"/>
              <a:gd name="connsiteY25" fmla="*/ 733425 h 1958188"/>
              <a:gd name="connsiteX26" fmla="*/ 1523911 w 4667161"/>
              <a:gd name="connsiteY26" fmla="*/ 728662 h 1958188"/>
              <a:gd name="connsiteX27" fmla="*/ 1585823 w 4667161"/>
              <a:gd name="connsiteY27" fmla="*/ 683418 h 1958188"/>
              <a:gd name="connsiteX28" fmla="*/ 1671548 w 4667161"/>
              <a:gd name="connsiteY28" fmla="*/ 640556 h 1958188"/>
              <a:gd name="connsiteX29" fmla="*/ 1707267 w 4667161"/>
              <a:gd name="connsiteY29" fmla="*/ 600075 h 1958188"/>
              <a:gd name="connsiteX30" fmla="*/ 1735842 w 4667161"/>
              <a:gd name="connsiteY30" fmla="*/ 585787 h 1958188"/>
              <a:gd name="connsiteX31" fmla="*/ 1742986 w 4667161"/>
              <a:gd name="connsiteY31" fmla="*/ 519112 h 1958188"/>
              <a:gd name="connsiteX32" fmla="*/ 1759655 w 4667161"/>
              <a:gd name="connsiteY32" fmla="*/ 473868 h 1958188"/>
              <a:gd name="connsiteX33" fmla="*/ 1745367 w 4667161"/>
              <a:gd name="connsiteY33" fmla="*/ 433387 h 1958188"/>
              <a:gd name="connsiteX34" fmla="*/ 1750130 w 4667161"/>
              <a:gd name="connsiteY34" fmla="*/ 347662 h 1958188"/>
              <a:gd name="connsiteX35" fmla="*/ 1745367 w 4667161"/>
              <a:gd name="connsiteY35" fmla="*/ 307181 h 1958188"/>
              <a:gd name="connsiteX36" fmla="*/ 1745367 w 4667161"/>
              <a:gd name="connsiteY36" fmla="*/ 264318 h 1958188"/>
              <a:gd name="connsiteX37" fmla="*/ 1771561 w 4667161"/>
              <a:gd name="connsiteY37" fmla="*/ 254793 h 1958188"/>
              <a:gd name="connsiteX38" fmla="*/ 1792992 w 4667161"/>
              <a:gd name="connsiteY38" fmla="*/ 271462 h 1958188"/>
              <a:gd name="connsiteX39" fmla="*/ 1807280 w 4667161"/>
              <a:gd name="connsiteY39" fmla="*/ 297656 h 1958188"/>
              <a:gd name="connsiteX40" fmla="*/ 1835855 w 4667161"/>
              <a:gd name="connsiteY40" fmla="*/ 300037 h 1958188"/>
              <a:gd name="connsiteX41" fmla="*/ 1857286 w 4667161"/>
              <a:gd name="connsiteY41" fmla="*/ 278606 h 1958188"/>
              <a:gd name="connsiteX42" fmla="*/ 1943011 w 4667161"/>
              <a:gd name="connsiteY42" fmla="*/ 280987 h 1958188"/>
              <a:gd name="connsiteX43" fmla="*/ 1995398 w 4667161"/>
              <a:gd name="connsiteY43" fmla="*/ 290512 h 1958188"/>
              <a:gd name="connsiteX44" fmla="*/ 2043023 w 4667161"/>
              <a:gd name="connsiteY44" fmla="*/ 266700 h 1958188"/>
              <a:gd name="connsiteX45" fmla="*/ 2054930 w 4667161"/>
              <a:gd name="connsiteY45" fmla="*/ 233362 h 1958188"/>
              <a:gd name="connsiteX46" fmla="*/ 2095411 w 4667161"/>
              <a:gd name="connsiteY46" fmla="*/ 200025 h 1958188"/>
              <a:gd name="connsiteX47" fmla="*/ 2085886 w 4667161"/>
              <a:gd name="connsiteY47" fmla="*/ 173831 h 1958188"/>
              <a:gd name="connsiteX48" fmla="*/ 2102555 w 4667161"/>
              <a:gd name="connsiteY48" fmla="*/ 147637 h 1958188"/>
              <a:gd name="connsiteX49" fmla="*/ 2157323 w 4667161"/>
              <a:gd name="connsiteY49" fmla="*/ 169068 h 1958188"/>
              <a:gd name="connsiteX50" fmla="*/ 2204948 w 4667161"/>
              <a:gd name="connsiteY50" fmla="*/ 173831 h 1958188"/>
              <a:gd name="connsiteX51" fmla="*/ 2240667 w 4667161"/>
              <a:gd name="connsiteY51" fmla="*/ 209550 h 1958188"/>
              <a:gd name="connsiteX52" fmla="*/ 2269242 w 4667161"/>
              <a:gd name="connsiteY52" fmla="*/ 223837 h 1958188"/>
              <a:gd name="connsiteX53" fmla="*/ 2288292 w 4667161"/>
              <a:gd name="connsiteY53" fmla="*/ 280987 h 1958188"/>
              <a:gd name="connsiteX54" fmla="*/ 2357348 w 4667161"/>
              <a:gd name="connsiteY54" fmla="*/ 316706 h 1958188"/>
              <a:gd name="connsiteX55" fmla="*/ 2426405 w 4667161"/>
              <a:gd name="connsiteY55" fmla="*/ 307181 h 1958188"/>
              <a:gd name="connsiteX56" fmla="*/ 2474030 w 4667161"/>
              <a:gd name="connsiteY56" fmla="*/ 295275 h 1958188"/>
              <a:gd name="connsiteX57" fmla="*/ 2512130 w 4667161"/>
              <a:gd name="connsiteY57" fmla="*/ 307181 h 1958188"/>
              <a:gd name="connsiteX58" fmla="*/ 2562136 w 4667161"/>
              <a:gd name="connsiteY58" fmla="*/ 304800 h 1958188"/>
              <a:gd name="connsiteX59" fmla="*/ 2607380 w 4667161"/>
              <a:gd name="connsiteY59" fmla="*/ 316706 h 1958188"/>
              <a:gd name="connsiteX60" fmla="*/ 2652623 w 4667161"/>
              <a:gd name="connsiteY60" fmla="*/ 302418 h 1958188"/>
              <a:gd name="connsiteX61" fmla="*/ 2674055 w 4667161"/>
              <a:gd name="connsiteY61" fmla="*/ 276225 h 1958188"/>
              <a:gd name="connsiteX62" fmla="*/ 2752636 w 4667161"/>
              <a:gd name="connsiteY62" fmla="*/ 297656 h 1958188"/>
              <a:gd name="connsiteX63" fmla="*/ 2793117 w 4667161"/>
              <a:gd name="connsiteY63" fmla="*/ 283368 h 1958188"/>
              <a:gd name="connsiteX64" fmla="*/ 2800261 w 4667161"/>
              <a:gd name="connsiteY64" fmla="*/ 242887 h 1958188"/>
              <a:gd name="connsiteX65" fmla="*/ 2771686 w 4667161"/>
              <a:gd name="connsiteY65" fmla="*/ 195262 h 1958188"/>
              <a:gd name="connsiteX66" fmla="*/ 2755017 w 4667161"/>
              <a:gd name="connsiteY66" fmla="*/ 135731 h 1958188"/>
              <a:gd name="connsiteX67" fmla="*/ 2721680 w 4667161"/>
              <a:gd name="connsiteY67" fmla="*/ 102393 h 1958188"/>
              <a:gd name="connsiteX68" fmla="*/ 2697867 w 4667161"/>
              <a:gd name="connsiteY68" fmla="*/ 59531 h 1958188"/>
              <a:gd name="connsiteX69" fmla="*/ 2707392 w 4667161"/>
              <a:gd name="connsiteY69" fmla="*/ 38100 h 1958188"/>
              <a:gd name="connsiteX70" fmla="*/ 2743111 w 4667161"/>
              <a:gd name="connsiteY70" fmla="*/ 0 h 1958188"/>
              <a:gd name="connsiteX71" fmla="*/ 2762161 w 4667161"/>
              <a:gd name="connsiteY71" fmla="*/ 16668 h 1958188"/>
              <a:gd name="connsiteX72" fmla="*/ 2843123 w 4667161"/>
              <a:gd name="connsiteY72" fmla="*/ 30956 h 1958188"/>
              <a:gd name="connsiteX73" fmla="*/ 2926467 w 4667161"/>
              <a:gd name="connsiteY73" fmla="*/ 47625 h 1958188"/>
              <a:gd name="connsiteX74" fmla="*/ 2976473 w 4667161"/>
              <a:gd name="connsiteY74" fmla="*/ 66675 h 1958188"/>
              <a:gd name="connsiteX75" fmla="*/ 3026480 w 4667161"/>
              <a:gd name="connsiteY75" fmla="*/ 61912 h 1958188"/>
              <a:gd name="connsiteX76" fmla="*/ 3074105 w 4667161"/>
              <a:gd name="connsiteY76" fmla="*/ 92868 h 1958188"/>
              <a:gd name="connsiteX77" fmla="*/ 3116967 w 4667161"/>
              <a:gd name="connsiteY77" fmla="*/ 119062 h 1958188"/>
              <a:gd name="connsiteX78" fmla="*/ 3138398 w 4667161"/>
              <a:gd name="connsiteY78" fmla="*/ 150018 h 1958188"/>
              <a:gd name="connsiteX79" fmla="*/ 3188405 w 4667161"/>
              <a:gd name="connsiteY79" fmla="*/ 157162 h 1958188"/>
              <a:gd name="connsiteX80" fmla="*/ 3214598 w 4667161"/>
              <a:gd name="connsiteY80" fmla="*/ 202406 h 1958188"/>
              <a:gd name="connsiteX81" fmla="*/ 3240792 w 4667161"/>
              <a:gd name="connsiteY81" fmla="*/ 233362 h 1958188"/>
              <a:gd name="connsiteX82" fmla="*/ 3257461 w 4667161"/>
              <a:gd name="connsiteY82" fmla="*/ 278606 h 1958188"/>
              <a:gd name="connsiteX83" fmla="*/ 3316992 w 4667161"/>
              <a:gd name="connsiteY83" fmla="*/ 295275 h 1958188"/>
              <a:gd name="connsiteX84" fmla="*/ 3345567 w 4667161"/>
              <a:gd name="connsiteY84" fmla="*/ 326231 h 1958188"/>
              <a:gd name="connsiteX85" fmla="*/ 3366998 w 4667161"/>
              <a:gd name="connsiteY85" fmla="*/ 335756 h 1958188"/>
              <a:gd name="connsiteX86" fmla="*/ 3378905 w 4667161"/>
              <a:gd name="connsiteY86" fmla="*/ 376237 h 1958188"/>
              <a:gd name="connsiteX87" fmla="*/ 3409861 w 4667161"/>
              <a:gd name="connsiteY87" fmla="*/ 383381 h 1958188"/>
              <a:gd name="connsiteX88" fmla="*/ 3447961 w 4667161"/>
              <a:gd name="connsiteY88" fmla="*/ 447675 h 1958188"/>
              <a:gd name="connsiteX89" fmla="*/ 3443198 w 4667161"/>
              <a:gd name="connsiteY89" fmla="*/ 502443 h 1958188"/>
              <a:gd name="connsiteX90" fmla="*/ 3431292 w 4667161"/>
              <a:gd name="connsiteY90" fmla="*/ 531018 h 1958188"/>
              <a:gd name="connsiteX91" fmla="*/ 3471773 w 4667161"/>
              <a:gd name="connsiteY91" fmla="*/ 564356 h 1958188"/>
              <a:gd name="connsiteX92" fmla="*/ 3469392 w 4667161"/>
              <a:gd name="connsiteY92" fmla="*/ 647700 h 1958188"/>
              <a:gd name="connsiteX93" fmla="*/ 3450342 w 4667161"/>
              <a:gd name="connsiteY93" fmla="*/ 664368 h 1958188"/>
              <a:gd name="connsiteX94" fmla="*/ 3433673 w 4667161"/>
              <a:gd name="connsiteY94" fmla="*/ 738187 h 1958188"/>
              <a:gd name="connsiteX95" fmla="*/ 3455105 w 4667161"/>
              <a:gd name="connsiteY95" fmla="*/ 773906 h 1958188"/>
              <a:gd name="connsiteX96" fmla="*/ 3509873 w 4667161"/>
              <a:gd name="connsiteY96" fmla="*/ 797718 h 1958188"/>
              <a:gd name="connsiteX97" fmla="*/ 3547973 w 4667161"/>
              <a:gd name="connsiteY97" fmla="*/ 778668 h 1958188"/>
              <a:gd name="connsiteX98" fmla="*/ 3590836 w 4667161"/>
              <a:gd name="connsiteY98" fmla="*/ 797718 h 1958188"/>
              <a:gd name="connsiteX99" fmla="*/ 3626555 w 4667161"/>
              <a:gd name="connsiteY99" fmla="*/ 783431 h 1958188"/>
              <a:gd name="connsiteX100" fmla="*/ 3664655 w 4667161"/>
              <a:gd name="connsiteY100" fmla="*/ 826293 h 1958188"/>
              <a:gd name="connsiteX101" fmla="*/ 3743236 w 4667161"/>
              <a:gd name="connsiteY101" fmla="*/ 902493 h 1958188"/>
              <a:gd name="connsiteX102" fmla="*/ 3812292 w 4667161"/>
              <a:gd name="connsiteY102" fmla="*/ 916781 h 1958188"/>
              <a:gd name="connsiteX103" fmla="*/ 3907542 w 4667161"/>
              <a:gd name="connsiteY103" fmla="*/ 959643 h 1958188"/>
              <a:gd name="connsiteX104" fmla="*/ 3974217 w 4667161"/>
              <a:gd name="connsiteY104" fmla="*/ 992981 h 1958188"/>
              <a:gd name="connsiteX105" fmla="*/ 3990886 w 4667161"/>
              <a:gd name="connsiteY105" fmla="*/ 1035843 h 1958188"/>
              <a:gd name="connsiteX106" fmla="*/ 4000411 w 4667161"/>
              <a:gd name="connsiteY106" fmla="*/ 1081087 h 1958188"/>
              <a:gd name="connsiteX107" fmla="*/ 4048036 w 4667161"/>
              <a:gd name="connsiteY107" fmla="*/ 1109662 h 1958188"/>
              <a:gd name="connsiteX108" fmla="*/ 4083755 w 4667161"/>
              <a:gd name="connsiteY108" fmla="*/ 1107281 h 1958188"/>
              <a:gd name="connsiteX109" fmla="*/ 4150430 w 4667161"/>
              <a:gd name="connsiteY109" fmla="*/ 1145381 h 1958188"/>
              <a:gd name="connsiteX110" fmla="*/ 4209961 w 4667161"/>
              <a:gd name="connsiteY110" fmla="*/ 1197768 h 1958188"/>
              <a:gd name="connsiteX111" fmla="*/ 4293305 w 4667161"/>
              <a:gd name="connsiteY111" fmla="*/ 1240631 h 1958188"/>
              <a:gd name="connsiteX112" fmla="*/ 4359980 w 4667161"/>
              <a:gd name="connsiteY112" fmla="*/ 1302543 h 1958188"/>
              <a:gd name="connsiteX113" fmla="*/ 4436180 w 4667161"/>
              <a:gd name="connsiteY113" fmla="*/ 1359693 h 1958188"/>
              <a:gd name="connsiteX114" fmla="*/ 4476661 w 4667161"/>
              <a:gd name="connsiteY114" fmla="*/ 1357312 h 1958188"/>
              <a:gd name="connsiteX115" fmla="*/ 4533811 w 4667161"/>
              <a:gd name="connsiteY115" fmla="*/ 1383506 h 1958188"/>
              <a:gd name="connsiteX116" fmla="*/ 4643348 w 4667161"/>
              <a:gd name="connsiteY116" fmla="*/ 1345406 h 1958188"/>
              <a:gd name="connsiteX117" fmla="*/ 4667161 w 4667161"/>
              <a:gd name="connsiteY117" fmla="*/ 1302543 h 1958188"/>
              <a:gd name="connsiteX118" fmla="*/ 4662398 w 4667161"/>
              <a:gd name="connsiteY118" fmla="*/ 1235868 h 1958188"/>
              <a:gd name="connsiteX119" fmla="*/ 4660017 w 4667161"/>
              <a:gd name="connsiteY119" fmla="*/ 1116806 h 1958188"/>
              <a:gd name="connsiteX120" fmla="*/ 4633823 w 4667161"/>
              <a:gd name="connsiteY120" fmla="*/ 1078706 h 1958188"/>
              <a:gd name="connsiteX121" fmla="*/ 4571911 w 4667161"/>
              <a:gd name="connsiteY121" fmla="*/ 1057275 h 1958188"/>
              <a:gd name="connsiteX122" fmla="*/ 4555242 w 4667161"/>
              <a:gd name="connsiteY122" fmla="*/ 1014412 h 1958188"/>
              <a:gd name="connsiteX123" fmla="*/ 4529048 w 4667161"/>
              <a:gd name="connsiteY123" fmla="*/ 931068 h 1958188"/>
              <a:gd name="connsiteX124" fmla="*/ 4500473 w 4667161"/>
              <a:gd name="connsiteY124" fmla="*/ 890587 h 1958188"/>
              <a:gd name="connsiteX125" fmla="*/ 4526667 w 4667161"/>
              <a:gd name="connsiteY125" fmla="*/ 862012 h 1958188"/>
              <a:gd name="connsiteX126" fmla="*/ 4595723 w 4667161"/>
              <a:gd name="connsiteY126" fmla="*/ 840581 h 1958188"/>
              <a:gd name="connsiteX0" fmla="*/ 0 w 4667161"/>
              <a:gd name="connsiteY0" fmla="*/ 1958188 h 1958188"/>
              <a:gd name="connsiteX1" fmla="*/ 64071 w 4667161"/>
              <a:gd name="connsiteY1" fmla="*/ 1893294 h 1958188"/>
              <a:gd name="connsiteX2" fmla="*/ 673805 w 4667161"/>
              <a:gd name="connsiteY2" fmla="*/ 1304925 h 1958188"/>
              <a:gd name="connsiteX3" fmla="*/ 714286 w 4667161"/>
              <a:gd name="connsiteY3" fmla="*/ 1259681 h 1958188"/>
              <a:gd name="connsiteX4" fmla="*/ 745242 w 4667161"/>
              <a:gd name="connsiteY4" fmla="*/ 1247775 h 1958188"/>
              <a:gd name="connsiteX5" fmla="*/ 795248 w 4667161"/>
              <a:gd name="connsiteY5" fmla="*/ 1257300 h 1958188"/>
              <a:gd name="connsiteX6" fmla="*/ 842873 w 4667161"/>
              <a:gd name="connsiteY6" fmla="*/ 1207293 h 1958188"/>
              <a:gd name="connsiteX7" fmla="*/ 890498 w 4667161"/>
              <a:gd name="connsiteY7" fmla="*/ 1214437 h 1958188"/>
              <a:gd name="connsiteX8" fmla="*/ 911930 w 4667161"/>
              <a:gd name="connsiteY8" fmla="*/ 1214437 h 1958188"/>
              <a:gd name="connsiteX9" fmla="*/ 947648 w 4667161"/>
              <a:gd name="connsiteY9" fmla="*/ 1195387 h 1958188"/>
              <a:gd name="connsiteX10" fmla="*/ 971461 w 4667161"/>
              <a:gd name="connsiteY10" fmla="*/ 1157287 h 1958188"/>
              <a:gd name="connsiteX11" fmla="*/ 1016705 w 4667161"/>
              <a:gd name="connsiteY11" fmla="*/ 1157287 h 1958188"/>
              <a:gd name="connsiteX12" fmla="*/ 1042898 w 4667161"/>
              <a:gd name="connsiteY12" fmla="*/ 1119187 h 1958188"/>
              <a:gd name="connsiteX13" fmla="*/ 1069092 w 4667161"/>
              <a:gd name="connsiteY13" fmla="*/ 1100137 h 1958188"/>
              <a:gd name="connsiteX14" fmla="*/ 1088142 w 4667161"/>
              <a:gd name="connsiteY14" fmla="*/ 1071562 h 1958188"/>
              <a:gd name="connsiteX15" fmla="*/ 1133386 w 4667161"/>
              <a:gd name="connsiteY15" fmla="*/ 1064418 h 1958188"/>
              <a:gd name="connsiteX16" fmla="*/ 1145292 w 4667161"/>
              <a:gd name="connsiteY16" fmla="*/ 1031081 h 1958188"/>
              <a:gd name="connsiteX17" fmla="*/ 1181011 w 4667161"/>
              <a:gd name="connsiteY17" fmla="*/ 1012031 h 1958188"/>
              <a:gd name="connsiteX18" fmla="*/ 1202442 w 4667161"/>
              <a:gd name="connsiteY18" fmla="*/ 988218 h 1958188"/>
              <a:gd name="connsiteX19" fmla="*/ 1283405 w 4667161"/>
              <a:gd name="connsiteY19" fmla="*/ 966787 h 1958188"/>
              <a:gd name="connsiteX20" fmla="*/ 1297692 w 4667161"/>
              <a:gd name="connsiteY20" fmla="*/ 952500 h 1958188"/>
              <a:gd name="connsiteX21" fmla="*/ 1307217 w 4667161"/>
              <a:gd name="connsiteY21" fmla="*/ 919162 h 1958188"/>
              <a:gd name="connsiteX22" fmla="*/ 1388180 w 4667161"/>
              <a:gd name="connsiteY22" fmla="*/ 878681 h 1958188"/>
              <a:gd name="connsiteX23" fmla="*/ 1407230 w 4667161"/>
              <a:gd name="connsiteY23" fmla="*/ 873918 h 1958188"/>
              <a:gd name="connsiteX24" fmla="*/ 1466761 w 4667161"/>
              <a:gd name="connsiteY24" fmla="*/ 809625 h 1958188"/>
              <a:gd name="connsiteX25" fmla="*/ 1471523 w 4667161"/>
              <a:gd name="connsiteY25" fmla="*/ 759618 h 1958188"/>
              <a:gd name="connsiteX26" fmla="*/ 1497717 w 4667161"/>
              <a:gd name="connsiteY26" fmla="*/ 733425 h 1958188"/>
              <a:gd name="connsiteX27" fmla="*/ 1523911 w 4667161"/>
              <a:gd name="connsiteY27" fmla="*/ 728662 h 1958188"/>
              <a:gd name="connsiteX28" fmla="*/ 1585823 w 4667161"/>
              <a:gd name="connsiteY28" fmla="*/ 683418 h 1958188"/>
              <a:gd name="connsiteX29" fmla="*/ 1671548 w 4667161"/>
              <a:gd name="connsiteY29" fmla="*/ 640556 h 1958188"/>
              <a:gd name="connsiteX30" fmla="*/ 1707267 w 4667161"/>
              <a:gd name="connsiteY30" fmla="*/ 600075 h 1958188"/>
              <a:gd name="connsiteX31" fmla="*/ 1735842 w 4667161"/>
              <a:gd name="connsiteY31" fmla="*/ 585787 h 1958188"/>
              <a:gd name="connsiteX32" fmla="*/ 1742986 w 4667161"/>
              <a:gd name="connsiteY32" fmla="*/ 519112 h 1958188"/>
              <a:gd name="connsiteX33" fmla="*/ 1759655 w 4667161"/>
              <a:gd name="connsiteY33" fmla="*/ 473868 h 1958188"/>
              <a:gd name="connsiteX34" fmla="*/ 1745367 w 4667161"/>
              <a:gd name="connsiteY34" fmla="*/ 433387 h 1958188"/>
              <a:gd name="connsiteX35" fmla="*/ 1750130 w 4667161"/>
              <a:gd name="connsiteY35" fmla="*/ 347662 h 1958188"/>
              <a:gd name="connsiteX36" fmla="*/ 1745367 w 4667161"/>
              <a:gd name="connsiteY36" fmla="*/ 307181 h 1958188"/>
              <a:gd name="connsiteX37" fmla="*/ 1745367 w 4667161"/>
              <a:gd name="connsiteY37" fmla="*/ 264318 h 1958188"/>
              <a:gd name="connsiteX38" fmla="*/ 1771561 w 4667161"/>
              <a:gd name="connsiteY38" fmla="*/ 254793 h 1958188"/>
              <a:gd name="connsiteX39" fmla="*/ 1792992 w 4667161"/>
              <a:gd name="connsiteY39" fmla="*/ 271462 h 1958188"/>
              <a:gd name="connsiteX40" fmla="*/ 1807280 w 4667161"/>
              <a:gd name="connsiteY40" fmla="*/ 297656 h 1958188"/>
              <a:gd name="connsiteX41" fmla="*/ 1835855 w 4667161"/>
              <a:gd name="connsiteY41" fmla="*/ 300037 h 1958188"/>
              <a:gd name="connsiteX42" fmla="*/ 1857286 w 4667161"/>
              <a:gd name="connsiteY42" fmla="*/ 278606 h 1958188"/>
              <a:gd name="connsiteX43" fmla="*/ 1943011 w 4667161"/>
              <a:gd name="connsiteY43" fmla="*/ 280987 h 1958188"/>
              <a:gd name="connsiteX44" fmla="*/ 1995398 w 4667161"/>
              <a:gd name="connsiteY44" fmla="*/ 290512 h 1958188"/>
              <a:gd name="connsiteX45" fmla="*/ 2043023 w 4667161"/>
              <a:gd name="connsiteY45" fmla="*/ 266700 h 1958188"/>
              <a:gd name="connsiteX46" fmla="*/ 2054930 w 4667161"/>
              <a:gd name="connsiteY46" fmla="*/ 233362 h 1958188"/>
              <a:gd name="connsiteX47" fmla="*/ 2095411 w 4667161"/>
              <a:gd name="connsiteY47" fmla="*/ 200025 h 1958188"/>
              <a:gd name="connsiteX48" fmla="*/ 2085886 w 4667161"/>
              <a:gd name="connsiteY48" fmla="*/ 173831 h 1958188"/>
              <a:gd name="connsiteX49" fmla="*/ 2102555 w 4667161"/>
              <a:gd name="connsiteY49" fmla="*/ 147637 h 1958188"/>
              <a:gd name="connsiteX50" fmla="*/ 2157323 w 4667161"/>
              <a:gd name="connsiteY50" fmla="*/ 169068 h 1958188"/>
              <a:gd name="connsiteX51" fmla="*/ 2204948 w 4667161"/>
              <a:gd name="connsiteY51" fmla="*/ 173831 h 1958188"/>
              <a:gd name="connsiteX52" fmla="*/ 2240667 w 4667161"/>
              <a:gd name="connsiteY52" fmla="*/ 209550 h 1958188"/>
              <a:gd name="connsiteX53" fmla="*/ 2269242 w 4667161"/>
              <a:gd name="connsiteY53" fmla="*/ 223837 h 1958188"/>
              <a:gd name="connsiteX54" fmla="*/ 2288292 w 4667161"/>
              <a:gd name="connsiteY54" fmla="*/ 280987 h 1958188"/>
              <a:gd name="connsiteX55" fmla="*/ 2357348 w 4667161"/>
              <a:gd name="connsiteY55" fmla="*/ 316706 h 1958188"/>
              <a:gd name="connsiteX56" fmla="*/ 2426405 w 4667161"/>
              <a:gd name="connsiteY56" fmla="*/ 307181 h 1958188"/>
              <a:gd name="connsiteX57" fmla="*/ 2474030 w 4667161"/>
              <a:gd name="connsiteY57" fmla="*/ 295275 h 1958188"/>
              <a:gd name="connsiteX58" fmla="*/ 2512130 w 4667161"/>
              <a:gd name="connsiteY58" fmla="*/ 307181 h 1958188"/>
              <a:gd name="connsiteX59" fmla="*/ 2562136 w 4667161"/>
              <a:gd name="connsiteY59" fmla="*/ 304800 h 1958188"/>
              <a:gd name="connsiteX60" fmla="*/ 2607380 w 4667161"/>
              <a:gd name="connsiteY60" fmla="*/ 316706 h 1958188"/>
              <a:gd name="connsiteX61" fmla="*/ 2652623 w 4667161"/>
              <a:gd name="connsiteY61" fmla="*/ 302418 h 1958188"/>
              <a:gd name="connsiteX62" fmla="*/ 2674055 w 4667161"/>
              <a:gd name="connsiteY62" fmla="*/ 276225 h 1958188"/>
              <a:gd name="connsiteX63" fmla="*/ 2752636 w 4667161"/>
              <a:gd name="connsiteY63" fmla="*/ 297656 h 1958188"/>
              <a:gd name="connsiteX64" fmla="*/ 2793117 w 4667161"/>
              <a:gd name="connsiteY64" fmla="*/ 283368 h 1958188"/>
              <a:gd name="connsiteX65" fmla="*/ 2800261 w 4667161"/>
              <a:gd name="connsiteY65" fmla="*/ 242887 h 1958188"/>
              <a:gd name="connsiteX66" fmla="*/ 2771686 w 4667161"/>
              <a:gd name="connsiteY66" fmla="*/ 195262 h 1958188"/>
              <a:gd name="connsiteX67" fmla="*/ 2755017 w 4667161"/>
              <a:gd name="connsiteY67" fmla="*/ 135731 h 1958188"/>
              <a:gd name="connsiteX68" fmla="*/ 2721680 w 4667161"/>
              <a:gd name="connsiteY68" fmla="*/ 102393 h 1958188"/>
              <a:gd name="connsiteX69" fmla="*/ 2697867 w 4667161"/>
              <a:gd name="connsiteY69" fmla="*/ 59531 h 1958188"/>
              <a:gd name="connsiteX70" fmla="*/ 2707392 w 4667161"/>
              <a:gd name="connsiteY70" fmla="*/ 38100 h 1958188"/>
              <a:gd name="connsiteX71" fmla="*/ 2743111 w 4667161"/>
              <a:gd name="connsiteY71" fmla="*/ 0 h 1958188"/>
              <a:gd name="connsiteX72" fmla="*/ 2762161 w 4667161"/>
              <a:gd name="connsiteY72" fmla="*/ 16668 h 1958188"/>
              <a:gd name="connsiteX73" fmla="*/ 2843123 w 4667161"/>
              <a:gd name="connsiteY73" fmla="*/ 30956 h 1958188"/>
              <a:gd name="connsiteX74" fmla="*/ 2926467 w 4667161"/>
              <a:gd name="connsiteY74" fmla="*/ 47625 h 1958188"/>
              <a:gd name="connsiteX75" fmla="*/ 2976473 w 4667161"/>
              <a:gd name="connsiteY75" fmla="*/ 66675 h 1958188"/>
              <a:gd name="connsiteX76" fmla="*/ 3026480 w 4667161"/>
              <a:gd name="connsiteY76" fmla="*/ 61912 h 1958188"/>
              <a:gd name="connsiteX77" fmla="*/ 3074105 w 4667161"/>
              <a:gd name="connsiteY77" fmla="*/ 92868 h 1958188"/>
              <a:gd name="connsiteX78" fmla="*/ 3116967 w 4667161"/>
              <a:gd name="connsiteY78" fmla="*/ 119062 h 1958188"/>
              <a:gd name="connsiteX79" fmla="*/ 3138398 w 4667161"/>
              <a:gd name="connsiteY79" fmla="*/ 150018 h 1958188"/>
              <a:gd name="connsiteX80" fmla="*/ 3188405 w 4667161"/>
              <a:gd name="connsiteY80" fmla="*/ 157162 h 1958188"/>
              <a:gd name="connsiteX81" fmla="*/ 3214598 w 4667161"/>
              <a:gd name="connsiteY81" fmla="*/ 202406 h 1958188"/>
              <a:gd name="connsiteX82" fmla="*/ 3240792 w 4667161"/>
              <a:gd name="connsiteY82" fmla="*/ 233362 h 1958188"/>
              <a:gd name="connsiteX83" fmla="*/ 3257461 w 4667161"/>
              <a:gd name="connsiteY83" fmla="*/ 278606 h 1958188"/>
              <a:gd name="connsiteX84" fmla="*/ 3316992 w 4667161"/>
              <a:gd name="connsiteY84" fmla="*/ 295275 h 1958188"/>
              <a:gd name="connsiteX85" fmla="*/ 3345567 w 4667161"/>
              <a:gd name="connsiteY85" fmla="*/ 326231 h 1958188"/>
              <a:gd name="connsiteX86" fmla="*/ 3366998 w 4667161"/>
              <a:gd name="connsiteY86" fmla="*/ 335756 h 1958188"/>
              <a:gd name="connsiteX87" fmla="*/ 3378905 w 4667161"/>
              <a:gd name="connsiteY87" fmla="*/ 376237 h 1958188"/>
              <a:gd name="connsiteX88" fmla="*/ 3409861 w 4667161"/>
              <a:gd name="connsiteY88" fmla="*/ 383381 h 1958188"/>
              <a:gd name="connsiteX89" fmla="*/ 3447961 w 4667161"/>
              <a:gd name="connsiteY89" fmla="*/ 447675 h 1958188"/>
              <a:gd name="connsiteX90" fmla="*/ 3443198 w 4667161"/>
              <a:gd name="connsiteY90" fmla="*/ 502443 h 1958188"/>
              <a:gd name="connsiteX91" fmla="*/ 3431292 w 4667161"/>
              <a:gd name="connsiteY91" fmla="*/ 531018 h 1958188"/>
              <a:gd name="connsiteX92" fmla="*/ 3471773 w 4667161"/>
              <a:gd name="connsiteY92" fmla="*/ 564356 h 1958188"/>
              <a:gd name="connsiteX93" fmla="*/ 3469392 w 4667161"/>
              <a:gd name="connsiteY93" fmla="*/ 647700 h 1958188"/>
              <a:gd name="connsiteX94" fmla="*/ 3450342 w 4667161"/>
              <a:gd name="connsiteY94" fmla="*/ 664368 h 1958188"/>
              <a:gd name="connsiteX95" fmla="*/ 3433673 w 4667161"/>
              <a:gd name="connsiteY95" fmla="*/ 738187 h 1958188"/>
              <a:gd name="connsiteX96" fmla="*/ 3455105 w 4667161"/>
              <a:gd name="connsiteY96" fmla="*/ 773906 h 1958188"/>
              <a:gd name="connsiteX97" fmla="*/ 3509873 w 4667161"/>
              <a:gd name="connsiteY97" fmla="*/ 797718 h 1958188"/>
              <a:gd name="connsiteX98" fmla="*/ 3547973 w 4667161"/>
              <a:gd name="connsiteY98" fmla="*/ 778668 h 1958188"/>
              <a:gd name="connsiteX99" fmla="*/ 3590836 w 4667161"/>
              <a:gd name="connsiteY99" fmla="*/ 797718 h 1958188"/>
              <a:gd name="connsiteX100" fmla="*/ 3626555 w 4667161"/>
              <a:gd name="connsiteY100" fmla="*/ 783431 h 1958188"/>
              <a:gd name="connsiteX101" fmla="*/ 3664655 w 4667161"/>
              <a:gd name="connsiteY101" fmla="*/ 826293 h 1958188"/>
              <a:gd name="connsiteX102" fmla="*/ 3743236 w 4667161"/>
              <a:gd name="connsiteY102" fmla="*/ 902493 h 1958188"/>
              <a:gd name="connsiteX103" fmla="*/ 3812292 w 4667161"/>
              <a:gd name="connsiteY103" fmla="*/ 916781 h 1958188"/>
              <a:gd name="connsiteX104" fmla="*/ 3907542 w 4667161"/>
              <a:gd name="connsiteY104" fmla="*/ 959643 h 1958188"/>
              <a:gd name="connsiteX105" fmla="*/ 3974217 w 4667161"/>
              <a:gd name="connsiteY105" fmla="*/ 992981 h 1958188"/>
              <a:gd name="connsiteX106" fmla="*/ 3990886 w 4667161"/>
              <a:gd name="connsiteY106" fmla="*/ 1035843 h 1958188"/>
              <a:gd name="connsiteX107" fmla="*/ 4000411 w 4667161"/>
              <a:gd name="connsiteY107" fmla="*/ 1081087 h 1958188"/>
              <a:gd name="connsiteX108" fmla="*/ 4048036 w 4667161"/>
              <a:gd name="connsiteY108" fmla="*/ 1109662 h 1958188"/>
              <a:gd name="connsiteX109" fmla="*/ 4083755 w 4667161"/>
              <a:gd name="connsiteY109" fmla="*/ 1107281 h 1958188"/>
              <a:gd name="connsiteX110" fmla="*/ 4150430 w 4667161"/>
              <a:gd name="connsiteY110" fmla="*/ 1145381 h 1958188"/>
              <a:gd name="connsiteX111" fmla="*/ 4209961 w 4667161"/>
              <a:gd name="connsiteY111" fmla="*/ 1197768 h 1958188"/>
              <a:gd name="connsiteX112" fmla="*/ 4293305 w 4667161"/>
              <a:gd name="connsiteY112" fmla="*/ 1240631 h 1958188"/>
              <a:gd name="connsiteX113" fmla="*/ 4359980 w 4667161"/>
              <a:gd name="connsiteY113" fmla="*/ 1302543 h 1958188"/>
              <a:gd name="connsiteX114" fmla="*/ 4436180 w 4667161"/>
              <a:gd name="connsiteY114" fmla="*/ 1359693 h 1958188"/>
              <a:gd name="connsiteX115" fmla="*/ 4476661 w 4667161"/>
              <a:gd name="connsiteY115" fmla="*/ 1357312 h 1958188"/>
              <a:gd name="connsiteX116" fmla="*/ 4533811 w 4667161"/>
              <a:gd name="connsiteY116" fmla="*/ 1383506 h 1958188"/>
              <a:gd name="connsiteX117" fmla="*/ 4643348 w 4667161"/>
              <a:gd name="connsiteY117" fmla="*/ 1345406 h 1958188"/>
              <a:gd name="connsiteX118" fmla="*/ 4667161 w 4667161"/>
              <a:gd name="connsiteY118" fmla="*/ 1302543 h 1958188"/>
              <a:gd name="connsiteX119" fmla="*/ 4662398 w 4667161"/>
              <a:gd name="connsiteY119" fmla="*/ 1235868 h 1958188"/>
              <a:gd name="connsiteX120" fmla="*/ 4660017 w 4667161"/>
              <a:gd name="connsiteY120" fmla="*/ 1116806 h 1958188"/>
              <a:gd name="connsiteX121" fmla="*/ 4633823 w 4667161"/>
              <a:gd name="connsiteY121" fmla="*/ 1078706 h 1958188"/>
              <a:gd name="connsiteX122" fmla="*/ 4571911 w 4667161"/>
              <a:gd name="connsiteY122" fmla="*/ 1057275 h 1958188"/>
              <a:gd name="connsiteX123" fmla="*/ 4555242 w 4667161"/>
              <a:gd name="connsiteY123" fmla="*/ 1014412 h 1958188"/>
              <a:gd name="connsiteX124" fmla="*/ 4529048 w 4667161"/>
              <a:gd name="connsiteY124" fmla="*/ 931068 h 1958188"/>
              <a:gd name="connsiteX125" fmla="*/ 4500473 w 4667161"/>
              <a:gd name="connsiteY125" fmla="*/ 890587 h 1958188"/>
              <a:gd name="connsiteX126" fmla="*/ 4526667 w 4667161"/>
              <a:gd name="connsiteY126" fmla="*/ 862012 h 1958188"/>
              <a:gd name="connsiteX127" fmla="*/ 4595723 w 4667161"/>
              <a:gd name="connsiteY127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673805 w 4667161"/>
              <a:gd name="connsiteY2" fmla="*/ 1304925 h 1958188"/>
              <a:gd name="connsiteX3" fmla="*/ 714286 w 4667161"/>
              <a:gd name="connsiteY3" fmla="*/ 1259681 h 1958188"/>
              <a:gd name="connsiteX4" fmla="*/ 745242 w 4667161"/>
              <a:gd name="connsiteY4" fmla="*/ 1247775 h 1958188"/>
              <a:gd name="connsiteX5" fmla="*/ 795248 w 4667161"/>
              <a:gd name="connsiteY5" fmla="*/ 1257300 h 1958188"/>
              <a:gd name="connsiteX6" fmla="*/ 842873 w 4667161"/>
              <a:gd name="connsiteY6" fmla="*/ 1207293 h 1958188"/>
              <a:gd name="connsiteX7" fmla="*/ 890498 w 4667161"/>
              <a:gd name="connsiteY7" fmla="*/ 1214437 h 1958188"/>
              <a:gd name="connsiteX8" fmla="*/ 911930 w 4667161"/>
              <a:gd name="connsiteY8" fmla="*/ 1214437 h 1958188"/>
              <a:gd name="connsiteX9" fmla="*/ 947648 w 4667161"/>
              <a:gd name="connsiteY9" fmla="*/ 1195387 h 1958188"/>
              <a:gd name="connsiteX10" fmla="*/ 971461 w 4667161"/>
              <a:gd name="connsiteY10" fmla="*/ 1157287 h 1958188"/>
              <a:gd name="connsiteX11" fmla="*/ 1016705 w 4667161"/>
              <a:gd name="connsiteY11" fmla="*/ 1157287 h 1958188"/>
              <a:gd name="connsiteX12" fmla="*/ 1042898 w 4667161"/>
              <a:gd name="connsiteY12" fmla="*/ 1119187 h 1958188"/>
              <a:gd name="connsiteX13" fmla="*/ 1069092 w 4667161"/>
              <a:gd name="connsiteY13" fmla="*/ 1100137 h 1958188"/>
              <a:gd name="connsiteX14" fmla="*/ 1088142 w 4667161"/>
              <a:gd name="connsiteY14" fmla="*/ 1071562 h 1958188"/>
              <a:gd name="connsiteX15" fmla="*/ 1133386 w 4667161"/>
              <a:gd name="connsiteY15" fmla="*/ 1064418 h 1958188"/>
              <a:gd name="connsiteX16" fmla="*/ 1145292 w 4667161"/>
              <a:gd name="connsiteY16" fmla="*/ 1031081 h 1958188"/>
              <a:gd name="connsiteX17" fmla="*/ 1181011 w 4667161"/>
              <a:gd name="connsiteY17" fmla="*/ 1012031 h 1958188"/>
              <a:gd name="connsiteX18" fmla="*/ 1202442 w 4667161"/>
              <a:gd name="connsiteY18" fmla="*/ 988218 h 1958188"/>
              <a:gd name="connsiteX19" fmla="*/ 1283405 w 4667161"/>
              <a:gd name="connsiteY19" fmla="*/ 966787 h 1958188"/>
              <a:gd name="connsiteX20" fmla="*/ 1297692 w 4667161"/>
              <a:gd name="connsiteY20" fmla="*/ 952500 h 1958188"/>
              <a:gd name="connsiteX21" fmla="*/ 1307217 w 4667161"/>
              <a:gd name="connsiteY21" fmla="*/ 919162 h 1958188"/>
              <a:gd name="connsiteX22" fmla="*/ 1388180 w 4667161"/>
              <a:gd name="connsiteY22" fmla="*/ 878681 h 1958188"/>
              <a:gd name="connsiteX23" fmla="*/ 1407230 w 4667161"/>
              <a:gd name="connsiteY23" fmla="*/ 873918 h 1958188"/>
              <a:gd name="connsiteX24" fmla="*/ 1466761 w 4667161"/>
              <a:gd name="connsiteY24" fmla="*/ 809625 h 1958188"/>
              <a:gd name="connsiteX25" fmla="*/ 1471523 w 4667161"/>
              <a:gd name="connsiteY25" fmla="*/ 759618 h 1958188"/>
              <a:gd name="connsiteX26" fmla="*/ 1497717 w 4667161"/>
              <a:gd name="connsiteY26" fmla="*/ 733425 h 1958188"/>
              <a:gd name="connsiteX27" fmla="*/ 1523911 w 4667161"/>
              <a:gd name="connsiteY27" fmla="*/ 728662 h 1958188"/>
              <a:gd name="connsiteX28" fmla="*/ 1585823 w 4667161"/>
              <a:gd name="connsiteY28" fmla="*/ 683418 h 1958188"/>
              <a:gd name="connsiteX29" fmla="*/ 1671548 w 4667161"/>
              <a:gd name="connsiteY29" fmla="*/ 640556 h 1958188"/>
              <a:gd name="connsiteX30" fmla="*/ 1707267 w 4667161"/>
              <a:gd name="connsiteY30" fmla="*/ 600075 h 1958188"/>
              <a:gd name="connsiteX31" fmla="*/ 1735842 w 4667161"/>
              <a:gd name="connsiteY31" fmla="*/ 585787 h 1958188"/>
              <a:gd name="connsiteX32" fmla="*/ 1742986 w 4667161"/>
              <a:gd name="connsiteY32" fmla="*/ 519112 h 1958188"/>
              <a:gd name="connsiteX33" fmla="*/ 1759655 w 4667161"/>
              <a:gd name="connsiteY33" fmla="*/ 473868 h 1958188"/>
              <a:gd name="connsiteX34" fmla="*/ 1745367 w 4667161"/>
              <a:gd name="connsiteY34" fmla="*/ 433387 h 1958188"/>
              <a:gd name="connsiteX35" fmla="*/ 1750130 w 4667161"/>
              <a:gd name="connsiteY35" fmla="*/ 347662 h 1958188"/>
              <a:gd name="connsiteX36" fmla="*/ 1745367 w 4667161"/>
              <a:gd name="connsiteY36" fmla="*/ 307181 h 1958188"/>
              <a:gd name="connsiteX37" fmla="*/ 1745367 w 4667161"/>
              <a:gd name="connsiteY37" fmla="*/ 264318 h 1958188"/>
              <a:gd name="connsiteX38" fmla="*/ 1771561 w 4667161"/>
              <a:gd name="connsiteY38" fmla="*/ 254793 h 1958188"/>
              <a:gd name="connsiteX39" fmla="*/ 1792992 w 4667161"/>
              <a:gd name="connsiteY39" fmla="*/ 271462 h 1958188"/>
              <a:gd name="connsiteX40" fmla="*/ 1807280 w 4667161"/>
              <a:gd name="connsiteY40" fmla="*/ 297656 h 1958188"/>
              <a:gd name="connsiteX41" fmla="*/ 1835855 w 4667161"/>
              <a:gd name="connsiteY41" fmla="*/ 300037 h 1958188"/>
              <a:gd name="connsiteX42" fmla="*/ 1857286 w 4667161"/>
              <a:gd name="connsiteY42" fmla="*/ 278606 h 1958188"/>
              <a:gd name="connsiteX43" fmla="*/ 1943011 w 4667161"/>
              <a:gd name="connsiteY43" fmla="*/ 280987 h 1958188"/>
              <a:gd name="connsiteX44" fmla="*/ 1995398 w 4667161"/>
              <a:gd name="connsiteY44" fmla="*/ 290512 h 1958188"/>
              <a:gd name="connsiteX45" fmla="*/ 2043023 w 4667161"/>
              <a:gd name="connsiteY45" fmla="*/ 266700 h 1958188"/>
              <a:gd name="connsiteX46" fmla="*/ 2054930 w 4667161"/>
              <a:gd name="connsiteY46" fmla="*/ 233362 h 1958188"/>
              <a:gd name="connsiteX47" fmla="*/ 2095411 w 4667161"/>
              <a:gd name="connsiteY47" fmla="*/ 200025 h 1958188"/>
              <a:gd name="connsiteX48" fmla="*/ 2085886 w 4667161"/>
              <a:gd name="connsiteY48" fmla="*/ 173831 h 1958188"/>
              <a:gd name="connsiteX49" fmla="*/ 2102555 w 4667161"/>
              <a:gd name="connsiteY49" fmla="*/ 147637 h 1958188"/>
              <a:gd name="connsiteX50" fmla="*/ 2157323 w 4667161"/>
              <a:gd name="connsiteY50" fmla="*/ 169068 h 1958188"/>
              <a:gd name="connsiteX51" fmla="*/ 2204948 w 4667161"/>
              <a:gd name="connsiteY51" fmla="*/ 173831 h 1958188"/>
              <a:gd name="connsiteX52" fmla="*/ 2240667 w 4667161"/>
              <a:gd name="connsiteY52" fmla="*/ 209550 h 1958188"/>
              <a:gd name="connsiteX53" fmla="*/ 2269242 w 4667161"/>
              <a:gd name="connsiteY53" fmla="*/ 223837 h 1958188"/>
              <a:gd name="connsiteX54" fmla="*/ 2288292 w 4667161"/>
              <a:gd name="connsiteY54" fmla="*/ 280987 h 1958188"/>
              <a:gd name="connsiteX55" fmla="*/ 2357348 w 4667161"/>
              <a:gd name="connsiteY55" fmla="*/ 316706 h 1958188"/>
              <a:gd name="connsiteX56" fmla="*/ 2426405 w 4667161"/>
              <a:gd name="connsiteY56" fmla="*/ 307181 h 1958188"/>
              <a:gd name="connsiteX57" fmla="*/ 2474030 w 4667161"/>
              <a:gd name="connsiteY57" fmla="*/ 295275 h 1958188"/>
              <a:gd name="connsiteX58" fmla="*/ 2512130 w 4667161"/>
              <a:gd name="connsiteY58" fmla="*/ 307181 h 1958188"/>
              <a:gd name="connsiteX59" fmla="*/ 2562136 w 4667161"/>
              <a:gd name="connsiteY59" fmla="*/ 304800 h 1958188"/>
              <a:gd name="connsiteX60" fmla="*/ 2607380 w 4667161"/>
              <a:gd name="connsiteY60" fmla="*/ 316706 h 1958188"/>
              <a:gd name="connsiteX61" fmla="*/ 2652623 w 4667161"/>
              <a:gd name="connsiteY61" fmla="*/ 302418 h 1958188"/>
              <a:gd name="connsiteX62" fmla="*/ 2674055 w 4667161"/>
              <a:gd name="connsiteY62" fmla="*/ 276225 h 1958188"/>
              <a:gd name="connsiteX63" fmla="*/ 2752636 w 4667161"/>
              <a:gd name="connsiteY63" fmla="*/ 297656 h 1958188"/>
              <a:gd name="connsiteX64" fmla="*/ 2793117 w 4667161"/>
              <a:gd name="connsiteY64" fmla="*/ 283368 h 1958188"/>
              <a:gd name="connsiteX65" fmla="*/ 2800261 w 4667161"/>
              <a:gd name="connsiteY65" fmla="*/ 242887 h 1958188"/>
              <a:gd name="connsiteX66" fmla="*/ 2771686 w 4667161"/>
              <a:gd name="connsiteY66" fmla="*/ 195262 h 1958188"/>
              <a:gd name="connsiteX67" fmla="*/ 2755017 w 4667161"/>
              <a:gd name="connsiteY67" fmla="*/ 135731 h 1958188"/>
              <a:gd name="connsiteX68" fmla="*/ 2721680 w 4667161"/>
              <a:gd name="connsiteY68" fmla="*/ 102393 h 1958188"/>
              <a:gd name="connsiteX69" fmla="*/ 2697867 w 4667161"/>
              <a:gd name="connsiteY69" fmla="*/ 59531 h 1958188"/>
              <a:gd name="connsiteX70" fmla="*/ 2707392 w 4667161"/>
              <a:gd name="connsiteY70" fmla="*/ 38100 h 1958188"/>
              <a:gd name="connsiteX71" fmla="*/ 2743111 w 4667161"/>
              <a:gd name="connsiteY71" fmla="*/ 0 h 1958188"/>
              <a:gd name="connsiteX72" fmla="*/ 2762161 w 4667161"/>
              <a:gd name="connsiteY72" fmla="*/ 16668 h 1958188"/>
              <a:gd name="connsiteX73" fmla="*/ 2843123 w 4667161"/>
              <a:gd name="connsiteY73" fmla="*/ 30956 h 1958188"/>
              <a:gd name="connsiteX74" fmla="*/ 2926467 w 4667161"/>
              <a:gd name="connsiteY74" fmla="*/ 47625 h 1958188"/>
              <a:gd name="connsiteX75" fmla="*/ 2976473 w 4667161"/>
              <a:gd name="connsiteY75" fmla="*/ 66675 h 1958188"/>
              <a:gd name="connsiteX76" fmla="*/ 3026480 w 4667161"/>
              <a:gd name="connsiteY76" fmla="*/ 61912 h 1958188"/>
              <a:gd name="connsiteX77" fmla="*/ 3074105 w 4667161"/>
              <a:gd name="connsiteY77" fmla="*/ 92868 h 1958188"/>
              <a:gd name="connsiteX78" fmla="*/ 3116967 w 4667161"/>
              <a:gd name="connsiteY78" fmla="*/ 119062 h 1958188"/>
              <a:gd name="connsiteX79" fmla="*/ 3138398 w 4667161"/>
              <a:gd name="connsiteY79" fmla="*/ 150018 h 1958188"/>
              <a:gd name="connsiteX80" fmla="*/ 3188405 w 4667161"/>
              <a:gd name="connsiteY80" fmla="*/ 157162 h 1958188"/>
              <a:gd name="connsiteX81" fmla="*/ 3214598 w 4667161"/>
              <a:gd name="connsiteY81" fmla="*/ 202406 h 1958188"/>
              <a:gd name="connsiteX82" fmla="*/ 3240792 w 4667161"/>
              <a:gd name="connsiteY82" fmla="*/ 233362 h 1958188"/>
              <a:gd name="connsiteX83" fmla="*/ 3257461 w 4667161"/>
              <a:gd name="connsiteY83" fmla="*/ 278606 h 1958188"/>
              <a:gd name="connsiteX84" fmla="*/ 3316992 w 4667161"/>
              <a:gd name="connsiteY84" fmla="*/ 295275 h 1958188"/>
              <a:gd name="connsiteX85" fmla="*/ 3345567 w 4667161"/>
              <a:gd name="connsiteY85" fmla="*/ 326231 h 1958188"/>
              <a:gd name="connsiteX86" fmla="*/ 3366998 w 4667161"/>
              <a:gd name="connsiteY86" fmla="*/ 335756 h 1958188"/>
              <a:gd name="connsiteX87" fmla="*/ 3378905 w 4667161"/>
              <a:gd name="connsiteY87" fmla="*/ 376237 h 1958188"/>
              <a:gd name="connsiteX88" fmla="*/ 3409861 w 4667161"/>
              <a:gd name="connsiteY88" fmla="*/ 383381 h 1958188"/>
              <a:gd name="connsiteX89" fmla="*/ 3447961 w 4667161"/>
              <a:gd name="connsiteY89" fmla="*/ 447675 h 1958188"/>
              <a:gd name="connsiteX90" fmla="*/ 3443198 w 4667161"/>
              <a:gd name="connsiteY90" fmla="*/ 502443 h 1958188"/>
              <a:gd name="connsiteX91" fmla="*/ 3431292 w 4667161"/>
              <a:gd name="connsiteY91" fmla="*/ 531018 h 1958188"/>
              <a:gd name="connsiteX92" fmla="*/ 3471773 w 4667161"/>
              <a:gd name="connsiteY92" fmla="*/ 564356 h 1958188"/>
              <a:gd name="connsiteX93" fmla="*/ 3469392 w 4667161"/>
              <a:gd name="connsiteY93" fmla="*/ 647700 h 1958188"/>
              <a:gd name="connsiteX94" fmla="*/ 3450342 w 4667161"/>
              <a:gd name="connsiteY94" fmla="*/ 664368 h 1958188"/>
              <a:gd name="connsiteX95" fmla="*/ 3433673 w 4667161"/>
              <a:gd name="connsiteY95" fmla="*/ 738187 h 1958188"/>
              <a:gd name="connsiteX96" fmla="*/ 3455105 w 4667161"/>
              <a:gd name="connsiteY96" fmla="*/ 773906 h 1958188"/>
              <a:gd name="connsiteX97" fmla="*/ 3509873 w 4667161"/>
              <a:gd name="connsiteY97" fmla="*/ 797718 h 1958188"/>
              <a:gd name="connsiteX98" fmla="*/ 3547973 w 4667161"/>
              <a:gd name="connsiteY98" fmla="*/ 778668 h 1958188"/>
              <a:gd name="connsiteX99" fmla="*/ 3590836 w 4667161"/>
              <a:gd name="connsiteY99" fmla="*/ 797718 h 1958188"/>
              <a:gd name="connsiteX100" fmla="*/ 3626555 w 4667161"/>
              <a:gd name="connsiteY100" fmla="*/ 783431 h 1958188"/>
              <a:gd name="connsiteX101" fmla="*/ 3664655 w 4667161"/>
              <a:gd name="connsiteY101" fmla="*/ 826293 h 1958188"/>
              <a:gd name="connsiteX102" fmla="*/ 3743236 w 4667161"/>
              <a:gd name="connsiteY102" fmla="*/ 902493 h 1958188"/>
              <a:gd name="connsiteX103" fmla="*/ 3812292 w 4667161"/>
              <a:gd name="connsiteY103" fmla="*/ 916781 h 1958188"/>
              <a:gd name="connsiteX104" fmla="*/ 3907542 w 4667161"/>
              <a:gd name="connsiteY104" fmla="*/ 959643 h 1958188"/>
              <a:gd name="connsiteX105" fmla="*/ 3974217 w 4667161"/>
              <a:gd name="connsiteY105" fmla="*/ 992981 h 1958188"/>
              <a:gd name="connsiteX106" fmla="*/ 3990886 w 4667161"/>
              <a:gd name="connsiteY106" fmla="*/ 1035843 h 1958188"/>
              <a:gd name="connsiteX107" fmla="*/ 4000411 w 4667161"/>
              <a:gd name="connsiteY107" fmla="*/ 1081087 h 1958188"/>
              <a:gd name="connsiteX108" fmla="*/ 4048036 w 4667161"/>
              <a:gd name="connsiteY108" fmla="*/ 1109662 h 1958188"/>
              <a:gd name="connsiteX109" fmla="*/ 4083755 w 4667161"/>
              <a:gd name="connsiteY109" fmla="*/ 1107281 h 1958188"/>
              <a:gd name="connsiteX110" fmla="*/ 4150430 w 4667161"/>
              <a:gd name="connsiteY110" fmla="*/ 1145381 h 1958188"/>
              <a:gd name="connsiteX111" fmla="*/ 4209961 w 4667161"/>
              <a:gd name="connsiteY111" fmla="*/ 1197768 h 1958188"/>
              <a:gd name="connsiteX112" fmla="*/ 4293305 w 4667161"/>
              <a:gd name="connsiteY112" fmla="*/ 1240631 h 1958188"/>
              <a:gd name="connsiteX113" fmla="*/ 4359980 w 4667161"/>
              <a:gd name="connsiteY113" fmla="*/ 1302543 h 1958188"/>
              <a:gd name="connsiteX114" fmla="*/ 4436180 w 4667161"/>
              <a:gd name="connsiteY114" fmla="*/ 1359693 h 1958188"/>
              <a:gd name="connsiteX115" fmla="*/ 4476661 w 4667161"/>
              <a:gd name="connsiteY115" fmla="*/ 1357312 h 1958188"/>
              <a:gd name="connsiteX116" fmla="*/ 4533811 w 4667161"/>
              <a:gd name="connsiteY116" fmla="*/ 1383506 h 1958188"/>
              <a:gd name="connsiteX117" fmla="*/ 4643348 w 4667161"/>
              <a:gd name="connsiteY117" fmla="*/ 1345406 h 1958188"/>
              <a:gd name="connsiteX118" fmla="*/ 4667161 w 4667161"/>
              <a:gd name="connsiteY118" fmla="*/ 1302543 h 1958188"/>
              <a:gd name="connsiteX119" fmla="*/ 4662398 w 4667161"/>
              <a:gd name="connsiteY119" fmla="*/ 1235868 h 1958188"/>
              <a:gd name="connsiteX120" fmla="*/ 4660017 w 4667161"/>
              <a:gd name="connsiteY120" fmla="*/ 1116806 h 1958188"/>
              <a:gd name="connsiteX121" fmla="*/ 4633823 w 4667161"/>
              <a:gd name="connsiteY121" fmla="*/ 1078706 h 1958188"/>
              <a:gd name="connsiteX122" fmla="*/ 4571911 w 4667161"/>
              <a:gd name="connsiteY122" fmla="*/ 1057275 h 1958188"/>
              <a:gd name="connsiteX123" fmla="*/ 4555242 w 4667161"/>
              <a:gd name="connsiteY123" fmla="*/ 1014412 h 1958188"/>
              <a:gd name="connsiteX124" fmla="*/ 4529048 w 4667161"/>
              <a:gd name="connsiteY124" fmla="*/ 931068 h 1958188"/>
              <a:gd name="connsiteX125" fmla="*/ 4500473 w 4667161"/>
              <a:gd name="connsiteY125" fmla="*/ 890587 h 1958188"/>
              <a:gd name="connsiteX126" fmla="*/ 4526667 w 4667161"/>
              <a:gd name="connsiteY126" fmla="*/ 862012 h 1958188"/>
              <a:gd name="connsiteX127" fmla="*/ 4595723 w 4667161"/>
              <a:gd name="connsiteY127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673805 w 4667161"/>
              <a:gd name="connsiteY3" fmla="*/ 1304925 h 1958188"/>
              <a:gd name="connsiteX4" fmla="*/ 714286 w 4667161"/>
              <a:gd name="connsiteY4" fmla="*/ 1259681 h 1958188"/>
              <a:gd name="connsiteX5" fmla="*/ 745242 w 4667161"/>
              <a:gd name="connsiteY5" fmla="*/ 1247775 h 1958188"/>
              <a:gd name="connsiteX6" fmla="*/ 795248 w 4667161"/>
              <a:gd name="connsiteY6" fmla="*/ 1257300 h 1958188"/>
              <a:gd name="connsiteX7" fmla="*/ 842873 w 4667161"/>
              <a:gd name="connsiteY7" fmla="*/ 1207293 h 1958188"/>
              <a:gd name="connsiteX8" fmla="*/ 890498 w 4667161"/>
              <a:gd name="connsiteY8" fmla="*/ 1214437 h 1958188"/>
              <a:gd name="connsiteX9" fmla="*/ 911930 w 4667161"/>
              <a:gd name="connsiteY9" fmla="*/ 1214437 h 1958188"/>
              <a:gd name="connsiteX10" fmla="*/ 947648 w 4667161"/>
              <a:gd name="connsiteY10" fmla="*/ 1195387 h 1958188"/>
              <a:gd name="connsiteX11" fmla="*/ 971461 w 4667161"/>
              <a:gd name="connsiteY11" fmla="*/ 1157287 h 1958188"/>
              <a:gd name="connsiteX12" fmla="*/ 1016705 w 4667161"/>
              <a:gd name="connsiteY12" fmla="*/ 1157287 h 1958188"/>
              <a:gd name="connsiteX13" fmla="*/ 1042898 w 4667161"/>
              <a:gd name="connsiteY13" fmla="*/ 1119187 h 1958188"/>
              <a:gd name="connsiteX14" fmla="*/ 1069092 w 4667161"/>
              <a:gd name="connsiteY14" fmla="*/ 1100137 h 1958188"/>
              <a:gd name="connsiteX15" fmla="*/ 1088142 w 4667161"/>
              <a:gd name="connsiteY15" fmla="*/ 1071562 h 1958188"/>
              <a:gd name="connsiteX16" fmla="*/ 1133386 w 4667161"/>
              <a:gd name="connsiteY16" fmla="*/ 1064418 h 1958188"/>
              <a:gd name="connsiteX17" fmla="*/ 1145292 w 4667161"/>
              <a:gd name="connsiteY17" fmla="*/ 1031081 h 1958188"/>
              <a:gd name="connsiteX18" fmla="*/ 1181011 w 4667161"/>
              <a:gd name="connsiteY18" fmla="*/ 1012031 h 1958188"/>
              <a:gd name="connsiteX19" fmla="*/ 1202442 w 4667161"/>
              <a:gd name="connsiteY19" fmla="*/ 988218 h 1958188"/>
              <a:gd name="connsiteX20" fmla="*/ 1283405 w 4667161"/>
              <a:gd name="connsiteY20" fmla="*/ 966787 h 1958188"/>
              <a:gd name="connsiteX21" fmla="*/ 1297692 w 4667161"/>
              <a:gd name="connsiteY21" fmla="*/ 952500 h 1958188"/>
              <a:gd name="connsiteX22" fmla="*/ 1307217 w 4667161"/>
              <a:gd name="connsiteY22" fmla="*/ 919162 h 1958188"/>
              <a:gd name="connsiteX23" fmla="*/ 1388180 w 4667161"/>
              <a:gd name="connsiteY23" fmla="*/ 878681 h 1958188"/>
              <a:gd name="connsiteX24" fmla="*/ 1407230 w 4667161"/>
              <a:gd name="connsiteY24" fmla="*/ 873918 h 1958188"/>
              <a:gd name="connsiteX25" fmla="*/ 1466761 w 4667161"/>
              <a:gd name="connsiteY25" fmla="*/ 809625 h 1958188"/>
              <a:gd name="connsiteX26" fmla="*/ 1471523 w 4667161"/>
              <a:gd name="connsiteY26" fmla="*/ 759618 h 1958188"/>
              <a:gd name="connsiteX27" fmla="*/ 1497717 w 4667161"/>
              <a:gd name="connsiteY27" fmla="*/ 733425 h 1958188"/>
              <a:gd name="connsiteX28" fmla="*/ 1523911 w 4667161"/>
              <a:gd name="connsiteY28" fmla="*/ 728662 h 1958188"/>
              <a:gd name="connsiteX29" fmla="*/ 1585823 w 4667161"/>
              <a:gd name="connsiteY29" fmla="*/ 683418 h 1958188"/>
              <a:gd name="connsiteX30" fmla="*/ 1671548 w 4667161"/>
              <a:gd name="connsiteY30" fmla="*/ 640556 h 1958188"/>
              <a:gd name="connsiteX31" fmla="*/ 1707267 w 4667161"/>
              <a:gd name="connsiteY31" fmla="*/ 600075 h 1958188"/>
              <a:gd name="connsiteX32" fmla="*/ 1735842 w 4667161"/>
              <a:gd name="connsiteY32" fmla="*/ 585787 h 1958188"/>
              <a:gd name="connsiteX33" fmla="*/ 1742986 w 4667161"/>
              <a:gd name="connsiteY33" fmla="*/ 519112 h 1958188"/>
              <a:gd name="connsiteX34" fmla="*/ 1759655 w 4667161"/>
              <a:gd name="connsiteY34" fmla="*/ 473868 h 1958188"/>
              <a:gd name="connsiteX35" fmla="*/ 1745367 w 4667161"/>
              <a:gd name="connsiteY35" fmla="*/ 433387 h 1958188"/>
              <a:gd name="connsiteX36" fmla="*/ 1750130 w 4667161"/>
              <a:gd name="connsiteY36" fmla="*/ 347662 h 1958188"/>
              <a:gd name="connsiteX37" fmla="*/ 1745367 w 4667161"/>
              <a:gd name="connsiteY37" fmla="*/ 307181 h 1958188"/>
              <a:gd name="connsiteX38" fmla="*/ 1745367 w 4667161"/>
              <a:gd name="connsiteY38" fmla="*/ 264318 h 1958188"/>
              <a:gd name="connsiteX39" fmla="*/ 1771561 w 4667161"/>
              <a:gd name="connsiteY39" fmla="*/ 254793 h 1958188"/>
              <a:gd name="connsiteX40" fmla="*/ 1792992 w 4667161"/>
              <a:gd name="connsiteY40" fmla="*/ 271462 h 1958188"/>
              <a:gd name="connsiteX41" fmla="*/ 1807280 w 4667161"/>
              <a:gd name="connsiteY41" fmla="*/ 297656 h 1958188"/>
              <a:gd name="connsiteX42" fmla="*/ 1835855 w 4667161"/>
              <a:gd name="connsiteY42" fmla="*/ 300037 h 1958188"/>
              <a:gd name="connsiteX43" fmla="*/ 1857286 w 4667161"/>
              <a:gd name="connsiteY43" fmla="*/ 278606 h 1958188"/>
              <a:gd name="connsiteX44" fmla="*/ 1943011 w 4667161"/>
              <a:gd name="connsiteY44" fmla="*/ 280987 h 1958188"/>
              <a:gd name="connsiteX45" fmla="*/ 1995398 w 4667161"/>
              <a:gd name="connsiteY45" fmla="*/ 290512 h 1958188"/>
              <a:gd name="connsiteX46" fmla="*/ 2043023 w 4667161"/>
              <a:gd name="connsiteY46" fmla="*/ 266700 h 1958188"/>
              <a:gd name="connsiteX47" fmla="*/ 2054930 w 4667161"/>
              <a:gd name="connsiteY47" fmla="*/ 233362 h 1958188"/>
              <a:gd name="connsiteX48" fmla="*/ 2095411 w 4667161"/>
              <a:gd name="connsiteY48" fmla="*/ 200025 h 1958188"/>
              <a:gd name="connsiteX49" fmla="*/ 2085886 w 4667161"/>
              <a:gd name="connsiteY49" fmla="*/ 173831 h 1958188"/>
              <a:gd name="connsiteX50" fmla="*/ 2102555 w 4667161"/>
              <a:gd name="connsiteY50" fmla="*/ 147637 h 1958188"/>
              <a:gd name="connsiteX51" fmla="*/ 2157323 w 4667161"/>
              <a:gd name="connsiteY51" fmla="*/ 169068 h 1958188"/>
              <a:gd name="connsiteX52" fmla="*/ 2204948 w 4667161"/>
              <a:gd name="connsiteY52" fmla="*/ 173831 h 1958188"/>
              <a:gd name="connsiteX53" fmla="*/ 2240667 w 4667161"/>
              <a:gd name="connsiteY53" fmla="*/ 209550 h 1958188"/>
              <a:gd name="connsiteX54" fmla="*/ 2269242 w 4667161"/>
              <a:gd name="connsiteY54" fmla="*/ 223837 h 1958188"/>
              <a:gd name="connsiteX55" fmla="*/ 2288292 w 4667161"/>
              <a:gd name="connsiteY55" fmla="*/ 280987 h 1958188"/>
              <a:gd name="connsiteX56" fmla="*/ 2357348 w 4667161"/>
              <a:gd name="connsiteY56" fmla="*/ 316706 h 1958188"/>
              <a:gd name="connsiteX57" fmla="*/ 2426405 w 4667161"/>
              <a:gd name="connsiteY57" fmla="*/ 307181 h 1958188"/>
              <a:gd name="connsiteX58" fmla="*/ 2474030 w 4667161"/>
              <a:gd name="connsiteY58" fmla="*/ 295275 h 1958188"/>
              <a:gd name="connsiteX59" fmla="*/ 2512130 w 4667161"/>
              <a:gd name="connsiteY59" fmla="*/ 307181 h 1958188"/>
              <a:gd name="connsiteX60" fmla="*/ 2562136 w 4667161"/>
              <a:gd name="connsiteY60" fmla="*/ 304800 h 1958188"/>
              <a:gd name="connsiteX61" fmla="*/ 2607380 w 4667161"/>
              <a:gd name="connsiteY61" fmla="*/ 316706 h 1958188"/>
              <a:gd name="connsiteX62" fmla="*/ 2652623 w 4667161"/>
              <a:gd name="connsiteY62" fmla="*/ 302418 h 1958188"/>
              <a:gd name="connsiteX63" fmla="*/ 2674055 w 4667161"/>
              <a:gd name="connsiteY63" fmla="*/ 276225 h 1958188"/>
              <a:gd name="connsiteX64" fmla="*/ 2752636 w 4667161"/>
              <a:gd name="connsiteY64" fmla="*/ 297656 h 1958188"/>
              <a:gd name="connsiteX65" fmla="*/ 2793117 w 4667161"/>
              <a:gd name="connsiteY65" fmla="*/ 283368 h 1958188"/>
              <a:gd name="connsiteX66" fmla="*/ 2800261 w 4667161"/>
              <a:gd name="connsiteY66" fmla="*/ 242887 h 1958188"/>
              <a:gd name="connsiteX67" fmla="*/ 2771686 w 4667161"/>
              <a:gd name="connsiteY67" fmla="*/ 195262 h 1958188"/>
              <a:gd name="connsiteX68" fmla="*/ 2755017 w 4667161"/>
              <a:gd name="connsiteY68" fmla="*/ 135731 h 1958188"/>
              <a:gd name="connsiteX69" fmla="*/ 2721680 w 4667161"/>
              <a:gd name="connsiteY69" fmla="*/ 102393 h 1958188"/>
              <a:gd name="connsiteX70" fmla="*/ 2697867 w 4667161"/>
              <a:gd name="connsiteY70" fmla="*/ 59531 h 1958188"/>
              <a:gd name="connsiteX71" fmla="*/ 2707392 w 4667161"/>
              <a:gd name="connsiteY71" fmla="*/ 38100 h 1958188"/>
              <a:gd name="connsiteX72" fmla="*/ 2743111 w 4667161"/>
              <a:gd name="connsiteY72" fmla="*/ 0 h 1958188"/>
              <a:gd name="connsiteX73" fmla="*/ 2762161 w 4667161"/>
              <a:gd name="connsiteY73" fmla="*/ 16668 h 1958188"/>
              <a:gd name="connsiteX74" fmla="*/ 2843123 w 4667161"/>
              <a:gd name="connsiteY74" fmla="*/ 30956 h 1958188"/>
              <a:gd name="connsiteX75" fmla="*/ 2926467 w 4667161"/>
              <a:gd name="connsiteY75" fmla="*/ 47625 h 1958188"/>
              <a:gd name="connsiteX76" fmla="*/ 2976473 w 4667161"/>
              <a:gd name="connsiteY76" fmla="*/ 66675 h 1958188"/>
              <a:gd name="connsiteX77" fmla="*/ 3026480 w 4667161"/>
              <a:gd name="connsiteY77" fmla="*/ 61912 h 1958188"/>
              <a:gd name="connsiteX78" fmla="*/ 3074105 w 4667161"/>
              <a:gd name="connsiteY78" fmla="*/ 92868 h 1958188"/>
              <a:gd name="connsiteX79" fmla="*/ 3116967 w 4667161"/>
              <a:gd name="connsiteY79" fmla="*/ 119062 h 1958188"/>
              <a:gd name="connsiteX80" fmla="*/ 3138398 w 4667161"/>
              <a:gd name="connsiteY80" fmla="*/ 150018 h 1958188"/>
              <a:gd name="connsiteX81" fmla="*/ 3188405 w 4667161"/>
              <a:gd name="connsiteY81" fmla="*/ 157162 h 1958188"/>
              <a:gd name="connsiteX82" fmla="*/ 3214598 w 4667161"/>
              <a:gd name="connsiteY82" fmla="*/ 202406 h 1958188"/>
              <a:gd name="connsiteX83" fmla="*/ 3240792 w 4667161"/>
              <a:gd name="connsiteY83" fmla="*/ 233362 h 1958188"/>
              <a:gd name="connsiteX84" fmla="*/ 3257461 w 4667161"/>
              <a:gd name="connsiteY84" fmla="*/ 278606 h 1958188"/>
              <a:gd name="connsiteX85" fmla="*/ 3316992 w 4667161"/>
              <a:gd name="connsiteY85" fmla="*/ 295275 h 1958188"/>
              <a:gd name="connsiteX86" fmla="*/ 3345567 w 4667161"/>
              <a:gd name="connsiteY86" fmla="*/ 326231 h 1958188"/>
              <a:gd name="connsiteX87" fmla="*/ 3366998 w 4667161"/>
              <a:gd name="connsiteY87" fmla="*/ 335756 h 1958188"/>
              <a:gd name="connsiteX88" fmla="*/ 3378905 w 4667161"/>
              <a:gd name="connsiteY88" fmla="*/ 376237 h 1958188"/>
              <a:gd name="connsiteX89" fmla="*/ 3409861 w 4667161"/>
              <a:gd name="connsiteY89" fmla="*/ 383381 h 1958188"/>
              <a:gd name="connsiteX90" fmla="*/ 3447961 w 4667161"/>
              <a:gd name="connsiteY90" fmla="*/ 447675 h 1958188"/>
              <a:gd name="connsiteX91" fmla="*/ 3443198 w 4667161"/>
              <a:gd name="connsiteY91" fmla="*/ 502443 h 1958188"/>
              <a:gd name="connsiteX92" fmla="*/ 3431292 w 4667161"/>
              <a:gd name="connsiteY92" fmla="*/ 531018 h 1958188"/>
              <a:gd name="connsiteX93" fmla="*/ 3471773 w 4667161"/>
              <a:gd name="connsiteY93" fmla="*/ 564356 h 1958188"/>
              <a:gd name="connsiteX94" fmla="*/ 3469392 w 4667161"/>
              <a:gd name="connsiteY94" fmla="*/ 647700 h 1958188"/>
              <a:gd name="connsiteX95" fmla="*/ 3450342 w 4667161"/>
              <a:gd name="connsiteY95" fmla="*/ 664368 h 1958188"/>
              <a:gd name="connsiteX96" fmla="*/ 3433673 w 4667161"/>
              <a:gd name="connsiteY96" fmla="*/ 738187 h 1958188"/>
              <a:gd name="connsiteX97" fmla="*/ 3455105 w 4667161"/>
              <a:gd name="connsiteY97" fmla="*/ 773906 h 1958188"/>
              <a:gd name="connsiteX98" fmla="*/ 3509873 w 4667161"/>
              <a:gd name="connsiteY98" fmla="*/ 797718 h 1958188"/>
              <a:gd name="connsiteX99" fmla="*/ 3547973 w 4667161"/>
              <a:gd name="connsiteY99" fmla="*/ 778668 h 1958188"/>
              <a:gd name="connsiteX100" fmla="*/ 3590836 w 4667161"/>
              <a:gd name="connsiteY100" fmla="*/ 797718 h 1958188"/>
              <a:gd name="connsiteX101" fmla="*/ 3626555 w 4667161"/>
              <a:gd name="connsiteY101" fmla="*/ 783431 h 1958188"/>
              <a:gd name="connsiteX102" fmla="*/ 3664655 w 4667161"/>
              <a:gd name="connsiteY102" fmla="*/ 826293 h 1958188"/>
              <a:gd name="connsiteX103" fmla="*/ 3743236 w 4667161"/>
              <a:gd name="connsiteY103" fmla="*/ 902493 h 1958188"/>
              <a:gd name="connsiteX104" fmla="*/ 3812292 w 4667161"/>
              <a:gd name="connsiteY104" fmla="*/ 916781 h 1958188"/>
              <a:gd name="connsiteX105" fmla="*/ 3907542 w 4667161"/>
              <a:gd name="connsiteY105" fmla="*/ 959643 h 1958188"/>
              <a:gd name="connsiteX106" fmla="*/ 3974217 w 4667161"/>
              <a:gd name="connsiteY106" fmla="*/ 992981 h 1958188"/>
              <a:gd name="connsiteX107" fmla="*/ 3990886 w 4667161"/>
              <a:gd name="connsiteY107" fmla="*/ 1035843 h 1958188"/>
              <a:gd name="connsiteX108" fmla="*/ 4000411 w 4667161"/>
              <a:gd name="connsiteY108" fmla="*/ 1081087 h 1958188"/>
              <a:gd name="connsiteX109" fmla="*/ 4048036 w 4667161"/>
              <a:gd name="connsiteY109" fmla="*/ 1109662 h 1958188"/>
              <a:gd name="connsiteX110" fmla="*/ 4083755 w 4667161"/>
              <a:gd name="connsiteY110" fmla="*/ 1107281 h 1958188"/>
              <a:gd name="connsiteX111" fmla="*/ 4150430 w 4667161"/>
              <a:gd name="connsiteY111" fmla="*/ 1145381 h 1958188"/>
              <a:gd name="connsiteX112" fmla="*/ 4209961 w 4667161"/>
              <a:gd name="connsiteY112" fmla="*/ 1197768 h 1958188"/>
              <a:gd name="connsiteX113" fmla="*/ 4293305 w 4667161"/>
              <a:gd name="connsiteY113" fmla="*/ 1240631 h 1958188"/>
              <a:gd name="connsiteX114" fmla="*/ 4359980 w 4667161"/>
              <a:gd name="connsiteY114" fmla="*/ 1302543 h 1958188"/>
              <a:gd name="connsiteX115" fmla="*/ 4436180 w 4667161"/>
              <a:gd name="connsiteY115" fmla="*/ 1359693 h 1958188"/>
              <a:gd name="connsiteX116" fmla="*/ 4476661 w 4667161"/>
              <a:gd name="connsiteY116" fmla="*/ 1357312 h 1958188"/>
              <a:gd name="connsiteX117" fmla="*/ 4533811 w 4667161"/>
              <a:gd name="connsiteY117" fmla="*/ 1383506 h 1958188"/>
              <a:gd name="connsiteX118" fmla="*/ 4643348 w 4667161"/>
              <a:gd name="connsiteY118" fmla="*/ 1345406 h 1958188"/>
              <a:gd name="connsiteX119" fmla="*/ 4667161 w 4667161"/>
              <a:gd name="connsiteY119" fmla="*/ 1302543 h 1958188"/>
              <a:gd name="connsiteX120" fmla="*/ 4662398 w 4667161"/>
              <a:gd name="connsiteY120" fmla="*/ 1235868 h 1958188"/>
              <a:gd name="connsiteX121" fmla="*/ 4660017 w 4667161"/>
              <a:gd name="connsiteY121" fmla="*/ 1116806 h 1958188"/>
              <a:gd name="connsiteX122" fmla="*/ 4633823 w 4667161"/>
              <a:gd name="connsiteY122" fmla="*/ 1078706 h 1958188"/>
              <a:gd name="connsiteX123" fmla="*/ 4571911 w 4667161"/>
              <a:gd name="connsiteY123" fmla="*/ 1057275 h 1958188"/>
              <a:gd name="connsiteX124" fmla="*/ 4555242 w 4667161"/>
              <a:gd name="connsiteY124" fmla="*/ 1014412 h 1958188"/>
              <a:gd name="connsiteX125" fmla="*/ 4529048 w 4667161"/>
              <a:gd name="connsiteY125" fmla="*/ 931068 h 1958188"/>
              <a:gd name="connsiteX126" fmla="*/ 4500473 w 4667161"/>
              <a:gd name="connsiteY126" fmla="*/ 890587 h 1958188"/>
              <a:gd name="connsiteX127" fmla="*/ 4526667 w 4667161"/>
              <a:gd name="connsiteY127" fmla="*/ 862012 h 1958188"/>
              <a:gd name="connsiteX128" fmla="*/ 4595723 w 4667161"/>
              <a:gd name="connsiteY128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135286 w 4667161"/>
              <a:gd name="connsiteY3" fmla="*/ 1765107 h 1958188"/>
              <a:gd name="connsiteX4" fmla="*/ 673805 w 4667161"/>
              <a:gd name="connsiteY4" fmla="*/ 1304925 h 1958188"/>
              <a:gd name="connsiteX5" fmla="*/ 714286 w 4667161"/>
              <a:gd name="connsiteY5" fmla="*/ 1259681 h 1958188"/>
              <a:gd name="connsiteX6" fmla="*/ 745242 w 4667161"/>
              <a:gd name="connsiteY6" fmla="*/ 1247775 h 1958188"/>
              <a:gd name="connsiteX7" fmla="*/ 795248 w 4667161"/>
              <a:gd name="connsiteY7" fmla="*/ 1257300 h 1958188"/>
              <a:gd name="connsiteX8" fmla="*/ 842873 w 4667161"/>
              <a:gd name="connsiteY8" fmla="*/ 1207293 h 1958188"/>
              <a:gd name="connsiteX9" fmla="*/ 890498 w 4667161"/>
              <a:gd name="connsiteY9" fmla="*/ 1214437 h 1958188"/>
              <a:gd name="connsiteX10" fmla="*/ 911930 w 4667161"/>
              <a:gd name="connsiteY10" fmla="*/ 1214437 h 1958188"/>
              <a:gd name="connsiteX11" fmla="*/ 947648 w 4667161"/>
              <a:gd name="connsiteY11" fmla="*/ 1195387 h 1958188"/>
              <a:gd name="connsiteX12" fmla="*/ 971461 w 4667161"/>
              <a:gd name="connsiteY12" fmla="*/ 1157287 h 1958188"/>
              <a:gd name="connsiteX13" fmla="*/ 1016705 w 4667161"/>
              <a:gd name="connsiteY13" fmla="*/ 1157287 h 1958188"/>
              <a:gd name="connsiteX14" fmla="*/ 1042898 w 4667161"/>
              <a:gd name="connsiteY14" fmla="*/ 1119187 h 1958188"/>
              <a:gd name="connsiteX15" fmla="*/ 1069092 w 4667161"/>
              <a:gd name="connsiteY15" fmla="*/ 1100137 h 1958188"/>
              <a:gd name="connsiteX16" fmla="*/ 1088142 w 4667161"/>
              <a:gd name="connsiteY16" fmla="*/ 1071562 h 1958188"/>
              <a:gd name="connsiteX17" fmla="*/ 1133386 w 4667161"/>
              <a:gd name="connsiteY17" fmla="*/ 1064418 h 1958188"/>
              <a:gd name="connsiteX18" fmla="*/ 1145292 w 4667161"/>
              <a:gd name="connsiteY18" fmla="*/ 1031081 h 1958188"/>
              <a:gd name="connsiteX19" fmla="*/ 1181011 w 4667161"/>
              <a:gd name="connsiteY19" fmla="*/ 1012031 h 1958188"/>
              <a:gd name="connsiteX20" fmla="*/ 1202442 w 4667161"/>
              <a:gd name="connsiteY20" fmla="*/ 988218 h 1958188"/>
              <a:gd name="connsiteX21" fmla="*/ 1283405 w 4667161"/>
              <a:gd name="connsiteY21" fmla="*/ 966787 h 1958188"/>
              <a:gd name="connsiteX22" fmla="*/ 1297692 w 4667161"/>
              <a:gd name="connsiteY22" fmla="*/ 952500 h 1958188"/>
              <a:gd name="connsiteX23" fmla="*/ 1307217 w 4667161"/>
              <a:gd name="connsiteY23" fmla="*/ 919162 h 1958188"/>
              <a:gd name="connsiteX24" fmla="*/ 1388180 w 4667161"/>
              <a:gd name="connsiteY24" fmla="*/ 878681 h 1958188"/>
              <a:gd name="connsiteX25" fmla="*/ 1407230 w 4667161"/>
              <a:gd name="connsiteY25" fmla="*/ 873918 h 1958188"/>
              <a:gd name="connsiteX26" fmla="*/ 1466761 w 4667161"/>
              <a:gd name="connsiteY26" fmla="*/ 809625 h 1958188"/>
              <a:gd name="connsiteX27" fmla="*/ 1471523 w 4667161"/>
              <a:gd name="connsiteY27" fmla="*/ 759618 h 1958188"/>
              <a:gd name="connsiteX28" fmla="*/ 1497717 w 4667161"/>
              <a:gd name="connsiteY28" fmla="*/ 733425 h 1958188"/>
              <a:gd name="connsiteX29" fmla="*/ 1523911 w 4667161"/>
              <a:gd name="connsiteY29" fmla="*/ 728662 h 1958188"/>
              <a:gd name="connsiteX30" fmla="*/ 1585823 w 4667161"/>
              <a:gd name="connsiteY30" fmla="*/ 683418 h 1958188"/>
              <a:gd name="connsiteX31" fmla="*/ 1671548 w 4667161"/>
              <a:gd name="connsiteY31" fmla="*/ 640556 h 1958188"/>
              <a:gd name="connsiteX32" fmla="*/ 1707267 w 4667161"/>
              <a:gd name="connsiteY32" fmla="*/ 600075 h 1958188"/>
              <a:gd name="connsiteX33" fmla="*/ 1735842 w 4667161"/>
              <a:gd name="connsiteY33" fmla="*/ 585787 h 1958188"/>
              <a:gd name="connsiteX34" fmla="*/ 1742986 w 4667161"/>
              <a:gd name="connsiteY34" fmla="*/ 519112 h 1958188"/>
              <a:gd name="connsiteX35" fmla="*/ 1759655 w 4667161"/>
              <a:gd name="connsiteY35" fmla="*/ 473868 h 1958188"/>
              <a:gd name="connsiteX36" fmla="*/ 1745367 w 4667161"/>
              <a:gd name="connsiteY36" fmla="*/ 433387 h 1958188"/>
              <a:gd name="connsiteX37" fmla="*/ 1750130 w 4667161"/>
              <a:gd name="connsiteY37" fmla="*/ 347662 h 1958188"/>
              <a:gd name="connsiteX38" fmla="*/ 1745367 w 4667161"/>
              <a:gd name="connsiteY38" fmla="*/ 307181 h 1958188"/>
              <a:gd name="connsiteX39" fmla="*/ 1745367 w 4667161"/>
              <a:gd name="connsiteY39" fmla="*/ 264318 h 1958188"/>
              <a:gd name="connsiteX40" fmla="*/ 1771561 w 4667161"/>
              <a:gd name="connsiteY40" fmla="*/ 254793 h 1958188"/>
              <a:gd name="connsiteX41" fmla="*/ 1792992 w 4667161"/>
              <a:gd name="connsiteY41" fmla="*/ 271462 h 1958188"/>
              <a:gd name="connsiteX42" fmla="*/ 1807280 w 4667161"/>
              <a:gd name="connsiteY42" fmla="*/ 297656 h 1958188"/>
              <a:gd name="connsiteX43" fmla="*/ 1835855 w 4667161"/>
              <a:gd name="connsiteY43" fmla="*/ 300037 h 1958188"/>
              <a:gd name="connsiteX44" fmla="*/ 1857286 w 4667161"/>
              <a:gd name="connsiteY44" fmla="*/ 278606 h 1958188"/>
              <a:gd name="connsiteX45" fmla="*/ 1943011 w 4667161"/>
              <a:gd name="connsiteY45" fmla="*/ 280987 h 1958188"/>
              <a:gd name="connsiteX46" fmla="*/ 1995398 w 4667161"/>
              <a:gd name="connsiteY46" fmla="*/ 290512 h 1958188"/>
              <a:gd name="connsiteX47" fmla="*/ 2043023 w 4667161"/>
              <a:gd name="connsiteY47" fmla="*/ 266700 h 1958188"/>
              <a:gd name="connsiteX48" fmla="*/ 2054930 w 4667161"/>
              <a:gd name="connsiteY48" fmla="*/ 233362 h 1958188"/>
              <a:gd name="connsiteX49" fmla="*/ 2095411 w 4667161"/>
              <a:gd name="connsiteY49" fmla="*/ 200025 h 1958188"/>
              <a:gd name="connsiteX50" fmla="*/ 2085886 w 4667161"/>
              <a:gd name="connsiteY50" fmla="*/ 173831 h 1958188"/>
              <a:gd name="connsiteX51" fmla="*/ 2102555 w 4667161"/>
              <a:gd name="connsiteY51" fmla="*/ 147637 h 1958188"/>
              <a:gd name="connsiteX52" fmla="*/ 2157323 w 4667161"/>
              <a:gd name="connsiteY52" fmla="*/ 169068 h 1958188"/>
              <a:gd name="connsiteX53" fmla="*/ 2204948 w 4667161"/>
              <a:gd name="connsiteY53" fmla="*/ 173831 h 1958188"/>
              <a:gd name="connsiteX54" fmla="*/ 2240667 w 4667161"/>
              <a:gd name="connsiteY54" fmla="*/ 209550 h 1958188"/>
              <a:gd name="connsiteX55" fmla="*/ 2269242 w 4667161"/>
              <a:gd name="connsiteY55" fmla="*/ 223837 h 1958188"/>
              <a:gd name="connsiteX56" fmla="*/ 2288292 w 4667161"/>
              <a:gd name="connsiteY56" fmla="*/ 280987 h 1958188"/>
              <a:gd name="connsiteX57" fmla="*/ 2357348 w 4667161"/>
              <a:gd name="connsiteY57" fmla="*/ 316706 h 1958188"/>
              <a:gd name="connsiteX58" fmla="*/ 2426405 w 4667161"/>
              <a:gd name="connsiteY58" fmla="*/ 307181 h 1958188"/>
              <a:gd name="connsiteX59" fmla="*/ 2474030 w 4667161"/>
              <a:gd name="connsiteY59" fmla="*/ 295275 h 1958188"/>
              <a:gd name="connsiteX60" fmla="*/ 2512130 w 4667161"/>
              <a:gd name="connsiteY60" fmla="*/ 307181 h 1958188"/>
              <a:gd name="connsiteX61" fmla="*/ 2562136 w 4667161"/>
              <a:gd name="connsiteY61" fmla="*/ 304800 h 1958188"/>
              <a:gd name="connsiteX62" fmla="*/ 2607380 w 4667161"/>
              <a:gd name="connsiteY62" fmla="*/ 316706 h 1958188"/>
              <a:gd name="connsiteX63" fmla="*/ 2652623 w 4667161"/>
              <a:gd name="connsiteY63" fmla="*/ 302418 h 1958188"/>
              <a:gd name="connsiteX64" fmla="*/ 2674055 w 4667161"/>
              <a:gd name="connsiteY64" fmla="*/ 276225 h 1958188"/>
              <a:gd name="connsiteX65" fmla="*/ 2752636 w 4667161"/>
              <a:gd name="connsiteY65" fmla="*/ 297656 h 1958188"/>
              <a:gd name="connsiteX66" fmla="*/ 2793117 w 4667161"/>
              <a:gd name="connsiteY66" fmla="*/ 283368 h 1958188"/>
              <a:gd name="connsiteX67" fmla="*/ 2800261 w 4667161"/>
              <a:gd name="connsiteY67" fmla="*/ 242887 h 1958188"/>
              <a:gd name="connsiteX68" fmla="*/ 2771686 w 4667161"/>
              <a:gd name="connsiteY68" fmla="*/ 195262 h 1958188"/>
              <a:gd name="connsiteX69" fmla="*/ 2755017 w 4667161"/>
              <a:gd name="connsiteY69" fmla="*/ 135731 h 1958188"/>
              <a:gd name="connsiteX70" fmla="*/ 2721680 w 4667161"/>
              <a:gd name="connsiteY70" fmla="*/ 102393 h 1958188"/>
              <a:gd name="connsiteX71" fmla="*/ 2697867 w 4667161"/>
              <a:gd name="connsiteY71" fmla="*/ 59531 h 1958188"/>
              <a:gd name="connsiteX72" fmla="*/ 2707392 w 4667161"/>
              <a:gd name="connsiteY72" fmla="*/ 38100 h 1958188"/>
              <a:gd name="connsiteX73" fmla="*/ 2743111 w 4667161"/>
              <a:gd name="connsiteY73" fmla="*/ 0 h 1958188"/>
              <a:gd name="connsiteX74" fmla="*/ 2762161 w 4667161"/>
              <a:gd name="connsiteY74" fmla="*/ 16668 h 1958188"/>
              <a:gd name="connsiteX75" fmla="*/ 2843123 w 4667161"/>
              <a:gd name="connsiteY75" fmla="*/ 30956 h 1958188"/>
              <a:gd name="connsiteX76" fmla="*/ 2926467 w 4667161"/>
              <a:gd name="connsiteY76" fmla="*/ 47625 h 1958188"/>
              <a:gd name="connsiteX77" fmla="*/ 2976473 w 4667161"/>
              <a:gd name="connsiteY77" fmla="*/ 66675 h 1958188"/>
              <a:gd name="connsiteX78" fmla="*/ 3026480 w 4667161"/>
              <a:gd name="connsiteY78" fmla="*/ 61912 h 1958188"/>
              <a:gd name="connsiteX79" fmla="*/ 3074105 w 4667161"/>
              <a:gd name="connsiteY79" fmla="*/ 92868 h 1958188"/>
              <a:gd name="connsiteX80" fmla="*/ 3116967 w 4667161"/>
              <a:gd name="connsiteY80" fmla="*/ 119062 h 1958188"/>
              <a:gd name="connsiteX81" fmla="*/ 3138398 w 4667161"/>
              <a:gd name="connsiteY81" fmla="*/ 150018 h 1958188"/>
              <a:gd name="connsiteX82" fmla="*/ 3188405 w 4667161"/>
              <a:gd name="connsiteY82" fmla="*/ 157162 h 1958188"/>
              <a:gd name="connsiteX83" fmla="*/ 3214598 w 4667161"/>
              <a:gd name="connsiteY83" fmla="*/ 202406 h 1958188"/>
              <a:gd name="connsiteX84" fmla="*/ 3240792 w 4667161"/>
              <a:gd name="connsiteY84" fmla="*/ 233362 h 1958188"/>
              <a:gd name="connsiteX85" fmla="*/ 3257461 w 4667161"/>
              <a:gd name="connsiteY85" fmla="*/ 278606 h 1958188"/>
              <a:gd name="connsiteX86" fmla="*/ 3316992 w 4667161"/>
              <a:gd name="connsiteY86" fmla="*/ 295275 h 1958188"/>
              <a:gd name="connsiteX87" fmla="*/ 3345567 w 4667161"/>
              <a:gd name="connsiteY87" fmla="*/ 326231 h 1958188"/>
              <a:gd name="connsiteX88" fmla="*/ 3366998 w 4667161"/>
              <a:gd name="connsiteY88" fmla="*/ 335756 h 1958188"/>
              <a:gd name="connsiteX89" fmla="*/ 3378905 w 4667161"/>
              <a:gd name="connsiteY89" fmla="*/ 376237 h 1958188"/>
              <a:gd name="connsiteX90" fmla="*/ 3409861 w 4667161"/>
              <a:gd name="connsiteY90" fmla="*/ 383381 h 1958188"/>
              <a:gd name="connsiteX91" fmla="*/ 3447961 w 4667161"/>
              <a:gd name="connsiteY91" fmla="*/ 447675 h 1958188"/>
              <a:gd name="connsiteX92" fmla="*/ 3443198 w 4667161"/>
              <a:gd name="connsiteY92" fmla="*/ 502443 h 1958188"/>
              <a:gd name="connsiteX93" fmla="*/ 3431292 w 4667161"/>
              <a:gd name="connsiteY93" fmla="*/ 531018 h 1958188"/>
              <a:gd name="connsiteX94" fmla="*/ 3471773 w 4667161"/>
              <a:gd name="connsiteY94" fmla="*/ 564356 h 1958188"/>
              <a:gd name="connsiteX95" fmla="*/ 3469392 w 4667161"/>
              <a:gd name="connsiteY95" fmla="*/ 647700 h 1958188"/>
              <a:gd name="connsiteX96" fmla="*/ 3450342 w 4667161"/>
              <a:gd name="connsiteY96" fmla="*/ 664368 h 1958188"/>
              <a:gd name="connsiteX97" fmla="*/ 3433673 w 4667161"/>
              <a:gd name="connsiteY97" fmla="*/ 738187 h 1958188"/>
              <a:gd name="connsiteX98" fmla="*/ 3455105 w 4667161"/>
              <a:gd name="connsiteY98" fmla="*/ 773906 h 1958188"/>
              <a:gd name="connsiteX99" fmla="*/ 3509873 w 4667161"/>
              <a:gd name="connsiteY99" fmla="*/ 797718 h 1958188"/>
              <a:gd name="connsiteX100" fmla="*/ 3547973 w 4667161"/>
              <a:gd name="connsiteY100" fmla="*/ 778668 h 1958188"/>
              <a:gd name="connsiteX101" fmla="*/ 3590836 w 4667161"/>
              <a:gd name="connsiteY101" fmla="*/ 797718 h 1958188"/>
              <a:gd name="connsiteX102" fmla="*/ 3626555 w 4667161"/>
              <a:gd name="connsiteY102" fmla="*/ 783431 h 1958188"/>
              <a:gd name="connsiteX103" fmla="*/ 3664655 w 4667161"/>
              <a:gd name="connsiteY103" fmla="*/ 826293 h 1958188"/>
              <a:gd name="connsiteX104" fmla="*/ 3743236 w 4667161"/>
              <a:gd name="connsiteY104" fmla="*/ 902493 h 1958188"/>
              <a:gd name="connsiteX105" fmla="*/ 3812292 w 4667161"/>
              <a:gd name="connsiteY105" fmla="*/ 916781 h 1958188"/>
              <a:gd name="connsiteX106" fmla="*/ 3907542 w 4667161"/>
              <a:gd name="connsiteY106" fmla="*/ 959643 h 1958188"/>
              <a:gd name="connsiteX107" fmla="*/ 3974217 w 4667161"/>
              <a:gd name="connsiteY107" fmla="*/ 992981 h 1958188"/>
              <a:gd name="connsiteX108" fmla="*/ 3990886 w 4667161"/>
              <a:gd name="connsiteY108" fmla="*/ 1035843 h 1958188"/>
              <a:gd name="connsiteX109" fmla="*/ 4000411 w 4667161"/>
              <a:gd name="connsiteY109" fmla="*/ 1081087 h 1958188"/>
              <a:gd name="connsiteX110" fmla="*/ 4048036 w 4667161"/>
              <a:gd name="connsiteY110" fmla="*/ 1109662 h 1958188"/>
              <a:gd name="connsiteX111" fmla="*/ 4083755 w 4667161"/>
              <a:gd name="connsiteY111" fmla="*/ 1107281 h 1958188"/>
              <a:gd name="connsiteX112" fmla="*/ 4150430 w 4667161"/>
              <a:gd name="connsiteY112" fmla="*/ 1145381 h 1958188"/>
              <a:gd name="connsiteX113" fmla="*/ 4209961 w 4667161"/>
              <a:gd name="connsiteY113" fmla="*/ 1197768 h 1958188"/>
              <a:gd name="connsiteX114" fmla="*/ 4293305 w 4667161"/>
              <a:gd name="connsiteY114" fmla="*/ 1240631 h 1958188"/>
              <a:gd name="connsiteX115" fmla="*/ 4359980 w 4667161"/>
              <a:gd name="connsiteY115" fmla="*/ 1302543 h 1958188"/>
              <a:gd name="connsiteX116" fmla="*/ 4436180 w 4667161"/>
              <a:gd name="connsiteY116" fmla="*/ 1359693 h 1958188"/>
              <a:gd name="connsiteX117" fmla="*/ 4476661 w 4667161"/>
              <a:gd name="connsiteY117" fmla="*/ 1357312 h 1958188"/>
              <a:gd name="connsiteX118" fmla="*/ 4533811 w 4667161"/>
              <a:gd name="connsiteY118" fmla="*/ 1383506 h 1958188"/>
              <a:gd name="connsiteX119" fmla="*/ 4643348 w 4667161"/>
              <a:gd name="connsiteY119" fmla="*/ 1345406 h 1958188"/>
              <a:gd name="connsiteX120" fmla="*/ 4667161 w 4667161"/>
              <a:gd name="connsiteY120" fmla="*/ 1302543 h 1958188"/>
              <a:gd name="connsiteX121" fmla="*/ 4662398 w 4667161"/>
              <a:gd name="connsiteY121" fmla="*/ 1235868 h 1958188"/>
              <a:gd name="connsiteX122" fmla="*/ 4660017 w 4667161"/>
              <a:gd name="connsiteY122" fmla="*/ 1116806 h 1958188"/>
              <a:gd name="connsiteX123" fmla="*/ 4633823 w 4667161"/>
              <a:gd name="connsiteY123" fmla="*/ 1078706 h 1958188"/>
              <a:gd name="connsiteX124" fmla="*/ 4571911 w 4667161"/>
              <a:gd name="connsiteY124" fmla="*/ 1057275 h 1958188"/>
              <a:gd name="connsiteX125" fmla="*/ 4555242 w 4667161"/>
              <a:gd name="connsiteY125" fmla="*/ 1014412 h 1958188"/>
              <a:gd name="connsiteX126" fmla="*/ 4529048 w 4667161"/>
              <a:gd name="connsiteY126" fmla="*/ 931068 h 1958188"/>
              <a:gd name="connsiteX127" fmla="*/ 4500473 w 4667161"/>
              <a:gd name="connsiteY127" fmla="*/ 890587 h 1958188"/>
              <a:gd name="connsiteX128" fmla="*/ 4526667 w 4667161"/>
              <a:gd name="connsiteY128" fmla="*/ 862012 h 1958188"/>
              <a:gd name="connsiteX129" fmla="*/ 4595723 w 4667161"/>
              <a:gd name="connsiteY129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673805 w 4667161"/>
              <a:gd name="connsiteY4" fmla="*/ 1304925 h 1958188"/>
              <a:gd name="connsiteX5" fmla="*/ 714286 w 4667161"/>
              <a:gd name="connsiteY5" fmla="*/ 1259681 h 1958188"/>
              <a:gd name="connsiteX6" fmla="*/ 745242 w 4667161"/>
              <a:gd name="connsiteY6" fmla="*/ 1247775 h 1958188"/>
              <a:gd name="connsiteX7" fmla="*/ 795248 w 4667161"/>
              <a:gd name="connsiteY7" fmla="*/ 1257300 h 1958188"/>
              <a:gd name="connsiteX8" fmla="*/ 842873 w 4667161"/>
              <a:gd name="connsiteY8" fmla="*/ 1207293 h 1958188"/>
              <a:gd name="connsiteX9" fmla="*/ 890498 w 4667161"/>
              <a:gd name="connsiteY9" fmla="*/ 1214437 h 1958188"/>
              <a:gd name="connsiteX10" fmla="*/ 911930 w 4667161"/>
              <a:gd name="connsiteY10" fmla="*/ 1214437 h 1958188"/>
              <a:gd name="connsiteX11" fmla="*/ 947648 w 4667161"/>
              <a:gd name="connsiteY11" fmla="*/ 1195387 h 1958188"/>
              <a:gd name="connsiteX12" fmla="*/ 971461 w 4667161"/>
              <a:gd name="connsiteY12" fmla="*/ 1157287 h 1958188"/>
              <a:gd name="connsiteX13" fmla="*/ 1016705 w 4667161"/>
              <a:gd name="connsiteY13" fmla="*/ 1157287 h 1958188"/>
              <a:gd name="connsiteX14" fmla="*/ 1042898 w 4667161"/>
              <a:gd name="connsiteY14" fmla="*/ 1119187 h 1958188"/>
              <a:gd name="connsiteX15" fmla="*/ 1069092 w 4667161"/>
              <a:gd name="connsiteY15" fmla="*/ 1100137 h 1958188"/>
              <a:gd name="connsiteX16" fmla="*/ 1088142 w 4667161"/>
              <a:gd name="connsiteY16" fmla="*/ 1071562 h 1958188"/>
              <a:gd name="connsiteX17" fmla="*/ 1133386 w 4667161"/>
              <a:gd name="connsiteY17" fmla="*/ 1064418 h 1958188"/>
              <a:gd name="connsiteX18" fmla="*/ 1145292 w 4667161"/>
              <a:gd name="connsiteY18" fmla="*/ 1031081 h 1958188"/>
              <a:gd name="connsiteX19" fmla="*/ 1181011 w 4667161"/>
              <a:gd name="connsiteY19" fmla="*/ 1012031 h 1958188"/>
              <a:gd name="connsiteX20" fmla="*/ 1202442 w 4667161"/>
              <a:gd name="connsiteY20" fmla="*/ 988218 h 1958188"/>
              <a:gd name="connsiteX21" fmla="*/ 1283405 w 4667161"/>
              <a:gd name="connsiteY21" fmla="*/ 966787 h 1958188"/>
              <a:gd name="connsiteX22" fmla="*/ 1297692 w 4667161"/>
              <a:gd name="connsiteY22" fmla="*/ 952500 h 1958188"/>
              <a:gd name="connsiteX23" fmla="*/ 1307217 w 4667161"/>
              <a:gd name="connsiteY23" fmla="*/ 919162 h 1958188"/>
              <a:gd name="connsiteX24" fmla="*/ 1388180 w 4667161"/>
              <a:gd name="connsiteY24" fmla="*/ 878681 h 1958188"/>
              <a:gd name="connsiteX25" fmla="*/ 1407230 w 4667161"/>
              <a:gd name="connsiteY25" fmla="*/ 873918 h 1958188"/>
              <a:gd name="connsiteX26" fmla="*/ 1466761 w 4667161"/>
              <a:gd name="connsiteY26" fmla="*/ 809625 h 1958188"/>
              <a:gd name="connsiteX27" fmla="*/ 1471523 w 4667161"/>
              <a:gd name="connsiteY27" fmla="*/ 759618 h 1958188"/>
              <a:gd name="connsiteX28" fmla="*/ 1497717 w 4667161"/>
              <a:gd name="connsiteY28" fmla="*/ 733425 h 1958188"/>
              <a:gd name="connsiteX29" fmla="*/ 1523911 w 4667161"/>
              <a:gd name="connsiteY29" fmla="*/ 728662 h 1958188"/>
              <a:gd name="connsiteX30" fmla="*/ 1585823 w 4667161"/>
              <a:gd name="connsiteY30" fmla="*/ 683418 h 1958188"/>
              <a:gd name="connsiteX31" fmla="*/ 1671548 w 4667161"/>
              <a:gd name="connsiteY31" fmla="*/ 640556 h 1958188"/>
              <a:gd name="connsiteX32" fmla="*/ 1707267 w 4667161"/>
              <a:gd name="connsiteY32" fmla="*/ 600075 h 1958188"/>
              <a:gd name="connsiteX33" fmla="*/ 1735842 w 4667161"/>
              <a:gd name="connsiteY33" fmla="*/ 585787 h 1958188"/>
              <a:gd name="connsiteX34" fmla="*/ 1742986 w 4667161"/>
              <a:gd name="connsiteY34" fmla="*/ 519112 h 1958188"/>
              <a:gd name="connsiteX35" fmla="*/ 1759655 w 4667161"/>
              <a:gd name="connsiteY35" fmla="*/ 473868 h 1958188"/>
              <a:gd name="connsiteX36" fmla="*/ 1745367 w 4667161"/>
              <a:gd name="connsiteY36" fmla="*/ 433387 h 1958188"/>
              <a:gd name="connsiteX37" fmla="*/ 1750130 w 4667161"/>
              <a:gd name="connsiteY37" fmla="*/ 347662 h 1958188"/>
              <a:gd name="connsiteX38" fmla="*/ 1745367 w 4667161"/>
              <a:gd name="connsiteY38" fmla="*/ 307181 h 1958188"/>
              <a:gd name="connsiteX39" fmla="*/ 1745367 w 4667161"/>
              <a:gd name="connsiteY39" fmla="*/ 264318 h 1958188"/>
              <a:gd name="connsiteX40" fmla="*/ 1771561 w 4667161"/>
              <a:gd name="connsiteY40" fmla="*/ 254793 h 1958188"/>
              <a:gd name="connsiteX41" fmla="*/ 1792992 w 4667161"/>
              <a:gd name="connsiteY41" fmla="*/ 271462 h 1958188"/>
              <a:gd name="connsiteX42" fmla="*/ 1807280 w 4667161"/>
              <a:gd name="connsiteY42" fmla="*/ 297656 h 1958188"/>
              <a:gd name="connsiteX43" fmla="*/ 1835855 w 4667161"/>
              <a:gd name="connsiteY43" fmla="*/ 300037 h 1958188"/>
              <a:gd name="connsiteX44" fmla="*/ 1857286 w 4667161"/>
              <a:gd name="connsiteY44" fmla="*/ 278606 h 1958188"/>
              <a:gd name="connsiteX45" fmla="*/ 1943011 w 4667161"/>
              <a:gd name="connsiteY45" fmla="*/ 280987 h 1958188"/>
              <a:gd name="connsiteX46" fmla="*/ 1995398 w 4667161"/>
              <a:gd name="connsiteY46" fmla="*/ 290512 h 1958188"/>
              <a:gd name="connsiteX47" fmla="*/ 2043023 w 4667161"/>
              <a:gd name="connsiteY47" fmla="*/ 266700 h 1958188"/>
              <a:gd name="connsiteX48" fmla="*/ 2054930 w 4667161"/>
              <a:gd name="connsiteY48" fmla="*/ 233362 h 1958188"/>
              <a:gd name="connsiteX49" fmla="*/ 2095411 w 4667161"/>
              <a:gd name="connsiteY49" fmla="*/ 200025 h 1958188"/>
              <a:gd name="connsiteX50" fmla="*/ 2085886 w 4667161"/>
              <a:gd name="connsiteY50" fmla="*/ 173831 h 1958188"/>
              <a:gd name="connsiteX51" fmla="*/ 2102555 w 4667161"/>
              <a:gd name="connsiteY51" fmla="*/ 147637 h 1958188"/>
              <a:gd name="connsiteX52" fmla="*/ 2157323 w 4667161"/>
              <a:gd name="connsiteY52" fmla="*/ 169068 h 1958188"/>
              <a:gd name="connsiteX53" fmla="*/ 2204948 w 4667161"/>
              <a:gd name="connsiteY53" fmla="*/ 173831 h 1958188"/>
              <a:gd name="connsiteX54" fmla="*/ 2240667 w 4667161"/>
              <a:gd name="connsiteY54" fmla="*/ 209550 h 1958188"/>
              <a:gd name="connsiteX55" fmla="*/ 2269242 w 4667161"/>
              <a:gd name="connsiteY55" fmla="*/ 223837 h 1958188"/>
              <a:gd name="connsiteX56" fmla="*/ 2288292 w 4667161"/>
              <a:gd name="connsiteY56" fmla="*/ 280987 h 1958188"/>
              <a:gd name="connsiteX57" fmla="*/ 2357348 w 4667161"/>
              <a:gd name="connsiteY57" fmla="*/ 316706 h 1958188"/>
              <a:gd name="connsiteX58" fmla="*/ 2426405 w 4667161"/>
              <a:gd name="connsiteY58" fmla="*/ 307181 h 1958188"/>
              <a:gd name="connsiteX59" fmla="*/ 2474030 w 4667161"/>
              <a:gd name="connsiteY59" fmla="*/ 295275 h 1958188"/>
              <a:gd name="connsiteX60" fmla="*/ 2512130 w 4667161"/>
              <a:gd name="connsiteY60" fmla="*/ 307181 h 1958188"/>
              <a:gd name="connsiteX61" fmla="*/ 2562136 w 4667161"/>
              <a:gd name="connsiteY61" fmla="*/ 304800 h 1958188"/>
              <a:gd name="connsiteX62" fmla="*/ 2607380 w 4667161"/>
              <a:gd name="connsiteY62" fmla="*/ 316706 h 1958188"/>
              <a:gd name="connsiteX63" fmla="*/ 2652623 w 4667161"/>
              <a:gd name="connsiteY63" fmla="*/ 302418 h 1958188"/>
              <a:gd name="connsiteX64" fmla="*/ 2674055 w 4667161"/>
              <a:gd name="connsiteY64" fmla="*/ 276225 h 1958188"/>
              <a:gd name="connsiteX65" fmla="*/ 2752636 w 4667161"/>
              <a:gd name="connsiteY65" fmla="*/ 297656 h 1958188"/>
              <a:gd name="connsiteX66" fmla="*/ 2793117 w 4667161"/>
              <a:gd name="connsiteY66" fmla="*/ 283368 h 1958188"/>
              <a:gd name="connsiteX67" fmla="*/ 2800261 w 4667161"/>
              <a:gd name="connsiteY67" fmla="*/ 242887 h 1958188"/>
              <a:gd name="connsiteX68" fmla="*/ 2771686 w 4667161"/>
              <a:gd name="connsiteY68" fmla="*/ 195262 h 1958188"/>
              <a:gd name="connsiteX69" fmla="*/ 2755017 w 4667161"/>
              <a:gd name="connsiteY69" fmla="*/ 135731 h 1958188"/>
              <a:gd name="connsiteX70" fmla="*/ 2721680 w 4667161"/>
              <a:gd name="connsiteY70" fmla="*/ 102393 h 1958188"/>
              <a:gd name="connsiteX71" fmla="*/ 2697867 w 4667161"/>
              <a:gd name="connsiteY71" fmla="*/ 59531 h 1958188"/>
              <a:gd name="connsiteX72" fmla="*/ 2707392 w 4667161"/>
              <a:gd name="connsiteY72" fmla="*/ 38100 h 1958188"/>
              <a:gd name="connsiteX73" fmla="*/ 2743111 w 4667161"/>
              <a:gd name="connsiteY73" fmla="*/ 0 h 1958188"/>
              <a:gd name="connsiteX74" fmla="*/ 2762161 w 4667161"/>
              <a:gd name="connsiteY74" fmla="*/ 16668 h 1958188"/>
              <a:gd name="connsiteX75" fmla="*/ 2843123 w 4667161"/>
              <a:gd name="connsiteY75" fmla="*/ 30956 h 1958188"/>
              <a:gd name="connsiteX76" fmla="*/ 2926467 w 4667161"/>
              <a:gd name="connsiteY76" fmla="*/ 47625 h 1958188"/>
              <a:gd name="connsiteX77" fmla="*/ 2976473 w 4667161"/>
              <a:gd name="connsiteY77" fmla="*/ 66675 h 1958188"/>
              <a:gd name="connsiteX78" fmla="*/ 3026480 w 4667161"/>
              <a:gd name="connsiteY78" fmla="*/ 61912 h 1958188"/>
              <a:gd name="connsiteX79" fmla="*/ 3074105 w 4667161"/>
              <a:gd name="connsiteY79" fmla="*/ 92868 h 1958188"/>
              <a:gd name="connsiteX80" fmla="*/ 3116967 w 4667161"/>
              <a:gd name="connsiteY80" fmla="*/ 119062 h 1958188"/>
              <a:gd name="connsiteX81" fmla="*/ 3138398 w 4667161"/>
              <a:gd name="connsiteY81" fmla="*/ 150018 h 1958188"/>
              <a:gd name="connsiteX82" fmla="*/ 3188405 w 4667161"/>
              <a:gd name="connsiteY82" fmla="*/ 157162 h 1958188"/>
              <a:gd name="connsiteX83" fmla="*/ 3214598 w 4667161"/>
              <a:gd name="connsiteY83" fmla="*/ 202406 h 1958188"/>
              <a:gd name="connsiteX84" fmla="*/ 3240792 w 4667161"/>
              <a:gd name="connsiteY84" fmla="*/ 233362 h 1958188"/>
              <a:gd name="connsiteX85" fmla="*/ 3257461 w 4667161"/>
              <a:gd name="connsiteY85" fmla="*/ 278606 h 1958188"/>
              <a:gd name="connsiteX86" fmla="*/ 3316992 w 4667161"/>
              <a:gd name="connsiteY86" fmla="*/ 295275 h 1958188"/>
              <a:gd name="connsiteX87" fmla="*/ 3345567 w 4667161"/>
              <a:gd name="connsiteY87" fmla="*/ 326231 h 1958188"/>
              <a:gd name="connsiteX88" fmla="*/ 3366998 w 4667161"/>
              <a:gd name="connsiteY88" fmla="*/ 335756 h 1958188"/>
              <a:gd name="connsiteX89" fmla="*/ 3378905 w 4667161"/>
              <a:gd name="connsiteY89" fmla="*/ 376237 h 1958188"/>
              <a:gd name="connsiteX90" fmla="*/ 3409861 w 4667161"/>
              <a:gd name="connsiteY90" fmla="*/ 383381 h 1958188"/>
              <a:gd name="connsiteX91" fmla="*/ 3447961 w 4667161"/>
              <a:gd name="connsiteY91" fmla="*/ 447675 h 1958188"/>
              <a:gd name="connsiteX92" fmla="*/ 3443198 w 4667161"/>
              <a:gd name="connsiteY92" fmla="*/ 502443 h 1958188"/>
              <a:gd name="connsiteX93" fmla="*/ 3431292 w 4667161"/>
              <a:gd name="connsiteY93" fmla="*/ 531018 h 1958188"/>
              <a:gd name="connsiteX94" fmla="*/ 3471773 w 4667161"/>
              <a:gd name="connsiteY94" fmla="*/ 564356 h 1958188"/>
              <a:gd name="connsiteX95" fmla="*/ 3469392 w 4667161"/>
              <a:gd name="connsiteY95" fmla="*/ 647700 h 1958188"/>
              <a:gd name="connsiteX96" fmla="*/ 3450342 w 4667161"/>
              <a:gd name="connsiteY96" fmla="*/ 664368 h 1958188"/>
              <a:gd name="connsiteX97" fmla="*/ 3433673 w 4667161"/>
              <a:gd name="connsiteY97" fmla="*/ 738187 h 1958188"/>
              <a:gd name="connsiteX98" fmla="*/ 3455105 w 4667161"/>
              <a:gd name="connsiteY98" fmla="*/ 773906 h 1958188"/>
              <a:gd name="connsiteX99" fmla="*/ 3509873 w 4667161"/>
              <a:gd name="connsiteY99" fmla="*/ 797718 h 1958188"/>
              <a:gd name="connsiteX100" fmla="*/ 3547973 w 4667161"/>
              <a:gd name="connsiteY100" fmla="*/ 778668 h 1958188"/>
              <a:gd name="connsiteX101" fmla="*/ 3590836 w 4667161"/>
              <a:gd name="connsiteY101" fmla="*/ 797718 h 1958188"/>
              <a:gd name="connsiteX102" fmla="*/ 3626555 w 4667161"/>
              <a:gd name="connsiteY102" fmla="*/ 783431 h 1958188"/>
              <a:gd name="connsiteX103" fmla="*/ 3664655 w 4667161"/>
              <a:gd name="connsiteY103" fmla="*/ 826293 h 1958188"/>
              <a:gd name="connsiteX104" fmla="*/ 3743236 w 4667161"/>
              <a:gd name="connsiteY104" fmla="*/ 902493 h 1958188"/>
              <a:gd name="connsiteX105" fmla="*/ 3812292 w 4667161"/>
              <a:gd name="connsiteY105" fmla="*/ 916781 h 1958188"/>
              <a:gd name="connsiteX106" fmla="*/ 3907542 w 4667161"/>
              <a:gd name="connsiteY106" fmla="*/ 959643 h 1958188"/>
              <a:gd name="connsiteX107" fmla="*/ 3974217 w 4667161"/>
              <a:gd name="connsiteY107" fmla="*/ 992981 h 1958188"/>
              <a:gd name="connsiteX108" fmla="*/ 3990886 w 4667161"/>
              <a:gd name="connsiteY108" fmla="*/ 1035843 h 1958188"/>
              <a:gd name="connsiteX109" fmla="*/ 4000411 w 4667161"/>
              <a:gd name="connsiteY109" fmla="*/ 1081087 h 1958188"/>
              <a:gd name="connsiteX110" fmla="*/ 4048036 w 4667161"/>
              <a:gd name="connsiteY110" fmla="*/ 1109662 h 1958188"/>
              <a:gd name="connsiteX111" fmla="*/ 4083755 w 4667161"/>
              <a:gd name="connsiteY111" fmla="*/ 1107281 h 1958188"/>
              <a:gd name="connsiteX112" fmla="*/ 4150430 w 4667161"/>
              <a:gd name="connsiteY112" fmla="*/ 1145381 h 1958188"/>
              <a:gd name="connsiteX113" fmla="*/ 4209961 w 4667161"/>
              <a:gd name="connsiteY113" fmla="*/ 1197768 h 1958188"/>
              <a:gd name="connsiteX114" fmla="*/ 4293305 w 4667161"/>
              <a:gd name="connsiteY114" fmla="*/ 1240631 h 1958188"/>
              <a:gd name="connsiteX115" fmla="*/ 4359980 w 4667161"/>
              <a:gd name="connsiteY115" fmla="*/ 1302543 h 1958188"/>
              <a:gd name="connsiteX116" fmla="*/ 4436180 w 4667161"/>
              <a:gd name="connsiteY116" fmla="*/ 1359693 h 1958188"/>
              <a:gd name="connsiteX117" fmla="*/ 4476661 w 4667161"/>
              <a:gd name="connsiteY117" fmla="*/ 1357312 h 1958188"/>
              <a:gd name="connsiteX118" fmla="*/ 4533811 w 4667161"/>
              <a:gd name="connsiteY118" fmla="*/ 1383506 h 1958188"/>
              <a:gd name="connsiteX119" fmla="*/ 4643348 w 4667161"/>
              <a:gd name="connsiteY119" fmla="*/ 1345406 h 1958188"/>
              <a:gd name="connsiteX120" fmla="*/ 4667161 w 4667161"/>
              <a:gd name="connsiteY120" fmla="*/ 1302543 h 1958188"/>
              <a:gd name="connsiteX121" fmla="*/ 4662398 w 4667161"/>
              <a:gd name="connsiteY121" fmla="*/ 1235868 h 1958188"/>
              <a:gd name="connsiteX122" fmla="*/ 4660017 w 4667161"/>
              <a:gd name="connsiteY122" fmla="*/ 1116806 h 1958188"/>
              <a:gd name="connsiteX123" fmla="*/ 4633823 w 4667161"/>
              <a:gd name="connsiteY123" fmla="*/ 1078706 h 1958188"/>
              <a:gd name="connsiteX124" fmla="*/ 4571911 w 4667161"/>
              <a:gd name="connsiteY124" fmla="*/ 1057275 h 1958188"/>
              <a:gd name="connsiteX125" fmla="*/ 4555242 w 4667161"/>
              <a:gd name="connsiteY125" fmla="*/ 1014412 h 1958188"/>
              <a:gd name="connsiteX126" fmla="*/ 4529048 w 4667161"/>
              <a:gd name="connsiteY126" fmla="*/ 931068 h 1958188"/>
              <a:gd name="connsiteX127" fmla="*/ 4500473 w 4667161"/>
              <a:gd name="connsiteY127" fmla="*/ 890587 h 1958188"/>
              <a:gd name="connsiteX128" fmla="*/ 4526667 w 4667161"/>
              <a:gd name="connsiteY128" fmla="*/ 862012 h 1958188"/>
              <a:gd name="connsiteX129" fmla="*/ 4595723 w 4667161"/>
              <a:gd name="connsiteY129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5286 w 4667161"/>
              <a:gd name="connsiteY4" fmla="*/ 1699589 h 1958188"/>
              <a:gd name="connsiteX5" fmla="*/ 673805 w 4667161"/>
              <a:gd name="connsiteY5" fmla="*/ 1304925 h 1958188"/>
              <a:gd name="connsiteX6" fmla="*/ 714286 w 4667161"/>
              <a:gd name="connsiteY6" fmla="*/ 1259681 h 1958188"/>
              <a:gd name="connsiteX7" fmla="*/ 745242 w 4667161"/>
              <a:gd name="connsiteY7" fmla="*/ 1247775 h 1958188"/>
              <a:gd name="connsiteX8" fmla="*/ 795248 w 4667161"/>
              <a:gd name="connsiteY8" fmla="*/ 1257300 h 1958188"/>
              <a:gd name="connsiteX9" fmla="*/ 842873 w 4667161"/>
              <a:gd name="connsiteY9" fmla="*/ 1207293 h 1958188"/>
              <a:gd name="connsiteX10" fmla="*/ 890498 w 4667161"/>
              <a:gd name="connsiteY10" fmla="*/ 1214437 h 1958188"/>
              <a:gd name="connsiteX11" fmla="*/ 911930 w 4667161"/>
              <a:gd name="connsiteY11" fmla="*/ 1214437 h 1958188"/>
              <a:gd name="connsiteX12" fmla="*/ 947648 w 4667161"/>
              <a:gd name="connsiteY12" fmla="*/ 1195387 h 1958188"/>
              <a:gd name="connsiteX13" fmla="*/ 971461 w 4667161"/>
              <a:gd name="connsiteY13" fmla="*/ 1157287 h 1958188"/>
              <a:gd name="connsiteX14" fmla="*/ 1016705 w 4667161"/>
              <a:gd name="connsiteY14" fmla="*/ 1157287 h 1958188"/>
              <a:gd name="connsiteX15" fmla="*/ 1042898 w 4667161"/>
              <a:gd name="connsiteY15" fmla="*/ 1119187 h 1958188"/>
              <a:gd name="connsiteX16" fmla="*/ 1069092 w 4667161"/>
              <a:gd name="connsiteY16" fmla="*/ 1100137 h 1958188"/>
              <a:gd name="connsiteX17" fmla="*/ 1088142 w 4667161"/>
              <a:gd name="connsiteY17" fmla="*/ 1071562 h 1958188"/>
              <a:gd name="connsiteX18" fmla="*/ 1133386 w 4667161"/>
              <a:gd name="connsiteY18" fmla="*/ 1064418 h 1958188"/>
              <a:gd name="connsiteX19" fmla="*/ 1145292 w 4667161"/>
              <a:gd name="connsiteY19" fmla="*/ 1031081 h 1958188"/>
              <a:gd name="connsiteX20" fmla="*/ 1181011 w 4667161"/>
              <a:gd name="connsiteY20" fmla="*/ 1012031 h 1958188"/>
              <a:gd name="connsiteX21" fmla="*/ 1202442 w 4667161"/>
              <a:gd name="connsiteY21" fmla="*/ 988218 h 1958188"/>
              <a:gd name="connsiteX22" fmla="*/ 1283405 w 4667161"/>
              <a:gd name="connsiteY22" fmla="*/ 966787 h 1958188"/>
              <a:gd name="connsiteX23" fmla="*/ 1297692 w 4667161"/>
              <a:gd name="connsiteY23" fmla="*/ 952500 h 1958188"/>
              <a:gd name="connsiteX24" fmla="*/ 1307217 w 4667161"/>
              <a:gd name="connsiteY24" fmla="*/ 919162 h 1958188"/>
              <a:gd name="connsiteX25" fmla="*/ 1388180 w 4667161"/>
              <a:gd name="connsiteY25" fmla="*/ 878681 h 1958188"/>
              <a:gd name="connsiteX26" fmla="*/ 1407230 w 4667161"/>
              <a:gd name="connsiteY26" fmla="*/ 873918 h 1958188"/>
              <a:gd name="connsiteX27" fmla="*/ 1466761 w 4667161"/>
              <a:gd name="connsiteY27" fmla="*/ 809625 h 1958188"/>
              <a:gd name="connsiteX28" fmla="*/ 1471523 w 4667161"/>
              <a:gd name="connsiteY28" fmla="*/ 759618 h 1958188"/>
              <a:gd name="connsiteX29" fmla="*/ 1497717 w 4667161"/>
              <a:gd name="connsiteY29" fmla="*/ 733425 h 1958188"/>
              <a:gd name="connsiteX30" fmla="*/ 1523911 w 4667161"/>
              <a:gd name="connsiteY30" fmla="*/ 728662 h 1958188"/>
              <a:gd name="connsiteX31" fmla="*/ 1585823 w 4667161"/>
              <a:gd name="connsiteY31" fmla="*/ 683418 h 1958188"/>
              <a:gd name="connsiteX32" fmla="*/ 1671548 w 4667161"/>
              <a:gd name="connsiteY32" fmla="*/ 640556 h 1958188"/>
              <a:gd name="connsiteX33" fmla="*/ 1707267 w 4667161"/>
              <a:gd name="connsiteY33" fmla="*/ 600075 h 1958188"/>
              <a:gd name="connsiteX34" fmla="*/ 1735842 w 4667161"/>
              <a:gd name="connsiteY34" fmla="*/ 585787 h 1958188"/>
              <a:gd name="connsiteX35" fmla="*/ 1742986 w 4667161"/>
              <a:gd name="connsiteY35" fmla="*/ 519112 h 1958188"/>
              <a:gd name="connsiteX36" fmla="*/ 1759655 w 4667161"/>
              <a:gd name="connsiteY36" fmla="*/ 473868 h 1958188"/>
              <a:gd name="connsiteX37" fmla="*/ 1745367 w 4667161"/>
              <a:gd name="connsiteY37" fmla="*/ 433387 h 1958188"/>
              <a:gd name="connsiteX38" fmla="*/ 1750130 w 4667161"/>
              <a:gd name="connsiteY38" fmla="*/ 347662 h 1958188"/>
              <a:gd name="connsiteX39" fmla="*/ 1745367 w 4667161"/>
              <a:gd name="connsiteY39" fmla="*/ 307181 h 1958188"/>
              <a:gd name="connsiteX40" fmla="*/ 1745367 w 4667161"/>
              <a:gd name="connsiteY40" fmla="*/ 264318 h 1958188"/>
              <a:gd name="connsiteX41" fmla="*/ 1771561 w 4667161"/>
              <a:gd name="connsiteY41" fmla="*/ 254793 h 1958188"/>
              <a:gd name="connsiteX42" fmla="*/ 1792992 w 4667161"/>
              <a:gd name="connsiteY42" fmla="*/ 271462 h 1958188"/>
              <a:gd name="connsiteX43" fmla="*/ 1807280 w 4667161"/>
              <a:gd name="connsiteY43" fmla="*/ 297656 h 1958188"/>
              <a:gd name="connsiteX44" fmla="*/ 1835855 w 4667161"/>
              <a:gd name="connsiteY44" fmla="*/ 300037 h 1958188"/>
              <a:gd name="connsiteX45" fmla="*/ 1857286 w 4667161"/>
              <a:gd name="connsiteY45" fmla="*/ 278606 h 1958188"/>
              <a:gd name="connsiteX46" fmla="*/ 1943011 w 4667161"/>
              <a:gd name="connsiteY46" fmla="*/ 280987 h 1958188"/>
              <a:gd name="connsiteX47" fmla="*/ 1995398 w 4667161"/>
              <a:gd name="connsiteY47" fmla="*/ 290512 h 1958188"/>
              <a:gd name="connsiteX48" fmla="*/ 2043023 w 4667161"/>
              <a:gd name="connsiteY48" fmla="*/ 266700 h 1958188"/>
              <a:gd name="connsiteX49" fmla="*/ 2054930 w 4667161"/>
              <a:gd name="connsiteY49" fmla="*/ 233362 h 1958188"/>
              <a:gd name="connsiteX50" fmla="*/ 2095411 w 4667161"/>
              <a:gd name="connsiteY50" fmla="*/ 200025 h 1958188"/>
              <a:gd name="connsiteX51" fmla="*/ 2085886 w 4667161"/>
              <a:gd name="connsiteY51" fmla="*/ 173831 h 1958188"/>
              <a:gd name="connsiteX52" fmla="*/ 2102555 w 4667161"/>
              <a:gd name="connsiteY52" fmla="*/ 147637 h 1958188"/>
              <a:gd name="connsiteX53" fmla="*/ 2157323 w 4667161"/>
              <a:gd name="connsiteY53" fmla="*/ 169068 h 1958188"/>
              <a:gd name="connsiteX54" fmla="*/ 2204948 w 4667161"/>
              <a:gd name="connsiteY54" fmla="*/ 173831 h 1958188"/>
              <a:gd name="connsiteX55" fmla="*/ 2240667 w 4667161"/>
              <a:gd name="connsiteY55" fmla="*/ 209550 h 1958188"/>
              <a:gd name="connsiteX56" fmla="*/ 2269242 w 4667161"/>
              <a:gd name="connsiteY56" fmla="*/ 223837 h 1958188"/>
              <a:gd name="connsiteX57" fmla="*/ 2288292 w 4667161"/>
              <a:gd name="connsiteY57" fmla="*/ 280987 h 1958188"/>
              <a:gd name="connsiteX58" fmla="*/ 2357348 w 4667161"/>
              <a:gd name="connsiteY58" fmla="*/ 316706 h 1958188"/>
              <a:gd name="connsiteX59" fmla="*/ 2426405 w 4667161"/>
              <a:gd name="connsiteY59" fmla="*/ 307181 h 1958188"/>
              <a:gd name="connsiteX60" fmla="*/ 2474030 w 4667161"/>
              <a:gd name="connsiteY60" fmla="*/ 295275 h 1958188"/>
              <a:gd name="connsiteX61" fmla="*/ 2512130 w 4667161"/>
              <a:gd name="connsiteY61" fmla="*/ 307181 h 1958188"/>
              <a:gd name="connsiteX62" fmla="*/ 2562136 w 4667161"/>
              <a:gd name="connsiteY62" fmla="*/ 304800 h 1958188"/>
              <a:gd name="connsiteX63" fmla="*/ 2607380 w 4667161"/>
              <a:gd name="connsiteY63" fmla="*/ 316706 h 1958188"/>
              <a:gd name="connsiteX64" fmla="*/ 2652623 w 4667161"/>
              <a:gd name="connsiteY64" fmla="*/ 302418 h 1958188"/>
              <a:gd name="connsiteX65" fmla="*/ 2674055 w 4667161"/>
              <a:gd name="connsiteY65" fmla="*/ 276225 h 1958188"/>
              <a:gd name="connsiteX66" fmla="*/ 2752636 w 4667161"/>
              <a:gd name="connsiteY66" fmla="*/ 297656 h 1958188"/>
              <a:gd name="connsiteX67" fmla="*/ 2793117 w 4667161"/>
              <a:gd name="connsiteY67" fmla="*/ 283368 h 1958188"/>
              <a:gd name="connsiteX68" fmla="*/ 2800261 w 4667161"/>
              <a:gd name="connsiteY68" fmla="*/ 242887 h 1958188"/>
              <a:gd name="connsiteX69" fmla="*/ 2771686 w 4667161"/>
              <a:gd name="connsiteY69" fmla="*/ 195262 h 1958188"/>
              <a:gd name="connsiteX70" fmla="*/ 2755017 w 4667161"/>
              <a:gd name="connsiteY70" fmla="*/ 135731 h 1958188"/>
              <a:gd name="connsiteX71" fmla="*/ 2721680 w 4667161"/>
              <a:gd name="connsiteY71" fmla="*/ 102393 h 1958188"/>
              <a:gd name="connsiteX72" fmla="*/ 2697867 w 4667161"/>
              <a:gd name="connsiteY72" fmla="*/ 59531 h 1958188"/>
              <a:gd name="connsiteX73" fmla="*/ 2707392 w 4667161"/>
              <a:gd name="connsiteY73" fmla="*/ 38100 h 1958188"/>
              <a:gd name="connsiteX74" fmla="*/ 2743111 w 4667161"/>
              <a:gd name="connsiteY74" fmla="*/ 0 h 1958188"/>
              <a:gd name="connsiteX75" fmla="*/ 2762161 w 4667161"/>
              <a:gd name="connsiteY75" fmla="*/ 16668 h 1958188"/>
              <a:gd name="connsiteX76" fmla="*/ 2843123 w 4667161"/>
              <a:gd name="connsiteY76" fmla="*/ 30956 h 1958188"/>
              <a:gd name="connsiteX77" fmla="*/ 2926467 w 4667161"/>
              <a:gd name="connsiteY77" fmla="*/ 47625 h 1958188"/>
              <a:gd name="connsiteX78" fmla="*/ 2976473 w 4667161"/>
              <a:gd name="connsiteY78" fmla="*/ 66675 h 1958188"/>
              <a:gd name="connsiteX79" fmla="*/ 3026480 w 4667161"/>
              <a:gd name="connsiteY79" fmla="*/ 61912 h 1958188"/>
              <a:gd name="connsiteX80" fmla="*/ 3074105 w 4667161"/>
              <a:gd name="connsiteY80" fmla="*/ 92868 h 1958188"/>
              <a:gd name="connsiteX81" fmla="*/ 3116967 w 4667161"/>
              <a:gd name="connsiteY81" fmla="*/ 119062 h 1958188"/>
              <a:gd name="connsiteX82" fmla="*/ 3138398 w 4667161"/>
              <a:gd name="connsiteY82" fmla="*/ 150018 h 1958188"/>
              <a:gd name="connsiteX83" fmla="*/ 3188405 w 4667161"/>
              <a:gd name="connsiteY83" fmla="*/ 157162 h 1958188"/>
              <a:gd name="connsiteX84" fmla="*/ 3214598 w 4667161"/>
              <a:gd name="connsiteY84" fmla="*/ 202406 h 1958188"/>
              <a:gd name="connsiteX85" fmla="*/ 3240792 w 4667161"/>
              <a:gd name="connsiteY85" fmla="*/ 233362 h 1958188"/>
              <a:gd name="connsiteX86" fmla="*/ 3257461 w 4667161"/>
              <a:gd name="connsiteY86" fmla="*/ 278606 h 1958188"/>
              <a:gd name="connsiteX87" fmla="*/ 3316992 w 4667161"/>
              <a:gd name="connsiteY87" fmla="*/ 295275 h 1958188"/>
              <a:gd name="connsiteX88" fmla="*/ 3345567 w 4667161"/>
              <a:gd name="connsiteY88" fmla="*/ 326231 h 1958188"/>
              <a:gd name="connsiteX89" fmla="*/ 3366998 w 4667161"/>
              <a:gd name="connsiteY89" fmla="*/ 335756 h 1958188"/>
              <a:gd name="connsiteX90" fmla="*/ 3378905 w 4667161"/>
              <a:gd name="connsiteY90" fmla="*/ 376237 h 1958188"/>
              <a:gd name="connsiteX91" fmla="*/ 3409861 w 4667161"/>
              <a:gd name="connsiteY91" fmla="*/ 383381 h 1958188"/>
              <a:gd name="connsiteX92" fmla="*/ 3447961 w 4667161"/>
              <a:gd name="connsiteY92" fmla="*/ 447675 h 1958188"/>
              <a:gd name="connsiteX93" fmla="*/ 3443198 w 4667161"/>
              <a:gd name="connsiteY93" fmla="*/ 502443 h 1958188"/>
              <a:gd name="connsiteX94" fmla="*/ 3431292 w 4667161"/>
              <a:gd name="connsiteY94" fmla="*/ 531018 h 1958188"/>
              <a:gd name="connsiteX95" fmla="*/ 3471773 w 4667161"/>
              <a:gd name="connsiteY95" fmla="*/ 564356 h 1958188"/>
              <a:gd name="connsiteX96" fmla="*/ 3469392 w 4667161"/>
              <a:gd name="connsiteY96" fmla="*/ 647700 h 1958188"/>
              <a:gd name="connsiteX97" fmla="*/ 3450342 w 4667161"/>
              <a:gd name="connsiteY97" fmla="*/ 664368 h 1958188"/>
              <a:gd name="connsiteX98" fmla="*/ 3433673 w 4667161"/>
              <a:gd name="connsiteY98" fmla="*/ 738187 h 1958188"/>
              <a:gd name="connsiteX99" fmla="*/ 3455105 w 4667161"/>
              <a:gd name="connsiteY99" fmla="*/ 773906 h 1958188"/>
              <a:gd name="connsiteX100" fmla="*/ 3509873 w 4667161"/>
              <a:gd name="connsiteY100" fmla="*/ 797718 h 1958188"/>
              <a:gd name="connsiteX101" fmla="*/ 3547973 w 4667161"/>
              <a:gd name="connsiteY101" fmla="*/ 778668 h 1958188"/>
              <a:gd name="connsiteX102" fmla="*/ 3590836 w 4667161"/>
              <a:gd name="connsiteY102" fmla="*/ 797718 h 1958188"/>
              <a:gd name="connsiteX103" fmla="*/ 3626555 w 4667161"/>
              <a:gd name="connsiteY103" fmla="*/ 783431 h 1958188"/>
              <a:gd name="connsiteX104" fmla="*/ 3664655 w 4667161"/>
              <a:gd name="connsiteY104" fmla="*/ 826293 h 1958188"/>
              <a:gd name="connsiteX105" fmla="*/ 3743236 w 4667161"/>
              <a:gd name="connsiteY105" fmla="*/ 902493 h 1958188"/>
              <a:gd name="connsiteX106" fmla="*/ 3812292 w 4667161"/>
              <a:gd name="connsiteY106" fmla="*/ 916781 h 1958188"/>
              <a:gd name="connsiteX107" fmla="*/ 3907542 w 4667161"/>
              <a:gd name="connsiteY107" fmla="*/ 959643 h 1958188"/>
              <a:gd name="connsiteX108" fmla="*/ 3974217 w 4667161"/>
              <a:gd name="connsiteY108" fmla="*/ 992981 h 1958188"/>
              <a:gd name="connsiteX109" fmla="*/ 3990886 w 4667161"/>
              <a:gd name="connsiteY109" fmla="*/ 1035843 h 1958188"/>
              <a:gd name="connsiteX110" fmla="*/ 4000411 w 4667161"/>
              <a:gd name="connsiteY110" fmla="*/ 1081087 h 1958188"/>
              <a:gd name="connsiteX111" fmla="*/ 4048036 w 4667161"/>
              <a:gd name="connsiteY111" fmla="*/ 1109662 h 1958188"/>
              <a:gd name="connsiteX112" fmla="*/ 4083755 w 4667161"/>
              <a:gd name="connsiteY112" fmla="*/ 1107281 h 1958188"/>
              <a:gd name="connsiteX113" fmla="*/ 4150430 w 4667161"/>
              <a:gd name="connsiteY113" fmla="*/ 1145381 h 1958188"/>
              <a:gd name="connsiteX114" fmla="*/ 4209961 w 4667161"/>
              <a:gd name="connsiteY114" fmla="*/ 1197768 h 1958188"/>
              <a:gd name="connsiteX115" fmla="*/ 4293305 w 4667161"/>
              <a:gd name="connsiteY115" fmla="*/ 1240631 h 1958188"/>
              <a:gd name="connsiteX116" fmla="*/ 4359980 w 4667161"/>
              <a:gd name="connsiteY116" fmla="*/ 1302543 h 1958188"/>
              <a:gd name="connsiteX117" fmla="*/ 4436180 w 4667161"/>
              <a:gd name="connsiteY117" fmla="*/ 1359693 h 1958188"/>
              <a:gd name="connsiteX118" fmla="*/ 4476661 w 4667161"/>
              <a:gd name="connsiteY118" fmla="*/ 1357312 h 1958188"/>
              <a:gd name="connsiteX119" fmla="*/ 4533811 w 4667161"/>
              <a:gd name="connsiteY119" fmla="*/ 1383506 h 1958188"/>
              <a:gd name="connsiteX120" fmla="*/ 4643348 w 4667161"/>
              <a:gd name="connsiteY120" fmla="*/ 1345406 h 1958188"/>
              <a:gd name="connsiteX121" fmla="*/ 4667161 w 4667161"/>
              <a:gd name="connsiteY121" fmla="*/ 1302543 h 1958188"/>
              <a:gd name="connsiteX122" fmla="*/ 4662398 w 4667161"/>
              <a:gd name="connsiteY122" fmla="*/ 1235868 h 1958188"/>
              <a:gd name="connsiteX123" fmla="*/ 4660017 w 4667161"/>
              <a:gd name="connsiteY123" fmla="*/ 1116806 h 1958188"/>
              <a:gd name="connsiteX124" fmla="*/ 4633823 w 4667161"/>
              <a:gd name="connsiteY124" fmla="*/ 1078706 h 1958188"/>
              <a:gd name="connsiteX125" fmla="*/ 4571911 w 4667161"/>
              <a:gd name="connsiteY125" fmla="*/ 1057275 h 1958188"/>
              <a:gd name="connsiteX126" fmla="*/ 4555242 w 4667161"/>
              <a:gd name="connsiteY126" fmla="*/ 1014412 h 1958188"/>
              <a:gd name="connsiteX127" fmla="*/ 4529048 w 4667161"/>
              <a:gd name="connsiteY127" fmla="*/ 931068 h 1958188"/>
              <a:gd name="connsiteX128" fmla="*/ 4500473 w 4667161"/>
              <a:gd name="connsiteY128" fmla="*/ 890587 h 1958188"/>
              <a:gd name="connsiteX129" fmla="*/ 4526667 w 4667161"/>
              <a:gd name="connsiteY129" fmla="*/ 862012 h 1958188"/>
              <a:gd name="connsiteX130" fmla="*/ 4595723 w 4667161"/>
              <a:gd name="connsiteY130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673805 w 4667161"/>
              <a:gd name="connsiteY5" fmla="*/ 1304925 h 1958188"/>
              <a:gd name="connsiteX6" fmla="*/ 714286 w 4667161"/>
              <a:gd name="connsiteY6" fmla="*/ 1259681 h 1958188"/>
              <a:gd name="connsiteX7" fmla="*/ 745242 w 4667161"/>
              <a:gd name="connsiteY7" fmla="*/ 1247775 h 1958188"/>
              <a:gd name="connsiteX8" fmla="*/ 795248 w 4667161"/>
              <a:gd name="connsiteY8" fmla="*/ 1257300 h 1958188"/>
              <a:gd name="connsiteX9" fmla="*/ 842873 w 4667161"/>
              <a:gd name="connsiteY9" fmla="*/ 1207293 h 1958188"/>
              <a:gd name="connsiteX10" fmla="*/ 890498 w 4667161"/>
              <a:gd name="connsiteY10" fmla="*/ 1214437 h 1958188"/>
              <a:gd name="connsiteX11" fmla="*/ 911930 w 4667161"/>
              <a:gd name="connsiteY11" fmla="*/ 1214437 h 1958188"/>
              <a:gd name="connsiteX12" fmla="*/ 947648 w 4667161"/>
              <a:gd name="connsiteY12" fmla="*/ 1195387 h 1958188"/>
              <a:gd name="connsiteX13" fmla="*/ 971461 w 4667161"/>
              <a:gd name="connsiteY13" fmla="*/ 1157287 h 1958188"/>
              <a:gd name="connsiteX14" fmla="*/ 1016705 w 4667161"/>
              <a:gd name="connsiteY14" fmla="*/ 1157287 h 1958188"/>
              <a:gd name="connsiteX15" fmla="*/ 1042898 w 4667161"/>
              <a:gd name="connsiteY15" fmla="*/ 1119187 h 1958188"/>
              <a:gd name="connsiteX16" fmla="*/ 1069092 w 4667161"/>
              <a:gd name="connsiteY16" fmla="*/ 1100137 h 1958188"/>
              <a:gd name="connsiteX17" fmla="*/ 1088142 w 4667161"/>
              <a:gd name="connsiteY17" fmla="*/ 1071562 h 1958188"/>
              <a:gd name="connsiteX18" fmla="*/ 1133386 w 4667161"/>
              <a:gd name="connsiteY18" fmla="*/ 1064418 h 1958188"/>
              <a:gd name="connsiteX19" fmla="*/ 1145292 w 4667161"/>
              <a:gd name="connsiteY19" fmla="*/ 1031081 h 1958188"/>
              <a:gd name="connsiteX20" fmla="*/ 1181011 w 4667161"/>
              <a:gd name="connsiteY20" fmla="*/ 1012031 h 1958188"/>
              <a:gd name="connsiteX21" fmla="*/ 1202442 w 4667161"/>
              <a:gd name="connsiteY21" fmla="*/ 988218 h 1958188"/>
              <a:gd name="connsiteX22" fmla="*/ 1283405 w 4667161"/>
              <a:gd name="connsiteY22" fmla="*/ 966787 h 1958188"/>
              <a:gd name="connsiteX23" fmla="*/ 1297692 w 4667161"/>
              <a:gd name="connsiteY23" fmla="*/ 952500 h 1958188"/>
              <a:gd name="connsiteX24" fmla="*/ 1307217 w 4667161"/>
              <a:gd name="connsiteY24" fmla="*/ 919162 h 1958188"/>
              <a:gd name="connsiteX25" fmla="*/ 1388180 w 4667161"/>
              <a:gd name="connsiteY25" fmla="*/ 878681 h 1958188"/>
              <a:gd name="connsiteX26" fmla="*/ 1407230 w 4667161"/>
              <a:gd name="connsiteY26" fmla="*/ 873918 h 1958188"/>
              <a:gd name="connsiteX27" fmla="*/ 1466761 w 4667161"/>
              <a:gd name="connsiteY27" fmla="*/ 809625 h 1958188"/>
              <a:gd name="connsiteX28" fmla="*/ 1471523 w 4667161"/>
              <a:gd name="connsiteY28" fmla="*/ 759618 h 1958188"/>
              <a:gd name="connsiteX29" fmla="*/ 1497717 w 4667161"/>
              <a:gd name="connsiteY29" fmla="*/ 733425 h 1958188"/>
              <a:gd name="connsiteX30" fmla="*/ 1523911 w 4667161"/>
              <a:gd name="connsiteY30" fmla="*/ 728662 h 1958188"/>
              <a:gd name="connsiteX31" fmla="*/ 1585823 w 4667161"/>
              <a:gd name="connsiteY31" fmla="*/ 683418 h 1958188"/>
              <a:gd name="connsiteX32" fmla="*/ 1671548 w 4667161"/>
              <a:gd name="connsiteY32" fmla="*/ 640556 h 1958188"/>
              <a:gd name="connsiteX33" fmla="*/ 1707267 w 4667161"/>
              <a:gd name="connsiteY33" fmla="*/ 600075 h 1958188"/>
              <a:gd name="connsiteX34" fmla="*/ 1735842 w 4667161"/>
              <a:gd name="connsiteY34" fmla="*/ 585787 h 1958188"/>
              <a:gd name="connsiteX35" fmla="*/ 1742986 w 4667161"/>
              <a:gd name="connsiteY35" fmla="*/ 519112 h 1958188"/>
              <a:gd name="connsiteX36" fmla="*/ 1759655 w 4667161"/>
              <a:gd name="connsiteY36" fmla="*/ 473868 h 1958188"/>
              <a:gd name="connsiteX37" fmla="*/ 1745367 w 4667161"/>
              <a:gd name="connsiteY37" fmla="*/ 433387 h 1958188"/>
              <a:gd name="connsiteX38" fmla="*/ 1750130 w 4667161"/>
              <a:gd name="connsiteY38" fmla="*/ 347662 h 1958188"/>
              <a:gd name="connsiteX39" fmla="*/ 1745367 w 4667161"/>
              <a:gd name="connsiteY39" fmla="*/ 307181 h 1958188"/>
              <a:gd name="connsiteX40" fmla="*/ 1745367 w 4667161"/>
              <a:gd name="connsiteY40" fmla="*/ 264318 h 1958188"/>
              <a:gd name="connsiteX41" fmla="*/ 1771561 w 4667161"/>
              <a:gd name="connsiteY41" fmla="*/ 254793 h 1958188"/>
              <a:gd name="connsiteX42" fmla="*/ 1792992 w 4667161"/>
              <a:gd name="connsiteY42" fmla="*/ 271462 h 1958188"/>
              <a:gd name="connsiteX43" fmla="*/ 1807280 w 4667161"/>
              <a:gd name="connsiteY43" fmla="*/ 297656 h 1958188"/>
              <a:gd name="connsiteX44" fmla="*/ 1835855 w 4667161"/>
              <a:gd name="connsiteY44" fmla="*/ 300037 h 1958188"/>
              <a:gd name="connsiteX45" fmla="*/ 1857286 w 4667161"/>
              <a:gd name="connsiteY45" fmla="*/ 278606 h 1958188"/>
              <a:gd name="connsiteX46" fmla="*/ 1943011 w 4667161"/>
              <a:gd name="connsiteY46" fmla="*/ 280987 h 1958188"/>
              <a:gd name="connsiteX47" fmla="*/ 1995398 w 4667161"/>
              <a:gd name="connsiteY47" fmla="*/ 290512 h 1958188"/>
              <a:gd name="connsiteX48" fmla="*/ 2043023 w 4667161"/>
              <a:gd name="connsiteY48" fmla="*/ 266700 h 1958188"/>
              <a:gd name="connsiteX49" fmla="*/ 2054930 w 4667161"/>
              <a:gd name="connsiteY49" fmla="*/ 233362 h 1958188"/>
              <a:gd name="connsiteX50" fmla="*/ 2095411 w 4667161"/>
              <a:gd name="connsiteY50" fmla="*/ 200025 h 1958188"/>
              <a:gd name="connsiteX51" fmla="*/ 2085886 w 4667161"/>
              <a:gd name="connsiteY51" fmla="*/ 173831 h 1958188"/>
              <a:gd name="connsiteX52" fmla="*/ 2102555 w 4667161"/>
              <a:gd name="connsiteY52" fmla="*/ 147637 h 1958188"/>
              <a:gd name="connsiteX53" fmla="*/ 2157323 w 4667161"/>
              <a:gd name="connsiteY53" fmla="*/ 169068 h 1958188"/>
              <a:gd name="connsiteX54" fmla="*/ 2204948 w 4667161"/>
              <a:gd name="connsiteY54" fmla="*/ 173831 h 1958188"/>
              <a:gd name="connsiteX55" fmla="*/ 2240667 w 4667161"/>
              <a:gd name="connsiteY55" fmla="*/ 209550 h 1958188"/>
              <a:gd name="connsiteX56" fmla="*/ 2269242 w 4667161"/>
              <a:gd name="connsiteY56" fmla="*/ 223837 h 1958188"/>
              <a:gd name="connsiteX57" fmla="*/ 2288292 w 4667161"/>
              <a:gd name="connsiteY57" fmla="*/ 280987 h 1958188"/>
              <a:gd name="connsiteX58" fmla="*/ 2357348 w 4667161"/>
              <a:gd name="connsiteY58" fmla="*/ 316706 h 1958188"/>
              <a:gd name="connsiteX59" fmla="*/ 2426405 w 4667161"/>
              <a:gd name="connsiteY59" fmla="*/ 307181 h 1958188"/>
              <a:gd name="connsiteX60" fmla="*/ 2474030 w 4667161"/>
              <a:gd name="connsiteY60" fmla="*/ 295275 h 1958188"/>
              <a:gd name="connsiteX61" fmla="*/ 2512130 w 4667161"/>
              <a:gd name="connsiteY61" fmla="*/ 307181 h 1958188"/>
              <a:gd name="connsiteX62" fmla="*/ 2562136 w 4667161"/>
              <a:gd name="connsiteY62" fmla="*/ 304800 h 1958188"/>
              <a:gd name="connsiteX63" fmla="*/ 2607380 w 4667161"/>
              <a:gd name="connsiteY63" fmla="*/ 316706 h 1958188"/>
              <a:gd name="connsiteX64" fmla="*/ 2652623 w 4667161"/>
              <a:gd name="connsiteY64" fmla="*/ 302418 h 1958188"/>
              <a:gd name="connsiteX65" fmla="*/ 2674055 w 4667161"/>
              <a:gd name="connsiteY65" fmla="*/ 276225 h 1958188"/>
              <a:gd name="connsiteX66" fmla="*/ 2752636 w 4667161"/>
              <a:gd name="connsiteY66" fmla="*/ 297656 h 1958188"/>
              <a:gd name="connsiteX67" fmla="*/ 2793117 w 4667161"/>
              <a:gd name="connsiteY67" fmla="*/ 283368 h 1958188"/>
              <a:gd name="connsiteX68" fmla="*/ 2800261 w 4667161"/>
              <a:gd name="connsiteY68" fmla="*/ 242887 h 1958188"/>
              <a:gd name="connsiteX69" fmla="*/ 2771686 w 4667161"/>
              <a:gd name="connsiteY69" fmla="*/ 195262 h 1958188"/>
              <a:gd name="connsiteX70" fmla="*/ 2755017 w 4667161"/>
              <a:gd name="connsiteY70" fmla="*/ 135731 h 1958188"/>
              <a:gd name="connsiteX71" fmla="*/ 2721680 w 4667161"/>
              <a:gd name="connsiteY71" fmla="*/ 102393 h 1958188"/>
              <a:gd name="connsiteX72" fmla="*/ 2697867 w 4667161"/>
              <a:gd name="connsiteY72" fmla="*/ 59531 h 1958188"/>
              <a:gd name="connsiteX73" fmla="*/ 2707392 w 4667161"/>
              <a:gd name="connsiteY73" fmla="*/ 38100 h 1958188"/>
              <a:gd name="connsiteX74" fmla="*/ 2743111 w 4667161"/>
              <a:gd name="connsiteY74" fmla="*/ 0 h 1958188"/>
              <a:gd name="connsiteX75" fmla="*/ 2762161 w 4667161"/>
              <a:gd name="connsiteY75" fmla="*/ 16668 h 1958188"/>
              <a:gd name="connsiteX76" fmla="*/ 2843123 w 4667161"/>
              <a:gd name="connsiteY76" fmla="*/ 30956 h 1958188"/>
              <a:gd name="connsiteX77" fmla="*/ 2926467 w 4667161"/>
              <a:gd name="connsiteY77" fmla="*/ 47625 h 1958188"/>
              <a:gd name="connsiteX78" fmla="*/ 2976473 w 4667161"/>
              <a:gd name="connsiteY78" fmla="*/ 66675 h 1958188"/>
              <a:gd name="connsiteX79" fmla="*/ 3026480 w 4667161"/>
              <a:gd name="connsiteY79" fmla="*/ 61912 h 1958188"/>
              <a:gd name="connsiteX80" fmla="*/ 3074105 w 4667161"/>
              <a:gd name="connsiteY80" fmla="*/ 92868 h 1958188"/>
              <a:gd name="connsiteX81" fmla="*/ 3116967 w 4667161"/>
              <a:gd name="connsiteY81" fmla="*/ 119062 h 1958188"/>
              <a:gd name="connsiteX82" fmla="*/ 3138398 w 4667161"/>
              <a:gd name="connsiteY82" fmla="*/ 150018 h 1958188"/>
              <a:gd name="connsiteX83" fmla="*/ 3188405 w 4667161"/>
              <a:gd name="connsiteY83" fmla="*/ 157162 h 1958188"/>
              <a:gd name="connsiteX84" fmla="*/ 3214598 w 4667161"/>
              <a:gd name="connsiteY84" fmla="*/ 202406 h 1958188"/>
              <a:gd name="connsiteX85" fmla="*/ 3240792 w 4667161"/>
              <a:gd name="connsiteY85" fmla="*/ 233362 h 1958188"/>
              <a:gd name="connsiteX86" fmla="*/ 3257461 w 4667161"/>
              <a:gd name="connsiteY86" fmla="*/ 278606 h 1958188"/>
              <a:gd name="connsiteX87" fmla="*/ 3316992 w 4667161"/>
              <a:gd name="connsiteY87" fmla="*/ 295275 h 1958188"/>
              <a:gd name="connsiteX88" fmla="*/ 3345567 w 4667161"/>
              <a:gd name="connsiteY88" fmla="*/ 326231 h 1958188"/>
              <a:gd name="connsiteX89" fmla="*/ 3366998 w 4667161"/>
              <a:gd name="connsiteY89" fmla="*/ 335756 h 1958188"/>
              <a:gd name="connsiteX90" fmla="*/ 3378905 w 4667161"/>
              <a:gd name="connsiteY90" fmla="*/ 376237 h 1958188"/>
              <a:gd name="connsiteX91" fmla="*/ 3409861 w 4667161"/>
              <a:gd name="connsiteY91" fmla="*/ 383381 h 1958188"/>
              <a:gd name="connsiteX92" fmla="*/ 3447961 w 4667161"/>
              <a:gd name="connsiteY92" fmla="*/ 447675 h 1958188"/>
              <a:gd name="connsiteX93" fmla="*/ 3443198 w 4667161"/>
              <a:gd name="connsiteY93" fmla="*/ 502443 h 1958188"/>
              <a:gd name="connsiteX94" fmla="*/ 3431292 w 4667161"/>
              <a:gd name="connsiteY94" fmla="*/ 531018 h 1958188"/>
              <a:gd name="connsiteX95" fmla="*/ 3471773 w 4667161"/>
              <a:gd name="connsiteY95" fmla="*/ 564356 h 1958188"/>
              <a:gd name="connsiteX96" fmla="*/ 3469392 w 4667161"/>
              <a:gd name="connsiteY96" fmla="*/ 647700 h 1958188"/>
              <a:gd name="connsiteX97" fmla="*/ 3450342 w 4667161"/>
              <a:gd name="connsiteY97" fmla="*/ 664368 h 1958188"/>
              <a:gd name="connsiteX98" fmla="*/ 3433673 w 4667161"/>
              <a:gd name="connsiteY98" fmla="*/ 738187 h 1958188"/>
              <a:gd name="connsiteX99" fmla="*/ 3455105 w 4667161"/>
              <a:gd name="connsiteY99" fmla="*/ 773906 h 1958188"/>
              <a:gd name="connsiteX100" fmla="*/ 3509873 w 4667161"/>
              <a:gd name="connsiteY100" fmla="*/ 797718 h 1958188"/>
              <a:gd name="connsiteX101" fmla="*/ 3547973 w 4667161"/>
              <a:gd name="connsiteY101" fmla="*/ 778668 h 1958188"/>
              <a:gd name="connsiteX102" fmla="*/ 3590836 w 4667161"/>
              <a:gd name="connsiteY102" fmla="*/ 797718 h 1958188"/>
              <a:gd name="connsiteX103" fmla="*/ 3626555 w 4667161"/>
              <a:gd name="connsiteY103" fmla="*/ 783431 h 1958188"/>
              <a:gd name="connsiteX104" fmla="*/ 3664655 w 4667161"/>
              <a:gd name="connsiteY104" fmla="*/ 826293 h 1958188"/>
              <a:gd name="connsiteX105" fmla="*/ 3743236 w 4667161"/>
              <a:gd name="connsiteY105" fmla="*/ 902493 h 1958188"/>
              <a:gd name="connsiteX106" fmla="*/ 3812292 w 4667161"/>
              <a:gd name="connsiteY106" fmla="*/ 916781 h 1958188"/>
              <a:gd name="connsiteX107" fmla="*/ 3907542 w 4667161"/>
              <a:gd name="connsiteY107" fmla="*/ 959643 h 1958188"/>
              <a:gd name="connsiteX108" fmla="*/ 3974217 w 4667161"/>
              <a:gd name="connsiteY108" fmla="*/ 992981 h 1958188"/>
              <a:gd name="connsiteX109" fmla="*/ 3990886 w 4667161"/>
              <a:gd name="connsiteY109" fmla="*/ 1035843 h 1958188"/>
              <a:gd name="connsiteX110" fmla="*/ 4000411 w 4667161"/>
              <a:gd name="connsiteY110" fmla="*/ 1081087 h 1958188"/>
              <a:gd name="connsiteX111" fmla="*/ 4048036 w 4667161"/>
              <a:gd name="connsiteY111" fmla="*/ 1109662 h 1958188"/>
              <a:gd name="connsiteX112" fmla="*/ 4083755 w 4667161"/>
              <a:gd name="connsiteY112" fmla="*/ 1107281 h 1958188"/>
              <a:gd name="connsiteX113" fmla="*/ 4150430 w 4667161"/>
              <a:gd name="connsiteY113" fmla="*/ 1145381 h 1958188"/>
              <a:gd name="connsiteX114" fmla="*/ 4209961 w 4667161"/>
              <a:gd name="connsiteY114" fmla="*/ 1197768 h 1958188"/>
              <a:gd name="connsiteX115" fmla="*/ 4293305 w 4667161"/>
              <a:gd name="connsiteY115" fmla="*/ 1240631 h 1958188"/>
              <a:gd name="connsiteX116" fmla="*/ 4359980 w 4667161"/>
              <a:gd name="connsiteY116" fmla="*/ 1302543 h 1958188"/>
              <a:gd name="connsiteX117" fmla="*/ 4436180 w 4667161"/>
              <a:gd name="connsiteY117" fmla="*/ 1359693 h 1958188"/>
              <a:gd name="connsiteX118" fmla="*/ 4476661 w 4667161"/>
              <a:gd name="connsiteY118" fmla="*/ 1357312 h 1958188"/>
              <a:gd name="connsiteX119" fmla="*/ 4533811 w 4667161"/>
              <a:gd name="connsiteY119" fmla="*/ 1383506 h 1958188"/>
              <a:gd name="connsiteX120" fmla="*/ 4643348 w 4667161"/>
              <a:gd name="connsiteY120" fmla="*/ 1345406 h 1958188"/>
              <a:gd name="connsiteX121" fmla="*/ 4667161 w 4667161"/>
              <a:gd name="connsiteY121" fmla="*/ 1302543 h 1958188"/>
              <a:gd name="connsiteX122" fmla="*/ 4662398 w 4667161"/>
              <a:gd name="connsiteY122" fmla="*/ 1235868 h 1958188"/>
              <a:gd name="connsiteX123" fmla="*/ 4660017 w 4667161"/>
              <a:gd name="connsiteY123" fmla="*/ 1116806 h 1958188"/>
              <a:gd name="connsiteX124" fmla="*/ 4633823 w 4667161"/>
              <a:gd name="connsiteY124" fmla="*/ 1078706 h 1958188"/>
              <a:gd name="connsiteX125" fmla="*/ 4571911 w 4667161"/>
              <a:gd name="connsiteY125" fmla="*/ 1057275 h 1958188"/>
              <a:gd name="connsiteX126" fmla="*/ 4555242 w 4667161"/>
              <a:gd name="connsiteY126" fmla="*/ 1014412 h 1958188"/>
              <a:gd name="connsiteX127" fmla="*/ 4529048 w 4667161"/>
              <a:gd name="connsiteY127" fmla="*/ 931068 h 1958188"/>
              <a:gd name="connsiteX128" fmla="*/ 4500473 w 4667161"/>
              <a:gd name="connsiteY128" fmla="*/ 890587 h 1958188"/>
              <a:gd name="connsiteX129" fmla="*/ 4526667 w 4667161"/>
              <a:gd name="connsiteY129" fmla="*/ 862012 h 1958188"/>
              <a:gd name="connsiteX130" fmla="*/ 4595723 w 4667161"/>
              <a:gd name="connsiteY130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300878 w 4667161"/>
              <a:gd name="connsiteY5" fmla="*/ 1563755 h 1958188"/>
              <a:gd name="connsiteX6" fmla="*/ 673805 w 4667161"/>
              <a:gd name="connsiteY6" fmla="*/ 1304925 h 1958188"/>
              <a:gd name="connsiteX7" fmla="*/ 714286 w 4667161"/>
              <a:gd name="connsiteY7" fmla="*/ 1259681 h 1958188"/>
              <a:gd name="connsiteX8" fmla="*/ 745242 w 4667161"/>
              <a:gd name="connsiteY8" fmla="*/ 1247775 h 1958188"/>
              <a:gd name="connsiteX9" fmla="*/ 795248 w 4667161"/>
              <a:gd name="connsiteY9" fmla="*/ 1257300 h 1958188"/>
              <a:gd name="connsiteX10" fmla="*/ 842873 w 4667161"/>
              <a:gd name="connsiteY10" fmla="*/ 1207293 h 1958188"/>
              <a:gd name="connsiteX11" fmla="*/ 890498 w 4667161"/>
              <a:gd name="connsiteY11" fmla="*/ 1214437 h 1958188"/>
              <a:gd name="connsiteX12" fmla="*/ 911930 w 4667161"/>
              <a:gd name="connsiteY12" fmla="*/ 1214437 h 1958188"/>
              <a:gd name="connsiteX13" fmla="*/ 947648 w 4667161"/>
              <a:gd name="connsiteY13" fmla="*/ 1195387 h 1958188"/>
              <a:gd name="connsiteX14" fmla="*/ 971461 w 4667161"/>
              <a:gd name="connsiteY14" fmla="*/ 1157287 h 1958188"/>
              <a:gd name="connsiteX15" fmla="*/ 1016705 w 4667161"/>
              <a:gd name="connsiteY15" fmla="*/ 1157287 h 1958188"/>
              <a:gd name="connsiteX16" fmla="*/ 1042898 w 4667161"/>
              <a:gd name="connsiteY16" fmla="*/ 1119187 h 1958188"/>
              <a:gd name="connsiteX17" fmla="*/ 1069092 w 4667161"/>
              <a:gd name="connsiteY17" fmla="*/ 1100137 h 1958188"/>
              <a:gd name="connsiteX18" fmla="*/ 1088142 w 4667161"/>
              <a:gd name="connsiteY18" fmla="*/ 1071562 h 1958188"/>
              <a:gd name="connsiteX19" fmla="*/ 1133386 w 4667161"/>
              <a:gd name="connsiteY19" fmla="*/ 1064418 h 1958188"/>
              <a:gd name="connsiteX20" fmla="*/ 1145292 w 4667161"/>
              <a:gd name="connsiteY20" fmla="*/ 1031081 h 1958188"/>
              <a:gd name="connsiteX21" fmla="*/ 1181011 w 4667161"/>
              <a:gd name="connsiteY21" fmla="*/ 1012031 h 1958188"/>
              <a:gd name="connsiteX22" fmla="*/ 1202442 w 4667161"/>
              <a:gd name="connsiteY22" fmla="*/ 988218 h 1958188"/>
              <a:gd name="connsiteX23" fmla="*/ 1283405 w 4667161"/>
              <a:gd name="connsiteY23" fmla="*/ 966787 h 1958188"/>
              <a:gd name="connsiteX24" fmla="*/ 1297692 w 4667161"/>
              <a:gd name="connsiteY24" fmla="*/ 952500 h 1958188"/>
              <a:gd name="connsiteX25" fmla="*/ 1307217 w 4667161"/>
              <a:gd name="connsiteY25" fmla="*/ 919162 h 1958188"/>
              <a:gd name="connsiteX26" fmla="*/ 1388180 w 4667161"/>
              <a:gd name="connsiteY26" fmla="*/ 878681 h 1958188"/>
              <a:gd name="connsiteX27" fmla="*/ 1407230 w 4667161"/>
              <a:gd name="connsiteY27" fmla="*/ 873918 h 1958188"/>
              <a:gd name="connsiteX28" fmla="*/ 1466761 w 4667161"/>
              <a:gd name="connsiteY28" fmla="*/ 809625 h 1958188"/>
              <a:gd name="connsiteX29" fmla="*/ 1471523 w 4667161"/>
              <a:gd name="connsiteY29" fmla="*/ 759618 h 1958188"/>
              <a:gd name="connsiteX30" fmla="*/ 1497717 w 4667161"/>
              <a:gd name="connsiteY30" fmla="*/ 733425 h 1958188"/>
              <a:gd name="connsiteX31" fmla="*/ 1523911 w 4667161"/>
              <a:gd name="connsiteY31" fmla="*/ 728662 h 1958188"/>
              <a:gd name="connsiteX32" fmla="*/ 1585823 w 4667161"/>
              <a:gd name="connsiteY32" fmla="*/ 683418 h 1958188"/>
              <a:gd name="connsiteX33" fmla="*/ 1671548 w 4667161"/>
              <a:gd name="connsiteY33" fmla="*/ 640556 h 1958188"/>
              <a:gd name="connsiteX34" fmla="*/ 1707267 w 4667161"/>
              <a:gd name="connsiteY34" fmla="*/ 600075 h 1958188"/>
              <a:gd name="connsiteX35" fmla="*/ 1735842 w 4667161"/>
              <a:gd name="connsiteY35" fmla="*/ 585787 h 1958188"/>
              <a:gd name="connsiteX36" fmla="*/ 1742986 w 4667161"/>
              <a:gd name="connsiteY36" fmla="*/ 519112 h 1958188"/>
              <a:gd name="connsiteX37" fmla="*/ 1759655 w 4667161"/>
              <a:gd name="connsiteY37" fmla="*/ 473868 h 1958188"/>
              <a:gd name="connsiteX38" fmla="*/ 1745367 w 4667161"/>
              <a:gd name="connsiteY38" fmla="*/ 433387 h 1958188"/>
              <a:gd name="connsiteX39" fmla="*/ 1750130 w 4667161"/>
              <a:gd name="connsiteY39" fmla="*/ 347662 h 1958188"/>
              <a:gd name="connsiteX40" fmla="*/ 1745367 w 4667161"/>
              <a:gd name="connsiteY40" fmla="*/ 307181 h 1958188"/>
              <a:gd name="connsiteX41" fmla="*/ 1745367 w 4667161"/>
              <a:gd name="connsiteY41" fmla="*/ 264318 h 1958188"/>
              <a:gd name="connsiteX42" fmla="*/ 1771561 w 4667161"/>
              <a:gd name="connsiteY42" fmla="*/ 254793 h 1958188"/>
              <a:gd name="connsiteX43" fmla="*/ 1792992 w 4667161"/>
              <a:gd name="connsiteY43" fmla="*/ 271462 h 1958188"/>
              <a:gd name="connsiteX44" fmla="*/ 1807280 w 4667161"/>
              <a:gd name="connsiteY44" fmla="*/ 297656 h 1958188"/>
              <a:gd name="connsiteX45" fmla="*/ 1835855 w 4667161"/>
              <a:gd name="connsiteY45" fmla="*/ 300037 h 1958188"/>
              <a:gd name="connsiteX46" fmla="*/ 1857286 w 4667161"/>
              <a:gd name="connsiteY46" fmla="*/ 278606 h 1958188"/>
              <a:gd name="connsiteX47" fmla="*/ 1943011 w 4667161"/>
              <a:gd name="connsiteY47" fmla="*/ 280987 h 1958188"/>
              <a:gd name="connsiteX48" fmla="*/ 1995398 w 4667161"/>
              <a:gd name="connsiteY48" fmla="*/ 290512 h 1958188"/>
              <a:gd name="connsiteX49" fmla="*/ 2043023 w 4667161"/>
              <a:gd name="connsiteY49" fmla="*/ 266700 h 1958188"/>
              <a:gd name="connsiteX50" fmla="*/ 2054930 w 4667161"/>
              <a:gd name="connsiteY50" fmla="*/ 233362 h 1958188"/>
              <a:gd name="connsiteX51" fmla="*/ 2095411 w 4667161"/>
              <a:gd name="connsiteY51" fmla="*/ 200025 h 1958188"/>
              <a:gd name="connsiteX52" fmla="*/ 2085886 w 4667161"/>
              <a:gd name="connsiteY52" fmla="*/ 173831 h 1958188"/>
              <a:gd name="connsiteX53" fmla="*/ 2102555 w 4667161"/>
              <a:gd name="connsiteY53" fmla="*/ 147637 h 1958188"/>
              <a:gd name="connsiteX54" fmla="*/ 2157323 w 4667161"/>
              <a:gd name="connsiteY54" fmla="*/ 169068 h 1958188"/>
              <a:gd name="connsiteX55" fmla="*/ 2204948 w 4667161"/>
              <a:gd name="connsiteY55" fmla="*/ 173831 h 1958188"/>
              <a:gd name="connsiteX56" fmla="*/ 2240667 w 4667161"/>
              <a:gd name="connsiteY56" fmla="*/ 209550 h 1958188"/>
              <a:gd name="connsiteX57" fmla="*/ 2269242 w 4667161"/>
              <a:gd name="connsiteY57" fmla="*/ 223837 h 1958188"/>
              <a:gd name="connsiteX58" fmla="*/ 2288292 w 4667161"/>
              <a:gd name="connsiteY58" fmla="*/ 280987 h 1958188"/>
              <a:gd name="connsiteX59" fmla="*/ 2357348 w 4667161"/>
              <a:gd name="connsiteY59" fmla="*/ 316706 h 1958188"/>
              <a:gd name="connsiteX60" fmla="*/ 2426405 w 4667161"/>
              <a:gd name="connsiteY60" fmla="*/ 307181 h 1958188"/>
              <a:gd name="connsiteX61" fmla="*/ 2474030 w 4667161"/>
              <a:gd name="connsiteY61" fmla="*/ 295275 h 1958188"/>
              <a:gd name="connsiteX62" fmla="*/ 2512130 w 4667161"/>
              <a:gd name="connsiteY62" fmla="*/ 307181 h 1958188"/>
              <a:gd name="connsiteX63" fmla="*/ 2562136 w 4667161"/>
              <a:gd name="connsiteY63" fmla="*/ 304800 h 1958188"/>
              <a:gd name="connsiteX64" fmla="*/ 2607380 w 4667161"/>
              <a:gd name="connsiteY64" fmla="*/ 316706 h 1958188"/>
              <a:gd name="connsiteX65" fmla="*/ 2652623 w 4667161"/>
              <a:gd name="connsiteY65" fmla="*/ 302418 h 1958188"/>
              <a:gd name="connsiteX66" fmla="*/ 2674055 w 4667161"/>
              <a:gd name="connsiteY66" fmla="*/ 276225 h 1958188"/>
              <a:gd name="connsiteX67" fmla="*/ 2752636 w 4667161"/>
              <a:gd name="connsiteY67" fmla="*/ 297656 h 1958188"/>
              <a:gd name="connsiteX68" fmla="*/ 2793117 w 4667161"/>
              <a:gd name="connsiteY68" fmla="*/ 283368 h 1958188"/>
              <a:gd name="connsiteX69" fmla="*/ 2800261 w 4667161"/>
              <a:gd name="connsiteY69" fmla="*/ 242887 h 1958188"/>
              <a:gd name="connsiteX70" fmla="*/ 2771686 w 4667161"/>
              <a:gd name="connsiteY70" fmla="*/ 195262 h 1958188"/>
              <a:gd name="connsiteX71" fmla="*/ 2755017 w 4667161"/>
              <a:gd name="connsiteY71" fmla="*/ 135731 h 1958188"/>
              <a:gd name="connsiteX72" fmla="*/ 2721680 w 4667161"/>
              <a:gd name="connsiteY72" fmla="*/ 102393 h 1958188"/>
              <a:gd name="connsiteX73" fmla="*/ 2697867 w 4667161"/>
              <a:gd name="connsiteY73" fmla="*/ 59531 h 1958188"/>
              <a:gd name="connsiteX74" fmla="*/ 2707392 w 4667161"/>
              <a:gd name="connsiteY74" fmla="*/ 38100 h 1958188"/>
              <a:gd name="connsiteX75" fmla="*/ 2743111 w 4667161"/>
              <a:gd name="connsiteY75" fmla="*/ 0 h 1958188"/>
              <a:gd name="connsiteX76" fmla="*/ 2762161 w 4667161"/>
              <a:gd name="connsiteY76" fmla="*/ 16668 h 1958188"/>
              <a:gd name="connsiteX77" fmla="*/ 2843123 w 4667161"/>
              <a:gd name="connsiteY77" fmla="*/ 30956 h 1958188"/>
              <a:gd name="connsiteX78" fmla="*/ 2926467 w 4667161"/>
              <a:gd name="connsiteY78" fmla="*/ 47625 h 1958188"/>
              <a:gd name="connsiteX79" fmla="*/ 2976473 w 4667161"/>
              <a:gd name="connsiteY79" fmla="*/ 66675 h 1958188"/>
              <a:gd name="connsiteX80" fmla="*/ 3026480 w 4667161"/>
              <a:gd name="connsiteY80" fmla="*/ 61912 h 1958188"/>
              <a:gd name="connsiteX81" fmla="*/ 3074105 w 4667161"/>
              <a:gd name="connsiteY81" fmla="*/ 92868 h 1958188"/>
              <a:gd name="connsiteX82" fmla="*/ 3116967 w 4667161"/>
              <a:gd name="connsiteY82" fmla="*/ 119062 h 1958188"/>
              <a:gd name="connsiteX83" fmla="*/ 3138398 w 4667161"/>
              <a:gd name="connsiteY83" fmla="*/ 150018 h 1958188"/>
              <a:gd name="connsiteX84" fmla="*/ 3188405 w 4667161"/>
              <a:gd name="connsiteY84" fmla="*/ 157162 h 1958188"/>
              <a:gd name="connsiteX85" fmla="*/ 3214598 w 4667161"/>
              <a:gd name="connsiteY85" fmla="*/ 202406 h 1958188"/>
              <a:gd name="connsiteX86" fmla="*/ 3240792 w 4667161"/>
              <a:gd name="connsiteY86" fmla="*/ 233362 h 1958188"/>
              <a:gd name="connsiteX87" fmla="*/ 3257461 w 4667161"/>
              <a:gd name="connsiteY87" fmla="*/ 278606 h 1958188"/>
              <a:gd name="connsiteX88" fmla="*/ 3316992 w 4667161"/>
              <a:gd name="connsiteY88" fmla="*/ 295275 h 1958188"/>
              <a:gd name="connsiteX89" fmla="*/ 3345567 w 4667161"/>
              <a:gd name="connsiteY89" fmla="*/ 326231 h 1958188"/>
              <a:gd name="connsiteX90" fmla="*/ 3366998 w 4667161"/>
              <a:gd name="connsiteY90" fmla="*/ 335756 h 1958188"/>
              <a:gd name="connsiteX91" fmla="*/ 3378905 w 4667161"/>
              <a:gd name="connsiteY91" fmla="*/ 376237 h 1958188"/>
              <a:gd name="connsiteX92" fmla="*/ 3409861 w 4667161"/>
              <a:gd name="connsiteY92" fmla="*/ 383381 h 1958188"/>
              <a:gd name="connsiteX93" fmla="*/ 3447961 w 4667161"/>
              <a:gd name="connsiteY93" fmla="*/ 447675 h 1958188"/>
              <a:gd name="connsiteX94" fmla="*/ 3443198 w 4667161"/>
              <a:gd name="connsiteY94" fmla="*/ 502443 h 1958188"/>
              <a:gd name="connsiteX95" fmla="*/ 3431292 w 4667161"/>
              <a:gd name="connsiteY95" fmla="*/ 531018 h 1958188"/>
              <a:gd name="connsiteX96" fmla="*/ 3471773 w 4667161"/>
              <a:gd name="connsiteY96" fmla="*/ 564356 h 1958188"/>
              <a:gd name="connsiteX97" fmla="*/ 3469392 w 4667161"/>
              <a:gd name="connsiteY97" fmla="*/ 647700 h 1958188"/>
              <a:gd name="connsiteX98" fmla="*/ 3450342 w 4667161"/>
              <a:gd name="connsiteY98" fmla="*/ 664368 h 1958188"/>
              <a:gd name="connsiteX99" fmla="*/ 3433673 w 4667161"/>
              <a:gd name="connsiteY99" fmla="*/ 738187 h 1958188"/>
              <a:gd name="connsiteX100" fmla="*/ 3455105 w 4667161"/>
              <a:gd name="connsiteY100" fmla="*/ 773906 h 1958188"/>
              <a:gd name="connsiteX101" fmla="*/ 3509873 w 4667161"/>
              <a:gd name="connsiteY101" fmla="*/ 797718 h 1958188"/>
              <a:gd name="connsiteX102" fmla="*/ 3547973 w 4667161"/>
              <a:gd name="connsiteY102" fmla="*/ 778668 h 1958188"/>
              <a:gd name="connsiteX103" fmla="*/ 3590836 w 4667161"/>
              <a:gd name="connsiteY103" fmla="*/ 797718 h 1958188"/>
              <a:gd name="connsiteX104" fmla="*/ 3626555 w 4667161"/>
              <a:gd name="connsiteY104" fmla="*/ 783431 h 1958188"/>
              <a:gd name="connsiteX105" fmla="*/ 3664655 w 4667161"/>
              <a:gd name="connsiteY105" fmla="*/ 826293 h 1958188"/>
              <a:gd name="connsiteX106" fmla="*/ 3743236 w 4667161"/>
              <a:gd name="connsiteY106" fmla="*/ 902493 h 1958188"/>
              <a:gd name="connsiteX107" fmla="*/ 3812292 w 4667161"/>
              <a:gd name="connsiteY107" fmla="*/ 916781 h 1958188"/>
              <a:gd name="connsiteX108" fmla="*/ 3907542 w 4667161"/>
              <a:gd name="connsiteY108" fmla="*/ 959643 h 1958188"/>
              <a:gd name="connsiteX109" fmla="*/ 3974217 w 4667161"/>
              <a:gd name="connsiteY109" fmla="*/ 992981 h 1958188"/>
              <a:gd name="connsiteX110" fmla="*/ 3990886 w 4667161"/>
              <a:gd name="connsiteY110" fmla="*/ 1035843 h 1958188"/>
              <a:gd name="connsiteX111" fmla="*/ 4000411 w 4667161"/>
              <a:gd name="connsiteY111" fmla="*/ 1081087 h 1958188"/>
              <a:gd name="connsiteX112" fmla="*/ 4048036 w 4667161"/>
              <a:gd name="connsiteY112" fmla="*/ 1109662 h 1958188"/>
              <a:gd name="connsiteX113" fmla="*/ 4083755 w 4667161"/>
              <a:gd name="connsiteY113" fmla="*/ 1107281 h 1958188"/>
              <a:gd name="connsiteX114" fmla="*/ 4150430 w 4667161"/>
              <a:gd name="connsiteY114" fmla="*/ 1145381 h 1958188"/>
              <a:gd name="connsiteX115" fmla="*/ 4209961 w 4667161"/>
              <a:gd name="connsiteY115" fmla="*/ 1197768 h 1958188"/>
              <a:gd name="connsiteX116" fmla="*/ 4293305 w 4667161"/>
              <a:gd name="connsiteY116" fmla="*/ 1240631 h 1958188"/>
              <a:gd name="connsiteX117" fmla="*/ 4359980 w 4667161"/>
              <a:gd name="connsiteY117" fmla="*/ 1302543 h 1958188"/>
              <a:gd name="connsiteX118" fmla="*/ 4436180 w 4667161"/>
              <a:gd name="connsiteY118" fmla="*/ 1359693 h 1958188"/>
              <a:gd name="connsiteX119" fmla="*/ 4476661 w 4667161"/>
              <a:gd name="connsiteY119" fmla="*/ 1357312 h 1958188"/>
              <a:gd name="connsiteX120" fmla="*/ 4533811 w 4667161"/>
              <a:gd name="connsiteY120" fmla="*/ 1383506 h 1958188"/>
              <a:gd name="connsiteX121" fmla="*/ 4643348 w 4667161"/>
              <a:gd name="connsiteY121" fmla="*/ 1345406 h 1958188"/>
              <a:gd name="connsiteX122" fmla="*/ 4667161 w 4667161"/>
              <a:gd name="connsiteY122" fmla="*/ 1302543 h 1958188"/>
              <a:gd name="connsiteX123" fmla="*/ 4662398 w 4667161"/>
              <a:gd name="connsiteY123" fmla="*/ 1235868 h 1958188"/>
              <a:gd name="connsiteX124" fmla="*/ 4660017 w 4667161"/>
              <a:gd name="connsiteY124" fmla="*/ 1116806 h 1958188"/>
              <a:gd name="connsiteX125" fmla="*/ 4633823 w 4667161"/>
              <a:gd name="connsiteY125" fmla="*/ 1078706 h 1958188"/>
              <a:gd name="connsiteX126" fmla="*/ 4571911 w 4667161"/>
              <a:gd name="connsiteY126" fmla="*/ 1057275 h 1958188"/>
              <a:gd name="connsiteX127" fmla="*/ 4555242 w 4667161"/>
              <a:gd name="connsiteY127" fmla="*/ 1014412 h 1958188"/>
              <a:gd name="connsiteX128" fmla="*/ 4529048 w 4667161"/>
              <a:gd name="connsiteY128" fmla="*/ 931068 h 1958188"/>
              <a:gd name="connsiteX129" fmla="*/ 4500473 w 4667161"/>
              <a:gd name="connsiteY129" fmla="*/ 890587 h 1958188"/>
              <a:gd name="connsiteX130" fmla="*/ 4526667 w 4667161"/>
              <a:gd name="connsiteY130" fmla="*/ 862012 h 1958188"/>
              <a:gd name="connsiteX131" fmla="*/ 4595723 w 4667161"/>
              <a:gd name="connsiteY131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215306 w 4667161"/>
              <a:gd name="connsiteY5" fmla="*/ 1583314 h 1958188"/>
              <a:gd name="connsiteX6" fmla="*/ 673805 w 4667161"/>
              <a:gd name="connsiteY6" fmla="*/ 1304925 h 1958188"/>
              <a:gd name="connsiteX7" fmla="*/ 714286 w 4667161"/>
              <a:gd name="connsiteY7" fmla="*/ 1259681 h 1958188"/>
              <a:gd name="connsiteX8" fmla="*/ 745242 w 4667161"/>
              <a:gd name="connsiteY8" fmla="*/ 1247775 h 1958188"/>
              <a:gd name="connsiteX9" fmla="*/ 795248 w 4667161"/>
              <a:gd name="connsiteY9" fmla="*/ 1257300 h 1958188"/>
              <a:gd name="connsiteX10" fmla="*/ 842873 w 4667161"/>
              <a:gd name="connsiteY10" fmla="*/ 1207293 h 1958188"/>
              <a:gd name="connsiteX11" fmla="*/ 890498 w 4667161"/>
              <a:gd name="connsiteY11" fmla="*/ 1214437 h 1958188"/>
              <a:gd name="connsiteX12" fmla="*/ 911930 w 4667161"/>
              <a:gd name="connsiteY12" fmla="*/ 1214437 h 1958188"/>
              <a:gd name="connsiteX13" fmla="*/ 947648 w 4667161"/>
              <a:gd name="connsiteY13" fmla="*/ 1195387 h 1958188"/>
              <a:gd name="connsiteX14" fmla="*/ 971461 w 4667161"/>
              <a:gd name="connsiteY14" fmla="*/ 1157287 h 1958188"/>
              <a:gd name="connsiteX15" fmla="*/ 1016705 w 4667161"/>
              <a:gd name="connsiteY15" fmla="*/ 1157287 h 1958188"/>
              <a:gd name="connsiteX16" fmla="*/ 1042898 w 4667161"/>
              <a:gd name="connsiteY16" fmla="*/ 1119187 h 1958188"/>
              <a:gd name="connsiteX17" fmla="*/ 1069092 w 4667161"/>
              <a:gd name="connsiteY17" fmla="*/ 1100137 h 1958188"/>
              <a:gd name="connsiteX18" fmla="*/ 1088142 w 4667161"/>
              <a:gd name="connsiteY18" fmla="*/ 1071562 h 1958188"/>
              <a:gd name="connsiteX19" fmla="*/ 1133386 w 4667161"/>
              <a:gd name="connsiteY19" fmla="*/ 1064418 h 1958188"/>
              <a:gd name="connsiteX20" fmla="*/ 1145292 w 4667161"/>
              <a:gd name="connsiteY20" fmla="*/ 1031081 h 1958188"/>
              <a:gd name="connsiteX21" fmla="*/ 1181011 w 4667161"/>
              <a:gd name="connsiteY21" fmla="*/ 1012031 h 1958188"/>
              <a:gd name="connsiteX22" fmla="*/ 1202442 w 4667161"/>
              <a:gd name="connsiteY22" fmla="*/ 988218 h 1958188"/>
              <a:gd name="connsiteX23" fmla="*/ 1283405 w 4667161"/>
              <a:gd name="connsiteY23" fmla="*/ 966787 h 1958188"/>
              <a:gd name="connsiteX24" fmla="*/ 1297692 w 4667161"/>
              <a:gd name="connsiteY24" fmla="*/ 952500 h 1958188"/>
              <a:gd name="connsiteX25" fmla="*/ 1307217 w 4667161"/>
              <a:gd name="connsiteY25" fmla="*/ 919162 h 1958188"/>
              <a:gd name="connsiteX26" fmla="*/ 1388180 w 4667161"/>
              <a:gd name="connsiteY26" fmla="*/ 878681 h 1958188"/>
              <a:gd name="connsiteX27" fmla="*/ 1407230 w 4667161"/>
              <a:gd name="connsiteY27" fmla="*/ 873918 h 1958188"/>
              <a:gd name="connsiteX28" fmla="*/ 1466761 w 4667161"/>
              <a:gd name="connsiteY28" fmla="*/ 809625 h 1958188"/>
              <a:gd name="connsiteX29" fmla="*/ 1471523 w 4667161"/>
              <a:gd name="connsiteY29" fmla="*/ 759618 h 1958188"/>
              <a:gd name="connsiteX30" fmla="*/ 1497717 w 4667161"/>
              <a:gd name="connsiteY30" fmla="*/ 733425 h 1958188"/>
              <a:gd name="connsiteX31" fmla="*/ 1523911 w 4667161"/>
              <a:gd name="connsiteY31" fmla="*/ 728662 h 1958188"/>
              <a:gd name="connsiteX32" fmla="*/ 1585823 w 4667161"/>
              <a:gd name="connsiteY32" fmla="*/ 683418 h 1958188"/>
              <a:gd name="connsiteX33" fmla="*/ 1671548 w 4667161"/>
              <a:gd name="connsiteY33" fmla="*/ 640556 h 1958188"/>
              <a:gd name="connsiteX34" fmla="*/ 1707267 w 4667161"/>
              <a:gd name="connsiteY34" fmla="*/ 600075 h 1958188"/>
              <a:gd name="connsiteX35" fmla="*/ 1735842 w 4667161"/>
              <a:gd name="connsiteY35" fmla="*/ 585787 h 1958188"/>
              <a:gd name="connsiteX36" fmla="*/ 1742986 w 4667161"/>
              <a:gd name="connsiteY36" fmla="*/ 519112 h 1958188"/>
              <a:gd name="connsiteX37" fmla="*/ 1759655 w 4667161"/>
              <a:gd name="connsiteY37" fmla="*/ 473868 h 1958188"/>
              <a:gd name="connsiteX38" fmla="*/ 1745367 w 4667161"/>
              <a:gd name="connsiteY38" fmla="*/ 433387 h 1958188"/>
              <a:gd name="connsiteX39" fmla="*/ 1750130 w 4667161"/>
              <a:gd name="connsiteY39" fmla="*/ 347662 h 1958188"/>
              <a:gd name="connsiteX40" fmla="*/ 1745367 w 4667161"/>
              <a:gd name="connsiteY40" fmla="*/ 307181 h 1958188"/>
              <a:gd name="connsiteX41" fmla="*/ 1745367 w 4667161"/>
              <a:gd name="connsiteY41" fmla="*/ 264318 h 1958188"/>
              <a:gd name="connsiteX42" fmla="*/ 1771561 w 4667161"/>
              <a:gd name="connsiteY42" fmla="*/ 254793 h 1958188"/>
              <a:gd name="connsiteX43" fmla="*/ 1792992 w 4667161"/>
              <a:gd name="connsiteY43" fmla="*/ 271462 h 1958188"/>
              <a:gd name="connsiteX44" fmla="*/ 1807280 w 4667161"/>
              <a:gd name="connsiteY44" fmla="*/ 297656 h 1958188"/>
              <a:gd name="connsiteX45" fmla="*/ 1835855 w 4667161"/>
              <a:gd name="connsiteY45" fmla="*/ 300037 h 1958188"/>
              <a:gd name="connsiteX46" fmla="*/ 1857286 w 4667161"/>
              <a:gd name="connsiteY46" fmla="*/ 278606 h 1958188"/>
              <a:gd name="connsiteX47" fmla="*/ 1943011 w 4667161"/>
              <a:gd name="connsiteY47" fmla="*/ 280987 h 1958188"/>
              <a:gd name="connsiteX48" fmla="*/ 1995398 w 4667161"/>
              <a:gd name="connsiteY48" fmla="*/ 290512 h 1958188"/>
              <a:gd name="connsiteX49" fmla="*/ 2043023 w 4667161"/>
              <a:gd name="connsiteY49" fmla="*/ 266700 h 1958188"/>
              <a:gd name="connsiteX50" fmla="*/ 2054930 w 4667161"/>
              <a:gd name="connsiteY50" fmla="*/ 233362 h 1958188"/>
              <a:gd name="connsiteX51" fmla="*/ 2095411 w 4667161"/>
              <a:gd name="connsiteY51" fmla="*/ 200025 h 1958188"/>
              <a:gd name="connsiteX52" fmla="*/ 2085886 w 4667161"/>
              <a:gd name="connsiteY52" fmla="*/ 173831 h 1958188"/>
              <a:gd name="connsiteX53" fmla="*/ 2102555 w 4667161"/>
              <a:gd name="connsiteY53" fmla="*/ 147637 h 1958188"/>
              <a:gd name="connsiteX54" fmla="*/ 2157323 w 4667161"/>
              <a:gd name="connsiteY54" fmla="*/ 169068 h 1958188"/>
              <a:gd name="connsiteX55" fmla="*/ 2204948 w 4667161"/>
              <a:gd name="connsiteY55" fmla="*/ 173831 h 1958188"/>
              <a:gd name="connsiteX56" fmla="*/ 2240667 w 4667161"/>
              <a:gd name="connsiteY56" fmla="*/ 209550 h 1958188"/>
              <a:gd name="connsiteX57" fmla="*/ 2269242 w 4667161"/>
              <a:gd name="connsiteY57" fmla="*/ 223837 h 1958188"/>
              <a:gd name="connsiteX58" fmla="*/ 2288292 w 4667161"/>
              <a:gd name="connsiteY58" fmla="*/ 280987 h 1958188"/>
              <a:gd name="connsiteX59" fmla="*/ 2357348 w 4667161"/>
              <a:gd name="connsiteY59" fmla="*/ 316706 h 1958188"/>
              <a:gd name="connsiteX60" fmla="*/ 2426405 w 4667161"/>
              <a:gd name="connsiteY60" fmla="*/ 307181 h 1958188"/>
              <a:gd name="connsiteX61" fmla="*/ 2474030 w 4667161"/>
              <a:gd name="connsiteY61" fmla="*/ 295275 h 1958188"/>
              <a:gd name="connsiteX62" fmla="*/ 2512130 w 4667161"/>
              <a:gd name="connsiteY62" fmla="*/ 307181 h 1958188"/>
              <a:gd name="connsiteX63" fmla="*/ 2562136 w 4667161"/>
              <a:gd name="connsiteY63" fmla="*/ 304800 h 1958188"/>
              <a:gd name="connsiteX64" fmla="*/ 2607380 w 4667161"/>
              <a:gd name="connsiteY64" fmla="*/ 316706 h 1958188"/>
              <a:gd name="connsiteX65" fmla="*/ 2652623 w 4667161"/>
              <a:gd name="connsiteY65" fmla="*/ 302418 h 1958188"/>
              <a:gd name="connsiteX66" fmla="*/ 2674055 w 4667161"/>
              <a:gd name="connsiteY66" fmla="*/ 276225 h 1958188"/>
              <a:gd name="connsiteX67" fmla="*/ 2752636 w 4667161"/>
              <a:gd name="connsiteY67" fmla="*/ 297656 h 1958188"/>
              <a:gd name="connsiteX68" fmla="*/ 2793117 w 4667161"/>
              <a:gd name="connsiteY68" fmla="*/ 283368 h 1958188"/>
              <a:gd name="connsiteX69" fmla="*/ 2800261 w 4667161"/>
              <a:gd name="connsiteY69" fmla="*/ 242887 h 1958188"/>
              <a:gd name="connsiteX70" fmla="*/ 2771686 w 4667161"/>
              <a:gd name="connsiteY70" fmla="*/ 195262 h 1958188"/>
              <a:gd name="connsiteX71" fmla="*/ 2755017 w 4667161"/>
              <a:gd name="connsiteY71" fmla="*/ 135731 h 1958188"/>
              <a:gd name="connsiteX72" fmla="*/ 2721680 w 4667161"/>
              <a:gd name="connsiteY72" fmla="*/ 102393 h 1958188"/>
              <a:gd name="connsiteX73" fmla="*/ 2697867 w 4667161"/>
              <a:gd name="connsiteY73" fmla="*/ 59531 h 1958188"/>
              <a:gd name="connsiteX74" fmla="*/ 2707392 w 4667161"/>
              <a:gd name="connsiteY74" fmla="*/ 38100 h 1958188"/>
              <a:gd name="connsiteX75" fmla="*/ 2743111 w 4667161"/>
              <a:gd name="connsiteY75" fmla="*/ 0 h 1958188"/>
              <a:gd name="connsiteX76" fmla="*/ 2762161 w 4667161"/>
              <a:gd name="connsiteY76" fmla="*/ 16668 h 1958188"/>
              <a:gd name="connsiteX77" fmla="*/ 2843123 w 4667161"/>
              <a:gd name="connsiteY77" fmla="*/ 30956 h 1958188"/>
              <a:gd name="connsiteX78" fmla="*/ 2926467 w 4667161"/>
              <a:gd name="connsiteY78" fmla="*/ 47625 h 1958188"/>
              <a:gd name="connsiteX79" fmla="*/ 2976473 w 4667161"/>
              <a:gd name="connsiteY79" fmla="*/ 66675 h 1958188"/>
              <a:gd name="connsiteX80" fmla="*/ 3026480 w 4667161"/>
              <a:gd name="connsiteY80" fmla="*/ 61912 h 1958188"/>
              <a:gd name="connsiteX81" fmla="*/ 3074105 w 4667161"/>
              <a:gd name="connsiteY81" fmla="*/ 92868 h 1958188"/>
              <a:gd name="connsiteX82" fmla="*/ 3116967 w 4667161"/>
              <a:gd name="connsiteY82" fmla="*/ 119062 h 1958188"/>
              <a:gd name="connsiteX83" fmla="*/ 3138398 w 4667161"/>
              <a:gd name="connsiteY83" fmla="*/ 150018 h 1958188"/>
              <a:gd name="connsiteX84" fmla="*/ 3188405 w 4667161"/>
              <a:gd name="connsiteY84" fmla="*/ 157162 h 1958188"/>
              <a:gd name="connsiteX85" fmla="*/ 3214598 w 4667161"/>
              <a:gd name="connsiteY85" fmla="*/ 202406 h 1958188"/>
              <a:gd name="connsiteX86" fmla="*/ 3240792 w 4667161"/>
              <a:gd name="connsiteY86" fmla="*/ 233362 h 1958188"/>
              <a:gd name="connsiteX87" fmla="*/ 3257461 w 4667161"/>
              <a:gd name="connsiteY87" fmla="*/ 278606 h 1958188"/>
              <a:gd name="connsiteX88" fmla="*/ 3316992 w 4667161"/>
              <a:gd name="connsiteY88" fmla="*/ 295275 h 1958188"/>
              <a:gd name="connsiteX89" fmla="*/ 3345567 w 4667161"/>
              <a:gd name="connsiteY89" fmla="*/ 326231 h 1958188"/>
              <a:gd name="connsiteX90" fmla="*/ 3366998 w 4667161"/>
              <a:gd name="connsiteY90" fmla="*/ 335756 h 1958188"/>
              <a:gd name="connsiteX91" fmla="*/ 3378905 w 4667161"/>
              <a:gd name="connsiteY91" fmla="*/ 376237 h 1958188"/>
              <a:gd name="connsiteX92" fmla="*/ 3409861 w 4667161"/>
              <a:gd name="connsiteY92" fmla="*/ 383381 h 1958188"/>
              <a:gd name="connsiteX93" fmla="*/ 3447961 w 4667161"/>
              <a:gd name="connsiteY93" fmla="*/ 447675 h 1958188"/>
              <a:gd name="connsiteX94" fmla="*/ 3443198 w 4667161"/>
              <a:gd name="connsiteY94" fmla="*/ 502443 h 1958188"/>
              <a:gd name="connsiteX95" fmla="*/ 3431292 w 4667161"/>
              <a:gd name="connsiteY95" fmla="*/ 531018 h 1958188"/>
              <a:gd name="connsiteX96" fmla="*/ 3471773 w 4667161"/>
              <a:gd name="connsiteY96" fmla="*/ 564356 h 1958188"/>
              <a:gd name="connsiteX97" fmla="*/ 3469392 w 4667161"/>
              <a:gd name="connsiteY97" fmla="*/ 647700 h 1958188"/>
              <a:gd name="connsiteX98" fmla="*/ 3450342 w 4667161"/>
              <a:gd name="connsiteY98" fmla="*/ 664368 h 1958188"/>
              <a:gd name="connsiteX99" fmla="*/ 3433673 w 4667161"/>
              <a:gd name="connsiteY99" fmla="*/ 738187 h 1958188"/>
              <a:gd name="connsiteX100" fmla="*/ 3455105 w 4667161"/>
              <a:gd name="connsiteY100" fmla="*/ 773906 h 1958188"/>
              <a:gd name="connsiteX101" fmla="*/ 3509873 w 4667161"/>
              <a:gd name="connsiteY101" fmla="*/ 797718 h 1958188"/>
              <a:gd name="connsiteX102" fmla="*/ 3547973 w 4667161"/>
              <a:gd name="connsiteY102" fmla="*/ 778668 h 1958188"/>
              <a:gd name="connsiteX103" fmla="*/ 3590836 w 4667161"/>
              <a:gd name="connsiteY103" fmla="*/ 797718 h 1958188"/>
              <a:gd name="connsiteX104" fmla="*/ 3626555 w 4667161"/>
              <a:gd name="connsiteY104" fmla="*/ 783431 h 1958188"/>
              <a:gd name="connsiteX105" fmla="*/ 3664655 w 4667161"/>
              <a:gd name="connsiteY105" fmla="*/ 826293 h 1958188"/>
              <a:gd name="connsiteX106" fmla="*/ 3743236 w 4667161"/>
              <a:gd name="connsiteY106" fmla="*/ 902493 h 1958188"/>
              <a:gd name="connsiteX107" fmla="*/ 3812292 w 4667161"/>
              <a:gd name="connsiteY107" fmla="*/ 916781 h 1958188"/>
              <a:gd name="connsiteX108" fmla="*/ 3907542 w 4667161"/>
              <a:gd name="connsiteY108" fmla="*/ 959643 h 1958188"/>
              <a:gd name="connsiteX109" fmla="*/ 3974217 w 4667161"/>
              <a:gd name="connsiteY109" fmla="*/ 992981 h 1958188"/>
              <a:gd name="connsiteX110" fmla="*/ 3990886 w 4667161"/>
              <a:gd name="connsiteY110" fmla="*/ 1035843 h 1958188"/>
              <a:gd name="connsiteX111" fmla="*/ 4000411 w 4667161"/>
              <a:gd name="connsiteY111" fmla="*/ 1081087 h 1958188"/>
              <a:gd name="connsiteX112" fmla="*/ 4048036 w 4667161"/>
              <a:gd name="connsiteY112" fmla="*/ 1109662 h 1958188"/>
              <a:gd name="connsiteX113" fmla="*/ 4083755 w 4667161"/>
              <a:gd name="connsiteY113" fmla="*/ 1107281 h 1958188"/>
              <a:gd name="connsiteX114" fmla="*/ 4150430 w 4667161"/>
              <a:gd name="connsiteY114" fmla="*/ 1145381 h 1958188"/>
              <a:gd name="connsiteX115" fmla="*/ 4209961 w 4667161"/>
              <a:gd name="connsiteY115" fmla="*/ 1197768 h 1958188"/>
              <a:gd name="connsiteX116" fmla="*/ 4293305 w 4667161"/>
              <a:gd name="connsiteY116" fmla="*/ 1240631 h 1958188"/>
              <a:gd name="connsiteX117" fmla="*/ 4359980 w 4667161"/>
              <a:gd name="connsiteY117" fmla="*/ 1302543 h 1958188"/>
              <a:gd name="connsiteX118" fmla="*/ 4436180 w 4667161"/>
              <a:gd name="connsiteY118" fmla="*/ 1359693 h 1958188"/>
              <a:gd name="connsiteX119" fmla="*/ 4476661 w 4667161"/>
              <a:gd name="connsiteY119" fmla="*/ 1357312 h 1958188"/>
              <a:gd name="connsiteX120" fmla="*/ 4533811 w 4667161"/>
              <a:gd name="connsiteY120" fmla="*/ 1383506 h 1958188"/>
              <a:gd name="connsiteX121" fmla="*/ 4643348 w 4667161"/>
              <a:gd name="connsiteY121" fmla="*/ 1345406 h 1958188"/>
              <a:gd name="connsiteX122" fmla="*/ 4667161 w 4667161"/>
              <a:gd name="connsiteY122" fmla="*/ 1302543 h 1958188"/>
              <a:gd name="connsiteX123" fmla="*/ 4662398 w 4667161"/>
              <a:gd name="connsiteY123" fmla="*/ 1235868 h 1958188"/>
              <a:gd name="connsiteX124" fmla="*/ 4660017 w 4667161"/>
              <a:gd name="connsiteY124" fmla="*/ 1116806 h 1958188"/>
              <a:gd name="connsiteX125" fmla="*/ 4633823 w 4667161"/>
              <a:gd name="connsiteY125" fmla="*/ 1078706 h 1958188"/>
              <a:gd name="connsiteX126" fmla="*/ 4571911 w 4667161"/>
              <a:gd name="connsiteY126" fmla="*/ 1057275 h 1958188"/>
              <a:gd name="connsiteX127" fmla="*/ 4555242 w 4667161"/>
              <a:gd name="connsiteY127" fmla="*/ 1014412 h 1958188"/>
              <a:gd name="connsiteX128" fmla="*/ 4529048 w 4667161"/>
              <a:gd name="connsiteY128" fmla="*/ 931068 h 1958188"/>
              <a:gd name="connsiteX129" fmla="*/ 4500473 w 4667161"/>
              <a:gd name="connsiteY129" fmla="*/ 890587 h 1958188"/>
              <a:gd name="connsiteX130" fmla="*/ 4526667 w 4667161"/>
              <a:gd name="connsiteY130" fmla="*/ 862012 h 1958188"/>
              <a:gd name="connsiteX131" fmla="*/ 4595723 w 4667161"/>
              <a:gd name="connsiteY131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215306 w 4667161"/>
              <a:gd name="connsiteY5" fmla="*/ 1583314 h 1958188"/>
              <a:gd name="connsiteX6" fmla="*/ 239755 w 4667161"/>
              <a:gd name="connsiteY6" fmla="*/ 1563755 h 1958188"/>
              <a:gd name="connsiteX7" fmla="*/ 673805 w 4667161"/>
              <a:gd name="connsiteY7" fmla="*/ 1304925 h 1958188"/>
              <a:gd name="connsiteX8" fmla="*/ 714286 w 4667161"/>
              <a:gd name="connsiteY8" fmla="*/ 1259681 h 1958188"/>
              <a:gd name="connsiteX9" fmla="*/ 745242 w 4667161"/>
              <a:gd name="connsiteY9" fmla="*/ 1247775 h 1958188"/>
              <a:gd name="connsiteX10" fmla="*/ 795248 w 4667161"/>
              <a:gd name="connsiteY10" fmla="*/ 1257300 h 1958188"/>
              <a:gd name="connsiteX11" fmla="*/ 842873 w 4667161"/>
              <a:gd name="connsiteY11" fmla="*/ 1207293 h 1958188"/>
              <a:gd name="connsiteX12" fmla="*/ 890498 w 4667161"/>
              <a:gd name="connsiteY12" fmla="*/ 1214437 h 1958188"/>
              <a:gd name="connsiteX13" fmla="*/ 911930 w 4667161"/>
              <a:gd name="connsiteY13" fmla="*/ 1214437 h 1958188"/>
              <a:gd name="connsiteX14" fmla="*/ 947648 w 4667161"/>
              <a:gd name="connsiteY14" fmla="*/ 1195387 h 1958188"/>
              <a:gd name="connsiteX15" fmla="*/ 971461 w 4667161"/>
              <a:gd name="connsiteY15" fmla="*/ 1157287 h 1958188"/>
              <a:gd name="connsiteX16" fmla="*/ 1016705 w 4667161"/>
              <a:gd name="connsiteY16" fmla="*/ 1157287 h 1958188"/>
              <a:gd name="connsiteX17" fmla="*/ 1042898 w 4667161"/>
              <a:gd name="connsiteY17" fmla="*/ 1119187 h 1958188"/>
              <a:gd name="connsiteX18" fmla="*/ 1069092 w 4667161"/>
              <a:gd name="connsiteY18" fmla="*/ 1100137 h 1958188"/>
              <a:gd name="connsiteX19" fmla="*/ 1088142 w 4667161"/>
              <a:gd name="connsiteY19" fmla="*/ 1071562 h 1958188"/>
              <a:gd name="connsiteX20" fmla="*/ 1133386 w 4667161"/>
              <a:gd name="connsiteY20" fmla="*/ 1064418 h 1958188"/>
              <a:gd name="connsiteX21" fmla="*/ 1145292 w 4667161"/>
              <a:gd name="connsiteY21" fmla="*/ 1031081 h 1958188"/>
              <a:gd name="connsiteX22" fmla="*/ 1181011 w 4667161"/>
              <a:gd name="connsiteY22" fmla="*/ 1012031 h 1958188"/>
              <a:gd name="connsiteX23" fmla="*/ 1202442 w 4667161"/>
              <a:gd name="connsiteY23" fmla="*/ 988218 h 1958188"/>
              <a:gd name="connsiteX24" fmla="*/ 1283405 w 4667161"/>
              <a:gd name="connsiteY24" fmla="*/ 966787 h 1958188"/>
              <a:gd name="connsiteX25" fmla="*/ 1297692 w 4667161"/>
              <a:gd name="connsiteY25" fmla="*/ 952500 h 1958188"/>
              <a:gd name="connsiteX26" fmla="*/ 1307217 w 4667161"/>
              <a:gd name="connsiteY26" fmla="*/ 919162 h 1958188"/>
              <a:gd name="connsiteX27" fmla="*/ 1388180 w 4667161"/>
              <a:gd name="connsiteY27" fmla="*/ 878681 h 1958188"/>
              <a:gd name="connsiteX28" fmla="*/ 1407230 w 4667161"/>
              <a:gd name="connsiteY28" fmla="*/ 873918 h 1958188"/>
              <a:gd name="connsiteX29" fmla="*/ 1466761 w 4667161"/>
              <a:gd name="connsiteY29" fmla="*/ 809625 h 1958188"/>
              <a:gd name="connsiteX30" fmla="*/ 1471523 w 4667161"/>
              <a:gd name="connsiteY30" fmla="*/ 759618 h 1958188"/>
              <a:gd name="connsiteX31" fmla="*/ 1497717 w 4667161"/>
              <a:gd name="connsiteY31" fmla="*/ 733425 h 1958188"/>
              <a:gd name="connsiteX32" fmla="*/ 1523911 w 4667161"/>
              <a:gd name="connsiteY32" fmla="*/ 728662 h 1958188"/>
              <a:gd name="connsiteX33" fmla="*/ 1585823 w 4667161"/>
              <a:gd name="connsiteY33" fmla="*/ 683418 h 1958188"/>
              <a:gd name="connsiteX34" fmla="*/ 1671548 w 4667161"/>
              <a:gd name="connsiteY34" fmla="*/ 640556 h 1958188"/>
              <a:gd name="connsiteX35" fmla="*/ 1707267 w 4667161"/>
              <a:gd name="connsiteY35" fmla="*/ 600075 h 1958188"/>
              <a:gd name="connsiteX36" fmla="*/ 1735842 w 4667161"/>
              <a:gd name="connsiteY36" fmla="*/ 585787 h 1958188"/>
              <a:gd name="connsiteX37" fmla="*/ 1742986 w 4667161"/>
              <a:gd name="connsiteY37" fmla="*/ 519112 h 1958188"/>
              <a:gd name="connsiteX38" fmla="*/ 1759655 w 4667161"/>
              <a:gd name="connsiteY38" fmla="*/ 473868 h 1958188"/>
              <a:gd name="connsiteX39" fmla="*/ 1745367 w 4667161"/>
              <a:gd name="connsiteY39" fmla="*/ 433387 h 1958188"/>
              <a:gd name="connsiteX40" fmla="*/ 1750130 w 4667161"/>
              <a:gd name="connsiteY40" fmla="*/ 347662 h 1958188"/>
              <a:gd name="connsiteX41" fmla="*/ 1745367 w 4667161"/>
              <a:gd name="connsiteY41" fmla="*/ 307181 h 1958188"/>
              <a:gd name="connsiteX42" fmla="*/ 1745367 w 4667161"/>
              <a:gd name="connsiteY42" fmla="*/ 264318 h 1958188"/>
              <a:gd name="connsiteX43" fmla="*/ 1771561 w 4667161"/>
              <a:gd name="connsiteY43" fmla="*/ 254793 h 1958188"/>
              <a:gd name="connsiteX44" fmla="*/ 1792992 w 4667161"/>
              <a:gd name="connsiteY44" fmla="*/ 271462 h 1958188"/>
              <a:gd name="connsiteX45" fmla="*/ 1807280 w 4667161"/>
              <a:gd name="connsiteY45" fmla="*/ 297656 h 1958188"/>
              <a:gd name="connsiteX46" fmla="*/ 1835855 w 4667161"/>
              <a:gd name="connsiteY46" fmla="*/ 300037 h 1958188"/>
              <a:gd name="connsiteX47" fmla="*/ 1857286 w 4667161"/>
              <a:gd name="connsiteY47" fmla="*/ 278606 h 1958188"/>
              <a:gd name="connsiteX48" fmla="*/ 1943011 w 4667161"/>
              <a:gd name="connsiteY48" fmla="*/ 280987 h 1958188"/>
              <a:gd name="connsiteX49" fmla="*/ 1995398 w 4667161"/>
              <a:gd name="connsiteY49" fmla="*/ 290512 h 1958188"/>
              <a:gd name="connsiteX50" fmla="*/ 2043023 w 4667161"/>
              <a:gd name="connsiteY50" fmla="*/ 266700 h 1958188"/>
              <a:gd name="connsiteX51" fmla="*/ 2054930 w 4667161"/>
              <a:gd name="connsiteY51" fmla="*/ 233362 h 1958188"/>
              <a:gd name="connsiteX52" fmla="*/ 2095411 w 4667161"/>
              <a:gd name="connsiteY52" fmla="*/ 200025 h 1958188"/>
              <a:gd name="connsiteX53" fmla="*/ 2085886 w 4667161"/>
              <a:gd name="connsiteY53" fmla="*/ 173831 h 1958188"/>
              <a:gd name="connsiteX54" fmla="*/ 2102555 w 4667161"/>
              <a:gd name="connsiteY54" fmla="*/ 147637 h 1958188"/>
              <a:gd name="connsiteX55" fmla="*/ 2157323 w 4667161"/>
              <a:gd name="connsiteY55" fmla="*/ 169068 h 1958188"/>
              <a:gd name="connsiteX56" fmla="*/ 2204948 w 4667161"/>
              <a:gd name="connsiteY56" fmla="*/ 173831 h 1958188"/>
              <a:gd name="connsiteX57" fmla="*/ 2240667 w 4667161"/>
              <a:gd name="connsiteY57" fmla="*/ 209550 h 1958188"/>
              <a:gd name="connsiteX58" fmla="*/ 2269242 w 4667161"/>
              <a:gd name="connsiteY58" fmla="*/ 223837 h 1958188"/>
              <a:gd name="connsiteX59" fmla="*/ 2288292 w 4667161"/>
              <a:gd name="connsiteY59" fmla="*/ 280987 h 1958188"/>
              <a:gd name="connsiteX60" fmla="*/ 2357348 w 4667161"/>
              <a:gd name="connsiteY60" fmla="*/ 316706 h 1958188"/>
              <a:gd name="connsiteX61" fmla="*/ 2426405 w 4667161"/>
              <a:gd name="connsiteY61" fmla="*/ 307181 h 1958188"/>
              <a:gd name="connsiteX62" fmla="*/ 2474030 w 4667161"/>
              <a:gd name="connsiteY62" fmla="*/ 295275 h 1958188"/>
              <a:gd name="connsiteX63" fmla="*/ 2512130 w 4667161"/>
              <a:gd name="connsiteY63" fmla="*/ 307181 h 1958188"/>
              <a:gd name="connsiteX64" fmla="*/ 2562136 w 4667161"/>
              <a:gd name="connsiteY64" fmla="*/ 304800 h 1958188"/>
              <a:gd name="connsiteX65" fmla="*/ 2607380 w 4667161"/>
              <a:gd name="connsiteY65" fmla="*/ 316706 h 1958188"/>
              <a:gd name="connsiteX66" fmla="*/ 2652623 w 4667161"/>
              <a:gd name="connsiteY66" fmla="*/ 302418 h 1958188"/>
              <a:gd name="connsiteX67" fmla="*/ 2674055 w 4667161"/>
              <a:gd name="connsiteY67" fmla="*/ 276225 h 1958188"/>
              <a:gd name="connsiteX68" fmla="*/ 2752636 w 4667161"/>
              <a:gd name="connsiteY68" fmla="*/ 297656 h 1958188"/>
              <a:gd name="connsiteX69" fmla="*/ 2793117 w 4667161"/>
              <a:gd name="connsiteY69" fmla="*/ 283368 h 1958188"/>
              <a:gd name="connsiteX70" fmla="*/ 2800261 w 4667161"/>
              <a:gd name="connsiteY70" fmla="*/ 242887 h 1958188"/>
              <a:gd name="connsiteX71" fmla="*/ 2771686 w 4667161"/>
              <a:gd name="connsiteY71" fmla="*/ 195262 h 1958188"/>
              <a:gd name="connsiteX72" fmla="*/ 2755017 w 4667161"/>
              <a:gd name="connsiteY72" fmla="*/ 135731 h 1958188"/>
              <a:gd name="connsiteX73" fmla="*/ 2721680 w 4667161"/>
              <a:gd name="connsiteY73" fmla="*/ 102393 h 1958188"/>
              <a:gd name="connsiteX74" fmla="*/ 2697867 w 4667161"/>
              <a:gd name="connsiteY74" fmla="*/ 59531 h 1958188"/>
              <a:gd name="connsiteX75" fmla="*/ 2707392 w 4667161"/>
              <a:gd name="connsiteY75" fmla="*/ 38100 h 1958188"/>
              <a:gd name="connsiteX76" fmla="*/ 2743111 w 4667161"/>
              <a:gd name="connsiteY76" fmla="*/ 0 h 1958188"/>
              <a:gd name="connsiteX77" fmla="*/ 2762161 w 4667161"/>
              <a:gd name="connsiteY77" fmla="*/ 16668 h 1958188"/>
              <a:gd name="connsiteX78" fmla="*/ 2843123 w 4667161"/>
              <a:gd name="connsiteY78" fmla="*/ 30956 h 1958188"/>
              <a:gd name="connsiteX79" fmla="*/ 2926467 w 4667161"/>
              <a:gd name="connsiteY79" fmla="*/ 47625 h 1958188"/>
              <a:gd name="connsiteX80" fmla="*/ 2976473 w 4667161"/>
              <a:gd name="connsiteY80" fmla="*/ 66675 h 1958188"/>
              <a:gd name="connsiteX81" fmla="*/ 3026480 w 4667161"/>
              <a:gd name="connsiteY81" fmla="*/ 61912 h 1958188"/>
              <a:gd name="connsiteX82" fmla="*/ 3074105 w 4667161"/>
              <a:gd name="connsiteY82" fmla="*/ 92868 h 1958188"/>
              <a:gd name="connsiteX83" fmla="*/ 3116967 w 4667161"/>
              <a:gd name="connsiteY83" fmla="*/ 119062 h 1958188"/>
              <a:gd name="connsiteX84" fmla="*/ 3138398 w 4667161"/>
              <a:gd name="connsiteY84" fmla="*/ 150018 h 1958188"/>
              <a:gd name="connsiteX85" fmla="*/ 3188405 w 4667161"/>
              <a:gd name="connsiteY85" fmla="*/ 157162 h 1958188"/>
              <a:gd name="connsiteX86" fmla="*/ 3214598 w 4667161"/>
              <a:gd name="connsiteY86" fmla="*/ 202406 h 1958188"/>
              <a:gd name="connsiteX87" fmla="*/ 3240792 w 4667161"/>
              <a:gd name="connsiteY87" fmla="*/ 233362 h 1958188"/>
              <a:gd name="connsiteX88" fmla="*/ 3257461 w 4667161"/>
              <a:gd name="connsiteY88" fmla="*/ 278606 h 1958188"/>
              <a:gd name="connsiteX89" fmla="*/ 3316992 w 4667161"/>
              <a:gd name="connsiteY89" fmla="*/ 295275 h 1958188"/>
              <a:gd name="connsiteX90" fmla="*/ 3345567 w 4667161"/>
              <a:gd name="connsiteY90" fmla="*/ 326231 h 1958188"/>
              <a:gd name="connsiteX91" fmla="*/ 3366998 w 4667161"/>
              <a:gd name="connsiteY91" fmla="*/ 335756 h 1958188"/>
              <a:gd name="connsiteX92" fmla="*/ 3378905 w 4667161"/>
              <a:gd name="connsiteY92" fmla="*/ 376237 h 1958188"/>
              <a:gd name="connsiteX93" fmla="*/ 3409861 w 4667161"/>
              <a:gd name="connsiteY93" fmla="*/ 383381 h 1958188"/>
              <a:gd name="connsiteX94" fmla="*/ 3447961 w 4667161"/>
              <a:gd name="connsiteY94" fmla="*/ 447675 h 1958188"/>
              <a:gd name="connsiteX95" fmla="*/ 3443198 w 4667161"/>
              <a:gd name="connsiteY95" fmla="*/ 502443 h 1958188"/>
              <a:gd name="connsiteX96" fmla="*/ 3431292 w 4667161"/>
              <a:gd name="connsiteY96" fmla="*/ 531018 h 1958188"/>
              <a:gd name="connsiteX97" fmla="*/ 3471773 w 4667161"/>
              <a:gd name="connsiteY97" fmla="*/ 564356 h 1958188"/>
              <a:gd name="connsiteX98" fmla="*/ 3469392 w 4667161"/>
              <a:gd name="connsiteY98" fmla="*/ 647700 h 1958188"/>
              <a:gd name="connsiteX99" fmla="*/ 3450342 w 4667161"/>
              <a:gd name="connsiteY99" fmla="*/ 664368 h 1958188"/>
              <a:gd name="connsiteX100" fmla="*/ 3433673 w 4667161"/>
              <a:gd name="connsiteY100" fmla="*/ 738187 h 1958188"/>
              <a:gd name="connsiteX101" fmla="*/ 3455105 w 4667161"/>
              <a:gd name="connsiteY101" fmla="*/ 773906 h 1958188"/>
              <a:gd name="connsiteX102" fmla="*/ 3509873 w 4667161"/>
              <a:gd name="connsiteY102" fmla="*/ 797718 h 1958188"/>
              <a:gd name="connsiteX103" fmla="*/ 3547973 w 4667161"/>
              <a:gd name="connsiteY103" fmla="*/ 778668 h 1958188"/>
              <a:gd name="connsiteX104" fmla="*/ 3590836 w 4667161"/>
              <a:gd name="connsiteY104" fmla="*/ 797718 h 1958188"/>
              <a:gd name="connsiteX105" fmla="*/ 3626555 w 4667161"/>
              <a:gd name="connsiteY105" fmla="*/ 783431 h 1958188"/>
              <a:gd name="connsiteX106" fmla="*/ 3664655 w 4667161"/>
              <a:gd name="connsiteY106" fmla="*/ 826293 h 1958188"/>
              <a:gd name="connsiteX107" fmla="*/ 3743236 w 4667161"/>
              <a:gd name="connsiteY107" fmla="*/ 902493 h 1958188"/>
              <a:gd name="connsiteX108" fmla="*/ 3812292 w 4667161"/>
              <a:gd name="connsiteY108" fmla="*/ 916781 h 1958188"/>
              <a:gd name="connsiteX109" fmla="*/ 3907542 w 4667161"/>
              <a:gd name="connsiteY109" fmla="*/ 959643 h 1958188"/>
              <a:gd name="connsiteX110" fmla="*/ 3974217 w 4667161"/>
              <a:gd name="connsiteY110" fmla="*/ 992981 h 1958188"/>
              <a:gd name="connsiteX111" fmla="*/ 3990886 w 4667161"/>
              <a:gd name="connsiteY111" fmla="*/ 1035843 h 1958188"/>
              <a:gd name="connsiteX112" fmla="*/ 4000411 w 4667161"/>
              <a:gd name="connsiteY112" fmla="*/ 1081087 h 1958188"/>
              <a:gd name="connsiteX113" fmla="*/ 4048036 w 4667161"/>
              <a:gd name="connsiteY113" fmla="*/ 1109662 h 1958188"/>
              <a:gd name="connsiteX114" fmla="*/ 4083755 w 4667161"/>
              <a:gd name="connsiteY114" fmla="*/ 1107281 h 1958188"/>
              <a:gd name="connsiteX115" fmla="*/ 4150430 w 4667161"/>
              <a:gd name="connsiteY115" fmla="*/ 1145381 h 1958188"/>
              <a:gd name="connsiteX116" fmla="*/ 4209961 w 4667161"/>
              <a:gd name="connsiteY116" fmla="*/ 1197768 h 1958188"/>
              <a:gd name="connsiteX117" fmla="*/ 4293305 w 4667161"/>
              <a:gd name="connsiteY117" fmla="*/ 1240631 h 1958188"/>
              <a:gd name="connsiteX118" fmla="*/ 4359980 w 4667161"/>
              <a:gd name="connsiteY118" fmla="*/ 1302543 h 1958188"/>
              <a:gd name="connsiteX119" fmla="*/ 4436180 w 4667161"/>
              <a:gd name="connsiteY119" fmla="*/ 1359693 h 1958188"/>
              <a:gd name="connsiteX120" fmla="*/ 4476661 w 4667161"/>
              <a:gd name="connsiteY120" fmla="*/ 1357312 h 1958188"/>
              <a:gd name="connsiteX121" fmla="*/ 4533811 w 4667161"/>
              <a:gd name="connsiteY121" fmla="*/ 1383506 h 1958188"/>
              <a:gd name="connsiteX122" fmla="*/ 4643348 w 4667161"/>
              <a:gd name="connsiteY122" fmla="*/ 1345406 h 1958188"/>
              <a:gd name="connsiteX123" fmla="*/ 4667161 w 4667161"/>
              <a:gd name="connsiteY123" fmla="*/ 1302543 h 1958188"/>
              <a:gd name="connsiteX124" fmla="*/ 4662398 w 4667161"/>
              <a:gd name="connsiteY124" fmla="*/ 1235868 h 1958188"/>
              <a:gd name="connsiteX125" fmla="*/ 4660017 w 4667161"/>
              <a:gd name="connsiteY125" fmla="*/ 1116806 h 1958188"/>
              <a:gd name="connsiteX126" fmla="*/ 4633823 w 4667161"/>
              <a:gd name="connsiteY126" fmla="*/ 1078706 h 1958188"/>
              <a:gd name="connsiteX127" fmla="*/ 4571911 w 4667161"/>
              <a:gd name="connsiteY127" fmla="*/ 1057275 h 1958188"/>
              <a:gd name="connsiteX128" fmla="*/ 4555242 w 4667161"/>
              <a:gd name="connsiteY128" fmla="*/ 1014412 h 1958188"/>
              <a:gd name="connsiteX129" fmla="*/ 4529048 w 4667161"/>
              <a:gd name="connsiteY129" fmla="*/ 931068 h 1958188"/>
              <a:gd name="connsiteX130" fmla="*/ 4500473 w 4667161"/>
              <a:gd name="connsiteY130" fmla="*/ 890587 h 1958188"/>
              <a:gd name="connsiteX131" fmla="*/ 4526667 w 4667161"/>
              <a:gd name="connsiteY131" fmla="*/ 862012 h 1958188"/>
              <a:gd name="connsiteX132" fmla="*/ 4595723 w 4667161"/>
              <a:gd name="connsiteY132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8632 w 4667161"/>
              <a:gd name="connsiteY5" fmla="*/ 1624878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673805 w 4667161"/>
              <a:gd name="connsiteY8" fmla="*/ 1304925 h 1958188"/>
              <a:gd name="connsiteX9" fmla="*/ 714286 w 4667161"/>
              <a:gd name="connsiteY9" fmla="*/ 1259681 h 1958188"/>
              <a:gd name="connsiteX10" fmla="*/ 745242 w 4667161"/>
              <a:gd name="connsiteY10" fmla="*/ 1247775 h 1958188"/>
              <a:gd name="connsiteX11" fmla="*/ 795248 w 4667161"/>
              <a:gd name="connsiteY11" fmla="*/ 1257300 h 1958188"/>
              <a:gd name="connsiteX12" fmla="*/ 842873 w 4667161"/>
              <a:gd name="connsiteY12" fmla="*/ 1207293 h 1958188"/>
              <a:gd name="connsiteX13" fmla="*/ 890498 w 4667161"/>
              <a:gd name="connsiteY13" fmla="*/ 1214437 h 1958188"/>
              <a:gd name="connsiteX14" fmla="*/ 911930 w 4667161"/>
              <a:gd name="connsiteY14" fmla="*/ 1214437 h 1958188"/>
              <a:gd name="connsiteX15" fmla="*/ 947648 w 4667161"/>
              <a:gd name="connsiteY15" fmla="*/ 1195387 h 1958188"/>
              <a:gd name="connsiteX16" fmla="*/ 971461 w 4667161"/>
              <a:gd name="connsiteY16" fmla="*/ 1157287 h 1958188"/>
              <a:gd name="connsiteX17" fmla="*/ 1016705 w 4667161"/>
              <a:gd name="connsiteY17" fmla="*/ 1157287 h 1958188"/>
              <a:gd name="connsiteX18" fmla="*/ 1042898 w 4667161"/>
              <a:gd name="connsiteY18" fmla="*/ 1119187 h 1958188"/>
              <a:gd name="connsiteX19" fmla="*/ 1069092 w 4667161"/>
              <a:gd name="connsiteY19" fmla="*/ 1100137 h 1958188"/>
              <a:gd name="connsiteX20" fmla="*/ 1088142 w 4667161"/>
              <a:gd name="connsiteY20" fmla="*/ 1071562 h 1958188"/>
              <a:gd name="connsiteX21" fmla="*/ 1133386 w 4667161"/>
              <a:gd name="connsiteY21" fmla="*/ 1064418 h 1958188"/>
              <a:gd name="connsiteX22" fmla="*/ 1145292 w 4667161"/>
              <a:gd name="connsiteY22" fmla="*/ 1031081 h 1958188"/>
              <a:gd name="connsiteX23" fmla="*/ 1181011 w 4667161"/>
              <a:gd name="connsiteY23" fmla="*/ 1012031 h 1958188"/>
              <a:gd name="connsiteX24" fmla="*/ 1202442 w 4667161"/>
              <a:gd name="connsiteY24" fmla="*/ 988218 h 1958188"/>
              <a:gd name="connsiteX25" fmla="*/ 1283405 w 4667161"/>
              <a:gd name="connsiteY25" fmla="*/ 966787 h 1958188"/>
              <a:gd name="connsiteX26" fmla="*/ 1297692 w 4667161"/>
              <a:gd name="connsiteY26" fmla="*/ 952500 h 1958188"/>
              <a:gd name="connsiteX27" fmla="*/ 1307217 w 4667161"/>
              <a:gd name="connsiteY27" fmla="*/ 919162 h 1958188"/>
              <a:gd name="connsiteX28" fmla="*/ 1388180 w 4667161"/>
              <a:gd name="connsiteY28" fmla="*/ 878681 h 1958188"/>
              <a:gd name="connsiteX29" fmla="*/ 1407230 w 4667161"/>
              <a:gd name="connsiteY29" fmla="*/ 873918 h 1958188"/>
              <a:gd name="connsiteX30" fmla="*/ 1466761 w 4667161"/>
              <a:gd name="connsiteY30" fmla="*/ 809625 h 1958188"/>
              <a:gd name="connsiteX31" fmla="*/ 1471523 w 4667161"/>
              <a:gd name="connsiteY31" fmla="*/ 759618 h 1958188"/>
              <a:gd name="connsiteX32" fmla="*/ 1497717 w 4667161"/>
              <a:gd name="connsiteY32" fmla="*/ 733425 h 1958188"/>
              <a:gd name="connsiteX33" fmla="*/ 1523911 w 4667161"/>
              <a:gd name="connsiteY33" fmla="*/ 728662 h 1958188"/>
              <a:gd name="connsiteX34" fmla="*/ 1585823 w 4667161"/>
              <a:gd name="connsiteY34" fmla="*/ 683418 h 1958188"/>
              <a:gd name="connsiteX35" fmla="*/ 1671548 w 4667161"/>
              <a:gd name="connsiteY35" fmla="*/ 640556 h 1958188"/>
              <a:gd name="connsiteX36" fmla="*/ 1707267 w 4667161"/>
              <a:gd name="connsiteY36" fmla="*/ 600075 h 1958188"/>
              <a:gd name="connsiteX37" fmla="*/ 1735842 w 4667161"/>
              <a:gd name="connsiteY37" fmla="*/ 585787 h 1958188"/>
              <a:gd name="connsiteX38" fmla="*/ 1742986 w 4667161"/>
              <a:gd name="connsiteY38" fmla="*/ 519112 h 1958188"/>
              <a:gd name="connsiteX39" fmla="*/ 1759655 w 4667161"/>
              <a:gd name="connsiteY39" fmla="*/ 473868 h 1958188"/>
              <a:gd name="connsiteX40" fmla="*/ 1745367 w 4667161"/>
              <a:gd name="connsiteY40" fmla="*/ 433387 h 1958188"/>
              <a:gd name="connsiteX41" fmla="*/ 1750130 w 4667161"/>
              <a:gd name="connsiteY41" fmla="*/ 347662 h 1958188"/>
              <a:gd name="connsiteX42" fmla="*/ 1745367 w 4667161"/>
              <a:gd name="connsiteY42" fmla="*/ 307181 h 1958188"/>
              <a:gd name="connsiteX43" fmla="*/ 1745367 w 4667161"/>
              <a:gd name="connsiteY43" fmla="*/ 264318 h 1958188"/>
              <a:gd name="connsiteX44" fmla="*/ 1771561 w 4667161"/>
              <a:gd name="connsiteY44" fmla="*/ 254793 h 1958188"/>
              <a:gd name="connsiteX45" fmla="*/ 1792992 w 4667161"/>
              <a:gd name="connsiteY45" fmla="*/ 271462 h 1958188"/>
              <a:gd name="connsiteX46" fmla="*/ 1807280 w 4667161"/>
              <a:gd name="connsiteY46" fmla="*/ 297656 h 1958188"/>
              <a:gd name="connsiteX47" fmla="*/ 1835855 w 4667161"/>
              <a:gd name="connsiteY47" fmla="*/ 300037 h 1958188"/>
              <a:gd name="connsiteX48" fmla="*/ 1857286 w 4667161"/>
              <a:gd name="connsiteY48" fmla="*/ 278606 h 1958188"/>
              <a:gd name="connsiteX49" fmla="*/ 1943011 w 4667161"/>
              <a:gd name="connsiteY49" fmla="*/ 280987 h 1958188"/>
              <a:gd name="connsiteX50" fmla="*/ 1995398 w 4667161"/>
              <a:gd name="connsiteY50" fmla="*/ 290512 h 1958188"/>
              <a:gd name="connsiteX51" fmla="*/ 2043023 w 4667161"/>
              <a:gd name="connsiteY51" fmla="*/ 266700 h 1958188"/>
              <a:gd name="connsiteX52" fmla="*/ 2054930 w 4667161"/>
              <a:gd name="connsiteY52" fmla="*/ 233362 h 1958188"/>
              <a:gd name="connsiteX53" fmla="*/ 2095411 w 4667161"/>
              <a:gd name="connsiteY53" fmla="*/ 200025 h 1958188"/>
              <a:gd name="connsiteX54" fmla="*/ 2085886 w 4667161"/>
              <a:gd name="connsiteY54" fmla="*/ 173831 h 1958188"/>
              <a:gd name="connsiteX55" fmla="*/ 2102555 w 4667161"/>
              <a:gd name="connsiteY55" fmla="*/ 147637 h 1958188"/>
              <a:gd name="connsiteX56" fmla="*/ 2157323 w 4667161"/>
              <a:gd name="connsiteY56" fmla="*/ 169068 h 1958188"/>
              <a:gd name="connsiteX57" fmla="*/ 2204948 w 4667161"/>
              <a:gd name="connsiteY57" fmla="*/ 173831 h 1958188"/>
              <a:gd name="connsiteX58" fmla="*/ 2240667 w 4667161"/>
              <a:gd name="connsiteY58" fmla="*/ 209550 h 1958188"/>
              <a:gd name="connsiteX59" fmla="*/ 2269242 w 4667161"/>
              <a:gd name="connsiteY59" fmla="*/ 223837 h 1958188"/>
              <a:gd name="connsiteX60" fmla="*/ 2288292 w 4667161"/>
              <a:gd name="connsiteY60" fmla="*/ 280987 h 1958188"/>
              <a:gd name="connsiteX61" fmla="*/ 2357348 w 4667161"/>
              <a:gd name="connsiteY61" fmla="*/ 316706 h 1958188"/>
              <a:gd name="connsiteX62" fmla="*/ 2426405 w 4667161"/>
              <a:gd name="connsiteY62" fmla="*/ 307181 h 1958188"/>
              <a:gd name="connsiteX63" fmla="*/ 2474030 w 4667161"/>
              <a:gd name="connsiteY63" fmla="*/ 295275 h 1958188"/>
              <a:gd name="connsiteX64" fmla="*/ 2512130 w 4667161"/>
              <a:gd name="connsiteY64" fmla="*/ 307181 h 1958188"/>
              <a:gd name="connsiteX65" fmla="*/ 2562136 w 4667161"/>
              <a:gd name="connsiteY65" fmla="*/ 304800 h 1958188"/>
              <a:gd name="connsiteX66" fmla="*/ 2607380 w 4667161"/>
              <a:gd name="connsiteY66" fmla="*/ 316706 h 1958188"/>
              <a:gd name="connsiteX67" fmla="*/ 2652623 w 4667161"/>
              <a:gd name="connsiteY67" fmla="*/ 302418 h 1958188"/>
              <a:gd name="connsiteX68" fmla="*/ 2674055 w 4667161"/>
              <a:gd name="connsiteY68" fmla="*/ 276225 h 1958188"/>
              <a:gd name="connsiteX69" fmla="*/ 2752636 w 4667161"/>
              <a:gd name="connsiteY69" fmla="*/ 297656 h 1958188"/>
              <a:gd name="connsiteX70" fmla="*/ 2793117 w 4667161"/>
              <a:gd name="connsiteY70" fmla="*/ 283368 h 1958188"/>
              <a:gd name="connsiteX71" fmla="*/ 2800261 w 4667161"/>
              <a:gd name="connsiteY71" fmla="*/ 242887 h 1958188"/>
              <a:gd name="connsiteX72" fmla="*/ 2771686 w 4667161"/>
              <a:gd name="connsiteY72" fmla="*/ 195262 h 1958188"/>
              <a:gd name="connsiteX73" fmla="*/ 2755017 w 4667161"/>
              <a:gd name="connsiteY73" fmla="*/ 135731 h 1958188"/>
              <a:gd name="connsiteX74" fmla="*/ 2721680 w 4667161"/>
              <a:gd name="connsiteY74" fmla="*/ 102393 h 1958188"/>
              <a:gd name="connsiteX75" fmla="*/ 2697867 w 4667161"/>
              <a:gd name="connsiteY75" fmla="*/ 59531 h 1958188"/>
              <a:gd name="connsiteX76" fmla="*/ 2707392 w 4667161"/>
              <a:gd name="connsiteY76" fmla="*/ 38100 h 1958188"/>
              <a:gd name="connsiteX77" fmla="*/ 2743111 w 4667161"/>
              <a:gd name="connsiteY77" fmla="*/ 0 h 1958188"/>
              <a:gd name="connsiteX78" fmla="*/ 2762161 w 4667161"/>
              <a:gd name="connsiteY78" fmla="*/ 16668 h 1958188"/>
              <a:gd name="connsiteX79" fmla="*/ 2843123 w 4667161"/>
              <a:gd name="connsiteY79" fmla="*/ 30956 h 1958188"/>
              <a:gd name="connsiteX80" fmla="*/ 2926467 w 4667161"/>
              <a:gd name="connsiteY80" fmla="*/ 47625 h 1958188"/>
              <a:gd name="connsiteX81" fmla="*/ 2976473 w 4667161"/>
              <a:gd name="connsiteY81" fmla="*/ 66675 h 1958188"/>
              <a:gd name="connsiteX82" fmla="*/ 3026480 w 4667161"/>
              <a:gd name="connsiteY82" fmla="*/ 61912 h 1958188"/>
              <a:gd name="connsiteX83" fmla="*/ 3074105 w 4667161"/>
              <a:gd name="connsiteY83" fmla="*/ 92868 h 1958188"/>
              <a:gd name="connsiteX84" fmla="*/ 3116967 w 4667161"/>
              <a:gd name="connsiteY84" fmla="*/ 119062 h 1958188"/>
              <a:gd name="connsiteX85" fmla="*/ 3138398 w 4667161"/>
              <a:gd name="connsiteY85" fmla="*/ 150018 h 1958188"/>
              <a:gd name="connsiteX86" fmla="*/ 3188405 w 4667161"/>
              <a:gd name="connsiteY86" fmla="*/ 157162 h 1958188"/>
              <a:gd name="connsiteX87" fmla="*/ 3214598 w 4667161"/>
              <a:gd name="connsiteY87" fmla="*/ 202406 h 1958188"/>
              <a:gd name="connsiteX88" fmla="*/ 3240792 w 4667161"/>
              <a:gd name="connsiteY88" fmla="*/ 233362 h 1958188"/>
              <a:gd name="connsiteX89" fmla="*/ 3257461 w 4667161"/>
              <a:gd name="connsiteY89" fmla="*/ 278606 h 1958188"/>
              <a:gd name="connsiteX90" fmla="*/ 3316992 w 4667161"/>
              <a:gd name="connsiteY90" fmla="*/ 295275 h 1958188"/>
              <a:gd name="connsiteX91" fmla="*/ 3345567 w 4667161"/>
              <a:gd name="connsiteY91" fmla="*/ 326231 h 1958188"/>
              <a:gd name="connsiteX92" fmla="*/ 3366998 w 4667161"/>
              <a:gd name="connsiteY92" fmla="*/ 335756 h 1958188"/>
              <a:gd name="connsiteX93" fmla="*/ 3378905 w 4667161"/>
              <a:gd name="connsiteY93" fmla="*/ 376237 h 1958188"/>
              <a:gd name="connsiteX94" fmla="*/ 3409861 w 4667161"/>
              <a:gd name="connsiteY94" fmla="*/ 383381 h 1958188"/>
              <a:gd name="connsiteX95" fmla="*/ 3447961 w 4667161"/>
              <a:gd name="connsiteY95" fmla="*/ 447675 h 1958188"/>
              <a:gd name="connsiteX96" fmla="*/ 3443198 w 4667161"/>
              <a:gd name="connsiteY96" fmla="*/ 502443 h 1958188"/>
              <a:gd name="connsiteX97" fmla="*/ 3431292 w 4667161"/>
              <a:gd name="connsiteY97" fmla="*/ 531018 h 1958188"/>
              <a:gd name="connsiteX98" fmla="*/ 3471773 w 4667161"/>
              <a:gd name="connsiteY98" fmla="*/ 564356 h 1958188"/>
              <a:gd name="connsiteX99" fmla="*/ 3469392 w 4667161"/>
              <a:gd name="connsiteY99" fmla="*/ 647700 h 1958188"/>
              <a:gd name="connsiteX100" fmla="*/ 3450342 w 4667161"/>
              <a:gd name="connsiteY100" fmla="*/ 664368 h 1958188"/>
              <a:gd name="connsiteX101" fmla="*/ 3433673 w 4667161"/>
              <a:gd name="connsiteY101" fmla="*/ 738187 h 1958188"/>
              <a:gd name="connsiteX102" fmla="*/ 3455105 w 4667161"/>
              <a:gd name="connsiteY102" fmla="*/ 773906 h 1958188"/>
              <a:gd name="connsiteX103" fmla="*/ 3509873 w 4667161"/>
              <a:gd name="connsiteY103" fmla="*/ 797718 h 1958188"/>
              <a:gd name="connsiteX104" fmla="*/ 3547973 w 4667161"/>
              <a:gd name="connsiteY104" fmla="*/ 778668 h 1958188"/>
              <a:gd name="connsiteX105" fmla="*/ 3590836 w 4667161"/>
              <a:gd name="connsiteY105" fmla="*/ 797718 h 1958188"/>
              <a:gd name="connsiteX106" fmla="*/ 3626555 w 4667161"/>
              <a:gd name="connsiteY106" fmla="*/ 783431 h 1958188"/>
              <a:gd name="connsiteX107" fmla="*/ 3664655 w 4667161"/>
              <a:gd name="connsiteY107" fmla="*/ 826293 h 1958188"/>
              <a:gd name="connsiteX108" fmla="*/ 3743236 w 4667161"/>
              <a:gd name="connsiteY108" fmla="*/ 902493 h 1958188"/>
              <a:gd name="connsiteX109" fmla="*/ 3812292 w 4667161"/>
              <a:gd name="connsiteY109" fmla="*/ 916781 h 1958188"/>
              <a:gd name="connsiteX110" fmla="*/ 3907542 w 4667161"/>
              <a:gd name="connsiteY110" fmla="*/ 959643 h 1958188"/>
              <a:gd name="connsiteX111" fmla="*/ 3974217 w 4667161"/>
              <a:gd name="connsiteY111" fmla="*/ 992981 h 1958188"/>
              <a:gd name="connsiteX112" fmla="*/ 3990886 w 4667161"/>
              <a:gd name="connsiteY112" fmla="*/ 1035843 h 1958188"/>
              <a:gd name="connsiteX113" fmla="*/ 4000411 w 4667161"/>
              <a:gd name="connsiteY113" fmla="*/ 1081087 h 1958188"/>
              <a:gd name="connsiteX114" fmla="*/ 4048036 w 4667161"/>
              <a:gd name="connsiteY114" fmla="*/ 1109662 h 1958188"/>
              <a:gd name="connsiteX115" fmla="*/ 4083755 w 4667161"/>
              <a:gd name="connsiteY115" fmla="*/ 1107281 h 1958188"/>
              <a:gd name="connsiteX116" fmla="*/ 4150430 w 4667161"/>
              <a:gd name="connsiteY116" fmla="*/ 1145381 h 1958188"/>
              <a:gd name="connsiteX117" fmla="*/ 4209961 w 4667161"/>
              <a:gd name="connsiteY117" fmla="*/ 1197768 h 1958188"/>
              <a:gd name="connsiteX118" fmla="*/ 4293305 w 4667161"/>
              <a:gd name="connsiteY118" fmla="*/ 1240631 h 1958188"/>
              <a:gd name="connsiteX119" fmla="*/ 4359980 w 4667161"/>
              <a:gd name="connsiteY119" fmla="*/ 1302543 h 1958188"/>
              <a:gd name="connsiteX120" fmla="*/ 4436180 w 4667161"/>
              <a:gd name="connsiteY120" fmla="*/ 1359693 h 1958188"/>
              <a:gd name="connsiteX121" fmla="*/ 4476661 w 4667161"/>
              <a:gd name="connsiteY121" fmla="*/ 1357312 h 1958188"/>
              <a:gd name="connsiteX122" fmla="*/ 4533811 w 4667161"/>
              <a:gd name="connsiteY122" fmla="*/ 1383506 h 1958188"/>
              <a:gd name="connsiteX123" fmla="*/ 4643348 w 4667161"/>
              <a:gd name="connsiteY123" fmla="*/ 1345406 h 1958188"/>
              <a:gd name="connsiteX124" fmla="*/ 4667161 w 4667161"/>
              <a:gd name="connsiteY124" fmla="*/ 1302543 h 1958188"/>
              <a:gd name="connsiteX125" fmla="*/ 4662398 w 4667161"/>
              <a:gd name="connsiteY125" fmla="*/ 1235868 h 1958188"/>
              <a:gd name="connsiteX126" fmla="*/ 4660017 w 4667161"/>
              <a:gd name="connsiteY126" fmla="*/ 1116806 h 1958188"/>
              <a:gd name="connsiteX127" fmla="*/ 4633823 w 4667161"/>
              <a:gd name="connsiteY127" fmla="*/ 1078706 h 1958188"/>
              <a:gd name="connsiteX128" fmla="*/ 4571911 w 4667161"/>
              <a:gd name="connsiteY128" fmla="*/ 1057275 h 1958188"/>
              <a:gd name="connsiteX129" fmla="*/ 4555242 w 4667161"/>
              <a:gd name="connsiteY129" fmla="*/ 1014412 h 1958188"/>
              <a:gd name="connsiteX130" fmla="*/ 4529048 w 4667161"/>
              <a:gd name="connsiteY130" fmla="*/ 931068 h 1958188"/>
              <a:gd name="connsiteX131" fmla="*/ 4500473 w 4667161"/>
              <a:gd name="connsiteY131" fmla="*/ 890587 h 1958188"/>
              <a:gd name="connsiteX132" fmla="*/ 4526667 w 4667161"/>
              <a:gd name="connsiteY132" fmla="*/ 862012 h 1958188"/>
              <a:gd name="connsiteX133" fmla="*/ 4595723 w 4667161"/>
              <a:gd name="connsiteY133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673805 w 4667161"/>
              <a:gd name="connsiteY8" fmla="*/ 1304925 h 1958188"/>
              <a:gd name="connsiteX9" fmla="*/ 714286 w 4667161"/>
              <a:gd name="connsiteY9" fmla="*/ 1259681 h 1958188"/>
              <a:gd name="connsiteX10" fmla="*/ 745242 w 4667161"/>
              <a:gd name="connsiteY10" fmla="*/ 1247775 h 1958188"/>
              <a:gd name="connsiteX11" fmla="*/ 795248 w 4667161"/>
              <a:gd name="connsiteY11" fmla="*/ 1257300 h 1958188"/>
              <a:gd name="connsiteX12" fmla="*/ 842873 w 4667161"/>
              <a:gd name="connsiteY12" fmla="*/ 1207293 h 1958188"/>
              <a:gd name="connsiteX13" fmla="*/ 890498 w 4667161"/>
              <a:gd name="connsiteY13" fmla="*/ 1214437 h 1958188"/>
              <a:gd name="connsiteX14" fmla="*/ 911930 w 4667161"/>
              <a:gd name="connsiteY14" fmla="*/ 1214437 h 1958188"/>
              <a:gd name="connsiteX15" fmla="*/ 947648 w 4667161"/>
              <a:gd name="connsiteY15" fmla="*/ 1195387 h 1958188"/>
              <a:gd name="connsiteX16" fmla="*/ 971461 w 4667161"/>
              <a:gd name="connsiteY16" fmla="*/ 1157287 h 1958188"/>
              <a:gd name="connsiteX17" fmla="*/ 1016705 w 4667161"/>
              <a:gd name="connsiteY17" fmla="*/ 1157287 h 1958188"/>
              <a:gd name="connsiteX18" fmla="*/ 1042898 w 4667161"/>
              <a:gd name="connsiteY18" fmla="*/ 1119187 h 1958188"/>
              <a:gd name="connsiteX19" fmla="*/ 1069092 w 4667161"/>
              <a:gd name="connsiteY19" fmla="*/ 1100137 h 1958188"/>
              <a:gd name="connsiteX20" fmla="*/ 1088142 w 4667161"/>
              <a:gd name="connsiteY20" fmla="*/ 1071562 h 1958188"/>
              <a:gd name="connsiteX21" fmla="*/ 1133386 w 4667161"/>
              <a:gd name="connsiteY21" fmla="*/ 1064418 h 1958188"/>
              <a:gd name="connsiteX22" fmla="*/ 1145292 w 4667161"/>
              <a:gd name="connsiteY22" fmla="*/ 1031081 h 1958188"/>
              <a:gd name="connsiteX23" fmla="*/ 1181011 w 4667161"/>
              <a:gd name="connsiteY23" fmla="*/ 1012031 h 1958188"/>
              <a:gd name="connsiteX24" fmla="*/ 1202442 w 4667161"/>
              <a:gd name="connsiteY24" fmla="*/ 988218 h 1958188"/>
              <a:gd name="connsiteX25" fmla="*/ 1283405 w 4667161"/>
              <a:gd name="connsiteY25" fmla="*/ 966787 h 1958188"/>
              <a:gd name="connsiteX26" fmla="*/ 1297692 w 4667161"/>
              <a:gd name="connsiteY26" fmla="*/ 952500 h 1958188"/>
              <a:gd name="connsiteX27" fmla="*/ 1307217 w 4667161"/>
              <a:gd name="connsiteY27" fmla="*/ 919162 h 1958188"/>
              <a:gd name="connsiteX28" fmla="*/ 1388180 w 4667161"/>
              <a:gd name="connsiteY28" fmla="*/ 878681 h 1958188"/>
              <a:gd name="connsiteX29" fmla="*/ 1407230 w 4667161"/>
              <a:gd name="connsiteY29" fmla="*/ 873918 h 1958188"/>
              <a:gd name="connsiteX30" fmla="*/ 1466761 w 4667161"/>
              <a:gd name="connsiteY30" fmla="*/ 809625 h 1958188"/>
              <a:gd name="connsiteX31" fmla="*/ 1471523 w 4667161"/>
              <a:gd name="connsiteY31" fmla="*/ 759618 h 1958188"/>
              <a:gd name="connsiteX32" fmla="*/ 1497717 w 4667161"/>
              <a:gd name="connsiteY32" fmla="*/ 733425 h 1958188"/>
              <a:gd name="connsiteX33" fmla="*/ 1523911 w 4667161"/>
              <a:gd name="connsiteY33" fmla="*/ 728662 h 1958188"/>
              <a:gd name="connsiteX34" fmla="*/ 1585823 w 4667161"/>
              <a:gd name="connsiteY34" fmla="*/ 683418 h 1958188"/>
              <a:gd name="connsiteX35" fmla="*/ 1671548 w 4667161"/>
              <a:gd name="connsiteY35" fmla="*/ 640556 h 1958188"/>
              <a:gd name="connsiteX36" fmla="*/ 1707267 w 4667161"/>
              <a:gd name="connsiteY36" fmla="*/ 600075 h 1958188"/>
              <a:gd name="connsiteX37" fmla="*/ 1735842 w 4667161"/>
              <a:gd name="connsiteY37" fmla="*/ 585787 h 1958188"/>
              <a:gd name="connsiteX38" fmla="*/ 1742986 w 4667161"/>
              <a:gd name="connsiteY38" fmla="*/ 519112 h 1958188"/>
              <a:gd name="connsiteX39" fmla="*/ 1759655 w 4667161"/>
              <a:gd name="connsiteY39" fmla="*/ 473868 h 1958188"/>
              <a:gd name="connsiteX40" fmla="*/ 1745367 w 4667161"/>
              <a:gd name="connsiteY40" fmla="*/ 433387 h 1958188"/>
              <a:gd name="connsiteX41" fmla="*/ 1750130 w 4667161"/>
              <a:gd name="connsiteY41" fmla="*/ 347662 h 1958188"/>
              <a:gd name="connsiteX42" fmla="*/ 1745367 w 4667161"/>
              <a:gd name="connsiteY42" fmla="*/ 307181 h 1958188"/>
              <a:gd name="connsiteX43" fmla="*/ 1745367 w 4667161"/>
              <a:gd name="connsiteY43" fmla="*/ 264318 h 1958188"/>
              <a:gd name="connsiteX44" fmla="*/ 1771561 w 4667161"/>
              <a:gd name="connsiteY44" fmla="*/ 254793 h 1958188"/>
              <a:gd name="connsiteX45" fmla="*/ 1792992 w 4667161"/>
              <a:gd name="connsiteY45" fmla="*/ 271462 h 1958188"/>
              <a:gd name="connsiteX46" fmla="*/ 1807280 w 4667161"/>
              <a:gd name="connsiteY46" fmla="*/ 297656 h 1958188"/>
              <a:gd name="connsiteX47" fmla="*/ 1835855 w 4667161"/>
              <a:gd name="connsiteY47" fmla="*/ 300037 h 1958188"/>
              <a:gd name="connsiteX48" fmla="*/ 1857286 w 4667161"/>
              <a:gd name="connsiteY48" fmla="*/ 278606 h 1958188"/>
              <a:gd name="connsiteX49" fmla="*/ 1943011 w 4667161"/>
              <a:gd name="connsiteY49" fmla="*/ 280987 h 1958188"/>
              <a:gd name="connsiteX50" fmla="*/ 1995398 w 4667161"/>
              <a:gd name="connsiteY50" fmla="*/ 290512 h 1958188"/>
              <a:gd name="connsiteX51" fmla="*/ 2043023 w 4667161"/>
              <a:gd name="connsiteY51" fmla="*/ 266700 h 1958188"/>
              <a:gd name="connsiteX52" fmla="*/ 2054930 w 4667161"/>
              <a:gd name="connsiteY52" fmla="*/ 233362 h 1958188"/>
              <a:gd name="connsiteX53" fmla="*/ 2095411 w 4667161"/>
              <a:gd name="connsiteY53" fmla="*/ 200025 h 1958188"/>
              <a:gd name="connsiteX54" fmla="*/ 2085886 w 4667161"/>
              <a:gd name="connsiteY54" fmla="*/ 173831 h 1958188"/>
              <a:gd name="connsiteX55" fmla="*/ 2102555 w 4667161"/>
              <a:gd name="connsiteY55" fmla="*/ 147637 h 1958188"/>
              <a:gd name="connsiteX56" fmla="*/ 2157323 w 4667161"/>
              <a:gd name="connsiteY56" fmla="*/ 169068 h 1958188"/>
              <a:gd name="connsiteX57" fmla="*/ 2204948 w 4667161"/>
              <a:gd name="connsiteY57" fmla="*/ 173831 h 1958188"/>
              <a:gd name="connsiteX58" fmla="*/ 2240667 w 4667161"/>
              <a:gd name="connsiteY58" fmla="*/ 209550 h 1958188"/>
              <a:gd name="connsiteX59" fmla="*/ 2269242 w 4667161"/>
              <a:gd name="connsiteY59" fmla="*/ 223837 h 1958188"/>
              <a:gd name="connsiteX60" fmla="*/ 2288292 w 4667161"/>
              <a:gd name="connsiteY60" fmla="*/ 280987 h 1958188"/>
              <a:gd name="connsiteX61" fmla="*/ 2357348 w 4667161"/>
              <a:gd name="connsiteY61" fmla="*/ 316706 h 1958188"/>
              <a:gd name="connsiteX62" fmla="*/ 2426405 w 4667161"/>
              <a:gd name="connsiteY62" fmla="*/ 307181 h 1958188"/>
              <a:gd name="connsiteX63" fmla="*/ 2474030 w 4667161"/>
              <a:gd name="connsiteY63" fmla="*/ 295275 h 1958188"/>
              <a:gd name="connsiteX64" fmla="*/ 2512130 w 4667161"/>
              <a:gd name="connsiteY64" fmla="*/ 307181 h 1958188"/>
              <a:gd name="connsiteX65" fmla="*/ 2562136 w 4667161"/>
              <a:gd name="connsiteY65" fmla="*/ 304800 h 1958188"/>
              <a:gd name="connsiteX66" fmla="*/ 2607380 w 4667161"/>
              <a:gd name="connsiteY66" fmla="*/ 316706 h 1958188"/>
              <a:gd name="connsiteX67" fmla="*/ 2652623 w 4667161"/>
              <a:gd name="connsiteY67" fmla="*/ 302418 h 1958188"/>
              <a:gd name="connsiteX68" fmla="*/ 2674055 w 4667161"/>
              <a:gd name="connsiteY68" fmla="*/ 276225 h 1958188"/>
              <a:gd name="connsiteX69" fmla="*/ 2752636 w 4667161"/>
              <a:gd name="connsiteY69" fmla="*/ 297656 h 1958188"/>
              <a:gd name="connsiteX70" fmla="*/ 2793117 w 4667161"/>
              <a:gd name="connsiteY70" fmla="*/ 283368 h 1958188"/>
              <a:gd name="connsiteX71" fmla="*/ 2800261 w 4667161"/>
              <a:gd name="connsiteY71" fmla="*/ 242887 h 1958188"/>
              <a:gd name="connsiteX72" fmla="*/ 2771686 w 4667161"/>
              <a:gd name="connsiteY72" fmla="*/ 195262 h 1958188"/>
              <a:gd name="connsiteX73" fmla="*/ 2755017 w 4667161"/>
              <a:gd name="connsiteY73" fmla="*/ 135731 h 1958188"/>
              <a:gd name="connsiteX74" fmla="*/ 2721680 w 4667161"/>
              <a:gd name="connsiteY74" fmla="*/ 102393 h 1958188"/>
              <a:gd name="connsiteX75" fmla="*/ 2697867 w 4667161"/>
              <a:gd name="connsiteY75" fmla="*/ 59531 h 1958188"/>
              <a:gd name="connsiteX76" fmla="*/ 2707392 w 4667161"/>
              <a:gd name="connsiteY76" fmla="*/ 38100 h 1958188"/>
              <a:gd name="connsiteX77" fmla="*/ 2743111 w 4667161"/>
              <a:gd name="connsiteY77" fmla="*/ 0 h 1958188"/>
              <a:gd name="connsiteX78" fmla="*/ 2762161 w 4667161"/>
              <a:gd name="connsiteY78" fmla="*/ 16668 h 1958188"/>
              <a:gd name="connsiteX79" fmla="*/ 2843123 w 4667161"/>
              <a:gd name="connsiteY79" fmla="*/ 30956 h 1958188"/>
              <a:gd name="connsiteX80" fmla="*/ 2926467 w 4667161"/>
              <a:gd name="connsiteY80" fmla="*/ 47625 h 1958188"/>
              <a:gd name="connsiteX81" fmla="*/ 2976473 w 4667161"/>
              <a:gd name="connsiteY81" fmla="*/ 66675 h 1958188"/>
              <a:gd name="connsiteX82" fmla="*/ 3026480 w 4667161"/>
              <a:gd name="connsiteY82" fmla="*/ 61912 h 1958188"/>
              <a:gd name="connsiteX83" fmla="*/ 3074105 w 4667161"/>
              <a:gd name="connsiteY83" fmla="*/ 92868 h 1958188"/>
              <a:gd name="connsiteX84" fmla="*/ 3116967 w 4667161"/>
              <a:gd name="connsiteY84" fmla="*/ 119062 h 1958188"/>
              <a:gd name="connsiteX85" fmla="*/ 3138398 w 4667161"/>
              <a:gd name="connsiteY85" fmla="*/ 150018 h 1958188"/>
              <a:gd name="connsiteX86" fmla="*/ 3188405 w 4667161"/>
              <a:gd name="connsiteY86" fmla="*/ 157162 h 1958188"/>
              <a:gd name="connsiteX87" fmla="*/ 3214598 w 4667161"/>
              <a:gd name="connsiteY87" fmla="*/ 202406 h 1958188"/>
              <a:gd name="connsiteX88" fmla="*/ 3240792 w 4667161"/>
              <a:gd name="connsiteY88" fmla="*/ 233362 h 1958188"/>
              <a:gd name="connsiteX89" fmla="*/ 3257461 w 4667161"/>
              <a:gd name="connsiteY89" fmla="*/ 278606 h 1958188"/>
              <a:gd name="connsiteX90" fmla="*/ 3316992 w 4667161"/>
              <a:gd name="connsiteY90" fmla="*/ 295275 h 1958188"/>
              <a:gd name="connsiteX91" fmla="*/ 3345567 w 4667161"/>
              <a:gd name="connsiteY91" fmla="*/ 326231 h 1958188"/>
              <a:gd name="connsiteX92" fmla="*/ 3366998 w 4667161"/>
              <a:gd name="connsiteY92" fmla="*/ 335756 h 1958188"/>
              <a:gd name="connsiteX93" fmla="*/ 3378905 w 4667161"/>
              <a:gd name="connsiteY93" fmla="*/ 376237 h 1958188"/>
              <a:gd name="connsiteX94" fmla="*/ 3409861 w 4667161"/>
              <a:gd name="connsiteY94" fmla="*/ 383381 h 1958188"/>
              <a:gd name="connsiteX95" fmla="*/ 3447961 w 4667161"/>
              <a:gd name="connsiteY95" fmla="*/ 447675 h 1958188"/>
              <a:gd name="connsiteX96" fmla="*/ 3443198 w 4667161"/>
              <a:gd name="connsiteY96" fmla="*/ 502443 h 1958188"/>
              <a:gd name="connsiteX97" fmla="*/ 3431292 w 4667161"/>
              <a:gd name="connsiteY97" fmla="*/ 531018 h 1958188"/>
              <a:gd name="connsiteX98" fmla="*/ 3471773 w 4667161"/>
              <a:gd name="connsiteY98" fmla="*/ 564356 h 1958188"/>
              <a:gd name="connsiteX99" fmla="*/ 3469392 w 4667161"/>
              <a:gd name="connsiteY99" fmla="*/ 647700 h 1958188"/>
              <a:gd name="connsiteX100" fmla="*/ 3450342 w 4667161"/>
              <a:gd name="connsiteY100" fmla="*/ 664368 h 1958188"/>
              <a:gd name="connsiteX101" fmla="*/ 3433673 w 4667161"/>
              <a:gd name="connsiteY101" fmla="*/ 738187 h 1958188"/>
              <a:gd name="connsiteX102" fmla="*/ 3455105 w 4667161"/>
              <a:gd name="connsiteY102" fmla="*/ 773906 h 1958188"/>
              <a:gd name="connsiteX103" fmla="*/ 3509873 w 4667161"/>
              <a:gd name="connsiteY103" fmla="*/ 797718 h 1958188"/>
              <a:gd name="connsiteX104" fmla="*/ 3547973 w 4667161"/>
              <a:gd name="connsiteY104" fmla="*/ 778668 h 1958188"/>
              <a:gd name="connsiteX105" fmla="*/ 3590836 w 4667161"/>
              <a:gd name="connsiteY105" fmla="*/ 797718 h 1958188"/>
              <a:gd name="connsiteX106" fmla="*/ 3626555 w 4667161"/>
              <a:gd name="connsiteY106" fmla="*/ 783431 h 1958188"/>
              <a:gd name="connsiteX107" fmla="*/ 3664655 w 4667161"/>
              <a:gd name="connsiteY107" fmla="*/ 826293 h 1958188"/>
              <a:gd name="connsiteX108" fmla="*/ 3743236 w 4667161"/>
              <a:gd name="connsiteY108" fmla="*/ 902493 h 1958188"/>
              <a:gd name="connsiteX109" fmla="*/ 3812292 w 4667161"/>
              <a:gd name="connsiteY109" fmla="*/ 916781 h 1958188"/>
              <a:gd name="connsiteX110" fmla="*/ 3907542 w 4667161"/>
              <a:gd name="connsiteY110" fmla="*/ 959643 h 1958188"/>
              <a:gd name="connsiteX111" fmla="*/ 3974217 w 4667161"/>
              <a:gd name="connsiteY111" fmla="*/ 992981 h 1958188"/>
              <a:gd name="connsiteX112" fmla="*/ 3990886 w 4667161"/>
              <a:gd name="connsiteY112" fmla="*/ 1035843 h 1958188"/>
              <a:gd name="connsiteX113" fmla="*/ 4000411 w 4667161"/>
              <a:gd name="connsiteY113" fmla="*/ 1081087 h 1958188"/>
              <a:gd name="connsiteX114" fmla="*/ 4048036 w 4667161"/>
              <a:gd name="connsiteY114" fmla="*/ 1109662 h 1958188"/>
              <a:gd name="connsiteX115" fmla="*/ 4083755 w 4667161"/>
              <a:gd name="connsiteY115" fmla="*/ 1107281 h 1958188"/>
              <a:gd name="connsiteX116" fmla="*/ 4150430 w 4667161"/>
              <a:gd name="connsiteY116" fmla="*/ 1145381 h 1958188"/>
              <a:gd name="connsiteX117" fmla="*/ 4209961 w 4667161"/>
              <a:gd name="connsiteY117" fmla="*/ 1197768 h 1958188"/>
              <a:gd name="connsiteX118" fmla="*/ 4293305 w 4667161"/>
              <a:gd name="connsiteY118" fmla="*/ 1240631 h 1958188"/>
              <a:gd name="connsiteX119" fmla="*/ 4359980 w 4667161"/>
              <a:gd name="connsiteY119" fmla="*/ 1302543 h 1958188"/>
              <a:gd name="connsiteX120" fmla="*/ 4436180 w 4667161"/>
              <a:gd name="connsiteY120" fmla="*/ 1359693 h 1958188"/>
              <a:gd name="connsiteX121" fmla="*/ 4476661 w 4667161"/>
              <a:gd name="connsiteY121" fmla="*/ 1357312 h 1958188"/>
              <a:gd name="connsiteX122" fmla="*/ 4533811 w 4667161"/>
              <a:gd name="connsiteY122" fmla="*/ 1383506 h 1958188"/>
              <a:gd name="connsiteX123" fmla="*/ 4643348 w 4667161"/>
              <a:gd name="connsiteY123" fmla="*/ 1345406 h 1958188"/>
              <a:gd name="connsiteX124" fmla="*/ 4667161 w 4667161"/>
              <a:gd name="connsiteY124" fmla="*/ 1302543 h 1958188"/>
              <a:gd name="connsiteX125" fmla="*/ 4662398 w 4667161"/>
              <a:gd name="connsiteY125" fmla="*/ 1235868 h 1958188"/>
              <a:gd name="connsiteX126" fmla="*/ 4660017 w 4667161"/>
              <a:gd name="connsiteY126" fmla="*/ 1116806 h 1958188"/>
              <a:gd name="connsiteX127" fmla="*/ 4633823 w 4667161"/>
              <a:gd name="connsiteY127" fmla="*/ 1078706 h 1958188"/>
              <a:gd name="connsiteX128" fmla="*/ 4571911 w 4667161"/>
              <a:gd name="connsiteY128" fmla="*/ 1057275 h 1958188"/>
              <a:gd name="connsiteX129" fmla="*/ 4555242 w 4667161"/>
              <a:gd name="connsiteY129" fmla="*/ 1014412 h 1958188"/>
              <a:gd name="connsiteX130" fmla="*/ 4529048 w 4667161"/>
              <a:gd name="connsiteY130" fmla="*/ 931068 h 1958188"/>
              <a:gd name="connsiteX131" fmla="*/ 4500473 w 4667161"/>
              <a:gd name="connsiteY131" fmla="*/ 890587 h 1958188"/>
              <a:gd name="connsiteX132" fmla="*/ 4526667 w 4667161"/>
              <a:gd name="connsiteY132" fmla="*/ 862012 h 1958188"/>
              <a:gd name="connsiteX133" fmla="*/ 4595723 w 4667161"/>
              <a:gd name="connsiteY133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93543 w 4667161"/>
              <a:gd name="connsiteY8" fmla="*/ 1531971 h 1958188"/>
              <a:gd name="connsiteX9" fmla="*/ 673805 w 4667161"/>
              <a:gd name="connsiteY9" fmla="*/ 1304925 h 1958188"/>
              <a:gd name="connsiteX10" fmla="*/ 714286 w 4667161"/>
              <a:gd name="connsiteY10" fmla="*/ 1259681 h 1958188"/>
              <a:gd name="connsiteX11" fmla="*/ 745242 w 4667161"/>
              <a:gd name="connsiteY11" fmla="*/ 1247775 h 1958188"/>
              <a:gd name="connsiteX12" fmla="*/ 795248 w 4667161"/>
              <a:gd name="connsiteY12" fmla="*/ 1257300 h 1958188"/>
              <a:gd name="connsiteX13" fmla="*/ 842873 w 4667161"/>
              <a:gd name="connsiteY13" fmla="*/ 1207293 h 1958188"/>
              <a:gd name="connsiteX14" fmla="*/ 890498 w 4667161"/>
              <a:gd name="connsiteY14" fmla="*/ 1214437 h 1958188"/>
              <a:gd name="connsiteX15" fmla="*/ 911930 w 4667161"/>
              <a:gd name="connsiteY15" fmla="*/ 1214437 h 1958188"/>
              <a:gd name="connsiteX16" fmla="*/ 947648 w 4667161"/>
              <a:gd name="connsiteY16" fmla="*/ 1195387 h 1958188"/>
              <a:gd name="connsiteX17" fmla="*/ 971461 w 4667161"/>
              <a:gd name="connsiteY17" fmla="*/ 1157287 h 1958188"/>
              <a:gd name="connsiteX18" fmla="*/ 1016705 w 4667161"/>
              <a:gd name="connsiteY18" fmla="*/ 1157287 h 1958188"/>
              <a:gd name="connsiteX19" fmla="*/ 1042898 w 4667161"/>
              <a:gd name="connsiteY19" fmla="*/ 1119187 h 1958188"/>
              <a:gd name="connsiteX20" fmla="*/ 1069092 w 4667161"/>
              <a:gd name="connsiteY20" fmla="*/ 1100137 h 1958188"/>
              <a:gd name="connsiteX21" fmla="*/ 1088142 w 4667161"/>
              <a:gd name="connsiteY21" fmla="*/ 1071562 h 1958188"/>
              <a:gd name="connsiteX22" fmla="*/ 1133386 w 4667161"/>
              <a:gd name="connsiteY22" fmla="*/ 1064418 h 1958188"/>
              <a:gd name="connsiteX23" fmla="*/ 1145292 w 4667161"/>
              <a:gd name="connsiteY23" fmla="*/ 1031081 h 1958188"/>
              <a:gd name="connsiteX24" fmla="*/ 1181011 w 4667161"/>
              <a:gd name="connsiteY24" fmla="*/ 1012031 h 1958188"/>
              <a:gd name="connsiteX25" fmla="*/ 1202442 w 4667161"/>
              <a:gd name="connsiteY25" fmla="*/ 988218 h 1958188"/>
              <a:gd name="connsiteX26" fmla="*/ 1283405 w 4667161"/>
              <a:gd name="connsiteY26" fmla="*/ 966787 h 1958188"/>
              <a:gd name="connsiteX27" fmla="*/ 1297692 w 4667161"/>
              <a:gd name="connsiteY27" fmla="*/ 952500 h 1958188"/>
              <a:gd name="connsiteX28" fmla="*/ 1307217 w 4667161"/>
              <a:gd name="connsiteY28" fmla="*/ 919162 h 1958188"/>
              <a:gd name="connsiteX29" fmla="*/ 1388180 w 4667161"/>
              <a:gd name="connsiteY29" fmla="*/ 878681 h 1958188"/>
              <a:gd name="connsiteX30" fmla="*/ 1407230 w 4667161"/>
              <a:gd name="connsiteY30" fmla="*/ 873918 h 1958188"/>
              <a:gd name="connsiteX31" fmla="*/ 1466761 w 4667161"/>
              <a:gd name="connsiteY31" fmla="*/ 809625 h 1958188"/>
              <a:gd name="connsiteX32" fmla="*/ 1471523 w 4667161"/>
              <a:gd name="connsiteY32" fmla="*/ 759618 h 1958188"/>
              <a:gd name="connsiteX33" fmla="*/ 1497717 w 4667161"/>
              <a:gd name="connsiteY33" fmla="*/ 733425 h 1958188"/>
              <a:gd name="connsiteX34" fmla="*/ 1523911 w 4667161"/>
              <a:gd name="connsiteY34" fmla="*/ 728662 h 1958188"/>
              <a:gd name="connsiteX35" fmla="*/ 1585823 w 4667161"/>
              <a:gd name="connsiteY35" fmla="*/ 683418 h 1958188"/>
              <a:gd name="connsiteX36" fmla="*/ 1671548 w 4667161"/>
              <a:gd name="connsiteY36" fmla="*/ 640556 h 1958188"/>
              <a:gd name="connsiteX37" fmla="*/ 1707267 w 4667161"/>
              <a:gd name="connsiteY37" fmla="*/ 600075 h 1958188"/>
              <a:gd name="connsiteX38" fmla="*/ 1735842 w 4667161"/>
              <a:gd name="connsiteY38" fmla="*/ 585787 h 1958188"/>
              <a:gd name="connsiteX39" fmla="*/ 1742986 w 4667161"/>
              <a:gd name="connsiteY39" fmla="*/ 519112 h 1958188"/>
              <a:gd name="connsiteX40" fmla="*/ 1759655 w 4667161"/>
              <a:gd name="connsiteY40" fmla="*/ 473868 h 1958188"/>
              <a:gd name="connsiteX41" fmla="*/ 1745367 w 4667161"/>
              <a:gd name="connsiteY41" fmla="*/ 433387 h 1958188"/>
              <a:gd name="connsiteX42" fmla="*/ 1750130 w 4667161"/>
              <a:gd name="connsiteY42" fmla="*/ 347662 h 1958188"/>
              <a:gd name="connsiteX43" fmla="*/ 1745367 w 4667161"/>
              <a:gd name="connsiteY43" fmla="*/ 307181 h 1958188"/>
              <a:gd name="connsiteX44" fmla="*/ 1745367 w 4667161"/>
              <a:gd name="connsiteY44" fmla="*/ 264318 h 1958188"/>
              <a:gd name="connsiteX45" fmla="*/ 1771561 w 4667161"/>
              <a:gd name="connsiteY45" fmla="*/ 254793 h 1958188"/>
              <a:gd name="connsiteX46" fmla="*/ 1792992 w 4667161"/>
              <a:gd name="connsiteY46" fmla="*/ 271462 h 1958188"/>
              <a:gd name="connsiteX47" fmla="*/ 1807280 w 4667161"/>
              <a:gd name="connsiteY47" fmla="*/ 297656 h 1958188"/>
              <a:gd name="connsiteX48" fmla="*/ 1835855 w 4667161"/>
              <a:gd name="connsiteY48" fmla="*/ 300037 h 1958188"/>
              <a:gd name="connsiteX49" fmla="*/ 1857286 w 4667161"/>
              <a:gd name="connsiteY49" fmla="*/ 278606 h 1958188"/>
              <a:gd name="connsiteX50" fmla="*/ 1943011 w 4667161"/>
              <a:gd name="connsiteY50" fmla="*/ 280987 h 1958188"/>
              <a:gd name="connsiteX51" fmla="*/ 1995398 w 4667161"/>
              <a:gd name="connsiteY51" fmla="*/ 290512 h 1958188"/>
              <a:gd name="connsiteX52" fmla="*/ 2043023 w 4667161"/>
              <a:gd name="connsiteY52" fmla="*/ 266700 h 1958188"/>
              <a:gd name="connsiteX53" fmla="*/ 2054930 w 4667161"/>
              <a:gd name="connsiteY53" fmla="*/ 233362 h 1958188"/>
              <a:gd name="connsiteX54" fmla="*/ 2095411 w 4667161"/>
              <a:gd name="connsiteY54" fmla="*/ 200025 h 1958188"/>
              <a:gd name="connsiteX55" fmla="*/ 2085886 w 4667161"/>
              <a:gd name="connsiteY55" fmla="*/ 173831 h 1958188"/>
              <a:gd name="connsiteX56" fmla="*/ 2102555 w 4667161"/>
              <a:gd name="connsiteY56" fmla="*/ 147637 h 1958188"/>
              <a:gd name="connsiteX57" fmla="*/ 2157323 w 4667161"/>
              <a:gd name="connsiteY57" fmla="*/ 169068 h 1958188"/>
              <a:gd name="connsiteX58" fmla="*/ 2204948 w 4667161"/>
              <a:gd name="connsiteY58" fmla="*/ 173831 h 1958188"/>
              <a:gd name="connsiteX59" fmla="*/ 2240667 w 4667161"/>
              <a:gd name="connsiteY59" fmla="*/ 209550 h 1958188"/>
              <a:gd name="connsiteX60" fmla="*/ 2269242 w 4667161"/>
              <a:gd name="connsiteY60" fmla="*/ 223837 h 1958188"/>
              <a:gd name="connsiteX61" fmla="*/ 2288292 w 4667161"/>
              <a:gd name="connsiteY61" fmla="*/ 280987 h 1958188"/>
              <a:gd name="connsiteX62" fmla="*/ 2357348 w 4667161"/>
              <a:gd name="connsiteY62" fmla="*/ 316706 h 1958188"/>
              <a:gd name="connsiteX63" fmla="*/ 2426405 w 4667161"/>
              <a:gd name="connsiteY63" fmla="*/ 307181 h 1958188"/>
              <a:gd name="connsiteX64" fmla="*/ 2474030 w 4667161"/>
              <a:gd name="connsiteY64" fmla="*/ 295275 h 1958188"/>
              <a:gd name="connsiteX65" fmla="*/ 2512130 w 4667161"/>
              <a:gd name="connsiteY65" fmla="*/ 307181 h 1958188"/>
              <a:gd name="connsiteX66" fmla="*/ 2562136 w 4667161"/>
              <a:gd name="connsiteY66" fmla="*/ 304800 h 1958188"/>
              <a:gd name="connsiteX67" fmla="*/ 2607380 w 4667161"/>
              <a:gd name="connsiteY67" fmla="*/ 316706 h 1958188"/>
              <a:gd name="connsiteX68" fmla="*/ 2652623 w 4667161"/>
              <a:gd name="connsiteY68" fmla="*/ 302418 h 1958188"/>
              <a:gd name="connsiteX69" fmla="*/ 2674055 w 4667161"/>
              <a:gd name="connsiteY69" fmla="*/ 276225 h 1958188"/>
              <a:gd name="connsiteX70" fmla="*/ 2752636 w 4667161"/>
              <a:gd name="connsiteY70" fmla="*/ 297656 h 1958188"/>
              <a:gd name="connsiteX71" fmla="*/ 2793117 w 4667161"/>
              <a:gd name="connsiteY71" fmla="*/ 283368 h 1958188"/>
              <a:gd name="connsiteX72" fmla="*/ 2800261 w 4667161"/>
              <a:gd name="connsiteY72" fmla="*/ 242887 h 1958188"/>
              <a:gd name="connsiteX73" fmla="*/ 2771686 w 4667161"/>
              <a:gd name="connsiteY73" fmla="*/ 195262 h 1958188"/>
              <a:gd name="connsiteX74" fmla="*/ 2755017 w 4667161"/>
              <a:gd name="connsiteY74" fmla="*/ 135731 h 1958188"/>
              <a:gd name="connsiteX75" fmla="*/ 2721680 w 4667161"/>
              <a:gd name="connsiteY75" fmla="*/ 102393 h 1958188"/>
              <a:gd name="connsiteX76" fmla="*/ 2697867 w 4667161"/>
              <a:gd name="connsiteY76" fmla="*/ 59531 h 1958188"/>
              <a:gd name="connsiteX77" fmla="*/ 2707392 w 4667161"/>
              <a:gd name="connsiteY77" fmla="*/ 38100 h 1958188"/>
              <a:gd name="connsiteX78" fmla="*/ 2743111 w 4667161"/>
              <a:gd name="connsiteY78" fmla="*/ 0 h 1958188"/>
              <a:gd name="connsiteX79" fmla="*/ 2762161 w 4667161"/>
              <a:gd name="connsiteY79" fmla="*/ 16668 h 1958188"/>
              <a:gd name="connsiteX80" fmla="*/ 2843123 w 4667161"/>
              <a:gd name="connsiteY80" fmla="*/ 30956 h 1958188"/>
              <a:gd name="connsiteX81" fmla="*/ 2926467 w 4667161"/>
              <a:gd name="connsiteY81" fmla="*/ 47625 h 1958188"/>
              <a:gd name="connsiteX82" fmla="*/ 2976473 w 4667161"/>
              <a:gd name="connsiteY82" fmla="*/ 66675 h 1958188"/>
              <a:gd name="connsiteX83" fmla="*/ 3026480 w 4667161"/>
              <a:gd name="connsiteY83" fmla="*/ 61912 h 1958188"/>
              <a:gd name="connsiteX84" fmla="*/ 3074105 w 4667161"/>
              <a:gd name="connsiteY84" fmla="*/ 92868 h 1958188"/>
              <a:gd name="connsiteX85" fmla="*/ 3116967 w 4667161"/>
              <a:gd name="connsiteY85" fmla="*/ 119062 h 1958188"/>
              <a:gd name="connsiteX86" fmla="*/ 3138398 w 4667161"/>
              <a:gd name="connsiteY86" fmla="*/ 150018 h 1958188"/>
              <a:gd name="connsiteX87" fmla="*/ 3188405 w 4667161"/>
              <a:gd name="connsiteY87" fmla="*/ 157162 h 1958188"/>
              <a:gd name="connsiteX88" fmla="*/ 3214598 w 4667161"/>
              <a:gd name="connsiteY88" fmla="*/ 202406 h 1958188"/>
              <a:gd name="connsiteX89" fmla="*/ 3240792 w 4667161"/>
              <a:gd name="connsiteY89" fmla="*/ 233362 h 1958188"/>
              <a:gd name="connsiteX90" fmla="*/ 3257461 w 4667161"/>
              <a:gd name="connsiteY90" fmla="*/ 278606 h 1958188"/>
              <a:gd name="connsiteX91" fmla="*/ 3316992 w 4667161"/>
              <a:gd name="connsiteY91" fmla="*/ 295275 h 1958188"/>
              <a:gd name="connsiteX92" fmla="*/ 3345567 w 4667161"/>
              <a:gd name="connsiteY92" fmla="*/ 326231 h 1958188"/>
              <a:gd name="connsiteX93" fmla="*/ 3366998 w 4667161"/>
              <a:gd name="connsiteY93" fmla="*/ 335756 h 1958188"/>
              <a:gd name="connsiteX94" fmla="*/ 3378905 w 4667161"/>
              <a:gd name="connsiteY94" fmla="*/ 376237 h 1958188"/>
              <a:gd name="connsiteX95" fmla="*/ 3409861 w 4667161"/>
              <a:gd name="connsiteY95" fmla="*/ 383381 h 1958188"/>
              <a:gd name="connsiteX96" fmla="*/ 3447961 w 4667161"/>
              <a:gd name="connsiteY96" fmla="*/ 447675 h 1958188"/>
              <a:gd name="connsiteX97" fmla="*/ 3443198 w 4667161"/>
              <a:gd name="connsiteY97" fmla="*/ 502443 h 1958188"/>
              <a:gd name="connsiteX98" fmla="*/ 3431292 w 4667161"/>
              <a:gd name="connsiteY98" fmla="*/ 531018 h 1958188"/>
              <a:gd name="connsiteX99" fmla="*/ 3471773 w 4667161"/>
              <a:gd name="connsiteY99" fmla="*/ 564356 h 1958188"/>
              <a:gd name="connsiteX100" fmla="*/ 3469392 w 4667161"/>
              <a:gd name="connsiteY100" fmla="*/ 647700 h 1958188"/>
              <a:gd name="connsiteX101" fmla="*/ 3450342 w 4667161"/>
              <a:gd name="connsiteY101" fmla="*/ 664368 h 1958188"/>
              <a:gd name="connsiteX102" fmla="*/ 3433673 w 4667161"/>
              <a:gd name="connsiteY102" fmla="*/ 738187 h 1958188"/>
              <a:gd name="connsiteX103" fmla="*/ 3455105 w 4667161"/>
              <a:gd name="connsiteY103" fmla="*/ 773906 h 1958188"/>
              <a:gd name="connsiteX104" fmla="*/ 3509873 w 4667161"/>
              <a:gd name="connsiteY104" fmla="*/ 797718 h 1958188"/>
              <a:gd name="connsiteX105" fmla="*/ 3547973 w 4667161"/>
              <a:gd name="connsiteY105" fmla="*/ 778668 h 1958188"/>
              <a:gd name="connsiteX106" fmla="*/ 3590836 w 4667161"/>
              <a:gd name="connsiteY106" fmla="*/ 797718 h 1958188"/>
              <a:gd name="connsiteX107" fmla="*/ 3626555 w 4667161"/>
              <a:gd name="connsiteY107" fmla="*/ 783431 h 1958188"/>
              <a:gd name="connsiteX108" fmla="*/ 3664655 w 4667161"/>
              <a:gd name="connsiteY108" fmla="*/ 826293 h 1958188"/>
              <a:gd name="connsiteX109" fmla="*/ 3743236 w 4667161"/>
              <a:gd name="connsiteY109" fmla="*/ 902493 h 1958188"/>
              <a:gd name="connsiteX110" fmla="*/ 3812292 w 4667161"/>
              <a:gd name="connsiteY110" fmla="*/ 916781 h 1958188"/>
              <a:gd name="connsiteX111" fmla="*/ 3907542 w 4667161"/>
              <a:gd name="connsiteY111" fmla="*/ 959643 h 1958188"/>
              <a:gd name="connsiteX112" fmla="*/ 3974217 w 4667161"/>
              <a:gd name="connsiteY112" fmla="*/ 992981 h 1958188"/>
              <a:gd name="connsiteX113" fmla="*/ 3990886 w 4667161"/>
              <a:gd name="connsiteY113" fmla="*/ 1035843 h 1958188"/>
              <a:gd name="connsiteX114" fmla="*/ 4000411 w 4667161"/>
              <a:gd name="connsiteY114" fmla="*/ 1081087 h 1958188"/>
              <a:gd name="connsiteX115" fmla="*/ 4048036 w 4667161"/>
              <a:gd name="connsiteY115" fmla="*/ 1109662 h 1958188"/>
              <a:gd name="connsiteX116" fmla="*/ 4083755 w 4667161"/>
              <a:gd name="connsiteY116" fmla="*/ 1107281 h 1958188"/>
              <a:gd name="connsiteX117" fmla="*/ 4150430 w 4667161"/>
              <a:gd name="connsiteY117" fmla="*/ 1145381 h 1958188"/>
              <a:gd name="connsiteX118" fmla="*/ 4209961 w 4667161"/>
              <a:gd name="connsiteY118" fmla="*/ 1197768 h 1958188"/>
              <a:gd name="connsiteX119" fmla="*/ 4293305 w 4667161"/>
              <a:gd name="connsiteY119" fmla="*/ 1240631 h 1958188"/>
              <a:gd name="connsiteX120" fmla="*/ 4359980 w 4667161"/>
              <a:gd name="connsiteY120" fmla="*/ 1302543 h 1958188"/>
              <a:gd name="connsiteX121" fmla="*/ 4436180 w 4667161"/>
              <a:gd name="connsiteY121" fmla="*/ 1359693 h 1958188"/>
              <a:gd name="connsiteX122" fmla="*/ 4476661 w 4667161"/>
              <a:gd name="connsiteY122" fmla="*/ 1357312 h 1958188"/>
              <a:gd name="connsiteX123" fmla="*/ 4533811 w 4667161"/>
              <a:gd name="connsiteY123" fmla="*/ 1383506 h 1958188"/>
              <a:gd name="connsiteX124" fmla="*/ 4643348 w 4667161"/>
              <a:gd name="connsiteY124" fmla="*/ 1345406 h 1958188"/>
              <a:gd name="connsiteX125" fmla="*/ 4667161 w 4667161"/>
              <a:gd name="connsiteY125" fmla="*/ 1302543 h 1958188"/>
              <a:gd name="connsiteX126" fmla="*/ 4662398 w 4667161"/>
              <a:gd name="connsiteY126" fmla="*/ 1235868 h 1958188"/>
              <a:gd name="connsiteX127" fmla="*/ 4660017 w 4667161"/>
              <a:gd name="connsiteY127" fmla="*/ 1116806 h 1958188"/>
              <a:gd name="connsiteX128" fmla="*/ 4633823 w 4667161"/>
              <a:gd name="connsiteY128" fmla="*/ 1078706 h 1958188"/>
              <a:gd name="connsiteX129" fmla="*/ 4571911 w 4667161"/>
              <a:gd name="connsiteY129" fmla="*/ 1057275 h 1958188"/>
              <a:gd name="connsiteX130" fmla="*/ 4555242 w 4667161"/>
              <a:gd name="connsiteY130" fmla="*/ 1014412 h 1958188"/>
              <a:gd name="connsiteX131" fmla="*/ 4529048 w 4667161"/>
              <a:gd name="connsiteY131" fmla="*/ 931068 h 1958188"/>
              <a:gd name="connsiteX132" fmla="*/ 4500473 w 4667161"/>
              <a:gd name="connsiteY132" fmla="*/ 890587 h 1958188"/>
              <a:gd name="connsiteX133" fmla="*/ 4526667 w 4667161"/>
              <a:gd name="connsiteY133" fmla="*/ 862012 h 1958188"/>
              <a:gd name="connsiteX134" fmla="*/ 4595723 w 4667161"/>
              <a:gd name="connsiteY134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673805 w 4667161"/>
              <a:gd name="connsiteY9" fmla="*/ 1304925 h 1958188"/>
              <a:gd name="connsiteX10" fmla="*/ 714286 w 4667161"/>
              <a:gd name="connsiteY10" fmla="*/ 1259681 h 1958188"/>
              <a:gd name="connsiteX11" fmla="*/ 745242 w 4667161"/>
              <a:gd name="connsiteY11" fmla="*/ 1247775 h 1958188"/>
              <a:gd name="connsiteX12" fmla="*/ 795248 w 4667161"/>
              <a:gd name="connsiteY12" fmla="*/ 1257300 h 1958188"/>
              <a:gd name="connsiteX13" fmla="*/ 842873 w 4667161"/>
              <a:gd name="connsiteY13" fmla="*/ 1207293 h 1958188"/>
              <a:gd name="connsiteX14" fmla="*/ 890498 w 4667161"/>
              <a:gd name="connsiteY14" fmla="*/ 1214437 h 1958188"/>
              <a:gd name="connsiteX15" fmla="*/ 911930 w 4667161"/>
              <a:gd name="connsiteY15" fmla="*/ 1214437 h 1958188"/>
              <a:gd name="connsiteX16" fmla="*/ 947648 w 4667161"/>
              <a:gd name="connsiteY16" fmla="*/ 1195387 h 1958188"/>
              <a:gd name="connsiteX17" fmla="*/ 971461 w 4667161"/>
              <a:gd name="connsiteY17" fmla="*/ 1157287 h 1958188"/>
              <a:gd name="connsiteX18" fmla="*/ 1016705 w 4667161"/>
              <a:gd name="connsiteY18" fmla="*/ 1157287 h 1958188"/>
              <a:gd name="connsiteX19" fmla="*/ 1042898 w 4667161"/>
              <a:gd name="connsiteY19" fmla="*/ 1119187 h 1958188"/>
              <a:gd name="connsiteX20" fmla="*/ 1069092 w 4667161"/>
              <a:gd name="connsiteY20" fmla="*/ 1100137 h 1958188"/>
              <a:gd name="connsiteX21" fmla="*/ 1088142 w 4667161"/>
              <a:gd name="connsiteY21" fmla="*/ 1071562 h 1958188"/>
              <a:gd name="connsiteX22" fmla="*/ 1133386 w 4667161"/>
              <a:gd name="connsiteY22" fmla="*/ 1064418 h 1958188"/>
              <a:gd name="connsiteX23" fmla="*/ 1145292 w 4667161"/>
              <a:gd name="connsiteY23" fmla="*/ 1031081 h 1958188"/>
              <a:gd name="connsiteX24" fmla="*/ 1181011 w 4667161"/>
              <a:gd name="connsiteY24" fmla="*/ 1012031 h 1958188"/>
              <a:gd name="connsiteX25" fmla="*/ 1202442 w 4667161"/>
              <a:gd name="connsiteY25" fmla="*/ 988218 h 1958188"/>
              <a:gd name="connsiteX26" fmla="*/ 1283405 w 4667161"/>
              <a:gd name="connsiteY26" fmla="*/ 966787 h 1958188"/>
              <a:gd name="connsiteX27" fmla="*/ 1297692 w 4667161"/>
              <a:gd name="connsiteY27" fmla="*/ 952500 h 1958188"/>
              <a:gd name="connsiteX28" fmla="*/ 1307217 w 4667161"/>
              <a:gd name="connsiteY28" fmla="*/ 919162 h 1958188"/>
              <a:gd name="connsiteX29" fmla="*/ 1388180 w 4667161"/>
              <a:gd name="connsiteY29" fmla="*/ 878681 h 1958188"/>
              <a:gd name="connsiteX30" fmla="*/ 1407230 w 4667161"/>
              <a:gd name="connsiteY30" fmla="*/ 873918 h 1958188"/>
              <a:gd name="connsiteX31" fmla="*/ 1466761 w 4667161"/>
              <a:gd name="connsiteY31" fmla="*/ 809625 h 1958188"/>
              <a:gd name="connsiteX32" fmla="*/ 1471523 w 4667161"/>
              <a:gd name="connsiteY32" fmla="*/ 759618 h 1958188"/>
              <a:gd name="connsiteX33" fmla="*/ 1497717 w 4667161"/>
              <a:gd name="connsiteY33" fmla="*/ 733425 h 1958188"/>
              <a:gd name="connsiteX34" fmla="*/ 1523911 w 4667161"/>
              <a:gd name="connsiteY34" fmla="*/ 728662 h 1958188"/>
              <a:gd name="connsiteX35" fmla="*/ 1585823 w 4667161"/>
              <a:gd name="connsiteY35" fmla="*/ 683418 h 1958188"/>
              <a:gd name="connsiteX36" fmla="*/ 1671548 w 4667161"/>
              <a:gd name="connsiteY36" fmla="*/ 640556 h 1958188"/>
              <a:gd name="connsiteX37" fmla="*/ 1707267 w 4667161"/>
              <a:gd name="connsiteY37" fmla="*/ 600075 h 1958188"/>
              <a:gd name="connsiteX38" fmla="*/ 1735842 w 4667161"/>
              <a:gd name="connsiteY38" fmla="*/ 585787 h 1958188"/>
              <a:gd name="connsiteX39" fmla="*/ 1742986 w 4667161"/>
              <a:gd name="connsiteY39" fmla="*/ 519112 h 1958188"/>
              <a:gd name="connsiteX40" fmla="*/ 1759655 w 4667161"/>
              <a:gd name="connsiteY40" fmla="*/ 473868 h 1958188"/>
              <a:gd name="connsiteX41" fmla="*/ 1745367 w 4667161"/>
              <a:gd name="connsiteY41" fmla="*/ 433387 h 1958188"/>
              <a:gd name="connsiteX42" fmla="*/ 1750130 w 4667161"/>
              <a:gd name="connsiteY42" fmla="*/ 347662 h 1958188"/>
              <a:gd name="connsiteX43" fmla="*/ 1745367 w 4667161"/>
              <a:gd name="connsiteY43" fmla="*/ 307181 h 1958188"/>
              <a:gd name="connsiteX44" fmla="*/ 1745367 w 4667161"/>
              <a:gd name="connsiteY44" fmla="*/ 264318 h 1958188"/>
              <a:gd name="connsiteX45" fmla="*/ 1771561 w 4667161"/>
              <a:gd name="connsiteY45" fmla="*/ 254793 h 1958188"/>
              <a:gd name="connsiteX46" fmla="*/ 1792992 w 4667161"/>
              <a:gd name="connsiteY46" fmla="*/ 271462 h 1958188"/>
              <a:gd name="connsiteX47" fmla="*/ 1807280 w 4667161"/>
              <a:gd name="connsiteY47" fmla="*/ 297656 h 1958188"/>
              <a:gd name="connsiteX48" fmla="*/ 1835855 w 4667161"/>
              <a:gd name="connsiteY48" fmla="*/ 300037 h 1958188"/>
              <a:gd name="connsiteX49" fmla="*/ 1857286 w 4667161"/>
              <a:gd name="connsiteY49" fmla="*/ 278606 h 1958188"/>
              <a:gd name="connsiteX50" fmla="*/ 1943011 w 4667161"/>
              <a:gd name="connsiteY50" fmla="*/ 280987 h 1958188"/>
              <a:gd name="connsiteX51" fmla="*/ 1995398 w 4667161"/>
              <a:gd name="connsiteY51" fmla="*/ 290512 h 1958188"/>
              <a:gd name="connsiteX52" fmla="*/ 2043023 w 4667161"/>
              <a:gd name="connsiteY52" fmla="*/ 266700 h 1958188"/>
              <a:gd name="connsiteX53" fmla="*/ 2054930 w 4667161"/>
              <a:gd name="connsiteY53" fmla="*/ 233362 h 1958188"/>
              <a:gd name="connsiteX54" fmla="*/ 2095411 w 4667161"/>
              <a:gd name="connsiteY54" fmla="*/ 200025 h 1958188"/>
              <a:gd name="connsiteX55" fmla="*/ 2085886 w 4667161"/>
              <a:gd name="connsiteY55" fmla="*/ 173831 h 1958188"/>
              <a:gd name="connsiteX56" fmla="*/ 2102555 w 4667161"/>
              <a:gd name="connsiteY56" fmla="*/ 147637 h 1958188"/>
              <a:gd name="connsiteX57" fmla="*/ 2157323 w 4667161"/>
              <a:gd name="connsiteY57" fmla="*/ 169068 h 1958188"/>
              <a:gd name="connsiteX58" fmla="*/ 2204948 w 4667161"/>
              <a:gd name="connsiteY58" fmla="*/ 173831 h 1958188"/>
              <a:gd name="connsiteX59" fmla="*/ 2240667 w 4667161"/>
              <a:gd name="connsiteY59" fmla="*/ 209550 h 1958188"/>
              <a:gd name="connsiteX60" fmla="*/ 2269242 w 4667161"/>
              <a:gd name="connsiteY60" fmla="*/ 223837 h 1958188"/>
              <a:gd name="connsiteX61" fmla="*/ 2288292 w 4667161"/>
              <a:gd name="connsiteY61" fmla="*/ 280987 h 1958188"/>
              <a:gd name="connsiteX62" fmla="*/ 2357348 w 4667161"/>
              <a:gd name="connsiteY62" fmla="*/ 316706 h 1958188"/>
              <a:gd name="connsiteX63" fmla="*/ 2426405 w 4667161"/>
              <a:gd name="connsiteY63" fmla="*/ 307181 h 1958188"/>
              <a:gd name="connsiteX64" fmla="*/ 2474030 w 4667161"/>
              <a:gd name="connsiteY64" fmla="*/ 295275 h 1958188"/>
              <a:gd name="connsiteX65" fmla="*/ 2512130 w 4667161"/>
              <a:gd name="connsiteY65" fmla="*/ 307181 h 1958188"/>
              <a:gd name="connsiteX66" fmla="*/ 2562136 w 4667161"/>
              <a:gd name="connsiteY66" fmla="*/ 304800 h 1958188"/>
              <a:gd name="connsiteX67" fmla="*/ 2607380 w 4667161"/>
              <a:gd name="connsiteY67" fmla="*/ 316706 h 1958188"/>
              <a:gd name="connsiteX68" fmla="*/ 2652623 w 4667161"/>
              <a:gd name="connsiteY68" fmla="*/ 302418 h 1958188"/>
              <a:gd name="connsiteX69" fmla="*/ 2674055 w 4667161"/>
              <a:gd name="connsiteY69" fmla="*/ 276225 h 1958188"/>
              <a:gd name="connsiteX70" fmla="*/ 2752636 w 4667161"/>
              <a:gd name="connsiteY70" fmla="*/ 297656 h 1958188"/>
              <a:gd name="connsiteX71" fmla="*/ 2793117 w 4667161"/>
              <a:gd name="connsiteY71" fmla="*/ 283368 h 1958188"/>
              <a:gd name="connsiteX72" fmla="*/ 2800261 w 4667161"/>
              <a:gd name="connsiteY72" fmla="*/ 242887 h 1958188"/>
              <a:gd name="connsiteX73" fmla="*/ 2771686 w 4667161"/>
              <a:gd name="connsiteY73" fmla="*/ 195262 h 1958188"/>
              <a:gd name="connsiteX74" fmla="*/ 2755017 w 4667161"/>
              <a:gd name="connsiteY74" fmla="*/ 135731 h 1958188"/>
              <a:gd name="connsiteX75" fmla="*/ 2721680 w 4667161"/>
              <a:gd name="connsiteY75" fmla="*/ 102393 h 1958188"/>
              <a:gd name="connsiteX76" fmla="*/ 2697867 w 4667161"/>
              <a:gd name="connsiteY76" fmla="*/ 59531 h 1958188"/>
              <a:gd name="connsiteX77" fmla="*/ 2707392 w 4667161"/>
              <a:gd name="connsiteY77" fmla="*/ 38100 h 1958188"/>
              <a:gd name="connsiteX78" fmla="*/ 2743111 w 4667161"/>
              <a:gd name="connsiteY78" fmla="*/ 0 h 1958188"/>
              <a:gd name="connsiteX79" fmla="*/ 2762161 w 4667161"/>
              <a:gd name="connsiteY79" fmla="*/ 16668 h 1958188"/>
              <a:gd name="connsiteX80" fmla="*/ 2843123 w 4667161"/>
              <a:gd name="connsiteY80" fmla="*/ 30956 h 1958188"/>
              <a:gd name="connsiteX81" fmla="*/ 2926467 w 4667161"/>
              <a:gd name="connsiteY81" fmla="*/ 47625 h 1958188"/>
              <a:gd name="connsiteX82" fmla="*/ 2976473 w 4667161"/>
              <a:gd name="connsiteY82" fmla="*/ 66675 h 1958188"/>
              <a:gd name="connsiteX83" fmla="*/ 3026480 w 4667161"/>
              <a:gd name="connsiteY83" fmla="*/ 61912 h 1958188"/>
              <a:gd name="connsiteX84" fmla="*/ 3074105 w 4667161"/>
              <a:gd name="connsiteY84" fmla="*/ 92868 h 1958188"/>
              <a:gd name="connsiteX85" fmla="*/ 3116967 w 4667161"/>
              <a:gd name="connsiteY85" fmla="*/ 119062 h 1958188"/>
              <a:gd name="connsiteX86" fmla="*/ 3138398 w 4667161"/>
              <a:gd name="connsiteY86" fmla="*/ 150018 h 1958188"/>
              <a:gd name="connsiteX87" fmla="*/ 3188405 w 4667161"/>
              <a:gd name="connsiteY87" fmla="*/ 157162 h 1958188"/>
              <a:gd name="connsiteX88" fmla="*/ 3214598 w 4667161"/>
              <a:gd name="connsiteY88" fmla="*/ 202406 h 1958188"/>
              <a:gd name="connsiteX89" fmla="*/ 3240792 w 4667161"/>
              <a:gd name="connsiteY89" fmla="*/ 233362 h 1958188"/>
              <a:gd name="connsiteX90" fmla="*/ 3257461 w 4667161"/>
              <a:gd name="connsiteY90" fmla="*/ 278606 h 1958188"/>
              <a:gd name="connsiteX91" fmla="*/ 3316992 w 4667161"/>
              <a:gd name="connsiteY91" fmla="*/ 295275 h 1958188"/>
              <a:gd name="connsiteX92" fmla="*/ 3345567 w 4667161"/>
              <a:gd name="connsiteY92" fmla="*/ 326231 h 1958188"/>
              <a:gd name="connsiteX93" fmla="*/ 3366998 w 4667161"/>
              <a:gd name="connsiteY93" fmla="*/ 335756 h 1958188"/>
              <a:gd name="connsiteX94" fmla="*/ 3378905 w 4667161"/>
              <a:gd name="connsiteY94" fmla="*/ 376237 h 1958188"/>
              <a:gd name="connsiteX95" fmla="*/ 3409861 w 4667161"/>
              <a:gd name="connsiteY95" fmla="*/ 383381 h 1958188"/>
              <a:gd name="connsiteX96" fmla="*/ 3447961 w 4667161"/>
              <a:gd name="connsiteY96" fmla="*/ 447675 h 1958188"/>
              <a:gd name="connsiteX97" fmla="*/ 3443198 w 4667161"/>
              <a:gd name="connsiteY97" fmla="*/ 502443 h 1958188"/>
              <a:gd name="connsiteX98" fmla="*/ 3431292 w 4667161"/>
              <a:gd name="connsiteY98" fmla="*/ 531018 h 1958188"/>
              <a:gd name="connsiteX99" fmla="*/ 3471773 w 4667161"/>
              <a:gd name="connsiteY99" fmla="*/ 564356 h 1958188"/>
              <a:gd name="connsiteX100" fmla="*/ 3469392 w 4667161"/>
              <a:gd name="connsiteY100" fmla="*/ 647700 h 1958188"/>
              <a:gd name="connsiteX101" fmla="*/ 3450342 w 4667161"/>
              <a:gd name="connsiteY101" fmla="*/ 664368 h 1958188"/>
              <a:gd name="connsiteX102" fmla="*/ 3433673 w 4667161"/>
              <a:gd name="connsiteY102" fmla="*/ 738187 h 1958188"/>
              <a:gd name="connsiteX103" fmla="*/ 3455105 w 4667161"/>
              <a:gd name="connsiteY103" fmla="*/ 773906 h 1958188"/>
              <a:gd name="connsiteX104" fmla="*/ 3509873 w 4667161"/>
              <a:gd name="connsiteY104" fmla="*/ 797718 h 1958188"/>
              <a:gd name="connsiteX105" fmla="*/ 3547973 w 4667161"/>
              <a:gd name="connsiteY105" fmla="*/ 778668 h 1958188"/>
              <a:gd name="connsiteX106" fmla="*/ 3590836 w 4667161"/>
              <a:gd name="connsiteY106" fmla="*/ 797718 h 1958188"/>
              <a:gd name="connsiteX107" fmla="*/ 3626555 w 4667161"/>
              <a:gd name="connsiteY107" fmla="*/ 783431 h 1958188"/>
              <a:gd name="connsiteX108" fmla="*/ 3664655 w 4667161"/>
              <a:gd name="connsiteY108" fmla="*/ 826293 h 1958188"/>
              <a:gd name="connsiteX109" fmla="*/ 3743236 w 4667161"/>
              <a:gd name="connsiteY109" fmla="*/ 902493 h 1958188"/>
              <a:gd name="connsiteX110" fmla="*/ 3812292 w 4667161"/>
              <a:gd name="connsiteY110" fmla="*/ 916781 h 1958188"/>
              <a:gd name="connsiteX111" fmla="*/ 3907542 w 4667161"/>
              <a:gd name="connsiteY111" fmla="*/ 959643 h 1958188"/>
              <a:gd name="connsiteX112" fmla="*/ 3974217 w 4667161"/>
              <a:gd name="connsiteY112" fmla="*/ 992981 h 1958188"/>
              <a:gd name="connsiteX113" fmla="*/ 3990886 w 4667161"/>
              <a:gd name="connsiteY113" fmla="*/ 1035843 h 1958188"/>
              <a:gd name="connsiteX114" fmla="*/ 4000411 w 4667161"/>
              <a:gd name="connsiteY114" fmla="*/ 1081087 h 1958188"/>
              <a:gd name="connsiteX115" fmla="*/ 4048036 w 4667161"/>
              <a:gd name="connsiteY115" fmla="*/ 1109662 h 1958188"/>
              <a:gd name="connsiteX116" fmla="*/ 4083755 w 4667161"/>
              <a:gd name="connsiteY116" fmla="*/ 1107281 h 1958188"/>
              <a:gd name="connsiteX117" fmla="*/ 4150430 w 4667161"/>
              <a:gd name="connsiteY117" fmla="*/ 1145381 h 1958188"/>
              <a:gd name="connsiteX118" fmla="*/ 4209961 w 4667161"/>
              <a:gd name="connsiteY118" fmla="*/ 1197768 h 1958188"/>
              <a:gd name="connsiteX119" fmla="*/ 4293305 w 4667161"/>
              <a:gd name="connsiteY119" fmla="*/ 1240631 h 1958188"/>
              <a:gd name="connsiteX120" fmla="*/ 4359980 w 4667161"/>
              <a:gd name="connsiteY120" fmla="*/ 1302543 h 1958188"/>
              <a:gd name="connsiteX121" fmla="*/ 4436180 w 4667161"/>
              <a:gd name="connsiteY121" fmla="*/ 1359693 h 1958188"/>
              <a:gd name="connsiteX122" fmla="*/ 4476661 w 4667161"/>
              <a:gd name="connsiteY122" fmla="*/ 1357312 h 1958188"/>
              <a:gd name="connsiteX123" fmla="*/ 4533811 w 4667161"/>
              <a:gd name="connsiteY123" fmla="*/ 1383506 h 1958188"/>
              <a:gd name="connsiteX124" fmla="*/ 4643348 w 4667161"/>
              <a:gd name="connsiteY124" fmla="*/ 1345406 h 1958188"/>
              <a:gd name="connsiteX125" fmla="*/ 4667161 w 4667161"/>
              <a:gd name="connsiteY125" fmla="*/ 1302543 h 1958188"/>
              <a:gd name="connsiteX126" fmla="*/ 4662398 w 4667161"/>
              <a:gd name="connsiteY126" fmla="*/ 1235868 h 1958188"/>
              <a:gd name="connsiteX127" fmla="*/ 4660017 w 4667161"/>
              <a:gd name="connsiteY127" fmla="*/ 1116806 h 1958188"/>
              <a:gd name="connsiteX128" fmla="*/ 4633823 w 4667161"/>
              <a:gd name="connsiteY128" fmla="*/ 1078706 h 1958188"/>
              <a:gd name="connsiteX129" fmla="*/ 4571911 w 4667161"/>
              <a:gd name="connsiteY129" fmla="*/ 1057275 h 1958188"/>
              <a:gd name="connsiteX130" fmla="*/ 4555242 w 4667161"/>
              <a:gd name="connsiteY130" fmla="*/ 1014412 h 1958188"/>
              <a:gd name="connsiteX131" fmla="*/ 4529048 w 4667161"/>
              <a:gd name="connsiteY131" fmla="*/ 931068 h 1958188"/>
              <a:gd name="connsiteX132" fmla="*/ 4500473 w 4667161"/>
              <a:gd name="connsiteY132" fmla="*/ 890587 h 1958188"/>
              <a:gd name="connsiteX133" fmla="*/ 4526667 w 4667161"/>
              <a:gd name="connsiteY133" fmla="*/ 862012 h 1958188"/>
              <a:gd name="connsiteX134" fmla="*/ 4595723 w 4667161"/>
              <a:gd name="connsiteY134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37552 w 4667161"/>
              <a:gd name="connsiteY9" fmla="*/ 1480628 h 1958188"/>
              <a:gd name="connsiteX10" fmla="*/ 673805 w 4667161"/>
              <a:gd name="connsiteY10" fmla="*/ 1304925 h 1958188"/>
              <a:gd name="connsiteX11" fmla="*/ 714286 w 4667161"/>
              <a:gd name="connsiteY11" fmla="*/ 1259681 h 1958188"/>
              <a:gd name="connsiteX12" fmla="*/ 745242 w 4667161"/>
              <a:gd name="connsiteY12" fmla="*/ 1247775 h 1958188"/>
              <a:gd name="connsiteX13" fmla="*/ 795248 w 4667161"/>
              <a:gd name="connsiteY13" fmla="*/ 1257300 h 1958188"/>
              <a:gd name="connsiteX14" fmla="*/ 842873 w 4667161"/>
              <a:gd name="connsiteY14" fmla="*/ 1207293 h 1958188"/>
              <a:gd name="connsiteX15" fmla="*/ 890498 w 4667161"/>
              <a:gd name="connsiteY15" fmla="*/ 1214437 h 1958188"/>
              <a:gd name="connsiteX16" fmla="*/ 911930 w 4667161"/>
              <a:gd name="connsiteY16" fmla="*/ 1214437 h 1958188"/>
              <a:gd name="connsiteX17" fmla="*/ 947648 w 4667161"/>
              <a:gd name="connsiteY17" fmla="*/ 1195387 h 1958188"/>
              <a:gd name="connsiteX18" fmla="*/ 971461 w 4667161"/>
              <a:gd name="connsiteY18" fmla="*/ 1157287 h 1958188"/>
              <a:gd name="connsiteX19" fmla="*/ 1016705 w 4667161"/>
              <a:gd name="connsiteY19" fmla="*/ 1157287 h 1958188"/>
              <a:gd name="connsiteX20" fmla="*/ 1042898 w 4667161"/>
              <a:gd name="connsiteY20" fmla="*/ 1119187 h 1958188"/>
              <a:gd name="connsiteX21" fmla="*/ 1069092 w 4667161"/>
              <a:gd name="connsiteY21" fmla="*/ 1100137 h 1958188"/>
              <a:gd name="connsiteX22" fmla="*/ 1088142 w 4667161"/>
              <a:gd name="connsiteY22" fmla="*/ 1071562 h 1958188"/>
              <a:gd name="connsiteX23" fmla="*/ 1133386 w 4667161"/>
              <a:gd name="connsiteY23" fmla="*/ 1064418 h 1958188"/>
              <a:gd name="connsiteX24" fmla="*/ 1145292 w 4667161"/>
              <a:gd name="connsiteY24" fmla="*/ 1031081 h 1958188"/>
              <a:gd name="connsiteX25" fmla="*/ 1181011 w 4667161"/>
              <a:gd name="connsiteY25" fmla="*/ 1012031 h 1958188"/>
              <a:gd name="connsiteX26" fmla="*/ 1202442 w 4667161"/>
              <a:gd name="connsiteY26" fmla="*/ 988218 h 1958188"/>
              <a:gd name="connsiteX27" fmla="*/ 1283405 w 4667161"/>
              <a:gd name="connsiteY27" fmla="*/ 966787 h 1958188"/>
              <a:gd name="connsiteX28" fmla="*/ 1297692 w 4667161"/>
              <a:gd name="connsiteY28" fmla="*/ 952500 h 1958188"/>
              <a:gd name="connsiteX29" fmla="*/ 1307217 w 4667161"/>
              <a:gd name="connsiteY29" fmla="*/ 919162 h 1958188"/>
              <a:gd name="connsiteX30" fmla="*/ 1388180 w 4667161"/>
              <a:gd name="connsiteY30" fmla="*/ 878681 h 1958188"/>
              <a:gd name="connsiteX31" fmla="*/ 1407230 w 4667161"/>
              <a:gd name="connsiteY31" fmla="*/ 873918 h 1958188"/>
              <a:gd name="connsiteX32" fmla="*/ 1466761 w 4667161"/>
              <a:gd name="connsiteY32" fmla="*/ 809625 h 1958188"/>
              <a:gd name="connsiteX33" fmla="*/ 1471523 w 4667161"/>
              <a:gd name="connsiteY33" fmla="*/ 759618 h 1958188"/>
              <a:gd name="connsiteX34" fmla="*/ 1497717 w 4667161"/>
              <a:gd name="connsiteY34" fmla="*/ 733425 h 1958188"/>
              <a:gd name="connsiteX35" fmla="*/ 1523911 w 4667161"/>
              <a:gd name="connsiteY35" fmla="*/ 728662 h 1958188"/>
              <a:gd name="connsiteX36" fmla="*/ 1585823 w 4667161"/>
              <a:gd name="connsiteY36" fmla="*/ 683418 h 1958188"/>
              <a:gd name="connsiteX37" fmla="*/ 1671548 w 4667161"/>
              <a:gd name="connsiteY37" fmla="*/ 640556 h 1958188"/>
              <a:gd name="connsiteX38" fmla="*/ 1707267 w 4667161"/>
              <a:gd name="connsiteY38" fmla="*/ 600075 h 1958188"/>
              <a:gd name="connsiteX39" fmla="*/ 1735842 w 4667161"/>
              <a:gd name="connsiteY39" fmla="*/ 585787 h 1958188"/>
              <a:gd name="connsiteX40" fmla="*/ 1742986 w 4667161"/>
              <a:gd name="connsiteY40" fmla="*/ 519112 h 1958188"/>
              <a:gd name="connsiteX41" fmla="*/ 1759655 w 4667161"/>
              <a:gd name="connsiteY41" fmla="*/ 473868 h 1958188"/>
              <a:gd name="connsiteX42" fmla="*/ 1745367 w 4667161"/>
              <a:gd name="connsiteY42" fmla="*/ 433387 h 1958188"/>
              <a:gd name="connsiteX43" fmla="*/ 1750130 w 4667161"/>
              <a:gd name="connsiteY43" fmla="*/ 347662 h 1958188"/>
              <a:gd name="connsiteX44" fmla="*/ 1745367 w 4667161"/>
              <a:gd name="connsiteY44" fmla="*/ 307181 h 1958188"/>
              <a:gd name="connsiteX45" fmla="*/ 1745367 w 4667161"/>
              <a:gd name="connsiteY45" fmla="*/ 264318 h 1958188"/>
              <a:gd name="connsiteX46" fmla="*/ 1771561 w 4667161"/>
              <a:gd name="connsiteY46" fmla="*/ 254793 h 1958188"/>
              <a:gd name="connsiteX47" fmla="*/ 1792992 w 4667161"/>
              <a:gd name="connsiteY47" fmla="*/ 271462 h 1958188"/>
              <a:gd name="connsiteX48" fmla="*/ 1807280 w 4667161"/>
              <a:gd name="connsiteY48" fmla="*/ 297656 h 1958188"/>
              <a:gd name="connsiteX49" fmla="*/ 1835855 w 4667161"/>
              <a:gd name="connsiteY49" fmla="*/ 300037 h 1958188"/>
              <a:gd name="connsiteX50" fmla="*/ 1857286 w 4667161"/>
              <a:gd name="connsiteY50" fmla="*/ 278606 h 1958188"/>
              <a:gd name="connsiteX51" fmla="*/ 1943011 w 4667161"/>
              <a:gd name="connsiteY51" fmla="*/ 280987 h 1958188"/>
              <a:gd name="connsiteX52" fmla="*/ 1995398 w 4667161"/>
              <a:gd name="connsiteY52" fmla="*/ 290512 h 1958188"/>
              <a:gd name="connsiteX53" fmla="*/ 2043023 w 4667161"/>
              <a:gd name="connsiteY53" fmla="*/ 266700 h 1958188"/>
              <a:gd name="connsiteX54" fmla="*/ 2054930 w 4667161"/>
              <a:gd name="connsiteY54" fmla="*/ 233362 h 1958188"/>
              <a:gd name="connsiteX55" fmla="*/ 2095411 w 4667161"/>
              <a:gd name="connsiteY55" fmla="*/ 200025 h 1958188"/>
              <a:gd name="connsiteX56" fmla="*/ 2085886 w 4667161"/>
              <a:gd name="connsiteY56" fmla="*/ 173831 h 1958188"/>
              <a:gd name="connsiteX57" fmla="*/ 2102555 w 4667161"/>
              <a:gd name="connsiteY57" fmla="*/ 147637 h 1958188"/>
              <a:gd name="connsiteX58" fmla="*/ 2157323 w 4667161"/>
              <a:gd name="connsiteY58" fmla="*/ 169068 h 1958188"/>
              <a:gd name="connsiteX59" fmla="*/ 2204948 w 4667161"/>
              <a:gd name="connsiteY59" fmla="*/ 173831 h 1958188"/>
              <a:gd name="connsiteX60" fmla="*/ 2240667 w 4667161"/>
              <a:gd name="connsiteY60" fmla="*/ 209550 h 1958188"/>
              <a:gd name="connsiteX61" fmla="*/ 2269242 w 4667161"/>
              <a:gd name="connsiteY61" fmla="*/ 223837 h 1958188"/>
              <a:gd name="connsiteX62" fmla="*/ 2288292 w 4667161"/>
              <a:gd name="connsiteY62" fmla="*/ 280987 h 1958188"/>
              <a:gd name="connsiteX63" fmla="*/ 2357348 w 4667161"/>
              <a:gd name="connsiteY63" fmla="*/ 316706 h 1958188"/>
              <a:gd name="connsiteX64" fmla="*/ 2426405 w 4667161"/>
              <a:gd name="connsiteY64" fmla="*/ 307181 h 1958188"/>
              <a:gd name="connsiteX65" fmla="*/ 2474030 w 4667161"/>
              <a:gd name="connsiteY65" fmla="*/ 295275 h 1958188"/>
              <a:gd name="connsiteX66" fmla="*/ 2512130 w 4667161"/>
              <a:gd name="connsiteY66" fmla="*/ 307181 h 1958188"/>
              <a:gd name="connsiteX67" fmla="*/ 2562136 w 4667161"/>
              <a:gd name="connsiteY67" fmla="*/ 304800 h 1958188"/>
              <a:gd name="connsiteX68" fmla="*/ 2607380 w 4667161"/>
              <a:gd name="connsiteY68" fmla="*/ 316706 h 1958188"/>
              <a:gd name="connsiteX69" fmla="*/ 2652623 w 4667161"/>
              <a:gd name="connsiteY69" fmla="*/ 302418 h 1958188"/>
              <a:gd name="connsiteX70" fmla="*/ 2674055 w 4667161"/>
              <a:gd name="connsiteY70" fmla="*/ 276225 h 1958188"/>
              <a:gd name="connsiteX71" fmla="*/ 2752636 w 4667161"/>
              <a:gd name="connsiteY71" fmla="*/ 297656 h 1958188"/>
              <a:gd name="connsiteX72" fmla="*/ 2793117 w 4667161"/>
              <a:gd name="connsiteY72" fmla="*/ 283368 h 1958188"/>
              <a:gd name="connsiteX73" fmla="*/ 2800261 w 4667161"/>
              <a:gd name="connsiteY73" fmla="*/ 242887 h 1958188"/>
              <a:gd name="connsiteX74" fmla="*/ 2771686 w 4667161"/>
              <a:gd name="connsiteY74" fmla="*/ 195262 h 1958188"/>
              <a:gd name="connsiteX75" fmla="*/ 2755017 w 4667161"/>
              <a:gd name="connsiteY75" fmla="*/ 135731 h 1958188"/>
              <a:gd name="connsiteX76" fmla="*/ 2721680 w 4667161"/>
              <a:gd name="connsiteY76" fmla="*/ 102393 h 1958188"/>
              <a:gd name="connsiteX77" fmla="*/ 2697867 w 4667161"/>
              <a:gd name="connsiteY77" fmla="*/ 59531 h 1958188"/>
              <a:gd name="connsiteX78" fmla="*/ 2707392 w 4667161"/>
              <a:gd name="connsiteY78" fmla="*/ 38100 h 1958188"/>
              <a:gd name="connsiteX79" fmla="*/ 2743111 w 4667161"/>
              <a:gd name="connsiteY79" fmla="*/ 0 h 1958188"/>
              <a:gd name="connsiteX80" fmla="*/ 2762161 w 4667161"/>
              <a:gd name="connsiteY80" fmla="*/ 16668 h 1958188"/>
              <a:gd name="connsiteX81" fmla="*/ 2843123 w 4667161"/>
              <a:gd name="connsiteY81" fmla="*/ 30956 h 1958188"/>
              <a:gd name="connsiteX82" fmla="*/ 2926467 w 4667161"/>
              <a:gd name="connsiteY82" fmla="*/ 47625 h 1958188"/>
              <a:gd name="connsiteX83" fmla="*/ 2976473 w 4667161"/>
              <a:gd name="connsiteY83" fmla="*/ 66675 h 1958188"/>
              <a:gd name="connsiteX84" fmla="*/ 3026480 w 4667161"/>
              <a:gd name="connsiteY84" fmla="*/ 61912 h 1958188"/>
              <a:gd name="connsiteX85" fmla="*/ 3074105 w 4667161"/>
              <a:gd name="connsiteY85" fmla="*/ 92868 h 1958188"/>
              <a:gd name="connsiteX86" fmla="*/ 3116967 w 4667161"/>
              <a:gd name="connsiteY86" fmla="*/ 119062 h 1958188"/>
              <a:gd name="connsiteX87" fmla="*/ 3138398 w 4667161"/>
              <a:gd name="connsiteY87" fmla="*/ 150018 h 1958188"/>
              <a:gd name="connsiteX88" fmla="*/ 3188405 w 4667161"/>
              <a:gd name="connsiteY88" fmla="*/ 157162 h 1958188"/>
              <a:gd name="connsiteX89" fmla="*/ 3214598 w 4667161"/>
              <a:gd name="connsiteY89" fmla="*/ 202406 h 1958188"/>
              <a:gd name="connsiteX90" fmla="*/ 3240792 w 4667161"/>
              <a:gd name="connsiteY90" fmla="*/ 233362 h 1958188"/>
              <a:gd name="connsiteX91" fmla="*/ 3257461 w 4667161"/>
              <a:gd name="connsiteY91" fmla="*/ 278606 h 1958188"/>
              <a:gd name="connsiteX92" fmla="*/ 3316992 w 4667161"/>
              <a:gd name="connsiteY92" fmla="*/ 295275 h 1958188"/>
              <a:gd name="connsiteX93" fmla="*/ 3345567 w 4667161"/>
              <a:gd name="connsiteY93" fmla="*/ 326231 h 1958188"/>
              <a:gd name="connsiteX94" fmla="*/ 3366998 w 4667161"/>
              <a:gd name="connsiteY94" fmla="*/ 335756 h 1958188"/>
              <a:gd name="connsiteX95" fmla="*/ 3378905 w 4667161"/>
              <a:gd name="connsiteY95" fmla="*/ 376237 h 1958188"/>
              <a:gd name="connsiteX96" fmla="*/ 3409861 w 4667161"/>
              <a:gd name="connsiteY96" fmla="*/ 383381 h 1958188"/>
              <a:gd name="connsiteX97" fmla="*/ 3447961 w 4667161"/>
              <a:gd name="connsiteY97" fmla="*/ 447675 h 1958188"/>
              <a:gd name="connsiteX98" fmla="*/ 3443198 w 4667161"/>
              <a:gd name="connsiteY98" fmla="*/ 502443 h 1958188"/>
              <a:gd name="connsiteX99" fmla="*/ 3431292 w 4667161"/>
              <a:gd name="connsiteY99" fmla="*/ 531018 h 1958188"/>
              <a:gd name="connsiteX100" fmla="*/ 3471773 w 4667161"/>
              <a:gd name="connsiteY100" fmla="*/ 564356 h 1958188"/>
              <a:gd name="connsiteX101" fmla="*/ 3469392 w 4667161"/>
              <a:gd name="connsiteY101" fmla="*/ 647700 h 1958188"/>
              <a:gd name="connsiteX102" fmla="*/ 3450342 w 4667161"/>
              <a:gd name="connsiteY102" fmla="*/ 664368 h 1958188"/>
              <a:gd name="connsiteX103" fmla="*/ 3433673 w 4667161"/>
              <a:gd name="connsiteY103" fmla="*/ 738187 h 1958188"/>
              <a:gd name="connsiteX104" fmla="*/ 3455105 w 4667161"/>
              <a:gd name="connsiteY104" fmla="*/ 773906 h 1958188"/>
              <a:gd name="connsiteX105" fmla="*/ 3509873 w 4667161"/>
              <a:gd name="connsiteY105" fmla="*/ 797718 h 1958188"/>
              <a:gd name="connsiteX106" fmla="*/ 3547973 w 4667161"/>
              <a:gd name="connsiteY106" fmla="*/ 778668 h 1958188"/>
              <a:gd name="connsiteX107" fmla="*/ 3590836 w 4667161"/>
              <a:gd name="connsiteY107" fmla="*/ 797718 h 1958188"/>
              <a:gd name="connsiteX108" fmla="*/ 3626555 w 4667161"/>
              <a:gd name="connsiteY108" fmla="*/ 783431 h 1958188"/>
              <a:gd name="connsiteX109" fmla="*/ 3664655 w 4667161"/>
              <a:gd name="connsiteY109" fmla="*/ 826293 h 1958188"/>
              <a:gd name="connsiteX110" fmla="*/ 3743236 w 4667161"/>
              <a:gd name="connsiteY110" fmla="*/ 902493 h 1958188"/>
              <a:gd name="connsiteX111" fmla="*/ 3812292 w 4667161"/>
              <a:gd name="connsiteY111" fmla="*/ 916781 h 1958188"/>
              <a:gd name="connsiteX112" fmla="*/ 3907542 w 4667161"/>
              <a:gd name="connsiteY112" fmla="*/ 959643 h 1958188"/>
              <a:gd name="connsiteX113" fmla="*/ 3974217 w 4667161"/>
              <a:gd name="connsiteY113" fmla="*/ 992981 h 1958188"/>
              <a:gd name="connsiteX114" fmla="*/ 3990886 w 4667161"/>
              <a:gd name="connsiteY114" fmla="*/ 1035843 h 1958188"/>
              <a:gd name="connsiteX115" fmla="*/ 4000411 w 4667161"/>
              <a:gd name="connsiteY115" fmla="*/ 1081087 h 1958188"/>
              <a:gd name="connsiteX116" fmla="*/ 4048036 w 4667161"/>
              <a:gd name="connsiteY116" fmla="*/ 1109662 h 1958188"/>
              <a:gd name="connsiteX117" fmla="*/ 4083755 w 4667161"/>
              <a:gd name="connsiteY117" fmla="*/ 1107281 h 1958188"/>
              <a:gd name="connsiteX118" fmla="*/ 4150430 w 4667161"/>
              <a:gd name="connsiteY118" fmla="*/ 1145381 h 1958188"/>
              <a:gd name="connsiteX119" fmla="*/ 4209961 w 4667161"/>
              <a:gd name="connsiteY119" fmla="*/ 1197768 h 1958188"/>
              <a:gd name="connsiteX120" fmla="*/ 4293305 w 4667161"/>
              <a:gd name="connsiteY120" fmla="*/ 1240631 h 1958188"/>
              <a:gd name="connsiteX121" fmla="*/ 4359980 w 4667161"/>
              <a:gd name="connsiteY121" fmla="*/ 1302543 h 1958188"/>
              <a:gd name="connsiteX122" fmla="*/ 4436180 w 4667161"/>
              <a:gd name="connsiteY122" fmla="*/ 1359693 h 1958188"/>
              <a:gd name="connsiteX123" fmla="*/ 4476661 w 4667161"/>
              <a:gd name="connsiteY123" fmla="*/ 1357312 h 1958188"/>
              <a:gd name="connsiteX124" fmla="*/ 4533811 w 4667161"/>
              <a:gd name="connsiteY124" fmla="*/ 1383506 h 1958188"/>
              <a:gd name="connsiteX125" fmla="*/ 4643348 w 4667161"/>
              <a:gd name="connsiteY125" fmla="*/ 1345406 h 1958188"/>
              <a:gd name="connsiteX126" fmla="*/ 4667161 w 4667161"/>
              <a:gd name="connsiteY126" fmla="*/ 1302543 h 1958188"/>
              <a:gd name="connsiteX127" fmla="*/ 4662398 w 4667161"/>
              <a:gd name="connsiteY127" fmla="*/ 1235868 h 1958188"/>
              <a:gd name="connsiteX128" fmla="*/ 4660017 w 4667161"/>
              <a:gd name="connsiteY128" fmla="*/ 1116806 h 1958188"/>
              <a:gd name="connsiteX129" fmla="*/ 4633823 w 4667161"/>
              <a:gd name="connsiteY129" fmla="*/ 1078706 h 1958188"/>
              <a:gd name="connsiteX130" fmla="*/ 4571911 w 4667161"/>
              <a:gd name="connsiteY130" fmla="*/ 1057275 h 1958188"/>
              <a:gd name="connsiteX131" fmla="*/ 4555242 w 4667161"/>
              <a:gd name="connsiteY131" fmla="*/ 1014412 h 1958188"/>
              <a:gd name="connsiteX132" fmla="*/ 4529048 w 4667161"/>
              <a:gd name="connsiteY132" fmla="*/ 931068 h 1958188"/>
              <a:gd name="connsiteX133" fmla="*/ 4500473 w 4667161"/>
              <a:gd name="connsiteY133" fmla="*/ 890587 h 1958188"/>
              <a:gd name="connsiteX134" fmla="*/ 4526667 w 4667161"/>
              <a:gd name="connsiteY134" fmla="*/ 862012 h 1958188"/>
              <a:gd name="connsiteX135" fmla="*/ 4595723 w 4667161"/>
              <a:gd name="connsiteY135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673805 w 4667161"/>
              <a:gd name="connsiteY10" fmla="*/ 1304925 h 1958188"/>
              <a:gd name="connsiteX11" fmla="*/ 714286 w 4667161"/>
              <a:gd name="connsiteY11" fmla="*/ 1259681 h 1958188"/>
              <a:gd name="connsiteX12" fmla="*/ 745242 w 4667161"/>
              <a:gd name="connsiteY12" fmla="*/ 1247775 h 1958188"/>
              <a:gd name="connsiteX13" fmla="*/ 795248 w 4667161"/>
              <a:gd name="connsiteY13" fmla="*/ 1257300 h 1958188"/>
              <a:gd name="connsiteX14" fmla="*/ 842873 w 4667161"/>
              <a:gd name="connsiteY14" fmla="*/ 1207293 h 1958188"/>
              <a:gd name="connsiteX15" fmla="*/ 890498 w 4667161"/>
              <a:gd name="connsiteY15" fmla="*/ 1214437 h 1958188"/>
              <a:gd name="connsiteX16" fmla="*/ 911930 w 4667161"/>
              <a:gd name="connsiteY16" fmla="*/ 1214437 h 1958188"/>
              <a:gd name="connsiteX17" fmla="*/ 947648 w 4667161"/>
              <a:gd name="connsiteY17" fmla="*/ 1195387 h 1958188"/>
              <a:gd name="connsiteX18" fmla="*/ 971461 w 4667161"/>
              <a:gd name="connsiteY18" fmla="*/ 1157287 h 1958188"/>
              <a:gd name="connsiteX19" fmla="*/ 1016705 w 4667161"/>
              <a:gd name="connsiteY19" fmla="*/ 1157287 h 1958188"/>
              <a:gd name="connsiteX20" fmla="*/ 1042898 w 4667161"/>
              <a:gd name="connsiteY20" fmla="*/ 1119187 h 1958188"/>
              <a:gd name="connsiteX21" fmla="*/ 1069092 w 4667161"/>
              <a:gd name="connsiteY21" fmla="*/ 1100137 h 1958188"/>
              <a:gd name="connsiteX22" fmla="*/ 1088142 w 4667161"/>
              <a:gd name="connsiteY22" fmla="*/ 1071562 h 1958188"/>
              <a:gd name="connsiteX23" fmla="*/ 1133386 w 4667161"/>
              <a:gd name="connsiteY23" fmla="*/ 1064418 h 1958188"/>
              <a:gd name="connsiteX24" fmla="*/ 1145292 w 4667161"/>
              <a:gd name="connsiteY24" fmla="*/ 1031081 h 1958188"/>
              <a:gd name="connsiteX25" fmla="*/ 1181011 w 4667161"/>
              <a:gd name="connsiteY25" fmla="*/ 1012031 h 1958188"/>
              <a:gd name="connsiteX26" fmla="*/ 1202442 w 4667161"/>
              <a:gd name="connsiteY26" fmla="*/ 988218 h 1958188"/>
              <a:gd name="connsiteX27" fmla="*/ 1283405 w 4667161"/>
              <a:gd name="connsiteY27" fmla="*/ 966787 h 1958188"/>
              <a:gd name="connsiteX28" fmla="*/ 1297692 w 4667161"/>
              <a:gd name="connsiteY28" fmla="*/ 952500 h 1958188"/>
              <a:gd name="connsiteX29" fmla="*/ 1307217 w 4667161"/>
              <a:gd name="connsiteY29" fmla="*/ 919162 h 1958188"/>
              <a:gd name="connsiteX30" fmla="*/ 1388180 w 4667161"/>
              <a:gd name="connsiteY30" fmla="*/ 878681 h 1958188"/>
              <a:gd name="connsiteX31" fmla="*/ 1407230 w 4667161"/>
              <a:gd name="connsiteY31" fmla="*/ 873918 h 1958188"/>
              <a:gd name="connsiteX32" fmla="*/ 1466761 w 4667161"/>
              <a:gd name="connsiteY32" fmla="*/ 809625 h 1958188"/>
              <a:gd name="connsiteX33" fmla="*/ 1471523 w 4667161"/>
              <a:gd name="connsiteY33" fmla="*/ 759618 h 1958188"/>
              <a:gd name="connsiteX34" fmla="*/ 1497717 w 4667161"/>
              <a:gd name="connsiteY34" fmla="*/ 733425 h 1958188"/>
              <a:gd name="connsiteX35" fmla="*/ 1523911 w 4667161"/>
              <a:gd name="connsiteY35" fmla="*/ 728662 h 1958188"/>
              <a:gd name="connsiteX36" fmla="*/ 1585823 w 4667161"/>
              <a:gd name="connsiteY36" fmla="*/ 683418 h 1958188"/>
              <a:gd name="connsiteX37" fmla="*/ 1671548 w 4667161"/>
              <a:gd name="connsiteY37" fmla="*/ 640556 h 1958188"/>
              <a:gd name="connsiteX38" fmla="*/ 1707267 w 4667161"/>
              <a:gd name="connsiteY38" fmla="*/ 600075 h 1958188"/>
              <a:gd name="connsiteX39" fmla="*/ 1735842 w 4667161"/>
              <a:gd name="connsiteY39" fmla="*/ 585787 h 1958188"/>
              <a:gd name="connsiteX40" fmla="*/ 1742986 w 4667161"/>
              <a:gd name="connsiteY40" fmla="*/ 519112 h 1958188"/>
              <a:gd name="connsiteX41" fmla="*/ 1759655 w 4667161"/>
              <a:gd name="connsiteY41" fmla="*/ 473868 h 1958188"/>
              <a:gd name="connsiteX42" fmla="*/ 1745367 w 4667161"/>
              <a:gd name="connsiteY42" fmla="*/ 433387 h 1958188"/>
              <a:gd name="connsiteX43" fmla="*/ 1750130 w 4667161"/>
              <a:gd name="connsiteY43" fmla="*/ 347662 h 1958188"/>
              <a:gd name="connsiteX44" fmla="*/ 1745367 w 4667161"/>
              <a:gd name="connsiteY44" fmla="*/ 307181 h 1958188"/>
              <a:gd name="connsiteX45" fmla="*/ 1745367 w 4667161"/>
              <a:gd name="connsiteY45" fmla="*/ 264318 h 1958188"/>
              <a:gd name="connsiteX46" fmla="*/ 1771561 w 4667161"/>
              <a:gd name="connsiteY46" fmla="*/ 254793 h 1958188"/>
              <a:gd name="connsiteX47" fmla="*/ 1792992 w 4667161"/>
              <a:gd name="connsiteY47" fmla="*/ 271462 h 1958188"/>
              <a:gd name="connsiteX48" fmla="*/ 1807280 w 4667161"/>
              <a:gd name="connsiteY48" fmla="*/ 297656 h 1958188"/>
              <a:gd name="connsiteX49" fmla="*/ 1835855 w 4667161"/>
              <a:gd name="connsiteY49" fmla="*/ 300037 h 1958188"/>
              <a:gd name="connsiteX50" fmla="*/ 1857286 w 4667161"/>
              <a:gd name="connsiteY50" fmla="*/ 278606 h 1958188"/>
              <a:gd name="connsiteX51" fmla="*/ 1943011 w 4667161"/>
              <a:gd name="connsiteY51" fmla="*/ 280987 h 1958188"/>
              <a:gd name="connsiteX52" fmla="*/ 1995398 w 4667161"/>
              <a:gd name="connsiteY52" fmla="*/ 290512 h 1958188"/>
              <a:gd name="connsiteX53" fmla="*/ 2043023 w 4667161"/>
              <a:gd name="connsiteY53" fmla="*/ 266700 h 1958188"/>
              <a:gd name="connsiteX54" fmla="*/ 2054930 w 4667161"/>
              <a:gd name="connsiteY54" fmla="*/ 233362 h 1958188"/>
              <a:gd name="connsiteX55" fmla="*/ 2095411 w 4667161"/>
              <a:gd name="connsiteY55" fmla="*/ 200025 h 1958188"/>
              <a:gd name="connsiteX56" fmla="*/ 2085886 w 4667161"/>
              <a:gd name="connsiteY56" fmla="*/ 173831 h 1958188"/>
              <a:gd name="connsiteX57" fmla="*/ 2102555 w 4667161"/>
              <a:gd name="connsiteY57" fmla="*/ 147637 h 1958188"/>
              <a:gd name="connsiteX58" fmla="*/ 2157323 w 4667161"/>
              <a:gd name="connsiteY58" fmla="*/ 169068 h 1958188"/>
              <a:gd name="connsiteX59" fmla="*/ 2204948 w 4667161"/>
              <a:gd name="connsiteY59" fmla="*/ 173831 h 1958188"/>
              <a:gd name="connsiteX60" fmla="*/ 2240667 w 4667161"/>
              <a:gd name="connsiteY60" fmla="*/ 209550 h 1958188"/>
              <a:gd name="connsiteX61" fmla="*/ 2269242 w 4667161"/>
              <a:gd name="connsiteY61" fmla="*/ 223837 h 1958188"/>
              <a:gd name="connsiteX62" fmla="*/ 2288292 w 4667161"/>
              <a:gd name="connsiteY62" fmla="*/ 280987 h 1958188"/>
              <a:gd name="connsiteX63" fmla="*/ 2357348 w 4667161"/>
              <a:gd name="connsiteY63" fmla="*/ 316706 h 1958188"/>
              <a:gd name="connsiteX64" fmla="*/ 2426405 w 4667161"/>
              <a:gd name="connsiteY64" fmla="*/ 307181 h 1958188"/>
              <a:gd name="connsiteX65" fmla="*/ 2474030 w 4667161"/>
              <a:gd name="connsiteY65" fmla="*/ 295275 h 1958188"/>
              <a:gd name="connsiteX66" fmla="*/ 2512130 w 4667161"/>
              <a:gd name="connsiteY66" fmla="*/ 307181 h 1958188"/>
              <a:gd name="connsiteX67" fmla="*/ 2562136 w 4667161"/>
              <a:gd name="connsiteY67" fmla="*/ 304800 h 1958188"/>
              <a:gd name="connsiteX68" fmla="*/ 2607380 w 4667161"/>
              <a:gd name="connsiteY68" fmla="*/ 316706 h 1958188"/>
              <a:gd name="connsiteX69" fmla="*/ 2652623 w 4667161"/>
              <a:gd name="connsiteY69" fmla="*/ 302418 h 1958188"/>
              <a:gd name="connsiteX70" fmla="*/ 2674055 w 4667161"/>
              <a:gd name="connsiteY70" fmla="*/ 276225 h 1958188"/>
              <a:gd name="connsiteX71" fmla="*/ 2752636 w 4667161"/>
              <a:gd name="connsiteY71" fmla="*/ 297656 h 1958188"/>
              <a:gd name="connsiteX72" fmla="*/ 2793117 w 4667161"/>
              <a:gd name="connsiteY72" fmla="*/ 283368 h 1958188"/>
              <a:gd name="connsiteX73" fmla="*/ 2800261 w 4667161"/>
              <a:gd name="connsiteY73" fmla="*/ 242887 h 1958188"/>
              <a:gd name="connsiteX74" fmla="*/ 2771686 w 4667161"/>
              <a:gd name="connsiteY74" fmla="*/ 195262 h 1958188"/>
              <a:gd name="connsiteX75" fmla="*/ 2755017 w 4667161"/>
              <a:gd name="connsiteY75" fmla="*/ 135731 h 1958188"/>
              <a:gd name="connsiteX76" fmla="*/ 2721680 w 4667161"/>
              <a:gd name="connsiteY76" fmla="*/ 102393 h 1958188"/>
              <a:gd name="connsiteX77" fmla="*/ 2697867 w 4667161"/>
              <a:gd name="connsiteY77" fmla="*/ 59531 h 1958188"/>
              <a:gd name="connsiteX78" fmla="*/ 2707392 w 4667161"/>
              <a:gd name="connsiteY78" fmla="*/ 38100 h 1958188"/>
              <a:gd name="connsiteX79" fmla="*/ 2743111 w 4667161"/>
              <a:gd name="connsiteY79" fmla="*/ 0 h 1958188"/>
              <a:gd name="connsiteX80" fmla="*/ 2762161 w 4667161"/>
              <a:gd name="connsiteY80" fmla="*/ 16668 h 1958188"/>
              <a:gd name="connsiteX81" fmla="*/ 2843123 w 4667161"/>
              <a:gd name="connsiteY81" fmla="*/ 30956 h 1958188"/>
              <a:gd name="connsiteX82" fmla="*/ 2926467 w 4667161"/>
              <a:gd name="connsiteY82" fmla="*/ 47625 h 1958188"/>
              <a:gd name="connsiteX83" fmla="*/ 2976473 w 4667161"/>
              <a:gd name="connsiteY83" fmla="*/ 66675 h 1958188"/>
              <a:gd name="connsiteX84" fmla="*/ 3026480 w 4667161"/>
              <a:gd name="connsiteY84" fmla="*/ 61912 h 1958188"/>
              <a:gd name="connsiteX85" fmla="*/ 3074105 w 4667161"/>
              <a:gd name="connsiteY85" fmla="*/ 92868 h 1958188"/>
              <a:gd name="connsiteX86" fmla="*/ 3116967 w 4667161"/>
              <a:gd name="connsiteY86" fmla="*/ 119062 h 1958188"/>
              <a:gd name="connsiteX87" fmla="*/ 3138398 w 4667161"/>
              <a:gd name="connsiteY87" fmla="*/ 150018 h 1958188"/>
              <a:gd name="connsiteX88" fmla="*/ 3188405 w 4667161"/>
              <a:gd name="connsiteY88" fmla="*/ 157162 h 1958188"/>
              <a:gd name="connsiteX89" fmla="*/ 3214598 w 4667161"/>
              <a:gd name="connsiteY89" fmla="*/ 202406 h 1958188"/>
              <a:gd name="connsiteX90" fmla="*/ 3240792 w 4667161"/>
              <a:gd name="connsiteY90" fmla="*/ 233362 h 1958188"/>
              <a:gd name="connsiteX91" fmla="*/ 3257461 w 4667161"/>
              <a:gd name="connsiteY91" fmla="*/ 278606 h 1958188"/>
              <a:gd name="connsiteX92" fmla="*/ 3316992 w 4667161"/>
              <a:gd name="connsiteY92" fmla="*/ 295275 h 1958188"/>
              <a:gd name="connsiteX93" fmla="*/ 3345567 w 4667161"/>
              <a:gd name="connsiteY93" fmla="*/ 326231 h 1958188"/>
              <a:gd name="connsiteX94" fmla="*/ 3366998 w 4667161"/>
              <a:gd name="connsiteY94" fmla="*/ 335756 h 1958188"/>
              <a:gd name="connsiteX95" fmla="*/ 3378905 w 4667161"/>
              <a:gd name="connsiteY95" fmla="*/ 376237 h 1958188"/>
              <a:gd name="connsiteX96" fmla="*/ 3409861 w 4667161"/>
              <a:gd name="connsiteY96" fmla="*/ 383381 h 1958188"/>
              <a:gd name="connsiteX97" fmla="*/ 3447961 w 4667161"/>
              <a:gd name="connsiteY97" fmla="*/ 447675 h 1958188"/>
              <a:gd name="connsiteX98" fmla="*/ 3443198 w 4667161"/>
              <a:gd name="connsiteY98" fmla="*/ 502443 h 1958188"/>
              <a:gd name="connsiteX99" fmla="*/ 3431292 w 4667161"/>
              <a:gd name="connsiteY99" fmla="*/ 531018 h 1958188"/>
              <a:gd name="connsiteX100" fmla="*/ 3471773 w 4667161"/>
              <a:gd name="connsiteY100" fmla="*/ 564356 h 1958188"/>
              <a:gd name="connsiteX101" fmla="*/ 3469392 w 4667161"/>
              <a:gd name="connsiteY101" fmla="*/ 647700 h 1958188"/>
              <a:gd name="connsiteX102" fmla="*/ 3450342 w 4667161"/>
              <a:gd name="connsiteY102" fmla="*/ 664368 h 1958188"/>
              <a:gd name="connsiteX103" fmla="*/ 3433673 w 4667161"/>
              <a:gd name="connsiteY103" fmla="*/ 738187 h 1958188"/>
              <a:gd name="connsiteX104" fmla="*/ 3455105 w 4667161"/>
              <a:gd name="connsiteY104" fmla="*/ 773906 h 1958188"/>
              <a:gd name="connsiteX105" fmla="*/ 3509873 w 4667161"/>
              <a:gd name="connsiteY105" fmla="*/ 797718 h 1958188"/>
              <a:gd name="connsiteX106" fmla="*/ 3547973 w 4667161"/>
              <a:gd name="connsiteY106" fmla="*/ 778668 h 1958188"/>
              <a:gd name="connsiteX107" fmla="*/ 3590836 w 4667161"/>
              <a:gd name="connsiteY107" fmla="*/ 797718 h 1958188"/>
              <a:gd name="connsiteX108" fmla="*/ 3626555 w 4667161"/>
              <a:gd name="connsiteY108" fmla="*/ 783431 h 1958188"/>
              <a:gd name="connsiteX109" fmla="*/ 3664655 w 4667161"/>
              <a:gd name="connsiteY109" fmla="*/ 826293 h 1958188"/>
              <a:gd name="connsiteX110" fmla="*/ 3743236 w 4667161"/>
              <a:gd name="connsiteY110" fmla="*/ 902493 h 1958188"/>
              <a:gd name="connsiteX111" fmla="*/ 3812292 w 4667161"/>
              <a:gd name="connsiteY111" fmla="*/ 916781 h 1958188"/>
              <a:gd name="connsiteX112" fmla="*/ 3907542 w 4667161"/>
              <a:gd name="connsiteY112" fmla="*/ 959643 h 1958188"/>
              <a:gd name="connsiteX113" fmla="*/ 3974217 w 4667161"/>
              <a:gd name="connsiteY113" fmla="*/ 992981 h 1958188"/>
              <a:gd name="connsiteX114" fmla="*/ 3990886 w 4667161"/>
              <a:gd name="connsiteY114" fmla="*/ 1035843 h 1958188"/>
              <a:gd name="connsiteX115" fmla="*/ 4000411 w 4667161"/>
              <a:gd name="connsiteY115" fmla="*/ 1081087 h 1958188"/>
              <a:gd name="connsiteX116" fmla="*/ 4048036 w 4667161"/>
              <a:gd name="connsiteY116" fmla="*/ 1109662 h 1958188"/>
              <a:gd name="connsiteX117" fmla="*/ 4083755 w 4667161"/>
              <a:gd name="connsiteY117" fmla="*/ 1107281 h 1958188"/>
              <a:gd name="connsiteX118" fmla="*/ 4150430 w 4667161"/>
              <a:gd name="connsiteY118" fmla="*/ 1145381 h 1958188"/>
              <a:gd name="connsiteX119" fmla="*/ 4209961 w 4667161"/>
              <a:gd name="connsiteY119" fmla="*/ 1197768 h 1958188"/>
              <a:gd name="connsiteX120" fmla="*/ 4293305 w 4667161"/>
              <a:gd name="connsiteY120" fmla="*/ 1240631 h 1958188"/>
              <a:gd name="connsiteX121" fmla="*/ 4359980 w 4667161"/>
              <a:gd name="connsiteY121" fmla="*/ 1302543 h 1958188"/>
              <a:gd name="connsiteX122" fmla="*/ 4436180 w 4667161"/>
              <a:gd name="connsiteY122" fmla="*/ 1359693 h 1958188"/>
              <a:gd name="connsiteX123" fmla="*/ 4476661 w 4667161"/>
              <a:gd name="connsiteY123" fmla="*/ 1357312 h 1958188"/>
              <a:gd name="connsiteX124" fmla="*/ 4533811 w 4667161"/>
              <a:gd name="connsiteY124" fmla="*/ 1383506 h 1958188"/>
              <a:gd name="connsiteX125" fmla="*/ 4643348 w 4667161"/>
              <a:gd name="connsiteY125" fmla="*/ 1345406 h 1958188"/>
              <a:gd name="connsiteX126" fmla="*/ 4667161 w 4667161"/>
              <a:gd name="connsiteY126" fmla="*/ 1302543 h 1958188"/>
              <a:gd name="connsiteX127" fmla="*/ 4662398 w 4667161"/>
              <a:gd name="connsiteY127" fmla="*/ 1235868 h 1958188"/>
              <a:gd name="connsiteX128" fmla="*/ 4660017 w 4667161"/>
              <a:gd name="connsiteY128" fmla="*/ 1116806 h 1958188"/>
              <a:gd name="connsiteX129" fmla="*/ 4633823 w 4667161"/>
              <a:gd name="connsiteY129" fmla="*/ 1078706 h 1958188"/>
              <a:gd name="connsiteX130" fmla="*/ 4571911 w 4667161"/>
              <a:gd name="connsiteY130" fmla="*/ 1057275 h 1958188"/>
              <a:gd name="connsiteX131" fmla="*/ 4555242 w 4667161"/>
              <a:gd name="connsiteY131" fmla="*/ 1014412 h 1958188"/>
              <a:gd name="connsiteX132" fmla="*/ 4529048 w 4667161"/>
              <a:gd name="connsiteY132" fmla="*/ 931068 h 1958188"/>
              <a:gd name="connsiteX133" fmla="*/ 4500473 w 4667161"/>
              <a:gd name="connsiteY133" fmla="*/ 890587 h 1958188"/>
              <a:gd name="connsiteX134" fmla="*/ 4526667 w 4667161"/>
              <a:gd name="connsiteY134" fmla="*/ 862012 h 1958188"/>
              <a:gd name="connsiteX135" fmla="*/ 4595723 w 4667161"/>
              <a:gd name="connsiteY135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19505 h 1958188"/>
              <a:gd name="connsiteX11" fmla="*/ 673805 w 4667161"/>
              <a:gd name="connsiteY11" fmla="*/ 1304925 h 1958188"/>
              <a:gd name="connsiteX12" fmla="*/ 714286 w 4667161"/>
              <a:gd name="connsiteY12" fmla="*/ 1259681 h 1958188"/>
              <a:gd name="connsiteX13" fmla="*/ 745242 w 4667161"/>
              <a:gd name="connsiteY13" fmla="*/ 1247775 h 1958188"/>
              <a:gd name="connsiteX14" fmla="*/ 795248 w 4667161"/>
              <a:gd name="connsiteY14" fmla="*/ 1257300 h 1958188"/>
              <a:gd name="connsiteX15" fmla="*/ 842873 w 4667161"/>
              <a:gd name="connsiteY15" fmla="*/ 1207293 h 1958188"/>
              <a:gd name="connsiteX16" fmla="*/ 890498 w 4667161"/>
              <a:gd name="connsiteY16" fmla="*/ 1214437 h 1958188"/>
              <a:gd name="connsiteX17" fmla="*/ 911930 w 4667161"/>
              <a:gd name="connsiteY17" fmla="*/ 1214437 h 1958188"/>
              <a:gd name="connsiteX18" fmla="*/ 947648 w 4667161"/>
              <a:gd name="connsiteY18" fmla="*/ 1195387 h 1958188"/>
              <a:gd name="connsiteX19" fmla="*/ 971461 w 4667161"/>
              <a:gd name="connsiteY19" fmla="*/ 1157287 h 1958188"/>
              <a:gd name="connsiteX20" fmla="*/ 1016705 w 4667161"/>
              <a:gd name="connsiteY20" fmla="*/ 1157287 h 1958188"/>
              <a:gd name="connsiteX21" fmla="*/ 1042898 w 4667161"/>
              <a:gd name="connsiteY21" fmla="*/ 1119187 h 1958188"/>
              <a:gd name="connsiteX22" fmla="*/ 1069092 w 4667161"/>
              <a:gd name="connsiteY22" fmla="*/ 1100137 h 1958188"/>
              <a:gd name="connsiteX23" fmla="*/ 1088142 w 4667161"/>
              <a:gd name="connsiteY23" fmla="*/ 1071562 h 1958188"/>
              <a:gd name="connsiteX24" fmla="*/ 1133386 w 4667161"/>
              <a:gd name="connsiteY24" fmla="*/ 1064418 h 1958188"/>
              <a:gd name="connsiteX25" fmla="*/ 1145292 w 4667161"/>
              <a:gd name="connsiteY25" fmla="*/ 1031081 h 1958188"/>
              <a:gd name="connsiteX26" fmla="*/ 1181011 w 4667161"/>
              <a:gd name="connsiteY26" fmla="*/ 1012031 h 1958188"/>
              <a:gd name="connsiteX27" fmla="*/ 1202442 w 4667161"/>
              <a:gd name="connsiteY27" fmla="*/ 988218 h 1958188"/>
              <a:gd name="connsiteX28" fmla="*/ 1283405 w 4667161"/>
              <a:gd name="connsiteY28" fmla="*/ 966787 h 1958188"/>
              <a:gd name="connsiteX29" fmla="*/ 1297692 w 4667161"/>
              <a:gd name="connsiteY29" fmla="*/ 952500 h 1958188"/>
              <a:gd name="connsiteX30" fmla="*/ 1307217 w 4667161"/>
              <a:gd name="connsiteY30" fmla="*/ 919162 h 1958188"/>
              <a:gd name="connsiteX31" fmla="*/ 1388180 w 4667161"/>
              <a:gd name="connsiteY31" fmla="*/ 878681 h 1958188"/>
              <a:gd name="connsiteX32" fmla="*/ 1407230 w 4667161"/>
              <a:gd name="connsiteY32" fmla="*/ 873918 h 1958188"/>
              <a:gd name="connsiteX33" fmla="*/ 1466761 w 4667161"/>
              <a:gd name="connsiteY33" fmla="*/ 809625 h 1958188"/>
              <a:gd name="connsiteX34" fmla="*/ 1471523 w 4667161"/>
              <a:gd name="connsiteY34" fmla="*/ 759618 h 1958188"/>
              <a:gd name="connsiteX35" fmla="*/ 1497717 w 4667161"/>
              <a:gd name="connsiteY35" fmla="*/ 733425 h 1958188"/>
              <a:gd name="connsiteX36" fmla="*/ 1523911 w 4667161"/>
              <a:gd name="connsiteY36" fmla="*/ 728662 h 1958188"/>
              <a:gd name="connsiteX37" fmla="*/ 1585823 w 4667161"/>
              <a:gd name="connsiteY37" fmla="*/ 683418 h 1958188"/>
              <a:gd name="connsiteX38" fmla="*/ 1671548 w 4667161"/>
              <a:gd name="connsiteY38" fmla="*/ 640556 h 1958188"/>
              <a:gd name="connsiteX39" fmla="*/ 1707267 w 4667161"/>
              <a:gd name="connsiteY39" fmla="*/ 600075 h 1958188"/>
              <a:gd name="connsiteX40" fmla="*/ 1735842 w 4667161"/>
              <a:gd name="connsiteY40" fmla="*/ 585787 h 1958188"/>
              <a:gd name="connsiteX41" fmla="*/ 1742986 w 4667161"/>
              <a:gd name="connsiteY41" fmla="*/ 519112 h 1958188"/>
              <a:gd name="connsiteX42" fmla="*/ 1759655 w 4667161"/>
              <a:gd name="connsiteY42" fmla="*/ 473868 h 1958188"/>
              <a:gd name="connsiteX43" fmla="*/ 1745367 w 4667161"/>
              <a:gd name="connsiteY43" fmla="*/ 433387 h 1958188"/>
              <a:gd name="connsiteX44" fmla="*/ 1750130 w 4667161"/>
              <a:gd name="connsiteY44" fmla="*/ 347662 h 1958188"/>
              <a:gd name="connsiteX45" fmla="*/ 1745367 w 4667161"/>
              <a:gd name="connsiteY45" fmla="*/ 307181 h 1958188"/>
              <a:gd name="connsiteX46" fmla="*/ 1745367 w 4667161"/>
              <a:gd name="connsiteY46" fmla="*/ 264318 h 1958188"/>
              <a:gd name="connsiteX47" fmla="*/ 1771561 w 4667161"/>
              <a:gd name="connsiteY47" fmla="*/ 254793 h 1958188"/>
              <a:gd name="connsiteX48" fmla="*/ 1792992 w 4667161"/>
              <a:gd name="connsiteY48" fmla="*/ 271462 h 1958188"/>
              <a:gd name="connsiteX49" fmla="*/ 1807280 w 4667161"/>
              <a:gd name="connsiteY49" fmla="*/ 297656 h 1958188"/>
              <a:gd name="connsiteX50" fmla="*/ 1835855 w 4667161"/>
              <a:gd name="connsiteY50" fmla="*/ 300037 h 1958188"/>
              <a:gd name="connsiteX51" fmla="*/ 1857286 w 4667161"/>
              <a:gd name="connsiteY51" fmla="*/ 278606 h 1958188"/>
              <a:gd name="connsiteX52" fmla="*/ 1943011 w 4667161"/>
              <a:gd name="connsiteY52" fmla="*/ 280987 h 1958188"/>
              <a:gd name="connsiteX53" fmla="*/ 1995398 w 4667161"/>
              <a:gd name="connsiteY53" fmla="*/ 290512 h 1958188"/>
              <a:gd name="connsiteX54" fmla="*/ 2043023 w 4667161"/>
              <a:gd name="connsiteY54" fmla="*/ 266700 h 1958188"/>
              <a:gd name="connsiteX55" fmla="*/ 2054930 w 4667161"/>
              <a:gd name="connsiteY55" fmla="*/ 233362 h 1958188"/>
              <a:gd name="connsiteX56" fmla="*/ 2095411 w 4667161"/>
              <a:gd name="connsiteY56" fmla="*/ 200025 h 1958188"/>
              <a:gd name="connsiteX57" fmla="*/ 2085886 w 4667161"/>
              <a:gd name="connsiteY57" fmla="*/ 173831 h 1958188"/>
              <a:gd name="connsiteX58" fmla="*/ 2102555 w 4667161"/>
              <a:gd name="connsiteY58" fmla="*/ 147637 h 1958188"/>
              <a:gd name="connsiteX59" fmla="*/ 2157323 w 4667161"/>
              <a:gd name="connsiteY59" fmla="*/ 169068 h 1958188"/>
              <a:gd name="connsiteX60" fmla="*/ 2204948 w 4667161"/>
              <a:gd name="connsiteY60" fmla="*/ 173831 h 1958188"/>
              <a:gd name="connsiteX61" fmla="*/ 2240667 w 4667161"/>
              <a:gd name="connsiteY61" fmla="*/ 209550 h 1958188"/>
              <a:gd name="connsiteX62" fmla="*/ 2269242 w 4667161"/>
              <a:gd name="connsiteY62" fmla="*/ 223837 h 1958188"/>
              <a:gd name="connsiteX63" fmla="*/ 2288292 w 4667161"/>
              <a:gd name="connsiteY63" fmla="*/ 280987 h 1958188"/>
              <a:gd name="connsiteX64" fmla="*/ 2357348 w 4667161"/>
              <a:gd name="connsiteY64" fmla="*/ 316706 h 1958188"/>
              <a:gd name="connsiteX65" fmla="*/ 2426405 w 4667161"/>
              <a:gd name="connsiteY65" fmla="*/ 307181 h 1958188"/>
              <a:gd name="connsiteX66" fmla="*/ 2474030 w 4667161"/>
              <a:gd name="connsiteY66" fmla="*/ 295275 h 1958188"/>
              <a:gd name="connsiteX67" fmla="*/ 2512130 w 4667161"/>
              <a:gd name="connsiteY67" fmla="*/ 307181 h 1958188"/>
              <a:gd name="connsiteX68" fmla="*/ 2562136 w 4667161"/>
              <a:gd name="connsiteY68" fmla="*/ 304800 h 1958188"/>
              <a:gd name="connsiteX69" fmla="*/ 2607380 w 4667161"/>
              <a:gd name="connsiteY69" fmla="*/ 316706 h 1958188"/>
              <a:gd name="connsiteX70" fmla="*/ 2652623 w 4667161"/>
              <a:gd name="connsiteY70" fmla="*/ 302418 h 1958188"/>
              <a:gd name="connsiteX71" fmla="*/ 2674055 w 4667161"/>
              <a:gd name="connsiteY71" fmla="*/ 276225 h 1958188"/>
              <a:gd name="connsiteX72" fmla="*/ 2752636 w 4667161"/>
              <a:gd name="connsiteY72" fmla="*/ 297656 h 1958188"/>
              <a:gd name="connsiteX73" fmla="*/ 2793117 w 4667161"/>
              <a:gd name="connsiteY73" fmla="*/ 283368 h 1958188"/>
              <a:gd name="connsiteX74" fmla="*/ 2800261 w 4667161"/>
              <a:gd name="connsiteY74" fmla="*/ 242887 h 1958188"/>
              <a:gd name="connsiteX75" fmla="*/ 2771686 w 4667161"/>
              <a:gd name="connsiteY75" fmla="*/ 195262 h 1958188"/>
              <a:gd name="connsiteX76" fmla="*/ 2755017 w 4667161"/>
              <a:gd name="connsiteY76" fmla="*/ 135731 h 1958188"/>
              <a:gd name="connsiteX77" fmla="*/ 2721680 w 4667161"/>
              <a:gd name="connsiteY77" fmla="*/ 102393 h 1958188"/>
              <a:gd name="connsiteX78" fmla="*/ 2697867 w 4667161"/>
              <a:gd name="connsiteY78" fmla="*/ 59531 h 1958188"/>
              <a:gd name="connsiteX79" fmla="*/ 2707392 w 4667161"/>
              <a:gd name="connsiteY79" fmla="*/ 38100 h 1958188"/>
              <a:gd name="connsiteX80" fmla="*/ 2743111 w 4667161"/>
              <a:gd name="connsiteY80" fmla="*/ 0 h 1958188"/>
              <a:gd name="connsiteX81" fmla="*/ 2762161 w 4667161"/>
              <a:gd name="connsiteY81" fmla="*/ 16668 h 1958188"/>
              <a:gd name="connsiteX82" fmla="*/ 2843123 w 4667161"/>
              <a:gd name="connsiteY82" fmla="*/ 30956 h 1958188"/>
              <a:gd name="connsiteX83" fmla="*/ 2926467 w 4667161"/>
              <a:gd name="connsiteY83" fmla="*/ 47625 h 1958188"/>
              <a:gd name="connsiteX84" fmla="*/ 2976473 w 4667161"/>
              <a:gd name="connsiteY84" fmla="*/ 66675 h 1958188"/>
              <a:gd name="connsiteX85" fmla="*/ 3026480 w 4667161"/>
              <a:gd name="connsiteY85" fmla="*/ 61912 h 1958188"/>
              <a:gd name="connsiteX86" fmla="*/ 3074105 w 4667161"/>
              <a:gd name="connsiteY86" fmla="*/ 92868 h 1958188"/>
              <a:gd name="connsiteX87" fmla="*/ 3116967 w 4667161"/>
              <a:gd name="connsiteY87" fmla="*/ 119062 h 1958188"/>
              <a:gd name="connsiteX88" fmla="*/ 3138398 w 4667161"/>
              <a:gd name="connsiteY88" fmla="*/ 150018 h 1958188"/>
              <a:gd name="connsiteX89" fmla="*/ 3188405 w 4667161"/>
              <a:gd name="connsiteY89" fmla="*/ 157162 h 1958188"/>
              <a:gd name="connsiteX90" fmla="*/ 3214598 w 4667161"/>
              <a:gd name="connsiteY90" fmla="*/ 202406 h 1958188"/>
              <a:gd name="connsiteX91" fmla="*/ 3240792 w 4667161"/>
              <a:gd name="connsiteY91" fmla="*/ 233362 h 1958188"/>
              <a:gd name="connsiteX92" fmla="*/ 3257461 w 4667161"/>
              <a:gd name="connsiteY92" fmla="*/ 278606 h 1958188"/>
              <a:gd name="connsiteX93" fmla="*/ 3316992 w 4667161"/>
              <a:gd name="connsiteY93" fmla="*/ 295275 h 1958188"/>
              <a:gd name="connsiteX94" fmla="*/ 3345567 w 4667161"/>
              <a:gd name="connsiteY94" fmla="*/ 326231 h 1958188"/>
              <a:gd name="connsiteX95" fmla="*/ 3366998 w 4667161"/>
              <a:gd name="connsiteY95" fmla="*/ 335756 h 1958188"/>
              <a:gd name="connsiteX96" fmla="*/ 3378905 w 4667161"/>
              <a:gd name="connsiteY96" fmla="*/ 376237 h 1958188"/>
              <a:gd name="connsiteX97" fmla="*/ 3409861 w 4667161"/>
              <a:gd name="connsiteY97" fmla="*/ 383381 h 1958188"/>
              <a:gd name="connsiteX98" fmla="*/ 3447961 w 4667161"/>
              <a:gd name="connsiteY98" fmla="*/ 447675 h 1958188"/>
              <a:gd name="connsiteX99" fmla="*/ 3443198 w 4667161"/>
              <a:gd name="connsiteY99" fmla="*/ 502443 h 1958188"/>
              <a:gd name="connsiteX100" fmla="*/ 3431292 w 4667161"/>
              <a:gd name="connsiteY100" fmla="*/ 531018 h 1958188"/>
              <a:gd name="connsiteX101" fmla="*/ 3471773 w 4667161"/>
              <a:gd name="connsiteY101" fmla="*/ 564356 h 1958188"/>
              <a:gd name="connsiteX102" fmla="*/ 3469392 w 4667161"/>
              <a:gd name="connsiteY102" fmla="*/ 647700 h 1958188"/>
              <a:gd name="connsiteX103" fmla="*/ 3450342 w 4667161"/>
              <a:gd name="connsiteY103" fmla="*/ 664368 h 1958188"/>
              <a:gd name="connsiteX104" fmla="*/ 3433673 w 4667161"/>
              <a:gd name="connsiteY104" fmla="*/ 738187 h 1958188"/>
              <a:gd name="connsiteX105" fmla="*/ 3455105 w 4667161"/>
              <a:gd name="connsiteY105" fmla="*/ 773906 h 1958188"/>
              <a:gd name="connsiteX106" fmla="*/ 3509873 w 4667161"/>
              <a:gd name="connsiteY106" fmla="*/ 797718 h 1958188"/>
              <a:gd name="connsiteX107" fmla="*/ 3547973 w 4667161"/>
              <a:gd name="connsiteY107" fmla="*/ 778668 h 1958188"/>
              <a:gd name="connsiteX108" fmla="*/ 3590836 w 4667161"/>
              <a:gd name="connsiteY108" fmla="*/ 797718 h 1958188"/>
              <a:gd name="connsiteX109" fmla="*/ 3626555 w 4667161"/>
              <a:gd name="connsiteY109" fmla="*/ 783431 h 1958188"/>
              <a:gd name="connsiteX110" fmla="*/ 3664655 w 4667161"/>
              <a:gd name="connsiteY110" fmla="*/ 826293 h 1958188"/>
              <a:gd name="connsiteX111" fmla="*/ 3743236 w 4667161"/>
              <a:gd name="connsiteY111" fmla="*/ 902493 h 1958188"/>
              <a:gd name="connsiteX112" fmla="*/ 3812292 w 4667161"/>
              <a:gd name="connsiteY112" fmla="*/ 916781 h 1958188"/>
              <a:gd name="connsiteX113" fmla="*/ 3907542 w 4667161"/>
              <a:gd name="connsiteY113" fmla="*/ 959643 h 1958188"/>
              <a:gd name="connsiteX114" fmla="*/ 3974217 w 4667161"/>
              <a:gd name="connsiteY114" fmla="*/ 992981 h 1958188"/>
              <a:gd name="connsiteX115" fmla="*/ 3990886 w 4667161"/>
              <a:gd name="connsiteY115" fmla="*/ 1035843 h 1958188"/>
              <a:gd name="connsiteX116" fmla="*/ 4000411 w 4667161"/>
              <a:gd name="connsiteY116" fmla="*/ 1081087 h 1958188"/>
              <a:gd name="connsiteX117" fmla="*/ 4048036 w 4667161"/>
              <a:gd name="connsiteY117" fmla="*/ 1109662 h 1958188"/>
              <a:gd name="connsiteX118" fmla="*/ 4083755 w 4667161"/>
              <a:gd name="connsiteY118" fmla="*/ 1107281 h 1958188"/>
              <a:gd name="connsiteX119" fmla="*/ 4150430 w 4667161"/>
              <a:gd name="connsiteY119" fmla="*/ 1145381 h 1958188"/>
              <a:gd name="connsiteX120" fmla="*/ 4209961 w 4667161"/>
              <a:gd name="connsiteY120" fmla="*/ 1197768 h 1958188"/>
              <a:gd name="connsiteX121" fmla="*/ 4293305 w 4667161"/>
              <a:gd name="connsiteY121" fmla="*/ 1240631 h 1958188"/>
              <a:gd name="connsiteX122" fmla="*/ 4359980 w 4667161"/>
              <a:gd name="connsiteY122" fmla="*/ 1302543 h 1958188"/>
              <a:gd name="connsiteX123" fmla="*/ 4436180 w 4667161"/>
              <a:gd name="connsiteY123" fmla="*/ 1359693 h 1958188"/>
              <a:gd name="connsiteX124" fmla="*/ 4476661 w 4667161"/>
              <a:gd name="connsiteY124" fmla="*/ 1357312 h 1958188"/>
              <a:gd name="connsiteX125" fmla="*/ 4533811 w 4667161"/>
              <a:gd name="connsiteY125" fmla="*/ 1383506 h 1958188"/>
              <a:gd name="connsiteX126" fmla="*/ 4643348 w 4667161"/>
              <a:gd name="connsiteY126" fmla="*/ 1345406 h 1958188"/>
              <a:gd name="connsiteX127" fmla="*/ 4667161 w 4667161"/>
              <a:gd name="connsiteY127" fmla="*/ 1302543 h 1958188"/>
              <a:gd name="connsiteX128" fmla="*/ 4662398 w 4667161"/>
              <a:gd name="connsiteY128" fmla="*/ 1235868 h 1958188"/>
              <a:gd name="connsiteX129" fmla="*/ 4660017 w 4667161"/>
              <a:gd name="connsiteY129" fmla="*/ 1116806 h 1958188"/>
              <a:gd name="connsiteX130" fmla="*/ 4633823 w 4667161"/>
              <a:gd name="connsiteY130" fmla="*/ 1078706 h 1958188"/>
              <a:gd name="connsiteX131" fmla="*/ 4571911 w 4667161"/>
              <a:gd name="connsiteY131" fmla="*/ 1057275 h 1958188"/>
              <a:gd name="connsiteX132" fmla="*/ 4555242 w 4667161"/>
              <a:gd name="connsiteY132" fmla="*/ 1014412 h 1958188"/>
              <a:gd name="connsiteX133" fmla="*/ 4529048 w 4667161"/>
              <a:gd name="connsiteY133" fmla="*/ 931068 h 1958188"/>
              <a:gd name="connsiteX134" fmla="*/ 4500473 w 4667161"/>
              <a:gd name="connsiteY134" fmla="*/ 890587 h 1958188"/>
              <a:gd name="connsiteX135" fmla="*/ 4526667 w 4667161"/>
              <a:gd name="connsiteY135" fmla="*/ 862012 h 1958188"/>
              <a:gd name="connsiteX136" fmla="*/ 4595723 w 4667161"/>
              <a:gd name="connsiteY136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673805 w 4667161"/>
              <a:gd name="connsiteY11" fmla="*/ 1304925 h 1958188"/>
              <a:gd name="connsiteX12" fmla="*/ 714286 w 4667161"/>
              <a:gd name="connsiteY12" fmla="*/ 1259681 h 1958188"/>
              <a:gd name="connsiteX13" fmla="*/ 745242 w 4667161"/>
              <a:gd name="connsiteY13" fmla="*/ 1247775 h 1958188"/>
              <a:gd name="connsiteX14" fmla="*/ 795248 w 4667161"/>
              <a:gd name="connsiteY14" fmla="*/ 1257300 h 1958188"/>
              <a:gd name="connsiteX15" fmla="*/ 842873 w 4667161"/>
              <a:gd name="connsiteY15" fmla="*/ 1207293 h 1958188"/>
              <a:gd name="connsiteX16" fmla="*/ 890498 w 4667161"/>
              <a:gd name="connsiteY16" fmla="*/ 1214437 h 1958188"/>
              <a:gd name="connsiteX17" fmla="*/ 911930 w 4667161"/>
              <a:gd name="connsiteY17" fmla="*/ 1214437 h 1958188"/>
              <a:gd name="connsiteX18" fmla="*/ 947648 w 4667161"/>
              <a:gd name="connsiteY18" fmla="*/ 1195387 h 1958188"/>
              <a:gd name="connsiteX19" fmla="*/ 971461 w 4667161"/>
              <a:gd name="connsiteY19" fmla="*/ 1157287 h 1958188"/>
              <a:gd name="connsiteX20" fmla="*/ 1016705 w 4667161"/>
              <a:gd name="connsiteY20" fmla="*/ 1157287 h 1958188"/>
              <a:gd name="connsiteX21" fmla="*/ 1042898 w 4667161"/>
              <a:gd name="connsiteY21" fmla="*/ 1119187 h 1958188"/>
              <a:gd name="connsiteX22" fmla="*/ 1069092 w 4667161"/>
              <a:gd name="connsiteY22" fmla="*/ 1100137 h 1958188"/>
              <a:gd name="connsiteX23" fmla="*/ 1088142 w 4667161"/>
              <a:gd name="connsiteY23" fmla="*/ 1071562 h 1958188"/>
              <a:gd name="connsiteX24" fmla="*/ 1133386 w 4667161"/>
              <a:gd name="connsiteY24" fmla="*/ 1064418 h 1958188"/>
              <a:gd name="connsiteX25" fmla="*/ 1145292 w 4667161"/>
              <a:gd name="connsiteY25" fmla="*/ 1031081 h 1958188"/>
              <a:gd name="connsiteX26" fmla="*/ 1181011 w 4667161"/>
              <a:gd name="connsiteY26" fmla="*/ 1012031 h 1958188"/>
              <a:gd name="connsiteX27" fmla="*/ 1202442 w 4667161"/>
              <a:gd name="connsiteY27" fmla="*/ 988218 h 1958188"/>
              <a:gd name="connsiteX28" fmla="*/ 1283405 w 4667161"/>
              <a:gd name="connsiteY28" fmla="*/ 966787 h 1958188"/>
              <a:gd name="connsiteX29" fmla="*/ 1297692 w 4667161"/>
              <a:gd name="connsiteY29" fmla="*/ 952500 h 1958188"/>
              <a:gd name="connsiteX30" fmla="*/ 1307217 w 4667161"/>
              <a:gd name="connsiteY30" fmla="*/ 919162 h 1958188"/>
              <a:gd name="connsiteX31" fmla="*/ 1388180 w 4667161"/>
              <a:gd name="connsiteY31" fmla="*/ 878681 h 1958188"/>
              <a:gd name="connsiteX32" fmla="*/ 1407230 w 4667161"/>
              <a:gd name="connsiteY32" fmla="*/ 873918 h 1958188"/>
              <a:gd name="connsiteX33" fmla="*/ 1466761 w 4667161"/>
              <a:gd name="connsiteY33" fmla="*/ 809625 h 1958188"/>
              <a:gd name="connsiteX34" fmla="*/ 1471523 w 4667161"/>
              <a:gd name="connsiteY34" fmla="*/ 759618 h 1958188"/>
              <a:gd name="connsiteX35" fmla="*/ 1497717 w 4667161"/>
              <a:gd name="connsiteY35" fmla="*/ 733425 h 1958188"/>
              <a:gd name="connsiteX36" fmla="*/ 1523911 w 4667161"/>
              <a:gd name="connsiteY36" fmla="*/ 728662 h 1958188"/>
              <a:gd name="connsiteX37" fmla="*/ 1585823 w 4667161"/>
              <a:gd name="connsiteY37" fmla="*/ 683418 h 1958188"/>
              <a:gd name="connsiteX38" fmla="*/ 1671548 w 4667161"/>
              <a:gd name="connsiteY38" fmla="*/ 640556 h 1958188"/>
              <a:gd name="connsiteX39" fmla="*/ 1707267 w 4667161"/>
              <a:gd name="connsiteY39" fmla="*/ 600075 h 1958188"/>
              <a:gd name="connsiteX40" fmla="*/ 1735842 w 4667161"/>
              <a:gd name="connsiteY40" fmla="*/ 585787 h 1958188"/>
              <a:gd name="connsiteX41" fmla="*/ 1742986 w 4667161"/>
              <a:gd name="connsiteY41" fmla="*/ 519112 h 1958188"/>
              <a:gd name="connsiteX42" fmla="*/ 1759655 w 4667161"/>
              <a:gd name="connsiteY42" fmla="*/ 473868 h 1958188"/>
              <a:gd name="connsiteX43" fmla="*/ 1745367 w 4667161"/>
              <a:gd name="connsiteY43" fmla="*/ 433387 h 1958188"/>
              <a:gd name="connsiteX44" fmla="*/ 1750130 w 4667161"/>
              <a:gd name="connsiteY44" fmla="*/ 347662 h 1958188"/>
              <a:gd name="connsiteX45" fmla="*/ 1745367 w 4667161"/>
              <a:gd name="connsiteY45" fmla="*/ 307181 h 1958188"/>
              <a:gd name="connsiteX46" fmla="*/ 1745367 w 4667161"/>
              <a:gd name="connsiteY46" fmla="*/ 264318 h 1958188"/>
              <a:gd name="connsiteX47" fmla="*/ 1771561 w 4667161"/>
              <a:gd name="connsiteY47" fmla="*/ 254793 h 1958188"/>
              <a:gd name="connsiteX48" fmla="*/ 1792992 w 4667161"/>
              <a:gd name="connsiteY48" fmla="*/ 271462 h 1958188"/>
              <a:gd name="connsiteX49" fmla="*/ 1807280 w 4667161"/>
              <a:gd name="connsiteY49" fmla="*/ 297656 h 1958188"/>
              <a:gd name="connsiteX50" fmla="*/ 1835855 w 4667161"/>
              <a:gd name="connsiteY50" fmla="*/ 300037 h 1958188"/>
              <a:gd name="connsiteX51" fmla="*/ 1857286 w 4667161"/>
              <a:gd name="connsiteY51" fmla="*/ 278606 h 1958188"/>
              <a:gd name="connsiteX52" fmla="*/ 1943011 w 4667161"/>
              <a:gd name="connsiteY52" fmla="*/ 280987 h 1958188"/>
              <a:gd name="connsiteX53" fmla="*/ 1995398 w 4667161"/>
              <a:gd name="connsiteY53" fmla="*/ 290512 h 1958188"/>
              <a:gd name="connsiteX54" fmla="*/ 2043023 w 4667161"/>
              <a:gd name="connsiteY54" fmla="*/ 266700 h 1958188"/>
              <a:gd name="connsiteX55" fmla="*/ 2054930 w 4667161"/>
              <a:gd name="connsiteY55" fmla="*/ 233362 h 1958188"/>
              <a:gd name="connsiteX56" fmla="*/ 2095411 w 4667161"/>
              <a:gd name="connsiteY56" fmla="*/ 200025 h 1958188"/>
              <a:gd name="connsiteX57" fmla="*/ 2085886 w 4667161"/>
              <a:gd name="connsiteY57" fmla="*/ 173831 h 1958188"/>
              <a:gd name="connsiteX58" fmla="*/ 2102555 w 4667161"/>
              <a:gd name="connsiteY58" fmla="*/ 147637 h 1958188"/>
              <a:gd name="connsiteX59" fmla="*/ 2157323 w 4667161"/>
              <a:gd name="connsiteY59" fmla="*/ 169068 h 1958188"/>
              <a:gd name="connsiteX60" fmla="*/ 2204948 w 4667161"/>
              <a:gd name="connsiteY60" fmla="*/ 173831 h 1958188"/>
              <a:gd name="connsiteX61" fmla="*/ 2240667 w 4667161"/>
              <a:gd name="connsiteY61" fmla="*/ 209550 h 1958188"/>
              <a:gd name="connsiteX62" fmla="*/ 2269242 w 4667161"/>
              <a:gd name="connsiteY62" fmla="*/ 223837 h 1958188"/>
              <a:gd name="connsiteX63" fmla="*/ 2288292 w 4667161"/>
              <a:gd name="connsiteY63" fmla="*/ 280987 h 1958188"/>
              <a:gd name="connsiteX64" fmla="*/ 2357348 w 4667161"/>
              <a:gd name="connsiteY64" fmla="*/ 316706 h 1958188"/>
              <a:gd name="connsiteX65" fmla="*/ 2426405 w 4667161"/>
              <a:gd name="connsiteY65" fmla="*/ 307181 h 1958188"/>
              <a:gd name="connsiteX66" fmla="*/ 2474030 w 4667161"/>
              <a:gd name="connsiteY66" fmla="*/ 295275 h 1958188"/>
              <a:gd name="connsiteX67" fmla="*/ 2512130 w 4667161"/>
              <a:gd name="connsiteY67" fmla="*/ 307181 h 1958188"/>
              <a:gd name="connsiteX68" fmla="*/ 2562136 w 4667161"/>
              <a:gd name="connsiteY68" fmla="*/ 304800 h 1958188"/>
              <a:gd name="connsiteX69" fmla="*/ 2607380 w 4667161"/>
              <a:gd name="connsiteY69" fmla="*/ 316706 h 1958188"/>
              <a:gd name="connsiteX70" fmla="*/ 2652623 w 4667161"/>
              <a:gd name="connsiteY70" fmla="*/ 302418 h 1958188"/>
              <a:gd name="connsiteX71" fmla="*/ 2674055 w 4667161"/>
              <a:gd name="connsiteY71" fmla="*/ 276225 h 1958188"/>
              <a:gd name="connsiteX72" fmla="*/ 2752636 w 4667161"/>
              <a:gd name="connsiteY72" fmla="*/ 297656 h 1958188"/>
              <a:gd name="connsiteX73" fmla="*/ 2793117 w 4667161"/>
              <a:gd name="connsiteY73" fmla="*/ 283368 h 1958188"/>
              <a:gd name="connsiteX74" fmla="*/ 2800261 w 4667161"/>
              <a:gd name="connsiteY74" fmla="*/ 242887 h 1958188"/>
              <a:gd name="connsiteX75" fmla="*/ 2771686 w 4667161"/>
              <a:gd name="connsiteY75" fmla="*/ 195262 h 1958188"/>
              <a:gd name="connsiteX76" fmla="*/ 2755017 w 4667161"/>
              <a:gd name="connsiteY76" fmla="*/ 135731 h 1958188"/>
              <a:gd name="connsiteX77" fmla="*/ 2721680 w 4667161"/>
              <a:gd name="connsiteY77" fmla="*/ 102393 h 1958188"/>
              <a:gd name="connsiteX78" fmla="*/ 2697867 w 4667161"/>
              <a:gd name="connsiteY78" fmla="*/ 59531 h 1958188"/>
              <a:gd name="connsiteX79" fmla="*/ 2707392 w 4667161"/>
              <a:gd name="connsiteY79" fmla="*/ 38100 h 1958188"/>
              <a:gd name="connsiteX80" fmla="*/ 2743111 w 4667161"/>
              <a:gd name="connsiteY80" fmla="*/ 0 h 1958188"/>
              <a:gd name="connsiteX81" fmla="*/ 2762161 w 4667161"/>
              <a:gd name="connsiteY81" fmla="*/ 16668 h 1958188"/>
              <a:gd name="connsiteX82" fmla="*/ 2843123 w 4667161"/>
              <a:gd name="connsiteY82" fmla="*/ 30956 h 1958188"/>
              <a:gd name="connsiteX83" fmla="*/ 2926467 w 4667161"/>
              <a:gd name="connsiteY83" fmla="*/ 47625 h 1958188"/>
              <a:gd name="connsiteX84" fmla="*/ 2976473 w 4667161"/>
              <a:gd name="connsiteY84" fmla="*/ 66675 h 1958188"/>
              <a:gd name="connsiteX85" fmla="*/ 3026480 w 4667161"/>
              <a:gd name="connsiteY85" fmla="*/ 61912 h 1958188"/>
              <a:gd name="connsiteX86" fmla="*/ 3074105 w 4667161"/>
              <a:gd name="connsiteY86" fmla="*/ 92868 h 1958188"/>
              <a:gd name="connsiteX87" fmla="*/ 3116967 w 4667161"/>
              <a:gd name="connsiteY87" fmla="*/ 119062 h 1958188"/>
              <a:gd name="connsiteX88" fmla="*/ 3138398 w 4667161"/>
              <a:gd name="connsiteY88" fmla="*/ 150018 h 1958188"/>
              <a:gd name="connsiteX89" fmla="*/ 3188405 w 4667161"/>
              <a:gd name="connsiteY89" fmla="*/ 157162 h 1958188"/>
              <a:gd name="connsiteX90" fmla="*/ 3214598 w 4667161"/>
              <a:gd name="connsiteY90" fmla="*/ 202406 h 1958188"/>
              <a:gd name="connsiteX91" fmla="*/ 3240792 w 4667161"/>
              <a:gd name="connsiteY91" fmla="*/ 233362 h 1958188"/>
              <a:gd name="connsiteX92" fmla="*/ 3257461 w 4667161"/>
              <a:gd name="connsiteY92" fmla="*/ 278606 h 1958188"/>
              <a:gd name="connsiteX93" fmla="*/ 3316992 w 4667161"/>
              <a:gd name="connsiteY93" fmla="*/ 295275 h 1958188"/>
              <a:gd name="connsiteX94" fmla="*/ 3345567 w 4667161"/>
              <a:gd name="connsiteY94" fmla="*/ 326231 h 1958188"/>
              <a:gd name="connsiteX95" fmla="*/ 3366998 w 4667161"/>
              <a:gd name="connsiteY95" fmla="*/ 335756 h 1958188"/>
              <a:gd name="connsiteX96" fmla="*/ 3378905 w 4667161"/>
              <a:gd name="connsiteY96" fmla="*/ 376237 h 1958188"/>
              <a:gd name="connsiteX97" fmla="*/ 3409861 w 4667161"/>
              <a:gd name="connsiteY97" fmla="*/ 383381 h 1958188"/>
              <a:gd name="connsiteX98" fmla="*/ 3447961 w 4667161"/>
              <a:gd name="connsiteY98" fmla="*/ 447675 h 1958188"/>
              <a:gd name="connsiteX99" fmla="*/ 3443198 w 4667161"/>
              <a:gd name="connsiteY99" fmla="*/ 502443 h 1958188"/>
              <a:gd name="connsiteX100" fmla="*/ 3431292 w 4667161"/>
              <a:gd name="connsiteY100" fmla="*/ 531018 h 1958188"/>
              <a:gd name="connsiteX101" fmla="*/ 3471773 w 4667161"/>
              <a:gd name="connsiteY101" fmla="*/ 564356 h 1958188"/>
              <a:gd name="connsiteX102" fmla="*/ 3469392 w 4667161"/>
              <a:gd name="connsiteY102" fmla="*/ 647700 h 1958188"/>
              <a:gd name="connsiteX103" fmla="*/ 3450342 w 4667161"/>
              <a:gd name="connsiteY103" fmla="*/ 664368 h 1958188"/>
              <a:gd name="connsiteX104" fmla="*/ 3433673 w 4667161"/>
              <a:gd name="connsiteY104" fmla="*/ 738187 h 1958188"/>
              <a:gd name="connsiteX105" fmla="*/ 3455105 w 4667161"/>
              <a:gd name="connsiteY105" fmla="*/ 773906 h 1958188"/>
              <a:gd name="connsiteX106" fmla="*/ 3509873 w 4667161"/>
              <a:gd name="connsiteY106" fmla="*/ 797718 h 1958188"/>
              <a:gd name="connsiteX107" fmla="*/ 3547973 w 4667161"/>
              <a:gd name="connsiteY107" fmla="*/ 778668 h 1958188"/>
              <a:gd name="connsiteX108" fmla="*/ 3590836 w 4667161"/>
              <a:gd name="connsiteY108" fmla="*/ 797718 h 1958188"/>
              <a:gd name="connsiteX109" fmla="*/ 3626555 w 4667161"/>
              <a:gd name="connsiteY109" fmla="*/ 783431 h 1958188"/>
              <a:gd name="connsiteX110" fmla="*/ 3664655 w 4667161"/>
              <a:gd name="connsiteY110" fmla="*/ 826293 h 1958188"/>
              <a:gd name="connsiteX111" fmla="*/ 3743236 w 4667161"/>
              <a:gd name="connsiteY111" fmla="*/ 902493 h 1958188"/>
              <a:gd name="connsiteX112" fmla="*/ 3812292 w 4667161"/>
              <a:gd name="connsiteY112" fmla="*/ 916781 h 1958188"/>
              <a:gd name="connsiteX113" fmla="*/ 3907542 w 4667161"/>
              <a:gd name="connsiteY113" fmla="*/ 959643 h 1958188"/>
              <a:gd name="connsiteX114" fmla="*/ 3974217 w 4667161"/>
              <a:gd name="connsiteY114" fmla="*/ 992981 h 1958188"/>
              <a:gd name="connsiteX115" fmla="*/ 3990886 w 4667161"/>
              <a:gd name="connsiteY115" fmla="*/ 1035843 h 1958188"/>
              <a:gd name="connsiteX116" fmla="*/ 4000411 w 4667161"/>
              <a:gd name="connsiteY116" fmla="*/ 1081087 h 1958188"/>
              <a:gd name="connsiteX117" fmla="*/ 4048036 w 4667161"/>
              <a:gd name="connsiteY117" fmla="*/ 1109662 h 1958188"/>
              <a:gd name="connsiteX118" fmla="*/ 4083755 w 4667161"/>
              <a:gd name="connsiteY118" fmla="*/ 1107281 h 1958188"/>
              <a:gd name="connsiteX119" fmla="*/ 4150430 w 4667161"/>
              <a:gd name="connsiteY119" fmla="*/ 1145381 h 1958188"/>
              <a:gd name="connsiteX120" fmla="*/ 4209961 w 4667161"/>
              <a:gd name="connsiteY120" fmla="*/ 1197768 h 1958188"/>
              <a:gd name="connsiteX121" fmla="*/ 4293305 w 4667161"/>
              <a:gd name="connsiteY121" fmla="*/ 1240631 h 1958188"/>
              <a:gd name="connsiteX122" fmla="*/ 4359980 w 4667161"/>
              <a:gd name="connsiteY122" fmla="*/ 1302543 h 1958188"/>
              <a:gd name="connsiteX123" fmla="*/ 4436180 w 4667161"/>
              <a:gd name="connsiteY123" fmla="*/ 1359693 h 1958188"/>
              <a:gd name="connsiteX124" fmla="*/ 4476661 w 4667161"/>
              <a:gd name="connsiteY124" fmla="*/ 1357312 h 1958188"/>
              <a:gd name="connsiteX125" fmla="*/ 4533811 w 4667161"/>
              <a:gd name="connsiteY125" fmla="*/ 1383506 h 1958188"/>
              <a:gd name="connsiteX126" fmla="*/ 4643348 w 4667161"/>
              <a:gd name="connsiteY126" fmla="*/ 1345406 h 1958188"/>
              <a:gd name="connsiteX127" fmla="*/ 4667161 w 4667161"/>
              <a:gd name="connsiteY127" fmla="*/ 1302543 h 1958188"/>
              <a:gd name="connsiteX128" fmla="*/ 4662398 w 4667161"/>
              <a:gd name="connsiteY128" fmla="*/ 1235868 h 1958188"/>
              <a:gd name="connsiteX129" fmla="*/ 4660017 w 4667161"/>
              <a:gd name="connsiteY129" fmla="*/ 1116806 h 1958188"/>
              <a:gd name="connsiteX130" fmla="*/ 4633823 w 4667161"/>
              <a:gd name="connsiteY130" fmla="*/ 1078706 h 1958188"/>
              <a:gd name="connsiteX131" fmla="*/ 4571911 w 4667161"/>
              <a:gd name="connsiteY131" fmla="*/ 1057275 h 1958188"/>
              <a:gd name="connsiteX132" fmla="*/ 4555242 w 4667161"/>
              <a:gd name="connsiteY132" fmla="*/ 1014412 h 1958188"/>
              <a:gd name="connsiteX133" fmla="*/ 4529048 w 4667161"/>
              <a:gd name="connsiteY133" fmla="*/ 931068 h 1958188"/>
              <a:gd name="connsiteX134" fmla="*/ 4500473 w 4667161"/>
              <a:gd name="connsiteY134" fmla="*/ 890587 h 1958188"/>
              <a:gd name="connsiteX135" fmla="*/ 4526667 w 4667161"/>
              <a:gd name="connsiteY135" fmla="*/ 862012 h 1958188"/>
              <a:gd name="connsiteX136" fmla="*/ 4595723 w 4667161"/>
              <a:gd name="connsiteY136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09725 h 1958188"/>
              <a:gd name="connsiteX12" fmla="*/ 673805 w 4667161"/>
              <a:gd name="connsiteY12" fmla="*/ 1304925 h 1958188"/>
              <a:gd name="connsiteX13" fmla="*/ 714286 w 4667161"/>
              <a:gd name="connsiteY13" fmla="*/ 1259681 h 1958188"/>
              <a:gd name="connsiteX14" fmla="*/ 745242 w 4667161"/>
              <a:gd name="connsiteY14" fmla="*/ 1247775 h 1958188"/>
              <a:gd name="connsiteX15" fmla="*/ 795248 w 4667161"/>
              <a:gd name="connsiteY15" fmla="*/ 1257300 h 1958188"/>
              <a:gd name="connsiteX16" fmla="*/ 842873 w 4667161"/>
              <a:gd name="connsiteY16" fmla="*/ 1207293 h 1958188"/>
              <a:gd name="connsiteX17" fmla="*/ 890498 w 4667161"/>
              <a:gd name="connsiteY17" fmla="*/ 1214437 h 1958188"/>
              <a:gd name="connsiteX18" fmla="*/ 911930 w 4667161"/>
              <a:gd name="connsiteY18" fmla="*/ 1214437 h 1958188"/>
              <a:gd name="connsiteX19" fmla="*/ 947648 w 4667161"/>
              <a:gd name="connsiteY19" fmla="*/ 1195387 h 1958188"/>
              <a:gd name="connsiteX20" fmla="*/ 971461 w 4667161"/>
              <a:gd name="connsiteY20" fmla="*/ 1157287 h 1958188"/>
              <a:gd name="connsiteX21" fmla="*/ 1016705 w 4667161"/>
              <a:gd name="connsiteY21" fmla="*/ 1157287 h 1958188"/>
              <a:gd name="connsiteX22" fmla="*/ 1042898 w 4667161"/>
              <a:gd name="connsiteY22" fmla="*/ 1119187 h 1958188"/>
              <a:gd name="connsiteX23" fmla="*/ 1069092 w 4667161"/>
              <a:gd name="connsiteY23" fmla="*/ 1100137 h 1958188"/>
              <a:gd name="connsiteX24" fmla="*/ 1088142 w 4667161"/>
              <a:gd name="connsiteY24" fmla="*/ 1071562 h 1958188"/>
              <a:gd name="connsiteX25" fmla="*/ 1133386 w 4667161"/>
              <a:gd name="connsiteY25" fmla="*/ 1064418 h 1958188"/>
              <a:gd name="connsiteX26" fmla="*/ 1145292 w 4667161"/>
              <a:gd name="connsiteY26" fmla="*/ 1031081 h 1958188"/>
              <a:gd name="connsiteX27" fmla="*/ 1181011 w 4667161"/>
              <a:gd name="connsiteY27" fmla="*/ 1012031 h 1958188"/>
              <a:gd name="connsiteX28" fmla="*/ 1202442 w 4667161"/>
              <a:gd name="connsiteY28" fmla="*/ 988218 h 1958188"/>
              <a:gd name="connsiteX29" fmla="*/ 1283405 w 4667161"/>
              <a:gd name="connsiteY29" fmla="*/ 966787 h 1958188"/>
              <a:gd name="connsiteX30" fmla="*/ 1297692 w 4667161"/>
              <a:gd name="connsiteY30" fmla="*/ 952500 h 1958188"/>
              <a:gd name="connsiteX31" fmla="*/ 1307217 w 4667161"/>
              <a:gd name="connsiteY31" fmla="*/ 919162 h 1958188"/>
              <a:gd name="connsiteX32" fmla="*/ 1388180 w 4667161"/>
              <a:gd name="connsiteY32" fmla="*/ 878681 h 1958188"/>
              <a:gd name="connsiteX33" fmla="*/ 1407230 w 4667161"/>
              <a:gd name="connsiteY33" fmla="*/ 873918 h 1958188"/>
              <a:gd name="connsiteX34" fmla="*/ 1466761 w 4667161"/>
              <a:gd name="connsiteY34" fmla="*/ 809625 h 1958188"/>
              <a:gd name="connsiteX35" fmla="*/ 1471523 w 4667161"/>
              <a:gd name="connsiteY35" fmla="*/ 759618 h 1958188"/>
              <a:gd name="connsiteX36" fmla="*/ 1497717 w 4667161"/>
              <a:gd name="connsiteY36" fmla="*/ 733425 h 1958188"/>
              <a:gd name="connsiteX37" fmla="*/ 1523911 w 4667161"/>
              <a:gd name="connsiteY37" fmla="*/ 728662 h 1958188"/>
              <a:gd name="connsiteX38" fmla="*/ 1585823 w 4667161"/>
              <a:gd name="connsiteY38" fmla="*/ 683418 h 1958188"/>
              <a:gd name="connsiteX39" fmla="*/ 1671548 w 4667161"/>
              <a:gd name="connsiteY39" fmla="*/ 640556 h 1958188"/>
              <a:gd name="connsiteX40" fmla="*/ 1707267 w 4667161"/>
              <a:gd name="connsiteY40" fmla="*/ 600075 h 1958188"/>
              <a:gd name="connsiteX41" fmla="*/ 1735842 w 4667161"/>
              <a:gd name="connsiteY41" fmla="*/ 585787 h 1958188"/>
              <a:gd name="connsiteX42" fmla="*/ 1742986 w 4667161"/>
              <a:gd name="connsiteY42" fmla="*/ 519112 h 1958188"/>
              <a:gd name="connsiteX43" fmla="*/ 1759655 w 4667161"/>
              <a:gd name="connsiteY43" fmla="*/ 473868 h 1958188"/>
              <a:gd name="connsiteX44" fmla="*/ 1745367 w 4667161"/>
              <a:gd name="connsiteY44" fmla="*/ 433387 h 1958188"/>
              <a:gd name="connsiteX45" fmla="*/ 1750130 w 4667161"/>
              <a:gd name="connsiteY45" fmla="*/ 347662 h 1958188"/>
              <a:gd name="connsiteX46" fmla="*/ 1745367 w 4667161"/>
              <a:gd name="connsiteY46" fmla="*/ 307181 h 1958188"/>
              <a:gd name="connsiteX47" fmla="*/ 1745367 w 4667161"/>
              <a:gd name="connsiteY47" fmla="*/ 264318 h 1958188"/>
              <a:gd name="connsiteX48" fmla="*/ 1771561 w 4667161"/>
              <a:gd name="connsiteY48" fmla="*/ 254793 h 1958188"/>
              <a:gd name="connsiteX49" fmla="*/ 1792992 w 4667161"/>
              <a:gd name="connsiteY49" fmla="*/ 271462 h 1958188"/>
              <a:gd name="connsiteX50" fmla="*/ 1807280 w 4667161"/>
              <a:gd name="connsiteY50" fmla="*/ 297656 h 1958188"/>
              <a:gd name="connsiteX51" fmla="*/ 1835855 w 4667161"/>
              <a:gd name="connsiteY51" fmla="*/ 300037 h 1958188"/>
              <a:gd name="connsiteX52" fmla="*/ 1857286 w 4667161"/>
              <a:gd name="connsiteY52" fmla="*/ 278606 h 1958188"/>
              <a:gd name="connsiteX53" fmla="*/ 1943011 w 4667161"/>
              <a:gd name="connsiteY53" fmla="*/ 280987 h 1958188"/>
              <a:gd name="connsiteX54" fmla="*/ 1995398 w 4667161"/>
              <a:gd name="connsiteY54" fmla="*/ 290512 h 1958188"/>
              <a:gd name="connsiteX55" fmla="*/ 2043023 w 4667161"/>
              <a:gd name="connsiteY55" fmla="*/ 266700 h 1958188"/>
              <a:gd name="connsiteX56" fmla="*/ 2054930 w 4667161"/>
              <a:gd name="connsiteY56" fmla="*/ 233362 h 1958188"/>
              <a:gd name="connsiteX57" fmla="*/ 2095411 w 4667161"/>
              <a:gd name="connsiteY57" fmla="*/ 200025 h 1958188"/>
              <a:gd name="connsiteX58" fmla="*/ 2085886 w 4667161"/>
              <a:gd name="connsiteY58" fmla="*/ 173831 h 1958188"/>
              <a:gd name="connsiteX59" fmla="*/ 2102555 w 4667161"/>
              <a:gd name="connsiteY59" fmla="*/ 147637 h 1958188"/>
              <a:gd name="connsiteX60" fmla="*/ 2157323 w 4667161"/>
              <a:gd name="connsiteY60" fmla="*/ 169068 h 1958188"/>
              <a:gd name="connsiteX61" fmla="*/ 2204948 w 4667161"/>
              <a:gd name="connsiteY61" fmla="*/ 173831 h 1958188"/>
              <a:gd name="connsiteX62" fmla="*/ 2240667 w 4667161"/>
              <a:gd name="connsiteY62" fmla="*/ 209550 h 1958188"/>
              <a:gd name="connsiteX63" fmla="*/ 2269242 w 4667161"/>
              <a:gd name="connsiteY63" fmla="*/ 223837 h 1958188"/>
              <a:gd name="connsiteX64" fmla="*/ 2288292 w 4667161"/>
              <a:gd name="connsiteY64" fmla="*/ 280987 h 1958188"/>
              <a:gd name="connsiteX65" fmla="*/ 2357348 w 4667161"/>
              <a:gd name="connsiteY65" fmla="*/ 316706 h 1958188"/>
              <a:gd name="connsiteX66" fmla="*/ 2426405 w 4667161"/>
              <a:gd name="connsiteY66" fmla="*/ 307181 h 1958188"/>
              <a:gd name="connsiteX67" fmla="*/ 2474030 w 4667161"/>
              <a:gd name="connsiteY67" fmla="*/ 295275 h 1958188"/>
              <a:gd name="connsiteX68" fmla="*/ 2512130 w 4667161"/>
              <a:gd name="connsiteY68" fmla="*/ 307181 h 1958188"/>
              <a:gd name="connsiteX69" fmla="*/ 2562136 w 4667161"/>
              <a:gd name="connsiteY69" fmla="*/ 304800 h 1958188"/>
              <a:gd name="connsiteX70" fmla="*/ 2607380 w 4667161"/>
              <a:gd name="connsiteY70" fmla="*/ 316706 h 1958188"/>
              <a:gd name="connsiteX71" fmla="*/ 2652623 w 4667161"/>
              <a:gd name="connsiteY71" fmla="*/ 302418 h 1958188"/>
              <a:gd name="connsiteX72" fmla="*/ 2674055 w 4667161"/>
              <a:gd name="connsiteY72" fmla="*/ 276225 h 1958188"/>
              <a:gd name="connsiteX73" fmla="*/ 2752636 w 4667161"/>
              <a:gd name="connsiteY73" fmla="*/ 297656 h 1958188"/>
              <a:gd name="connsiteX74" fmla="*/ 2793117 w 4667161"/>
              <a:gd name="connsiteY74" fmla="*/ 283368 h 1958188"/>
              <a:gd name="connsiteX75" fmla="*/ 2800261 w 4667161"/>
              <a:gd name="connsiteY75" fmla="*/ 242887 h 1958188"/>
              <a:gd name="connsiteX76" fmla="*/ 2771686 w 4667161"/>
              <a:gd name="connsiteY76" fmla="*/ 195262 h 1958188"/>
              <a:gd name="connsiteX77" fmla="*/ 2755017 w 4667161"/>
              <a:gd name="connsiteY77" fmla="*/ 135731 h 1958188"/>
              <a:gd name="connsiteX78" fmla="*/ 2721680 w 4667161"/>
              <a:gd name="connsiteY78" fmla="*/ 102393 h 1958188"/>
              <a:gd name="connsiteX79" fmla="*/ 2697867 w 4667161"/>
              <a:gd name="connsiteY79" fmla="*/ 59531 h 1958188"/>
              <a:gd name="connsiteX80" fmla="*/ 2707392 w 4667161"/>
              <a:gd name="connsiteY80" fmla="*/ 38100 h 1958188"/>
              <a:gd name="connsiteX81" fmla="*/ 2743111 w 4667161"/>
              <a:gd name="connsiteY81" fmla="*/ 0 h 1958188"/>
              <a:gd name="connsiteX82" fmla="*/ 2762161 w 4667161"/>
              <a:gd name="connsiteY82" fmla="*/ 16668 h 1958188"/>
              <a:gd name="connsiteX83" fmla="*/ 2843123 w 4667161"/>
              <a:gd name="connsiteY83" fmla="*/ 30956 h 1958188"/>
              <a:gd name="connsiteX84" fmla="*/ 2926467 w 4667161"/>
              <a:gd name="connsiteY84" fmla="*/ 47625 h 1958188"/>
              <a:gd name="connsiteX85" fmla="*/ 2976473 w 4667161"/>
              <a:gd name="connsiteY85" fmla="*/ 66675 h 1958188"/>
              <a:gd name="connsiteX86" fmla="*/ 3026480 w 4667161"/>
              <a:gd name="connsiteY86" fmla="*/ 61912 h 1958188"/>
              <a:gd name="connsiteX87" fmla="*/ 3074105 w 4667161"/>
              <a:gd name="connsiteY87" fmla="*/ 92868 h 1958188"/>
              <a:gd name="connsiteX88" fmla="*/ 3116967 w 4667161"/>
              <a:gd name="connsiteY88" fmla="*/ 119062 h 1958188"/>
              <a:gd name="connsiteX89" fmla="*/ 3138398 w 4667161"/>
              <a:gd name="connsiteY89" fmla="*/ 150018 h 1958188"/>
              <a:gd name="connsiteX90" fmla="*/ 3188405 w 4667161"/>
              <a:gd name="connsiteY90" fmla="*/ 157162 h 1958188"/>
              <a:gd name="connsiteX91" fmla="*/ 3214598 w 4667161"/>
              <a:gd name="connsiteY91" fmla="*/ 202406 h 1958188"/>
              <a:gd name="connsiteX92" fmla="*/ 3240792 w 4667161"/>
              <a:gd name="connsiteY92" fmla="*/ 233362 h 1958188"/>
              <a:gd name="connsiteX93" fmla="*/ 3257461 w 4667161"/>
              <a:gd name="connsiteY93" fmla="*/ 278606 h 1958188"/>
              <a:gd name="connsiteX94" fmla="*/ 3316992 w 4667161"/>
              <a:gd name="connsiteY94" fmla="*/ 295275 h 1958188"/>
              <a:gd name="connsiteX95" fmla="*/ 3345567 w 4667161"/>
              <a:gd name="connsiteY95" fmla="*/ 326231 h 1958188"/>
              <a:gd name="connsiteX96" fmla="*/ 3366998 w 4667161"/>
              <a:gd name="connsiteY96" fmla="*/ 335756 h 1958188"/>
              <a:gd name="connsiteX97" fmla="*/ 3378905 w 4667161"/>
              <a:gd name="connsiteY97" fmla="*/ 376237 h 1958188"/>
              <a:gd name="connsiteX98" fmla="*/ 3409861 w 4667161"/>
              <a:gd name="connsiteY98" fmla="*/ 383381 h 1958188"/>
              <a:gd name="connsiteX99" fmla="*/ 3447961 w 4667161"/>
              <a:gd name="connsiteY99" fmla="*/ 447675 h 1958188"/>
              <a:gd name="connsiteX100" fmla="*/ 3443198 w 4667161"/>
              <a:gd name="connsiteY100" fmla="*/ 502443 h 1958188"/>
              <a:gd name="connsiteX101" fmla="*/ 3431292 w 4667161"/>
              <a:gd name="connsiteY101" fmla="*/ 531018 h 1958188"/>
              <a:gd name="connsiteX102" fmla="*/ 3471773 w 4667161"/>
              <a:gd name="connsiteY102" fmla="*/ 564356 h 1958188"/>
              <a:gd name="connsiteX103" fmla="*/ 3469392 w 4667161"/>
              <a:gd name="connsiteY103" fmla="*/ 647700 h 1958188"/>
              <a:gd name="connsiteX104" fmla="*/ 3450342 w 4667161"/>
              <a:gd name="connsiteY104" fmla="*/ 664368 h 1958188"/>
              <a:gd name="connsiteX105" fmla="*/ 3433673 w 4667161"/>
              <a:gd name="connsiteY105" fmla="*/ 738187 h 1958188"/>
              <a:gd name="connsiteX106" fmla="*/ 3455105 w 4667161"/>
              <a:gd name="connsiteY106" fmla="*/ 773906 h 1958188"/>
              <a:gd name="connsiteX107" fmla="*/ 3509873 w 4667161"/>
              <a:gd name="connsiteY107" fmla="*/ 797718 h 1958188"/>
              <a:gd name="connsiteX108" fmla="*/ 3547973 w 4667161"/>
              <a:gd name="connsiteY108" fmla="*/ 778668 h 1958188"/>
              <a:gd name="connsiteX109" fmla="*/ 3590836 w 4667161"/>
              <a:gd name="connsiteY109" fmla="*/ 797718 h 1958188"/>
              <a:gd name="connsiteX110" fmla="*/ 3626555 w 4667161"/>
              <a:gd name="connsiteY110" fmla="*/ 783431 h 1958188"/>
              <a:gd name="connsiteX111" fmla="*/ 3664655 w 4667161"/>
              <a:gd name="connsiteY111" fmla="*/ 826293 h 1958188"/>
              <a:gd name="connsiteX112" fmla="*/ 3743236 w 4667161"/>
              <a:gd name="connsiteY112" fmla="*/ 902493 h 1958188"/>
              <a:gd name="connsiteX113" fmla="*/ 3812292 w 4667161"/>
              <a:gd name="connsiteY113" fmla="*/ 916781 h 1958188"/>
              <a:gd name="connsiteX114" fmla="*/ 3907542 w 4667161"/>
              <a:gd name="connsiteY114" fmla="*/ 959643 h 1958188"/>
              <a:gd name="connsiteX115" fmla="*/ 3974217 w 4667161"/>
              <a:gd name="connsiteY115" fmla="*/ 992981 h 1958188"/>
              <a:gd name="connsiteX116" fmla="*/ 3990886 w 4667161"/>
              <a:gd name="connsiteY116" fmla="*/ 1035843 h 1958188"/>
              <a:gd name="connsiteX117" fmla="*/ 4000411 w 4667161"/>
              <a:gd name="connsiteY117" fmla="*/ 1081087 h 1958188"/>
              <a:gd name="connsiteX118" fmla="*/ 4048036 w 4667161"/>
              <a:gd name="connsiteY118" fmla="*/ 1109662 h 1958188"/>
              <a:gd name="connsiteX119" fmla="*/ 4083755 w 4667161"/>
              <a:gd name="connsiteY119" fmla="*/ 1107281 h 1958188"/>
              <a:gd name="connsiteX120" fmla="*/ 4150430 w 4667161"/>
              <a:gd name="connsiteY120" fmla="*/ 1145381 h 1958188"/>
              <a:gd name="connsiteX121" fmla="*/ 4209961 w 4667161"/>
              <a:gd name="connsiteY121" fmla="*/ 1197768 h 1958188"/>
              <a:gd name="connsiteX122" fmla="*/ 4293305 w 4667161"/>
              <a:gd name="connsiteY122" fmla="*/ 1240631 h 1958188"/>
              <a:gd name="connsiteX123" fmla="*/ 4359980 w 4667161"/>
              <a:gd name="connsiteY123" fmla="*/ 1302543 h 1958188"/>
              <a:gd name="connsiteX124" fmla="*/ 4436180 w 4667161"/>
              <a:gd name="connsiteY124" fmla="*/ 1359693 h 1958188"/>
              <a:gd name="connsiteX125" fmla="*/ 4476661 w 4667161"/>
              <a:gd name="connsiteY125" fmla="*/ 1357312 h 1958188"/>
              <a:gd name="connsiteX126" fmla="*/ 4533811 w 4667161"/>
              <a:gd name="connsiteY126" fmla="*/ 1383506 h 1958188"/>
              <a:gd name="connsiteX127" fmla="*/ 4643348 w 4667161"/>
              <a:gd name="connsiteY127" fmla="*/ 1345406 h 1958188"/>
              <a:gd name="connsiteX128" fmla="*/ 4667161 w 4667161"/>
              <a:gd name="connsiteY128" fmla="*/ 1302543 h 1958188"/>
              <a:gd name="connsiteX129" fmla="*/ 4662398 w 4667161"/>
              <a:gd name="connsiteY129" fmla="*/ 1235868 h 1958188"/>
              <a:gd name="connsiteX130" fmla="*/ 4660017 w 4667161"/>
              <a:gd name="connsiteY130" fmla="*/ 1116806 h 1958188"/>
              <a:gd name="connsiteX131" fmla="*/ 4633823 w 4667161"/>
              <a:gd name="connsiteY131" fmla="*/ 1078706 h 1958188"/>
              <a:gd name="connsiteX132" fmla="*/ 4571911 w 4667161"/>
              <a:gd name="connsiteY132" fmla="*/ 1057275 h 1958188"/>
              <a:gd name="connsiteX133" fmla="*/ 4555242 w 4667161"/>
              <a:gd name="connsiteY133" fmla="*/ 1014412 h 1958188"/>
              <a:gd name="connsiteX134" fmla="*/ 4529048 w 4667161"/>
              <a:gd name="connsiteY134" fmla="*/ 931068 h 1958188"/>
              <a:gd name="connsiteX135" fmla="*/ 4500473 w 4667161"/>
              <a:gd name="connsiteY135" fmla="*/ 890587 h 1958188"/>
              <a:gd name="connsiteX136" fmla="*/ 4526667 w 4667161"/>
              <a:gd name="connsiteY136" fmla="*/ 862012 h 1958188"/>
              <a:gd name="connsiteX137" fmla="*/ 4595723 w 4667161"/>
              <a:gd name="connsiteY137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673805 w 4667161"/>
              <a:gd name="connsiteY12" fmla="*/ 1304925 h 1958188"/>
              <a:gd name="connsiteX13" fmla="*/ 714286 w 4667161"/>
              <a:gd name="connsiteY13" fmla="*/ 1259681 h 1958188"/>
              <a:gd name="connsiteX14" fmla="*/ 745242 w 4667161"/>
              <a:gd name="connsiteY14" fmla="*/ 1247775 h 1958188"/>
              <a:gd name="connsiteX15" fmla="*/ 795248 w 4667161"/>
              <a:gd name="connsiteY15" fmla="*/ 1257300 h 1958188"/>
              <a:gd name="connsiteX16" fmla="*/ 842873 w 4667161"/>
              <a:gd name="connsiteY16" fmla="*/ 1207293 h 1958188"/>
              <a:gd name="connsiteX17" fmla="*/ 890498 w 4667161"/>
              <a:gd name="connsiteY17" fmla="*/ 1214437 h 1958188"/>
              <a:gd name="connsiteX18" fmla="*/ 911930 w 4667161"/>
              <a:gd name="connsiteY18" fmla="*/ 1214437 h 1958188"/>
              <a:gd name="connsiteX19" fmla="*/ 947648 w 4667161"/>
              <a:gd name="connsiteY19" fmla="*/ 1195387 h 1958188"/>
              <a:gd name="connsiteX20" fmla="*/ 971461 w 4667161"/>
              <a:gd name="connsiteY20" fmla="*/ 1157287 h 1958188"/>
              <a:gd name="connsiteX21" fmla="*/ 1016705 w 4667161"/>
              <a:gd name="connsiteY21" fmla="*/ 1157287 h 1958188"/>
              <a:gd name="connsiteX22" fmla="*/ 1042898 w 4667161"/>
              <a:gd name="connsiteY22" fmla="*/ 1119187 h 1958188"/>
              <a:gd name="connsiteX23" fmla="*/ 1069092 w 4667161"/>
              <a:gd name="connsiteY23" fmla="*/ 1100137 h 1958188"/>
              <a:gd name="connsiteX24" fmla="*/ 1088142 w 4667161"/>
              <a:gd name="connsiteY24" fmla="*/ 1071562 h 1958188"/>
              <a:gd name="connsiteX25" fmla="*/ 1133386 w 4667161"/>
              <a:gd name="connsiteY25" fmla="*/ 1064418 h 1958188"/>
              <a:gd name="connsiteX26" fmla="*/ 1145292 w 4667161"/>
              <a:gd name="connsiteY26" fmla="*/ 1031081 h 1958188"/>
              <a:gd name="connsiteX27" fmla="*/ 1181011 w 4667161"/>
              <a:gd name="connsiteY27" fmla="*/ 1012031 h 1958188"/>
              <a:gd name="connsiteX28" fmla="*/ 1202442 w 4667161"/>
              <a:gd name="connsiteY28" fmla="*/ 988218 h 1958188"/>
              <a:gd name="connsiteX29" fmla="*/ 1283405 w 4667161"/>
              <a:gd name="connsiteY29" fmla="*/ 966787 h 1958188"/>
              <a:gd name="connsiteX30" fmla="*/ 1297692 w 4667161"/>
              <a:gd name="connsiteY30" fmla="*/ 952500 h 1958188"/>
              <a:gd name="connsiteX31" fmla="*/ 1307217 w 4667161"/>
              <a:gd name="connsiteY31" fmla="*/ 919162 h 1958188"/>
              <a:gd name="connsiteX32" fmla="*/ 1388180 w 4667161"/>
              <a:gd name="connsiteY32" fmla="*/ 878681 h 1958188"/>
              <a:gd name="connsiteX33" fmla="*/ 1407230 w 4667161"/>
              <a:gd name="connsiteY33" fmla="*/ 873918 h 1958188"/>
              <a:gd name="connsiteX34" fmla="*/ 1466761 w 4667161"/>
              <a:gd name="connsiteY34" fmla="*/ 809625 h 1958188"/>
              <a:gd name="connsiteX35" fmla="*/ 1471523 w 4667161"/>
              <a:gd name="connsiteY35" fmla="*/ 759618 h 1958188"/>
              <a:gd name="connsiteX36" fmla="*/ 1497717 w 4667161"/>
              <a:gd name="connsiteY36" fmla="*/ 733425 h 1958188"/>
              <a:gd name="connsiteX37" fmla="*/ 1523911 w 4667161"/>
              <a:gd name="connsiteY37" fmla="*/ 728662 h 1958188"/>
              <a:gd name="connsiteX38" fmla="*/ 1585823 w 4667161"/>
              <a:gd name="connsiteY38" fmla="*/ 683418 h 1958188"/>
              <a:gd name="connsiteX39" fmla="*/ 1671548 w 4667161"/>
              <a:gd name="connsiteY39" fmla="*/ 640556 h 1958188"/>
              <a:gd name="connsiteX40" fmla="*/ 1707267 w 4667161"/>
              <a:gd name="connsiteY40" fmla="*/ 600075 h 1958188"/>
              <a:gd name="connsiteX41" fmla="*/ 1735842 w 4667161"/>
              <a:gd name="connsiteY41" fmla="*/ 585787 h 1958188"/>
              <a:gd name="connsiteX42" fmla="*/ 1742986 w 4667161"/>
              <a:gd name="connsiteY42" fmla="*/ 519112 h 1958188"/>
              <a:gd name="connsiteX43" fmla="*/ 1759655 w 4667161"/>
              <a:gd name="connsiteY43" fmla="*/ 473868 h 1958188"/>
              <a:gd name="connsiteX44" fmla="*/ 1745367 w 4667161"/>
              <a:gd name="connsiteY44" fmla="*/ 433387 h 1958188"/>
              <a:gd name="connsiteX45" fmla="*/ 1750130 w 4667161"/>
              <a:gd name="connsiteY45" fmla="*/ 347662 h 1958188"/>
              <a:gd name="connsiteX46" fmla="*/ 1745367 w 4667161"/>
              <a:gd name="connsiteY46" fmla="*/ 307181 h 1958188"/>
              <a:gd name="connsiteX47" fmla="*/ 1745367 w 4667161"/>
              <a:gd name="connsiteY47" fmla="*/ 264318 h 1958188"/>
              <a:gd name="connsiteX48" fmla="*/ 1771561 w 4667161"/>
              <a:gd name="connsiteY48" fmla="*/ 254793 h 1958188"/>
              <a:gd name="connsiteX49" fmla="*/ 1792992 w 4667161"/>
              <a:gd name="connsiteY49" fmla="*/ 271462 h 1958188"/>
              <a:gd name="connsiteX50" fmla="*/ 1807280 w 4667161"/>
              <a:gd name="connsiteY50" fmla="*/ 297656 h 1958188"/>
              <a:gd name="connsiteX51" fmla="*/ 1835855 w 4667161"/>
              <a:gd name="connsiteY51" fmla="*/ 300037 h 1958188"/>
              <a:gd name="connsiteX52" fmla="*/ 1857286 w 4667161"/>
              <a:gd name="connsiteY52" fmla="*/ 278606 h 1958188"/>
              <a:gd name="connsiteX53" fmla="*/ 1943011 w 4667161"/>
              <a:gd name="connsiteY53" fmla="*/ 280987 h 1958188"/>
              <a:gd name="connsiteX54" fmla="*/ 1995398 w 4667161"/>
              <a:gd name="connsiteY54" fmla="*/ 290512 h 1958188"/>
              <a:gd name="connsiteX55" fmla="*/ 2043023 w 4667161"/>
              <a:gd name="connsiteY55" fmla="*/ 266700 h 1958188"/>
              <a:gd name="connsiteX56" fmla="*/ 2054930 w 4667161"/>
              <a:gd name="connsiteY56" fmla="*/ 233362 h 1958188"/>
              <a:gd name="connsiteX57" fmla="*/ 2095411 w 4667161"/>
              <a:gd name="connsiteY57" fmla="*/ 200025 h 1958188"/>
              <a:gd name="connsiteX58" fmla="*/ 2085886 w 4667161"/>
              <a:gd name="connsiteY58" fmla="*/ 173831 h 1958188"/>
              <a:gd name="connsiteX59" fmla="*/ 2102555 w 4667161"/>
              <a:gd name="connsiteY59" fmla="*/ 147637 h 1958188"/>
              <a:gd name="connsiteX60" fmla="*/ 2157323 w 4667161"/>
              <a:gd name="connsiteY60" fmla="*/ 169068 h 1958188"/>
              <a:gd name="connsiteX61" fmla="*/ 2204948 w 4667161"/>
              <a:gd name="connsiteY61" fmla="*/ 173831 h 1958188"/>
              <a:gd name="connsiteX62" fmla="*/ 2240667 w 4667161"/>
              <a:gd name="connsiteY62" fmla="*/ 209550 h 1958188"/>
              <a:gd name="connsiteX63" fmla="*/ 2269242 w 4667161"/>
              <a:gd name="connsiteY63" fmla="*/ 223837 h 1958188"/>
              <a:gd name="connsiteX64" fmla="*/ 2288292 w 4667161"/>
              <a:gd name="connsiteY64" fmla="*/ 280987 h 1958188"/>
              <a:gd name="connsiteX65" fmla="*/ 2357348 w 4667161"/>
              <a:gd name="connsiteY65" fmla="*/ 316706 h 1958188"/>
              <a:gd name="connsiteX66" fmla="*/ 2426405 w 4667161"/>
              <a:gd name="connsiteY66" fmla="*/ 307181 h 1958188"/>
              <a:gd name="connsiteX67" fmla="*/ 2474030 w 4667161"/>
              <a:gd name="connsiteY67" fmla="*/ 295275 h 1958188"/>
              <a:gd name="connsiteX68" fmla="*/ 2512130 w 4667161"/>
              <a:gd name="connsiteY68" fmla="*/ 307181 h 1958188"/>
              <a:gd name="connsiteX69" fmla="*/ 2562136 w 4667161"/>
              <a:gd name="connsiteY69" fmla="*/ 304800 h 1958188"/>
              <a:gd name="connsiteX70" fmla="*/ 2607380 w 4667161"/>
              <a:gd name="connsiteY70" fmla="*/ 316706 h 1958188"/>
              <a:gd name="connsiteX71" fmla="*/ 2652623 w 4667161"/>
              <a:gd name="connsiteY71" fmla="*/ 302418 h 1958188"/>
              <a:gd name="connsiteX72" fmla="*/ 2674055 w 4667161"/>
              <a:gd name="connsiteY72" fmla="*/ 276225 h 1958188"/>
              <a:gd name="connsiteX73" fmla="*/ 2752636 w 4667161"/>
              <a:gd name="connsiteY73" fmla="*/ 297656 h 1958188"/>
              <a:gd name="connsiteX74" fmla="*/ 2793117 w 4667161"/>
              <a:gd name="connsiteY74" fmla="*/ 283368 h 1958188"/>
              <a:gd name="connsiteX75" fmla="*/ 2800261 w 4667161"/>
              <a:gd name="connsiteY75" fmla="*/ 242887 h 1958188"/>
              <a:gd name="connsiteX76" fmla="*/ 2771686 w 4667161"/>
              <a:gd name="connsiteY76" fmla="*/ 195262 h 1958188"/>
              <a:gd name="connsiteX77" fmla="*/ 2755017 w 4667161"/>
              <a:gd name="connsiteY77" fmla="*/ 135731 h 1958188"/>
              <a:gd name="connsiteX78" fmla="*/ 2721680 w 4667161"/>
              <a:gd name="connsiteY78" fmla="*/ 102393 h 1958188"/>
              <a:gd name="connsiteX79" fmla="*/ 2697867 w 4667161"/>
              <a:gd name="connsiteY79" fmla="*/ 59531 h 1958188"/>
              <a:gd name="connsiteX80" fmla="*/ 2707392 w 4667161"/>
              <a:gd name="connsiteY80" fmla="*/ 38100 h 1958188"/>
              <a:gd name="connsiteX81" fmla="*/ 2743111 w 4667161"/>
              <a:gd name="connsiteY81" fmla="*/ 0 h 1958188"/>
              <a:gd name="connsiteX82" fmla="*/ 2762161 w 4667161"/>
              <a:gd name="connsiteY82" fmla="*/ 16668 h 1958188"/>
              <a:gd name="connsiteX83" fmla="*/ 2843123 w 4667161"/>
              <a:gd name="connsiteY83" fmla="*/ 30956 h 1958188"/>
              <a:gd name="connsiteX84" fmla="*/ 2926467 w 4667161"/>
              <a:gd name="connsiteY84" fmla="*/ 47625 h 1958188"/>
              <a:gd name="connsiteX85" fmla="*/ 2976473 w 4667161"/>
              <a:gd name="connsiteY85" fmla="*/ 66675 h 1958188"/>
              <a:gd name="connsiteX86" fmla="*/ 3026480 w 4667161"/>
              <a:gd name="connsiteY86" fmla="*/ 61912 h 1958188"/>
              <a:gd name="connsiteX87" fmla="*/ 3074105 w 4667161"/>
              <a:gd name="connsiteY87" fmla="*/ 92868 h 1958188"/>
              <a:gd name="connsiteX88" fmla="*/ 3116967 w 4667161"/>
              <a:gd name="connsiteY88" fmla="*/ 119062 h 1958188"/>
              <a:gd name="connsiteX89" fmla="*/ 3138398 w 4667161"/>
              <a:gd name="connsiteY89" fmla="*/ 150018 h 1958188"/>
              <a:gd name="connsiteX90" fmla="*/ 3188405 w 4667161"/>
              <a:gd name="connsiteY90" fmla="*/ 157162 h 1958188"/>
              <a:gd name="connsiteX91" fmla="*/ 3214598 w 4667161"/>
              <a:gd name="connsiteY91" fmla="*/ 202406 h 1958188"/>
              <a:gd name="connsiteX92" fmla="*/ 3240792 w 4667161"/>
              <a:gd name="connsiteY92" fmla="*/ 233362 h 1958188"/>
              <a:gd name="connsiteX93" fmla="*/ 3257461 w 4667161"/>
              <a:gd name="connsiteY93" fmla="*/ 278606 h 1958188"/>
              <a:gd name="connsiteX94" fmla="*/ 3316992 w 4667161"/>
              <a:gd name="connsiteY94" fmla="*/ 295275 h 1958188"/>
              <a:gd name="connsiteX95" fmla="*/ 3345567 w 4667161"/>
              <a:gd name="connsiteY95" fmla="*/ 326231 h 1958188"/>
              <a:gd name="connsiteX96" fmla="*/ 3366998 w 4667161"/>
              <a:gd name="connsiteY96" fmla="*/ 335756 h 1958188"/>
              <a:gd name="connsiteX97" fmla="*/ 3378905 w 4667161"/>
              <a:gd name="connsiteY97" fmla="*/ 376237 h 1958188"/>
              <a:gd name="connsiteX98" fmla="*/ 3409861 w 4667161"/>
              <a:gd name="connsiteY98" fmla="*/ 383381 h 1958188"/>
              <a:gd name="connsiteX99" fmla="*/ 3447961 w 4667161"/>
              <a:gd name="connsiteY99" fmla="*/ 447675 h 1958188"/>
              <a:gd name="connsiteX100" fmla="*/ 3443198 w 4667161"/>
              <a:gd name="connsiteY100" fmla="*/ 502443 h 1958188"/>
              <a:gd name="connsiteX101" fmla="*/ 3431292 w 4667161"/>
              <a:gd name="connsiteY101" fmla="*/ 531018 h 1958188"/>
              <a:gd name="connsiteX102" fmla="*/ 3471773 w 4667161"/>
              <a:gd name="connsiteY102" fmla="*/ 564356 h 1958188"/>
              <a:gd name="connsiteX103" fmla="*/ 3469392 w 4667161"/>
              <a:gd name="connsiteY103" fmla="*/ 647700 h 1958188"/>
              <a:gd name="connsiteX104" fmla="*/ 3450342 w 4667161"/>
              <a:gd name="connsiteY104" fmla="*/ 664368 h 1958188"/>
              <a:gd name="connsiteX105" fmla="*/ 3433673 w 4667161"/>
              <a:gd name="connsiteY105" fmla="*/ 738187 h 1958188"/>
              <a:gd name="connsiteX106" fmla="*/ 3455105 w 4667161"/>
              <a:gd name="connsiteY106" fmla="*/ 773906 h 1958188"/>
              <a:gd name="connsiteX107" fmla="*/ 3509873 w 4667161"/>
              <a:gd name="connsiteY107" fmla="*/ 797718 h 1958188"/>
              <a:gd name="connsiteX108" fmla="*/ 3547973 w 4667161"/>
              <a:gd name="connsiteY108" fmla="*/ 778668 h 1958188"/>
              <a:gd name="connsiteX109" fmla="*/ 3590836 w 4667161"/>
              <a:gd name="connsiteY109" fmla="*/ 797718 h 1958188"/>
              <a:gd name="connsiteX110" fmla="*/ 3626555 w 4667161"/>
              <a:gd name="connsiteY110" fmla="*/ 783431 h 1958188"/>
              <a:gd name="connsiteX111" fmla="*/ 3664655 w 4667161"/>
              <a:gd name="connsiteY111" fmla="*/ 826293 h 1958188"/>
              <a:gd name="connsiteX112" fmla="*/ 3743236 w 4667161"/>
              <a:gd name="connsiteY112" fmla="*/ 902493 h 1958188"/>
              <a:gd name="connsiteX113" fmla="*/ 3812292 w 4667161"/>
              <a:gd name="connsiteY113" fmla="*/ 916781 h 1958188"/>
              <a:gd name="connsiteX114" fmla="*/ 3907542 w 4667161"/>
              <a:gd name="connsiteY114" fmla="*/ 959643 h 1958188"/>
              <a:gd name="connsiteX115" fmla="*/ 3974217 w 4667161"/>
              <a:gd name="connsiteY115" fmla="*/ 992981 h 1958188"/>
              <a:gd name="connsiteX116" fmla="*/ 3990886 w 4667161"/>
              <a:gd name="connsiteY116" fmla="*/ 1035843 h 1958188"/>
              <a:gd name="connsiteX117" fmla="*/ 4000411 w 4667161"/>
              <a:gd name="connsiteY117" fmla="*/ 1081087 h 1958188"/>
              <a:gd name="connsiteX118" fmla="*/ 4048036 w 4667161"/>
              <a:gd name="connsiteY118" fmla="*/ 1109662 h 1958188"/>
              <a:gd name="connsiteX119" fmla="*/ 4083755 w 4667161"/>
              <a:gd name="connsiteY119" fmla="*/ 1107281 h 1958188"/>
              <a:gd name="connsiteX120" fmla="*/ 4150430 w 4667161"/>
              <a:gd name="connsiteY120" fmla="*/ 1145381 h 1958188"/>
              <a:gd name="connsiteX121" fmla="*/ 4209961 w 4667161"/>
              <a:gd name="connsiteY121" fmla="*/ 1197768 h 1958188"/>
              <a:gd name="connsiteX122" fmla="*/ 4293305 w 4667161"/>
              <a:gd name="connsiteY122" fmla="*/ 1240631 h 1958188"/>
              <a:gd name="connsiteX123" fmla="*/ 4359980 w 4667161"/>
              <a:gd name="connsiteY123" fmla="*/ 1302543 h 1958188"/>
              <a:gd name="connsiteX124" fmla="*/ 4436180 w 4667161"/>
              <a:gd name="connsiteY124" fmla="*/ 1359693 h 1958188"/>
              <a:gd name="connsiteX125" fmla="*/ 4476661 w 4667161"/>
              <a:gd name="connsiteY125" fmla="*/ 1357312 h 1958188"/>
              <a:gd name="connsiteX126" fmla="*/ 4533811 w 4667161"/>
              <a:gd name="connsiteY126" fmla="*/ 1383506 h 1958188"/>
              <a:gd name="connsiteX127" fmla="*/ 4643348 w 4667161"/>
              <a:gd name="connsiteY127" fmla="*/ 1345406 h 1958188"/>
              <a:gd name="connsiteX128" fmla="*/ 4667161 w 4667161"/>
              <a:gd name="connsiteY128" fmla="*/ 1302543 h 1958188"/>
              <a:gd name="connsiteX129" fmla="*/ 4662398 w 4667161"/>
              <a:gd name="connsiteY129" fmla="*/ 1235868 h 1958188"/>
              <a:gd name="connsiteX130" fmla="*/ 4660017 w 4667161"/>
              <a:gd name="connsiteY130" fmla="*/ 1116806 h 1958188"/>
              <a:gd name="connsiteX131" fmla="*/ 4633823 w 4667161"/>
              <a:gd name="connsiteY131" fmla="*/ 1078706 h 1958188"/>
              <a:gd name="connsiteX132" fmla="*/ 4571911 w 4667161"/>
              <a:gd name="connsiteY132" fmla="*/ 1057275 h 1958188"/>
              <a:gd name="connsiteX133" fmla="*/ 4555242 w 4667161"/>
              <a:gd name="connsiteY133" fmla="*/ 1014412 h 1958188"/>
              <a:gd name="connsiteX134" fmla="*/ 4529048 w 4667161"/>
              <a:gd name="connsiteY134" fmla="*/ 931068 h 1958188"/>
              <a:gd name="connsiteX135" fmla="*/ 4500473 w 4667161"/>
              <a:gd name="connsiteY135" fmla="*/ 890587 h 1958188"/>
              <a:gd name="connsiteX136" fmla="*/ 4526667 w 4667161"/>
              <a:gd name="connsiteY136" fmla="*/ 862012 h 1958188"/>
              <a:gd name="connsiteX137" fmla="*/ 4595723 w 4667161"/>
              <a:gd name="connsiteY137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459798 w 4667161"/>
              <a:gd name="connsiteY12" fmla="*/ 1412170 h 1958188"/>
              <a:gd name="connsiteX13" fmla="*/ 673805 w 4667161"/>
              <a:gd name="connsiteY13" fmla="*/ 1304925 h 1958188"/>
              <a:gd name="connsiteX14" fmla="*/ 714286 w 4667161"/>
              <a:gd name="connsiteY14" fmla="*/ 1259681 h 1958188"/>
              <a:gd name="connsiteX15" fmla="*/ 745242 w 4667161"/>
              <a:gd name="connsiteY15" fmla="*/ 1247775 h 1958188"/>
              <a:gd name="connsiteX16" fmla="*/ 795248 w 4667161"/>
              <a:gd name="connsiteY16" fmla="*/ 1257300 h 1958188"/>
              <a:gd name="connsiteX17" fmla="*/ 842873 w 4667161"/>
              <a:gd name="connsiteY17" fmla="*/ 1207293 h 1958188"/>
              <a:gd name="connsiteX18" fmla="*/ 890498 w 4667161"/>
              <a:gd name="connsiteY18" fmla="*/ 1214437 h 1958188"/>
              <a:gd name="connsiteX19" fmla="*/ 911930 w 4667161"/>
              <a:gd name="connsiteY19" fmla="*/ 1214437 h 1958188"/>
              <a:gd name="connsiteX20" fmla="*/ 947648 w 4667161"/>
              <a:gd name="connsiteY20" fmla="*/ 1195387 h 1958188"/>
              <a:gd name="connsiteX21" fmla="*/ 971461 w 4667161"/>
              <a:gd name="connsiteY21" fmla="*/ 1157287 h 1958188"/>
              <a:gd name="connsiteX22" fmla="*/ 1016705 w 4667161"/>
              <a:gd name="connsiteY22" fmla="*/ 1157287 h 1958188"/>
              <a:gd name="connsiteX23" fmla="*/ 1042898 w 4667161"/>
              <a:gd name="connsiteY23" fmla="*/ 1119187 h 1958188"/>
              <a:gd name="connsiteX24" fmla="*/ 1069092 w 4667161"/>
              <a:gd name="connsiteY24" fmla="*/ 1100137 h 1958188"/>
              <a:gd name="connsiteX25" fmla="*/ 1088142 w 4667161"/>
              <a:gd name="connsiteY25" fmla="*/ 1071562 h 1958188"/>
              <a:gd name="connsiteX26" fmla="*/ 1133386 w 4667161"/>
              <a:gd name="connsiteY26" fmla="*/ 1064418 h 1958188"/>
              <a:gd name="connsiteX27" fmla="*/ 1145292 w 4667161"/>
              <a:gd name="connsiteY27" fmla="*/ 1031081 h 1958188"/>
              <a:gd name="connsiteX28" fmla="*/ 1181011 w 4667161"/>
              <a:gd name="connsiteY28" fmla="*/ 1012031 h 1958188"/>
              <a:gd name="connsiteX29" fmla="*/ 1202442 w 4667161"/>
              <a:gd name="connsiteY29" fmla="*/ 988218 h 1958188"/>
              <a:gd name="connsiteX30" fmla="*/ 1283405 w 4667161"/>
              <a:gd name="connsiteY30" fmla="*/ 966787 h 1958188"/>
              <a:gd name="connsiteX31" fmla="*/ 1297692 w 4667161"/>
              <a:gd name="connsiteY31" fmla="*/ 952500 h 1958188"/>
              <a:gd name="connsiteX32" fmla="*/ 1307217 w 4667161"/>
              <a:gd name="connsiteY32" fmla="*/ 919162 h 1958188"/>
              <a:gd name="connsiteX33" fmla="*/ 1388180 w 4667161"/>
              <a:gd name="connsiteY33" fmla="*/ 878681 h 1958188"/>
              <a:gd name="connsiteX34" fmla="*/ 1407230 w 4667161"/>
              <a:gd name="connsiteY34" fmla="*/ 873918 h 1958188"/>
              <a:gd name="connsiteX35" fmla="*/ 1466761 w 4667161"/>
              <a:gd name="connsiteY35" fmla="*/ 809625 h 1958188"/>
              <a:gd name="connsiteX36" fmla="*/ 1471523 w 4667161"/>
              <a:gd name="connsiteY36" fmla="*/ 759618 h 1958188"/>
              <a:gd name="connsiteX37" fmla="*/ 1497717 w 4667161"/>
              <a:gd name="connsiteY37" fmla="*/ 733425 h 1958188"/>
              <a:gd name="connsiteX38" fmla="*/ 1523911 w 4667161"/>
              <a:gd name="connsiteY38" fmla="*/ 728662 h 1958188"/>
              <a:gd name="connsiteX39" fmla="*/ 1585823 w 4667161"/>
              <a:gd name="connsiteY39" fmla="*/ 683418 h 1958188"/>
              <a:gd name="connsiteX40" fmla="*/ 1671548 w 4667161"/>
              <a:gd name="connsiteY40" fmla="*/ 640556 h 1958188"/>
              <a:gd name="connsiteX41" fmla="*/ 1707267 w 4667161"/>
              <a:gd name="connsiteY41" fmla="*/ 600075 h 1958188"/>
              <a:gd name="connsiteX42" fmla="*/ 1735842 w 4667161"/>
              <a:gd name="connsiteY42" fmla="*/ 585787 h 1958188"/>
              <a:gd name="connsiteX43" fmla="*/ 1742986 w 4667161"/>
              <a:gd name="connsiteY43" fmla="*/ 519112 h 1958188"/>
              <a:gd name="connsiteX44" fmla="*/ 1759655 w 4667161"/>
              <a:gd name="connsiteY44" fmla="*/ 473868 h 1958188"/>
              <a:gd name="connsiteX45" fmla="*/ 1745367 w 4667161"/>
              <a:gd name="connsiteY45" fmla="*/ 433387 h 1958188"/>
              <a:gd name="connsiteX46" fmla="*/ 1750130 w 4667161"/>
              <a:gd name="connsiteY46" fmla="*/ 347662 h 1958188"/>
              <a:gd name="connsiteX47" fmla="*/ 1745367 w 4667161"/>
              <a:gd name="connsiteY47" fmla="*/ 307181 h 1958188"/>
              <a:gd name="connsiteX48" fmla="*/ 1745367 w 4667161"/>
              <a:gd name="connsiteY48" fmla="*/ 264318 h 1958188"/>
              <a:gd name="connsiteX49" fmla="*/ 1771561 w 4667161"/>
              <a:gd name="connsiteY49" fmla="*/ 254793 h 1958188"/>
              <a:gd name="connsiteX50" fmla="*/ 1792992 w 4667161"/>
              <a:gd name="connsiteY50" fmla="*/ 271462 h 1958188"/>
              <a:gd name="connsiteX51" fmla="*/ 1807280 w 4667161"/>
              <a:gd name="connsiteY51" fmla="*/ 297656 h 1958188"/>
              <a:gd name="connsiteX52" fmla="*/ 1835855 w 4667161"/>
              <a:gd name="connsiteY52" fmla="*/ 300037 h 1958188"/>
              <a:gd name="connsiteX53" fmla="*/ 1857286 w 4667161"/>
              <a:gd name="connsiteY53" fmla="*/ 278606 h 1958188"/>
              <a:gd name="connsiteX54" fmla="*/ 1943011 w 4667161"/>
              <a:gd name="connsiteY54" fmla="*/ 280987 h 1958188"/>
              <a:gd name="connsiteX55" fmla="*/ 1995398 w 4667161"/>
              <a:gd name="connsiteY55" fmla="*/ 290512 h 1958188"/>
              <a:gd name="connsiteX56" fmla="*/ 2043023 w 4667161"/>
              <a:gd name="connsiteY56" fmla="*/ 266700 h 1958188"/>
              <a:gd name="connsiteX57" fmla="*/ 2054930 w 4667161"/>
              <a:gd name="connsiteY57" fmla="*/ 233362 h 1958188"/>
              <a:gd name="connsiteX58" fmla="*/ 2095411 w 4667161"/>
              <a:gd name="connsiteY58" fmla="*/ 200025 h 1958188"/>
              <a:gd name="connsiteX59" fmla="*/ 2085886 w 4667161"/>
              <a:gd name="connsiteY59" fmla="*/ 173831 h 1958188"/>
              <a:gd name="connsiteX60" fmla="*/ 2102555 w 4667161"/>
              <a:gd name="connsiteY60" fmla="*/ 147637 h 1958188"/>
              <a:gd name="connsiteX61" fmla="*/ 2157323 w 4667161"/>
              <a:gd name="connsiteY61" fmla="*/ 169068 h 1958188"/>
              <a:gd name="connsiteX62" fmla="*/ 2204948 w 4667161"/>
              <a:gd name="connsiteY62" fmla="*/ 173831 h 1958188"/>
              <a:gd name="connsiteX63" fmla="*/ 2240667 w 4667161"/>
              <a:gd name="connsiteY63" fmla="*/ 209550 h 1958188"/>
              <a:gd name="connsiteX64" fmla="*/ 2269242 w 4667161"/>
              <a:gd name="connsiteY64" fmla="*/ 223837 h 1958188"/>
              <a:gd name="connsiteX65" fmla="*/ 2288292 w 4667161"/>
              <a:gd name="connsiteY65" fmla="*/ 280987 h 1958188"/>
              <a:gd name="connsiteX66" fmla="*/ 2357348 w 4667161"/>
              <a:gd name="connsiteY66" fmla="*/ 316706 h 1958188"/>
              <a:gd name="connsiteX67" fmla="*/ 2426405 w 4667161"/>
              <a:gd name="connsiteY67" fmla="*/ 307181 h 1958188"/>
              <a:gd name="connsiteX68" fmla="*/ 2474030 w 4667161"/>
              <a:gd name="connsiteY68" fmla="*/ 295275 h 1958188"/>
              <a:gd name="connsiteX69" fmla="*/ 2512130 w 4667161"/>
              <a:gd name="connsiteY69" fmla="*/ 307181 h 1958188"/>
              <a:gd name="connsiteX70" fmla="*/ 2562136 w 4667161"/>
              <a:gd name="connsiteY70" fmla="*/ 304800 h 1958188"/>
              <a:gd name="connsiteX71" fmla="*/ 2607380 w 4667161"/>
              <a:gd name="connsiteY71" fmla="*/ 316706 h 1958188"/>
              <a:gd name="connsiteX72" fmla="*/ 2652623 w 4667161"/>
              <a:gd name="connsiteY72" fmla="*/ 302418 h 1958188"/>
              <a:gd name="connsiteX73" fmla="*/ 2674055 w 4667161"/>
              <a:gd name="connsiteY73" fmla="*/ 276225 h 1958188"/>
              <a:gd name="connsiteX74" fmla="*/ 2752636 w 4667161"/>
              <a:gd name="connsiteY74" fmla="*/ 297656 h 1958188"/>
              <a:gd name="connsiteX75" fmla="*/ 2793117 w 4667161"/>
              <a:gd name="connsiteY75" fmla="*/ 283368 h 1958188"/>
              <a:gd name="connsiteX76" fmla="*/ 2800261 w 4667161"/>
              <a:gd name="connsiteY76" fmla="*/ 242887 h 1958188"/>
              <a:gd name="connsiteX77" fmla="*/ 2771686 w 4667161"/>
              <a:gd name="connsiteY77" fmla="*/ 195262 h 1958188"/>
              <a:gd name="connsiteX78" fmla="*/ 2755017 w 4667161"/>
              <a:gd name="connsiteY78" fmla="*/ 135731 h 1958188"/>
              <a:gd name="connsiteX79" fmla="*/ 2721680 w 4667161"/>
              <a:gd name="connsiteY79" fmla="*/ 102393 h 1958188"/>
              <a:gd name="connsiteX80" fmla="*/ 2697867 w 4667161"/>
              <a:gd name="connsiteY80" fmla="*/ 59531 h 1958188"/>
              <a:gd name="connsiteX81" fmla="*/ 2707392 w 4667161"/>
              <a:gd name="connsiteY81" fmla="*/ 38100 h 1958188"/>
              <a:gd name="connsiteX82" fmla="*/ 2743111 w 4667161"/>
              <a:gd name="connsiteY82" fmla="*/ 0 h 1958188"/>
              <a:gd name="connsiteX83" fmla="*/ 2762161 w 4667161"/>
              <a:gd name="connsiteY83" fmla="*/ 16668 h 1958188"/>
              <a:gd name="connsiteX84" fmla="*/ 2843123 w 4667161"/>
              <a:gd name="connsiteY84" fmla="*/ 30956 h 1958188"/>
              <a:gd name="connsiteX85" fmla="*/ 2926467 w 4667161"/>
              <a:gd name="connsiteY85" fmla="*/ 47625 h 1958188"/>
              <a:gd name="connsiteX86" fmla="*/ 2976473 w 4667161"/>
              <a:gd name="connsiteY86" fmla="*/ 66675 h 1958188"/>
              <a:gd name="connsiteX87" fmla="*/ 3026480 w 4667161"/>
              <a:gd name="connsiteY87" fmla="*/ 61912 h 1958188"/>
              <a:gd name="connsiteX88" fmla="*/ 3074105 w 4667161"/>
              <a:gd name="connsiteY88" fmla="*/ 92868 h 1958188"/>
              <a:gd name="connsiteX89" fmla="*/ 3116967 w 4667161"/>
              <a:gd name="connsiteY89" fmla="*/ 119062 h 1958188"/>
              <a:gd name="connsiteX90" fmla="*/ 3138398 w 4667161"/>
              <a:gd name="connsiteY90" fmla="*/ 150018 h 1958188"/>
              <a:gd name="connsiteX91" fmla="*/ 3188405 w 4667161"/>
              <a:gd name="connsiteY91" fmla="*/ 157162 h 1958188"/>
              <a:gd name="connsiteX92" fmla="*/ 3214598 w 4667161"/>
              <a:gd name="connsiteY92" fmla="*/ 202406 h 1958188"/>
              <a:gd name="connsiteX93" fmla="*/ 3240792 w 4667161"/>
              <a:gd name="connsiteY93" fmla="*/ 233362 h 1958188"/>
              <a:gd name="connsiteX94" fmla="*/ 3257461 w 4667161"/>
              <a:gd name="connsiteY94" fmla="*/ 278606 h 1958188"/>
              <a:gd name="connsiteX95" fmla="*/ 3316992 w 4667161"/>
              <a:gd name="connsiteY95" fmla="*/ 295275 h 1958188"/>
              <a:gd name="connsiteX96" fmla="*/ 3345567 w 4667161"/>
              <a:gd name="connsiteY96" fmla="*/ 326231 h 1958188"/>
              <a:gd name="connsiteX97" fmla="*/ 3366998 w 4667161"/>
              <a:gd name="connsiteY97" fmla="*/ 335756 h 1958188"/>
              <a:gd name="connsiteX98" fmla="*/ 3378905 w 4667161"/>
              <a:gd name="connsiteY98" fmla="*/ 376237 h 1958188"/>
              <a:gd name="connsiteX99" fmla="*/ 3409861 w 4667161"/>
              <a:gd name="connsiteY99" fmla="*/ 383381 h 1958188"/>
              <a:gd name="connsiteX100" fmla="*/ 3447961 w 4667161"/>
              <a:gd name="connsiteY100" fmla="*/ 447675 h 1958188"/>
              <a:gd name="connsiteX101" fmla="*/ 3443198 w 4667161"/>
              <a:gd name="connsiteY101" fmla="*/ 502443 h 1958188"/>
              <a:gd name="connsiteX102" fmla="*/ 3431292 w 4667161"/>
              <a:gd name="connsiteY102" fmla="*/ 531018 h 1958188"/>
              <a:gd name="connsiteX103" fmla="*/ 3471773 w 4667161"/>
              <a:gd name="connsiteY103" fmla="*/ 564356 h 1958188"/>
              <a:gd name="connsiteX104" fmla="*/ 3469392 w 4667161"/>
              <a:gd name="connsiteY104" fmla="*/ 647700 h 1958188"/>
              <a:gd name="connsiteX105" fmla="*/ 3450342 w 4667161"/>
              <a:gd name="connsiteY105" fmla="*/ 664368 h 1958188"/>
              <a:gd name="connsiteX106" fmla="*/ 3433673 w 4667161"/>
              <a:gd name="connsiteY106" fmla="*/ 738187 h 1958188"/>
              <a:gd name="connsiteX107" fmla="*/ 3455105 w 4667161"/>
              <a:gd name="connsiteY107" fmla="*/ 773906 h 1958188"/>
              <a:gd name="connsiteX108" fmla="*/ 3509873 w 4667161"/>
              <a:gd name="connsiteY108" fmla="*/ 797718 h 1958188"/>
              <a:gd name="connsiteX109" fmla="*/ 3547973 w 4667161"/>
              <a:gd name="connsiteY109" fmla="*/ 778668 h 1958188"/>
              <a:gd name="connsiteX110" fmla="*/ 3590836 w 4667161"/>
              <a:gd name="connsiteY110" fmla="*/ 797718 h 1958188"/>
              <a:gd name="connsiteX111" fmla="*/ 3626555 w 4667161"/>
              <a:gd name="connsiteY111" fmla="*/ 783431 h 1958188"/>
              <a:gd name="connsiteX112" fmla="*/ 3664655 w 4667161"/>
              <a:gd name="connsiteY112" fmla="*/ 826293 h 1958188"/>
              <a:gd name="connsiteX113" fmla="*/ 3743236 w 4667161"/>
              <a:gd name="connsiteY113" fmla="*/ 902493 h 1958188"/>
              <a:gd name="connsiteX114" fmla="*/ 3812292 w 4667161"/>
              <a:gd name="connsiteY114" fmla="*/ 916781 h 1958188"/>
              <a:gd name="connsiteX115" fmla="*/ 3907542 w 4667161"/>
              <a:gd name="connsiteY115" fmla="*/ 959643 h 1958188"/>
              <a:gd name="connsiteX116" fmla="*/ 3974217 w 4667161"/>
              <a:gd name="connsiteY116" fmla="*/ 992981 h 1958188"/>
              <a:gd name="connsiteX117" fmla="*/ 3990886 w 4667161"/>
              <a:gd name="connsiteY117" fmla="*/ 1035843 h 1958188"/>
              <a:gd name="connsiteX118" fmla="*/ 4000411 w 4667161"/>
              <a:gd name="connsiteY118" fmla="*/ 1081087 h 1958188"/>
              <a:gd name="connsiteX119" fmla="*/ 4048036 w 4667161"/>
              <a:gd name="connsiteY119" fmla="*/ 1109662 h 1958188"/>
              <a:gd name="connsiteX120" fmla="*/ 4083755 w 4667161"/>
              <a:gd name="connsiteY120" fmla="*/ 1107281 h 1958188"/>
              <a:gd name="connsiteX121" fmla="*/ 4150430 w 4667161"/>
              <a:gd name="connsiteY121" fmla="*/ 1145381 h 1958188"/>
              <a:gd name="connsiteX122" fmla="*/ 4209961 w 4667161"/>
              <a:gd name="connsiteY122" fmla="*/ 1197768 h 1958188"/>
              <a:gd name="connsiteX123" fmla="*/ 4293305 w 4667161"/>
              <a:gd name="connsiteY123" fmla="*/ 1240631 h 1958188"/>
              <a:gd name="connsiteX124" fmla="*/ 4359980 w 4667161"/>
              <a:gd name="connsiteY124" fmla="*/ 1302543 h 1958188"/>
              <a:gd name="connsiteX125" fmla="*/ 4436180 w 4667161"/>
              <a:gd name="connsiteY125" fmla="*/ 1359693 h 1958188"/>
              <a:gd name="connsiteX126" fmla="*/ 4476661 w 4667161"/>
              <a:gd name="connsiteY126" fmla="*/ 1357312 h 1958188"/>
              <a:gd name="connsiteX127" fmla="*/ 4533811 w 4667161"/>
              <a:gd name="connsiteY127" fmla="*/ 1383506 h 1958188"/>
              <a:gd name="connsiteX128" fmla="*/ 4643348 w 4667161"/>
              <a:gd name="connsiteY128" fmla="*/ 1345406 h 1958188"/>
              <a:gd name="connsiteX129" fmla="*/ 4667161 w 4667161"/>
              <a:gd name="connsiteY129" fmla="*/ 1302543 h 1958188"/>
              <a:gd name="connsiteX130" fmla="*/ 4662398 w 4667161"/>
              <a:gd name="connsiteY130" fmla="*/ 1235868 h 1958188"/>
              <a:gd name="connsiteX131" fmla="*/ 4660017 w 4667161"/>
              <a:gd name="connsiteY131" fmla="*/ 1116806 h 1958188"/>
              <a:gd name="connsiteX132" fmla="*/ 4633823 w 4667161"/>
              <a:gd name="connsiteY132" fmla="*/ 1078706 h 1958188"/>
              <a:gd name="connsiteX133" fmla="*/ 4571911 w 4667161"/>
              <a:gd name="connsiteY133" fmla="*/ 1057275 h 1958188"/>
              <a:gd name="connsiteX134" fmla="*/ 4555242 w 4667161"/>
              <a:gd name="connsiteY134" fmla="*/ 1014412 h 1958188"/>
              <a:gd name="connsiteX135" fmla="*/ 4529048 w 4667161"/>
              <a:gd name="connsiteY135" fmla="*/ 931068 h 1958188"/>
              <a:gd name="connsiteX136" fmla="*/ 4500473 w 4667161"/>
              <a:gd name="connsiteY136" fmla="*/ 890587 h 1958188"/>
              <a:gd name="connsiteX137" fmla="*/ 4526667 w 4667161"/>
              <a:gd name="connsiteY137" fmla="*/ 862012 h 1958188"/>
              <a:gd name="connsiteX138" fmla="*/ 4595723 w 4667161"/>
              <a:gd name="connsiteY138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459798 w 4667161"/>
              <a:gd name="connsiteY12" fmla="*/ 1412170 h 1958188"/>
              <a:gd name="connsiteX13" fmla="*/ 498916 w 4667161"/>
              <a:gd name="connsiteY13" fmla="*/ 1392611 h 1958188"/>
              <a:gd name="connsiteX14" fmla="*/ 673805 w 4667161"/>
              <a:gd name="connsiteY14" fmla="*/ 1304925 h 1958188"/>
              <a:gd name="connsiteX15" fmla="*/ 714286 w 4667161"/>
              <a:gd name="connsiteY15" fmla="*/ 1259681 h 1958188"/>
              <a:gd name="connsiteX16" fmla="*/ 745242 w 4667161"/>
              <a:gd name="connsiteY16" fmla="*/ 1247775 h 1958188"/>
              <a:gd name="connsiteX17" fmla="*/ 795248 w 4667161"/>
              <a:gd name="connsiteY17" fmla="*/ 1257300 h 1958188"/>
              <a:gd name="connsiteX18" fmla="*/ 842873 w 4667161"/>
              <a:gd name="connsiteY18" fmla="*/ 1207293 h 1958188"/>
              <a:gd name="connsiteX19" fmla="*/ 890498 w 4667161"/>
              <a:gd name="connsiteY19" fmla="*/ 1214437 h 1958188"/>
              <a:gd name="connsiteX20" fmla="*/ 911930 w 4667161"/>
              <a:gd name="connsiteY20" fmla="*/ 1214437 h 1958188"/>
              <a:gd name="connsiteX21" fmla="*/ 947648 w 4667161"/>
              <a:gd name="connsiteY21" fmla="*/ 1195387 h 1958188"/>
              <a:gd name="connsiteX22" fmla="*/ 971461 w 4667161"/>
              <a:gd name="connsiteY22" fmla="*/ 1157287 h 1958188"/>
              <a:gd name="connsiteX23" fmla="*/ 1016705 w 4667161"/>
              <a:gd name="connsiteY23" fmla="*/ 1157287 h 1958188"/>
              <a:gd name="connsiteX24" fmla="*/ 1042898 w 4667161"/>
              <a:gd name="connsiteY24" fmla="*/ 1119187 h 1958188"/>
              <a:gd name="connsiteX25" fmla="*/ 1069092 w 4667161"/>
              <a:gd name="connsiteY25" fmla="*/ 1100137 h 1958188"/>
              <a:gd name="connsiteX26" fmla="*/ 1088142 w 4667161"/>
              <a:gd name="connsiteY26" fmla="*/ 1071562 h 1958188"/>
              <a:gd name="connsiteX27" fmla="*/ 1133386 w 4667161"/>
              <a:gd name="connsiteY27" fmla="*/ 1064418 h 1958188"/>
              <a:gd name="connsiteX28" fmla="*/ 1145292 w 4667161"/>
              <a:gd name="connsiteY28" fmla="*/ 1031081 h 1958188"/>
              <a:gd name="connsiteX29" fmla="*/ 1181011 w 4667161"/>
              <a:gd name="connsiteY29" fmla="*/ 1012031 h 1958188"/>
              <a:gd name="connsiteX30" fmla="*/ 1202442 w 4667161"/>
              <a:gd name="connsiteY30" fmla="*/ 988218 h 1958188"/>
              <a:gd name="connsiteX31" fmla="*/ 1283405 w 4667161"/>
              <a:gd name="connsiteY31" fmla="*/ 966787 h 1958188"/>
              <a:gd name="connsiteX32" fmla="*/ 1297692 w 4667161"/>
              <a:gd name="connsiteY32" fmla="*/ 952500 h 1958188"/>
              <a:gd name="connsiteX33" fmla="*/ 1307217 w 4667161"/>
              <a:gd name="connsiteY33" fmla="*/ 919162 h 1958188"/>
              <a:gd name="connsiteX34" fmla="*/ 1388180 w 4667161"/>
              <a:gd name="connsiteY34" fmla="*/ 878681 h 1958188"/>
              <a:gd name="connsiteX35" fmla="*/ 1407230 w 4667161"/>
              <a:gd name="connsiteY35" fmla="*/ 873918 h 1958188"/>
              <a:gd name="connsiteX36" fmla="*/ 1466761 w 4667161"/>
              <a:gd name="connsiteY36" fmla="*/ 809625 h 1958188"/>
              <a:gd name="connsiteX37" fmla="*/ 1471523 w 4667161"/>
              <a:gd name="connsiteY37" fmla="*/ 759618 h 1958188"/>
              <a:gd name="connsiteX38" fmla="*/ 1497717 w 4667161"/>
              <a:gd name="connsiteY38" fmla="*/ 733425 h 1958188"/>
              <a:gd name="connsiteX39" fmla="*/ 1523911 w 4667161"/>
              <a:gd name="connsiteY39" fmla="*/ 728662 h 1958188"/>
              <a:gd name="connsiteX40" fmla="*/ 1585823 w 4667161"/>
              <a:gd name="connsiteY40" fmla="*/ 683418 h 1958188"/>
              <a:gd name="connsiteX41" fmla="*/ 1671548 w 4667161"/>
              <a:gd name="connsiteY41" fmla="*/ 640556 h 1958188"/>
              <a:gd name="connsiteX42" fmla="*/ 1707267 w 4667161"/>
              <a:gd name="connsiteY42" fmla="*/ 600075 h 1958188"/>
              <a:gd name="connsiteX43" fmla="*/ 1735842 w 4667161"/>
              <a:gd name="connsiteY43" fmla="*/ 585787 h 1958188"/>
              <a:gd name="connsiteX44" fmla="*/ 1742986 w 4667161"/>
              <a:gd name="connsiteY44" fmla="*/ 519112 h 1958188"/>
              <a:gd name="connsiteX45" fmla="*/ 1759655 w 4667161"/>
              <a:gd name="connsiteY45" fmla="*/ 473868 h 1958188"/>
              <a:gd name="connsiteX46" fmla="*/ 1745367 w 4667161"/>
              <a:gd name="connsiteY46" fmla="*/ 433387 h 1958188"/>
              <a:gd name="connsiteX47" fmla="*/ 1750130 w 4667161"/>
              <a:gd name="connsiteY47" fmla="*/ 347662 h 1958188"/>
              <a:gd name="connsiteX48" fmla="*/ 1745367 w 4667161"/>
              <a:gd name="connsiteY48" fmla="*/ 307181 h 1958188"/>
              <a:gd name="connsiteX49" fmla="*/ 1745367 w 4667161"/>
              <a:gd name="connsiteY49" fmla="*/ 264318 h 1958188"/>
              <a:gd name="connsiteX50" fmla="*/ 1771561 w 4667161"/>
              <a:gd name="connsiteY50" fmla="*/ 254793 h 1958188"/>
              <a:gd name="connsiteX51" fmla="*/ 1792992 w 4667161"/>
              <a:gd name="connsiteY51" fmla="*/ 271462 h 1958188"/>
              <a:gd name="connsiteX52" fmla="*/ 1807280 w 4667161"/>
              <a:gd name="connsiteY52" fmla="*/ 297656 h 1958188"/>
              <a:gd name="connsiteX53" fmla="*/ 1835855 w 4667161"/>
              <a:gd name="connsiteY53" fmla="*/ 300037 h 1958188"/>
              <a:gd name="connsiteX54" fmla="*/ 1857286 w 4667161"/>
              <a:gd name="connsiteY54" fmla="*/ 278606 h 1958188"/>
              <a:gd name="connsiteX55" fmla="*/ 1943011 w 4667161"/>
              <a:gd name="connsiteY55" fmla="*/ 280987 h 1958188"/>
              <a:gd name="connsiteX56" fmla="*/ 1995398 w 4667161"/>
              <a:gd name="connsiteY56" fmla="*/ 290512 h 1958188"/>
              <a:gd name="connsiteX57" fmla="*/ 2043023 w 4667161"/>
              <a:gd name="connsiteY57" fmla="*/ 266700 h 1958188"/>
              <a:gd name="connsiteX58" fmla="*/ 2054930 w 4667161"/>
              <a:gd name="connsiteY58" fmla="*/ 233362 h 1958188"/>
              <a:gd name="connsiteX59" fmla="*/ 2095411 w 4667161"/>
              <a:gd name="connsiteY59" fmla="*/ 200025 h 1958188"/>
              <a:gd name="connsiteX60" fmla="*/ 2085886 w 4667161"/>
              <a:gd name="connsiteY60" fmla="*/ 173831 h 1958188"/>
              <a:gd name="connsiteX61" fmla="*/ 2102555 w 4667161"/>
              <a:gd name="connsiteY61" fmla="*/ 147637 h 1958188"/>
              <a:gd name="connsiteX62" fmla="*/ 2157323 w 4667161"/>
              <a:gd name="connsiteY62" fmla="*/ 169068 h 1958188"/>
              <a:gd name="connsiteX63" fmla="*/ 2204948 w 4667161"/>
              <a:gd name="connsiteY63" fmla="*/ 173831 h 1958188"/>
              <a:gd name="connsiteX64" fmla="*/ 2240667 w 4667161"/>
              <a:gd name="connsiteY64" fmla="*/ 209550 h 1958188"/>
              <a:gd name="connsiteX65" fmla="*/ 2269242 w 4667161"/>
              <a:gd name="connsiteY65" fmla="*/ 223837 h 1958188"/>
              <a:gd name="connsiteX66" fmla="*/ 2288292 w 4667161"/>
              <a:gd name="connsiteY66" fmla="*/ 280987 h 1958188"/>
              <a:gd name="connsiteX67" fmla="*/ 2357348 w 4667161"/>
              <a:gd name="connsiteY67" fmla="*/ 316706 h 1958188"/>
              <a:gd name="connsiteX68" fmla="*/ 2426405 w 4667161"/>
              <a:gd name="connsiteY68" fmla="*/ 307181 h 1958188"/>
              <a:gd name="connsiteX69" fmla="*/ 2474030 w 4667161"/>
              <a:gd name="connsiteY69" fmla="*/ 295275 h 1958188"/>
              <a:gd name="connsiteX70" fmla="*/ 2512130 w 4667161"/>
              <a:gd name="connsiteY70" fmla="*/ 307181 h 1958188"/>
              <a:gd name="connsiteX71" fmla="*/ 2562136 w 4667161"/>
              <a:gd name="connsiteY71" fmla="*/ 304800 h 1958188"/>
              <a:gd name="connsiteX72" fmla="*/ 2607380 w 4667161"/>
              <a:gd name="connsiteY72" fmla="*/ 316706 h 1958188"/>
              <a:gd name="connsiteX73" fmla="*/ 2652623 w 4667161"/>
              <a:gd name="connsiteY73" fmla="*/ 302418 h 1958188"/>
              <a:gd name="connsiteX74" fmla="*/ 2674055 w 4667161"/>
              <a:gd name="connsiteY74" fmla="*/ 276225 h 1958188"/>
              <a:gd name="connsiteX75" fmla="*/ 2752636 w 4667161"/>
              <a:gd name="connsiteY75" fmla="*/ 297656 h 1958188"/>
              <a:gd name="connsiteX76" fmla="*/ 2793117 w 4667161"/>
              <a:gd name="connsiteY76" fmla="*/ 283368 h 1958188"/>
              <a:gd name="connsiteX77" fmla="*/ 2800261 w 4667161"/>
              <a:gd name="connsiteY77" fmla="*/ 242887 h 1958188"/>
              <a:gd name="connsiteX78" fmla="*/ 2771686 w 4667161"/>
              <a:gd name="connsiteY78" fmla="*/ 195262 h 1958188"/>
              <a:gd name="connsiteX79" fmla="*/ 2755017 w 4667161"/>
              <a:gd name="connsiteY79" fmla="*/ 135731 h 1958188"/>
              <a:gd name="connsiteX80" fmla="*/ 2721680 w 4667161"/>
              <a:gd name="connsiteY80" fmla="*/ 102393 h 1958188"/>
              <a:gd name="connsiteX81" fmla="*/ 2697867 w 4667161"/>
              <a:gd name="connsiteY81" fmla="*/ 59531 h 1958188"/>
              <a:gd name="connsiteX82" fmla="*/ 2707392 w 4667161"/>
              <a:gd name="connsiteY82" fmla="*/ 38100 h 1958188"/>
              <a:gd name="connsiteX83" fmla="*/ 2743111 w 4667161"/>
              <a:gd name="connsiteY83" fmla="*/ 0 h 1958188"/>
              <a:gd name="connsiteX84" fmla="*/ 2762161 w 4667161"/>
              <a:gd name="connsiteY84" fmla="*/ 16668 h 1958188"/>
              <a:gd name="connsiteX85" fmla="*/ 2843123 w 4667161"/>
              <a:gd name="connsiteY85" fmla="*/ 30956 h 1958188"/>
              <a:gd name="connsiteX86" fmla="*/ 2926467 w 4667161"/>
              <a:gd name="connsiteY86" fmla="*/ 47625 h 1958188"/>
              <a:gd name="connsiteX87" fmla="*/ 2976473 w 4667161"/>
              <a:gd name="connsiteY87" fmla="*/ 66675 h 1958188"/>
              <a:gd name="connsiteX88" fmla="*/ 3026480 w 4667161"/>
              <a:gd name="connsiteY88" fmla="*/ 61912 h 1958188"/>
              <a:gd name="connsiteX89" fmla="*/ 3074105 w 4667161"/>
              <a:gd name="connsiteY89" fmla="*/ 92868 h 1958188"/>
              <a:gd name="connsiteX90" fmla="*/ 3116967 w 4667161"/>
              <a:gd name="connsiteY90" fmla="*/ 119062 h 1958188"/>
              <a:gd name="connsiteX91" fmla="*/ 3138398 w 4667161"/>
              <a:gd name="connsiteY91" fmla="*/ 150018 h 1958188"/>
              <a:gd name="connsiteX92" fmla="*/ 3188405 w 4667161"/>
              <a:gd name="connsiteY92" fmla="*/ 157162 h 1958188"/>
              <a:gd name="connsiteX93" fmla="*/ 3214598 w 4667161"/>
              <a:gd name="connsiteY93" fmla="*/ 202406 h 1958188"/>
              <a:gd name="connsiteX94" fmla="*/ 3240792 w 4667161"/>
              <a:gd name="connsiteY94" fmla="*/ 233362 h 1958188"/>
              <a:gd name="connsiteX95" fmla="*/ 3257461 w 4667161"/>
              <a:gd name="connsiteY95" fmla="*/ 278606 h 1958188"/>
              <a:gd name="connsiteX96" fmla="*/ 3316992 w 4667161"/>
              <a:gd name="connsiteY96" fmla="*/ 295275 h 1958188"/>
              <a:gd name="connsiteX97" fmla="*/ 3345567 w 4667161"/>
              <a:gd name="connsiteY97" fmla="*/ 326231 h 1958188"/>
              <a:gd name="connsiteX98" fmla="*/ 3366998 w 4667161"/>
              <a:gd name="connsiteY98" fmla="*/ 335756 h 1958188"/>
              <a:gd name="connsiteX99" fmla="*/ 3378905 w 4667161"/>
              <a:gd name="connsiteY99" fmla="*/ 376237 h 1958188"/>
              <a:gd name="connsiteX100" fmla="*/ 3409861 w 4667161"/>
              <a:gd name="connsiteY100" fmla="*/ 383381 h 1958188"/>
              <a:gd name="connsiteX101" fmla="*/ 3447961 w 4667161"/>
              <a:gd name="connsiteY101" fmla="*/ 447675 h 1958188"/>
              <a:gd name="connsiteX102" fmla="*/ 3443198 w 4667161"/>
              <a:gd name="connsiteY102" fmla="*/ 502443 h 1958188"/>
              <a:gd name="connsiteX103" fmla="*/ 3431292 w 4667161"/>
              <a:gd name="connsiteY103" fmla="*/ 531018 h 1958188"/>
              <a:gd name="connsiteX104" fmla="*/ 3471773 w 4667161"/>
              <a:gd name="connsiteY104" fmla="*/ 564356 h 1958188"/>
              <a:gd name="connsiteX105" fmla="*/ 3469392 w 4667161"/>
              <a:gd name="connsiteY105" fmla="*/ 647700 h 1958188"/>
              <a:gd name="connsiteX106" fmla="*/ 3450342 w 4667161"/>
              <a:gd name="connsiteY106" fmla="*/ 664368 h 1958188"/>
              <a:gd name="connsiteX107" fmla="*/ 3433673 w 4667161"/>
              <a:gd name="connsiteY107" fmla="*/ 738187 h 1958188"/>
              <a:gd name="connsiteX108" fmla="*/ 3455105 w 4667161"/>
              <a:gd name="connsiteY108" fmla="*/ 773906 h 1958188"/>
              <a:gd name="connsiteX109" fmla="*/ 3509873 w 4667161"/>
              <a:gd name="connsiteY109" fmla="*/ 797718 h 1958188"/>
              <a:gd name="connsiteX110" fmla="*/ 3547973 w 4667161"/>
              <a:gd name="connsiteY110" fmla="*/ 778668 h 1958188"/>
              <a:gd name="connsiteX111" fmla="*/ 3590836 w 4667161"/>
              <a:gd name="connsiteY111" fmla="*/ 797718 h 1958188"/>
              <a:gd name="connsiteX112" fmla="*/ 3626555 w 4667161"/>
              <a:gd name="connsiteY112" fmla="*/ 783431 h 1958188"/>
              <a:gd name="connsiteX113" fmla="*/ 3664655 w 4667161"/>
              <a:gd name="connsiteY113" fmla="*/ 826293 h 1958188"/>
              <a:gd name="connsiteX114" fmla="*/ 3743236 w 4667161"/>
              <a:gd name="connsiteY114" fmla="*/ 902493 h 1958188"/>
              <a:gd name="connsiteX115" fmla="*/ 3812292 w 4667161"/>
              <a:gd name="connsiteY115" fmla="*/ 916781 h 1958188"/>
              <a:gd name="connsiteX116" fmla="*/ 3907542 w 4667161"/>
              <a:gd name="connsiteY116" fmla="*/ 959643 h 1958188"/>
              <a:gd name="connsiteX117" fmla="*/ 3974217 w 4667161"/>
              <a:gd name="connsiteY117" fmla="*/ 992981 h 1958188"/>
              <a:gd name="connsiteX118" fmla="*/ 3990886 w 4667161"/>
              <a:gd name="connsiteY118" fmla="*/ 1035843 h 1958188"/>
              <a:gd name="connsiteX119" fmla="*/ 4000411 w 4667161"/>
              <a:gd name="connsiteY119" fmla="*/ 1081087 h 1958188"/>
              <a:gd name="connsiteX120" fmla="*/ 4048036 w 4667161"/>
              <a:gd name="connsiteY120" fmla="*/ 1109662 h 1958188"/>
              <a:gd name="connsiteX121" fmla="*/ 4083755 w 4667161"/>
              <a:gd name="connsiteY121" fmla="*/ 1107281 h 1958188"/>
              <a:gd name="connsiteX122" fmla="*/ 4150430 w 4667161"/>
              <a:gd name="connsiteY122" fmla="*/ 1145381 h 1958188"/>
              <a:gd name="connsiteX123" fmla="*/ 4209961 w 4667161"/>
              <a:gd name="connsiteY123" fmla="*/ 1197768 h 1958188"/>
              <a:gd name="connsiteX124" fmla="*/ 4293305 w 4667161"/>
              <a:gd name="connsiteY124" fmla="*/ 1240631 h 1958188"/>
              <a:gd name="connsiteX125" fmla="*/ 4359980 w 4667161"/>
              <a:gd name="connsiteY125" fmla="*/ 1302543 h 1958188"/>
              <a:gd name="connsiteX126" fmla="*/ 4436180 w 4667161"/>
              <a:gd name="connsiteY126" fmla="*/ 1359693 h 1958188"/>
              <a:gd name="connsiteX127" fmla="*/ 4476661 w 4667161"/>
              <a:gd name="connsiteY127" fmla="*/ 1357312 h 1958188"/>
              <a:gd name="connsiteX128" fmla="*/ 4533811 w 4667161"/>
              <a:gd name="connsiteY128" fmla="*/ 1383506 h 1958188"/>
              <a:gd name="connsiteX129" fmla="*/ 4643348 w 4667161"/>
              <a:gd name="connsiteY129" fmla="*/ 1345406 h 1958188"/>
              <a:gd name="connsiteX130" fmla="*/ 4667161 w 4667161"/>
              <a:gd name="connsiteY130" fmla="*/ 1302543 h 1958188"/>
              <a:gd name="connsiteX131" fmla="*/ 4662398 w 4667161"/>
              <a:gd name="connsiteY131" fmla="*/ 1235868 h 1958188"/>
              <a:gd name="connsiteX132" fmla="*/ 4660017 w 4667161"/>
              <a:gd name="connsiteY132" fmla="*/ 1116806 h 1958188"/>
              <a:gd name="connsiteX133" fmla="*/ 4633823 w 4667161"/>
              <a:gd name="connsiteY133" fmla="*/ 1078706 h 1958188"/>
              <a:gd name="connsiteX134" fmla="*/ 4571911 w 4667161"/>
              <a:gd name="connsiteY134" fmla="*/ 1057275 h 1958188"/>
              <a:gd name="connsiteX135" fmla="*/ 4555242 w 4667161"/>
              <a:gd name="connsiteY135" fmla="*/ 1014412 h 1958188"/>
              <a:gd name="connsiteX136" fmla="*/ 4529048 w 4667161"/>
              <a:gd name="connsiteY136" fmla="*/ 931068 h 1958188"/>
              <a:gd name="connsiteX137" fmla="*/ 4500473 w 4667161"/>
              <a:gd name="connsiteY137" fmla="*/ 890587 h 1958188"/>
              <a:gd name="connsiteX138" fmla="*/ 4526667 w 4667161"/>
              <a:gd name="connsiteY138" fmla="*/ 862012 h 1958188"/>
              <a:gd name="connsiteX139" fmla="*/ 4595723 w 4667161"/>
              <a:gd name="connsiteY139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459798 w 4667161"/>
              <a:gd name="connsiteY12" fmla="*/ 1412170 h 1958188"/>
              <a:gd name="connsiteX13" fmla="*/ 489137 w 4667161"/>
              <a:gd name="connsiteY13" fmla="*/ 1373051 h 1958188"/>
              <a:gd name="connsiteX14" fmla="*/ 673805 w 4667161"/>
              <a:gd name="connsiteY14" fmla="*/ 1304925 h 1958188"/>
              <a:gd name="connsiteX15" fmla="*/ 714286 w 4667161"/>
              <a:gd name="connsiteY15" fmla="*/ 1259681 h 1958188"/>
              <a:gd name="connsiteX16" fmla="*/ 745242 w 4667161"/>
              <a:gd name="connsiteY16" fmla="*/ 1247775 h 1958188"/>
              <a:gd name="connsiteX17" fmla="*/ 795248 w 4667161"/>
              <a:gd name="connsiteY17" fmla="*/ 1257300 h 1958188"/>
              <a:gd name="connsiteX18" fmla="*/ 842873 w 4667161"/>
              <a:gd name="connsiteY18" fmla="*/ 1207293 h 1958188"/>
              <a:gd name="connsiteX19" fmla="*/ 890498 w 4667161"/>
              <a:gd name="connsiteY19" fmla="*/ 1214437 h 1958188"/>
              <a:gd name="connsiteX20" fmla="*/ 911930 w 4667161"/>
              <a:gd name="connsiteY20" fmla="*/ 1214437 h 1958188"/>
              <a:gd name="connsiteX21" fmla="*/ 947648 w 4667161"/>
              <a:gd name="connsiteY21" fmla="*/ 1195387 h 1958188"/>
              <a:gd name="connsiteX22" fmla="*/ 971461 w 4667161"/>
              <a:gd name="connsiteY22" fmla="*/ 1157287 h 1958188"/>
              <a:gd name="connsiteX23" fmla="*/ 1016705 w 4667161"/>
              <a:gd name="connsiteY23" fmla="*/ 1157287 h 1958188"/>
              <a:gd name="connsiteX24" fmla="*/ 1042898 w 4667161"/>
              <a:gd name="connsiteY24" fmla="*/ 1119187 h 1958188"/>
              <a:gd name="connsiteX25" fmla="*/ 1069092 w 4667161"/>
              <a:gd name="connsiteY25" fmla="*/ 1100137 h 1958188"/>
              <a:gd name="connsiteX26" fmla="*/ 1088142 w 4667161"/>
              <a:gd name="connsiteY26" fmla="*/ 1071562 h 1958188"/>
              <a:gd name="connsiteX27" fmla="*/ 1133386 w 4667161"/>
              <a:gd name="connsiteY27" fmla="*/ 1064418 h 1958188"/>
              <a:gd name="connsiteX28" fmla="*/ 1145292 w 4667161"/>
              <a:gd name="connsiteY28" fmla="*/ 1031081 h 1958188"/>
              <a:gd name="connsiteX29" fmla="*/ 1181011 w 4667161"/>
              <a:gd name="connsiteY29" fmla="*/ 1012031 h 1958188"/>
              <a:gd name="connsiteX30" fmla="*/ 1202442 w 4667161"/>
              <a:gd name="connsiteY30" fmla="*/ 988218 h 1958188"/>
              <a:gd name="connsiteX31" fmla="*/ 1283405 w 4667161"/>
              <a:gd name="connsiteY31" fmla="*/ 966787 h 1958188"/>
              <a:gd name="connsiteX32" fmla="*/ 1297692 w 4667161"/>
              <a:gd name="connsiteY32" fmla="*/ 952500 h 1958188"/>
              <a:gd name="connsiteX33" fmla="*/ 1307217 w 4667161"/>
              <a:gd name="connsiteY33" fmla="*/ 919162 h 1958188"/>
              <a:gd name="connsiteX34" fmla="*/ 1388180 w 4667161"/>
              <a:gd name="connsiteY34" fmla="*/ 878681 h 1958188"/>
              <a:gd name="connsiteX35" fmla="*/ 1407230 w 4667161"/>
              <a:gd name="connsiteY35" fmla="*/ 873918 h 1958188"/>
              <a:gd name="connsiteX36" fmla="*/ 1466761 w 4667161"/>
              <a:gd name="connsiteY36" fmla="*/ 809625 h 1958188"/>
              <a:gd name="connsiteX37" fmla="*/ 1471523 w 4667161"/>
              <a:gd name="connsiteY37" fmla="*/ 759618 h 1958188"/>
              <a:gd name="connsiteX38" fmla="*/ 1497717 w 4667161"/>
              <a:gd name="connsiteY38" fmla="*/ 733425 h 1958188"/>
              <a:gd name="connsiteX39" fmla="*/ 1523911 w 4667161"/>
              <a:gd name="connsiteY39" fmla="*/ 728662 h 1958188"/>
              <a:gd name="connsiteX40" fmla="*/ 1585823 w 4667161"/>
              <a:gd name="connsiteY40" fmla="*/ 683418 h 1958188"/>
              <a:gd name="connsiteX41" fmla="*/ 1671548 w 4667161"/>
              <a:gd name="connsiteY41" fmla="*/ 640556 h 1958188"/>
              <a:gd name="connsiteX42" fmla="*/ 1707267 w 4667161"/>
              <a:gd name="connsiteY42" fmla="*/ 600075 h 1958188"/>
              <a:gd name="connsiteX43" fmla="*/ 1735842 w 4667161"/>
              <a:gd name="connsiteY43" fmla="*/ 585787 h 1958188"/>
              <a:gd name="connsiteX44" fmla="*/ 1742986 w 4667161"/>
              <a:gd name="connsiteY44" fmla="*/ 519112 h 1958188"/>
              <a:gd name="connsiteX45" fmla="*/ 1759655 w 4667161"/>
              <a:gd name="connsiteY45" fmla="*/ 473868 h 1958188"/>
              <a:gd name="connsiteX46" fmla="*/ 1745367 w 4667161"/>
              <a:gd name="connsiteY46" fmla="*/ 433387 h 1958188"/>
              <a:gd name="connsiteX47" fmla="*/ 1750130 w 4667161"/>
              <a:gd name="connsiteY47" fmla="*/ 347662 h 1958188"/>
              <a:gd name="connsiteX48" fmla="*/ 1745367 w 4667161"/>
              <a:gd name="connsiteY48" fmla="*/ 307181 h 1958188"/>
              <a:gd name="connsiteX49" fmla="*/ 1745367 w 4667161"/>
              <a:gd name="connsiteY49" fmla="*/ 264318 h 1958188"/>
              <a:gd name="connsiteX50" fmla="*/ 1771561 w 4667161"/>
              <a:gd name="connsiteY50" fmla="*/ 254793 h 1958188"/>
              <a:gd name="connsiteX51" fmla="*/ 1792992 w 4667161"/>
              <a:gd name="connsiteY51" fmla="*/ 271462 h 1958188"/>
              <a:gd name="connsiteX52" fmla="*/ 1807280 w 4667161"/>
              <a:gd name="connsiteY52" fmla="*/ 297656 h 1958188"/>
              <a:gd name="connsiteX53" fmla="*/ 1835855 w 4667161"/>
              <a:gd name="connsiteY53" fmla="*/ 300037 h 1958188"/>
              <a:gd name="connsiteX54" fmla="*/ 1857286 w 4667161"/>
              <a:gd name="connsiteY54" fmla="*/ 278606 h 1958188"/>
              <a:gd name="connsiteX55" fmla="*/ 1943011 w 4667161"/>
              <a:gd name="connsiteY55" fmla="*/ 280987 h 1958188"/>
              <a:gd name="connsiteX56" fmla="*/ 1995398 w 4667161"/>
              <a:gd name="connsiteY56" fmla="*/ 290512 h 1958188"/>
              <a:gd name="connsiteX57" fmla="*/ 2043023 w 4667161"/>
              <a:gd name="connsiteY57" fmla="*/ 266700 h 1958188"/>
              <a:gd name="connsiteX58" fmla="*/ 2054930 w 4667161"/>
              <a:gd name="connsiteY58" fmla="*/ 233362 h 1958188"/>
              <a:gd name="connsiteX59" fmla="*/ 2095411 w 4667161"/>
              <a:gd name="connsiteY59" fmla="*/ 200025 h 1958188"/>
              <a:gd name="connsiteX60" fmla="*/ 2085886 w 4667161"/>
              <a:gd name="connsiteY60" fmla="*/ 173831 h 1958188"/>
              <a:gd name="connsiteX61" fmla="*/ 2102555 w 4667161"/>
              <a:gd name="connsiteY61" fmla="*/ 147637 h 1958188"/>
              <a:gd name="connsiteX62" fmla="*/ 2157323 w 4667161"/>
              <a:gd name="connsiteY62" fmla="*/ 169068 h 1958188"/>
              <a:gd name="connsiteX63" fmla="*/ 2204948 w 4667161"/>
              <a:gd name="connsiteY63" fmla="*/ 173831 h 1958188"/>
              <a:gd name="connsiteX64" fmla="*/ 2240667 w 4667161"/>
              <a:gd name="connsiteY64" fmla="*/ 209550 h 1958188"/>
              <a:gd name="connsiteX65" fmla="*/ 2269242 w 4667161"/>
              <a:gd name="connsiteY65" fmla="*/ 223837 h 1958188"/>
              <a:gd name="connsiteX66" fmla="*/ 2288292 w 4667161"/>
              <a:gd name="connsiteY66" fmla="*/ 280987 h 1958188"/>
              <a:gd name="connsiteX67" fmla="*/ 2357348 w 4667161"/>
              <a:gd name="connsiteY67" fmla="*/ 316706 h 1958188"/>
              <a:gd name="connsiteX68" fmla="*/ 2426405 w 4667161"/>
              <a:gd name="connsiteY68" fmla="*/ 307181 h 1958188"/>
              <a:gd name="connsiteX69" fmla="*/ 2474030 w 4667161"/>
              <a:gd name="connsiteY69" fmla="*/ 295275 h 1958188"/>
              <a:gd name="connsiteX70" fmla="*/ 2512130 w 4667161"/>
              <a:gd name="connsiteY70" fmla="*/ 307181 h 1958188"/>
              <a:gd name="connsiteX71" fmla="*/ 2562136 w 4667161"/>
              <a:gd name="connsiteY71" fmla="*/ 304800 h 1958188"/>
              <a:gd name="connsiteX72" fmla="*/ 2607380 w 4667161"/>
              <a:gd name="connsiteY72" fmla="*/ 316706 h 1958188"/>
              <a:gd name="connsiteX73" fmla="*/ 2652623 w 4667161"/>
              <a:gd name="connsiteY73" fmla="*/ 302418 h 1958188"/>
              <a:gd name="connsiteX74" fmla="*/ 2674055 w 4667161"/>
              <a:gd name="connsiteY74" fmla="*/ 276225 h 1958188"/>
              <a:gd name="connsiteX75" fmla="*/ 2752636 w 4667161"/>
              <a:gd name="connsiteY75" fmla="*/ 297656 h 1958188"/>
              <a:gd name="connsiteX76" fmla="*/ 2793117 w 4667161"/>
              <a:gd name="connsiteY76" fmla="*/ 283368 h 1958188"/>
              <a:gd name="connsiteX77" fmla="*/ 2800261 w 4667161"/>
              <a:gd name="connsiteY77" fmla="*/ 242887 h 1958188"/>
              <a:gd name="connsiteX78" fmla="*/ 2771686 w 4667161"/>
              <a:gd name="connsiteY78" fmla="*/ 195262 h 1958188"/>
              <a:gd name="connsiteX79" fmla="*/ 2755017 w 4667161"/>
              <a:gd name="connsiteY79" fmla="*/ 135731 h 1958188"/>
              <a:gd name="connsiteX80" fmla="*/ 2721680 w 4667161"/>
              <a:gd name="connsiteY80" fmla="*/ 102393 h 1958188"/>
              <a:gd name="connsiteX81" fmla="*/ 2697867 w 4667161"/>
              <a:gd name="connsiteY81" fmla="*/ 59531 h 1958188"/>
              <a:gd name="connsiteX82" fmla="*/ 2707392 w 4667161"/>
              <a:gd name="connsiteY82" fmla="*/ 38100 h 1958188"/>
              <a:gd name="connsiteX83" fmla="*/ 2743111 w 4667161"/>
              <a:gd name="connsiteY83" fmla="*/ 0 h 1958188"/>
              <a:gd name="connsiteX84" fmla="*/ 2762161 w 4667161"/>
              <a:gd name="connsiteY84" fmla="*/ 16668 h 1958188"/>
              <a:gd name="connsiteX85" fmla="*/ 2843123 w 4667161"/>
              <a:gd name="connsiteY85" fmla="*/ 30956 h 1958188"/>
              <a:gd name="connsiteX86" fmla="*/ 2926467 w 4667161"/>
              <a:gd name="connsiteY86" fmla="*/ 47625 h 1958188"/>
              <a:gd name="connsiteX87" fmla="*/ 2976473 w 4667161"/>
              <a:gd name="connsiteY87" fmla="*/ 66675 h 1958188"/>
              <a:gd name="connsiteX88" fmla="*/ 3026480 w 4667161"/>
              <a:gd name="connsiteY88" fmla="*/ 61912 h 1958188"/>
              <a:gd name="connsiteX89" fmla="*/ 3074105 w 4667161"/>
              <a:gd name="connsiteY89" fmla="*/ 92868 h 1958188"/>
              <a:gd name="connsiteX90" fmla="*/ 3116967 w 4667161"/>
              <a:gd name="connsiteY90" fmla="*/ 119062 h 1958188"/>
              <a:gd name="connsiteX91" fmla="*/ 3138398 w 4667161"/>
              <a:gd name="connsiteY91" fmla="*/ 150018 h 1958188"/>
              <a:gd name="connsiteX92" fmla="*/ 3188405 w 4667161"/>
              <a:gd name="connsiteY92" fmla="*/ 157162 h 1958188"/>
              <a:gd name="connsiteX93" fmla="*/ 3214598 w 4667161"/>
              <a:gd name="connsiteY93" fmla="*/ 202406 h 1958188"/>
              <a:gd name="connsiteX94" fmla="*/ 3240792 w 4667161"/>
              <a:gd name="connsiteY94" fmla="*/ 233362 h 1958188"/>
              <a:gd name="connsiteX95" fmla="*/ 3257461 w 4667161"/>
              <a:gd name="connsiteY95" fmla="*/ 278606 h 1958188"/>
              <a:gd name="connsiteX96" fmla="*/ 3316992 w 4667161"/>
              <a:gd name="connsiteY96" fmla="*/ 295275 h 1958188"/>
              <a:gd name="connsiteX97" fmla="*/ 3345567 w 4667161"/>
              <a:gd name="connsiteY97" fmla="*/ 326231 h 1958188"/>
              <a:gd name="connsiteX98" fmla="*/ 3366998 w 4667161"/>
              <a:gd name="connsiteY98" fmla="*/ 335756 h 1958188"/>
              <a:gd name="connsiteX99" fmla="*/ 3378905 w 4667161"/>
              <a:gd name="connsiteY99" fmla="*/ 376237 h 1958188"/>
              <a:gd name="connsiteX100" fmla="*/ 3409861 w 4667161"/>
              <a:gd name="connsiteY100" fmla="*/ 383381 h 1958188"/>
              <a:gd name="connsiteX101" fmla="*/ 3447961 w 4667161"/>
              <a:gd name="connsiteY101" fmla="*/ 447675 h 1958188"/>
              <a:gd name="connsiteX102" fmla="*/ 3443198 w 4667161"/>
              <a:gd name="connsiteY102" fmla="*/ 502443 h 1958188"/>
              <a:gd name="connsiteX103" fmla="*/ 3431292 w 4667161"/>
              <a:gd name="connsiteY103" fmla="*/ 531018 h 1958188"/>
              <a:gd name="connsiteX104" fmla="*/ 3471773 w 4667161"/>
              <a:gd name="connsiteY104" fmla="*/ 564356 h 1958188"/>
              <a:gd name="connsiteX105" fmla="*/ 3469392 w 4667161"/>
              <a:gd name="connsiteY105" fmla="*/ 647700 h 1958188"/>
              <a:gd name="connsiteX106" fmla="*/ 3450342 w 4667161"/>
              <a:gd name="connsiteY106" fmla="*/ 664368 h 1958188"/>
              <a:gd name="connsiteX107" fmla="*/ 3433673 w 4667161"/>
              <a:gd name="connsiteY107" fmla="*/ 738187 h 1958188"/>
              <a:gd name="connsiteX108" fmla="*/ 3455105 w 4667161"/>
              <a:gd name="connsiteY108" fmla="*/ 773906 h 1958188"/>
              <a:gd name="connsiteX109" fmla="*/ 3509873 w 4667161"/>
              <a:gd name="connsiteY109" fmla="*/ 797718 h 1958188"/>
              <a:gd name="connsiteX110" fmla="*/ 3547973 w 4667161"/>
              <a:gd name="connsiteY110" fmla="*/ 778668 h 1958188"/>
              <a:gd name="connsiteX111" fmla="*/ 3590836 w 4667161"/>
              <a:gd name="connsiteY111" fmla="*/ 797718 h 1958188"/>
              <a:gd name="connsiteX112" fmla="*/ 3626555 w 4667161"/>
              <a:gd name="connsiteY112" fmla="*/ 783431 h 1958188"/>
              <a:gd name="connsiteX113" fmla="*/ 3664655 w 4667161"/>
              <a:gd name="connsiteY113" fmla="*/ 826293 h 1958188"/>
              <a:gd name="connsiteX114" fmla="*/ 3743236 w 4667161"/>
              <a:gd name="connsiteY114" fmla="*/ 902493 h 1958188"/>
              <a:gd name="connsiteX115" fmla="*/ 3812292 w 4667161"/>
              <a:gd name="connsiteY115" fmla="*/ 916781 h 1958188"/>
              <a:gd name="connsiteX116" fmla="*/ 3907542 w 4667161"/>
              <a:gd name="connsiteY116" fmla="*/ 959643 h 1958188"/>
              <a:gd name="connsiteX117" fmla="*/ 3974217 w 4667161"/>
              <a:gd name="connsiteY117" fmla="*/ 992981 h 1958188"/>
              <a:gd name="connsiteX118" fmla="*/ 3990886 w 4667161"/>
              <a:gd name="connsiteY118" fmla="*/ 1035843 h 1958188"/>
              <a:gd name="connsiteX119" fmla="*/ 4000411 w 4667161"/>
              <a:gd name="connsiteY119" fmla="*/ 1081087 h 1958188"/>
              <a:gd name="connsiteX120" fmla="*/ 4048036 w 4667161"/>
              <a:gd name="connsiteY120" fmla="*/ 1109662 h 1958188"/>
              <a:gd name="connsiteX121" fmla="*/ 4083755 w 4667161"/>
              <a:gd name="connsiteY121" fmla="*/ 1107281 h 1958188"/>
              <a:gd name="connsiteX122" fmla="*/ 4150430 w 4667161"/>
              <a:gd name="connsiteY122" fmla="*/ 1145381 h 1958188"/>
              <a:gd name="connsiteX123" fmla="*/ 4209961 w 4667161"/>
              <a:gd name="connsiteY123" fmla="*/ 1197768 h 1958188"/>
              <a:gd name="connsiteX124" fmla="*/ 4293305 w 4667161"/>
              <a:gd name="connsiteY124" fmla="*/ 1240631 h 1958188"/>
              <a:gd name="connsiteX125" fmla="*/ 4359980 w 4667161"/>
              <a:gd name="connsiteY125" fmla="*/ 1302543 h 1958188"/>
              <a:gd name="connsiteX126" fmla="*/ 4436180 w 4667161"/>
              <a:gd name="connsiteY126" fmla="*/ 1359693 h 1958188"/>
              <a:gd name="connsiteX127" fmla="*/ 4476661 w 4667161"/>
              <a:gd name="connsiteY127" fmla="*/ 1357312 h 1958188"/>
              <a:gd name="connsiteX128" fmla="*/ 4533811 w 4667161"/>
              <a:gd name="connsiteY128" fmla="*/ 1383506 h 1958188"/>
              <a:gd name="connsiteX129" fmla="*/ 4643348 w 4667161"/>
              <a:gd name="connsiteY129" fmla="*/ 1345406 h 1958188"/>
              <a:gd name="connsiteX130" fmla="*/ 4667161 w 4667161"/>
              <a:gd name="connsiteY130" fmla="*/ 1302543 h 1958188"/>
              <a:gd name="connsiteX131" fmla="*/ 4662398 w 4667161"/>
              <a:gd name="connsiteY131" fmla="*/ 1235868 h 1958188"/>
              <a:gd name="connsiteX132" fmla="*/ 4660017 w 4667161"/>
              <a:gd name="connsiteY132" fmla="*/ 1116806 h 1958188"/>
              <a:gd name="connsiteX133" fmla="*/ 4633823 w 4667161"/>
              <a:gd name="connsiteY133" fmla="*/ 1078706 h 1958188"/>
              <a:gd name="connsiteX134" fmla="*/ 4571911 w 4667161"/>
              <a:gd name="connsiteY134" fmla="*/ 1057275 h 1958188"/>
              <a:gd name="connsiteX135" fmla="*/ 4555242 w 4667161"/>
              <a:gd name="connsiteY135" fmla="*/ 1014412 h 1958188"/>
              <a:gd name="connsiteX136" fmla="*/ 4529048 w 4667161"/>
              <a:gd name="connsiteY136" fmla="*/ 931068 h 1958188"/>
              <a:gd name="connsiteX137" fmla="*/ 4500473 w 4667161"/>
              <a:gd name="connsiteY137" fmla="*/ 890587 h 1958188"/>
              <a:gd name="connsiteX138" fmla="*/ 4526667 w 4667161"/>
              <a:gd name="connsiteY138" fmla="*/ 862012 h 1958188"/>
              <a:gd name="connsiteX139" fmla="*/ 4595723 w 4667161"/>
              <a:gd name="connsiteY139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459798 w 4667161"/>
              <a:gd name="connsiteY12" fmla="*/ 1412170 h 1958188"/>
              <a:gd name="connsiteX13" fmla="*/ 489137 w 4667161"/>
              <a:gd name="connsiteY13" fmla="*/ 1373051 h 1958188"/>
              <a:gd name="connsiteX14" fmla="*/ 520921 w 4667161"/>
              <a:gd name="connsiteY14" fmla="*/ 1358382 h 1958188"/>
              <a:gd name="connsiteX15" fmla="*/ 673805 w 4667161"/>
              <a:gd name="connsiteY15" fmla="*/ 1304925 h 1958188"/>
              <a:gd name="connsiteX16" fmla="*/ 714286 w 4667161"/>
              <a:gd name="connsiteY16" fmla="*/ 1259681 h 1958188"/>
              <a:gd name="connsiteX17" fmla="*/ 745242 w 4667161"/>
              <a:gd name="connsiteY17" fmla="*/ 1247775 h 1958188"/>
              <a:gd name="connsiteX18" fmla="*/ 795248 w 4667161"/>
              <a:gd name="connsiteY18" fmla="*/ 1257300 h 1958188"/>
              <a:gd name="connsiteX19" fmla="*/ 842873 w 4667161"/>
              <a:gd name="connsiteY19" fmla="*/ 1207293 h 1958188"/>
              <a:gd name="connsiteX20" fmla="*/ 890498 w 4667161"/>
              <a:gd name="connsiteY20" fmla="*/ 1214437 h 1958188"/>
              <a:gd name="connsiteX21" fmla="*/ 911930 w 4667161"/>
              <a:gd name="connsiteY21" fmla="*/ 1214437 h 1958188"/>
              <a:gd name="connsiteX22" fmla="*/ 947648 w 4667161"/>
              <a:gd name="connsiteY22" fmla="*/ 1195387 h 1958188"/>
              <a:gd name="connsiteX23" fmla="*/ 971461 w 4667161"/>
              <a:gd name="connsiteY23" fmla="*/ 1157287 h 1958188"/>
              <a:gd name="connsiteX24" fmla="*/ 1016705 w 4667161"/>
              <a:gd name="connsiteY24" fmla="*/ 1157287 h 1958188"/>
              <a:gd name="connsiteX25" fmla="*/ 1042898 w 4667161"/>
              <a:gd name="connsiteY25" fmla="*/ 1119187 h 1958188"/>
              <a:gd name="connsiteX26" fmla="*/ 1069092 w 4667161"/>
              <a:gd name="connsiteY26" fmla="*/ 1100137 h 1958188"/>
              <a:gd name="connsiteX27" fmla="*/ 1088142 w 4667161"/>
              <a:gd name="connsiteY27" fmla="*/ 1071562 h 1958188"/>
              <a:gd name="connsiteX28" fmla="*/ 1133386 w 4667161"/>
              <a:gd name="connsiteY28" fmla="*/ 1064418 h 1958188"/>
              <a:gd name="connsiteX29" fmla="*/ 1145292 w 4667161"/>
              <a:gd name="connsiteY29" fmla="*/ 1031081 h 1958188"/>
              <a:gd name="connsiteX30" fmla="*/ 1181011 w 4667161"/>
              <a:gd name="connsiteY30" fmla="*/ 1012031 h 1958188"/>
              <a:gd name="connsiteX31" fmla="*/ 1202442 w 4667161"/>
              <a:gd name="connsiteY31" fmla="*/ 988218 h 1958188"/>
              <a:gd name="connsiteX32" fmla="*/ 1283405 w 4667161"/>
              <a:gd name="connsiteY32" fmla="*/ 966787 h 1958188"/>
              <a:gd name="connsiteX33" fmla="*/ 1297692 w 4667161"/>
              <a:gd name="connsiteY33" fmla="*/ 952500 h 1958188"/>
              <a:gd name="connsiteX34" fmla="*/ 1307217 w 4667161"/>
              <a:gd name="connsiteY34" fmla="*/ 919162 h 1958188"/>
              <a:gd name="connsiteX35" fmla="*/ 1388180 w 4667161"/>
              <a:gd name="connsiteY35" fmla="*/ 878681 h 1958188"/>
              <a:gd name="connsiteX36" fmla="*/ 1407230 w 4667161"/>
              <a:gd name="connsiteY36" fmla="*/ 873918 h 1958188"/>
              <a:gd name="connsiteX37" fmla="*/ 1466761 w 4667161"/>
              <a:gd name="connsiteY37" fmla="*/ 809625 h 1958188"/>
              <a:gd name="connsiteX38" fmla="*/ 1471523 w 4667161"/>
              <a:gd name="connsiteY38" fmla="*/ 759618 h 1958188"/>
              <a:gd name="connsiteX39" fmla="*/ 1497717 w 4667161"/>
              <a:gd name="connsiteY39" fmla="*/ 733425 h 1958188"/>
              <a:gd name="connsiteX40" fmla="*/ 1523911 w 4667161"/>
              <a:gd name="connsiteY40" fmla="*/ 728662 h 1958188"/>
              <a:gd name="connsiteX41" fmla="*/ 1585823 w 4667161"/>
              <a:gd name="connsiteY41" fmla="*/ 683418 h 1958188"/>
              <a:gd name="connsiteX42" fmla="*/ 1671548 w 4667161"/>
              <a:gd name="connsiteY42" fmla="*/ 640556 h 1958188"/>
              <a:gd name="connsiteX43" fmla="*/ 1707267 w 4667161"/>
              <a:gd name="connsiteY43" fmla="*/ 600075 h 1958188"/>
              <a:gd name="connsiteX44" fmla="*/ 1735842 w 4667161"/>
              <a:gd name="connsiteY44" fmla="*/ 585787 h 1958188"/>
              <a:gd name="connsiteX45" fmla="*/ 1742986 w 4667161"/>
              <a:gd name="connsiteY45" fmla="*/ 519112 h 1958188"/>
              <a:gd name="connsiteX46" fmla="*/ 1759655 w 4667161"/>
              <a:gd name="connsiteY46" fmla="*/ 473868 h 1958188"/>
              <a:gd name="connsiteX47" fmla="*/ 1745367 w 4667161"/>
              <a:gd name="connsiteY47" fmla="*/ 433387 h 1958188"/>
              <a:gd name="connsiteX48" fmla="*/ 1750130 w 4667161"/>
              <a:gd name="connsiteY48" fmla="*/ 347662 h 1958188"/>
              <a:gd name="connsiteX49" fmla="*/ 1745367 w 4667161"/>
              <a:gd name="connsiteY49" fmla="*/ 307181 h 1958188"/>
              <a:gd name="connsiteX50" fmla="*/ 1745367 w 4667161"/>
              <a:gd name="connsiteY50" fmla="*/ 264318 h 1958188"/>
              <a:gd name="connsiteX51" fmla="*/ 1771561 w 4667161"/>
              <a:gd name="connsiteY51" fmla="*/ 254793 h 1958188"/>
              <a:gd name="connsiteX52" fmla="*/ 1792992 w 4667161"/>
              <a:gd name="connsiteY52" fmla="*/ 271462 h 1958188"/>
              <a:gd name="connsiteX53" fmla="*/ 1807280 w 4667161"/>
              <a:gd name="connsiteY53" fmla="*/ 297656 h 1958188"/>
              <a:gd name="connsiteX54" fmla="*/ 1835855 w 4667161"/>
              <a:gd name="connsiteY54" fmla="*/ 300037 h 1958188"/>
              <a:gd name="connsiteX55" fmla="*/ 1857286 w 4667161"/>
              <a:gd name="connsiteY55" fmla="*/ 278606 h 1958188"/>
              <a:gd name="connsiteX56" fmla="*/ 1943011 w 4667161"/>
              <a:gd name="connsiteY56" fmla="*/ 280987 h 1958188"/>
              <a:gd name="connsiteX57" fmla="*/ 1995398 w 4667161"/>
              <a:gd name="connsiteY57" fmla="*/ 290512 h 1958188"/>
              <a:gd name="connsiteX58" fmla="*/ 2043023 w 4667161"/>
              <a:gd name="connsiteY58" fmla="*/ 266700 h 1958188"/>
              <a:gd name="connsiteX59" fmla="*/ 2054930 w 4667161"/>
              <a:gd name="connsiteY59" fmla="*/ 233362 h 1958188"/>
              <a:gd name="connsiteX60" fmla="*/ 2095411 w 4667161"/>
              <a:gd name="connsiteY60" fmla="*/ 200025 h 1958188"/>
              <a:gd name="connsiteX61" fmla="*/ 2085886 w 4667161"/>
              <a:gd name="connsiteY61" fmla="*/ 173831 h 1958188"/>
              <a:gd name="connsiteX62" fmla="*/ 2102555 w 4667161"/>
              <a:gd name="connsiteY62" fmla="*/ 147637 h 1958188"/>
              <a:gd name="connsiteX63" fmla="*/ 2157323 w 4667161"/>
              <a:gd name="connsiteY63" fmla="*/ 169068 h 1958188"/>
              <a:gd name="connsiteX64" fmla="*/ 2204948 w 4667161"/>
              <a:gd name="connsiteY64" fmla="*/ 173831 h 1958188"/>
              <a:gd name="connsiteX65" fmla="*/ 2240667 w 4667161"/>
              <a:gd name="connsiteY65" fmla="*/ 209550 h 1958188"/>
              <a:gd name="connsiteX66" fmla="*/ 2269242 w 4667161"/>
              <a:gd name="connsiteY66" fmla="*/ 223837 h 1958188"/>
              <a:gd name="connsiteX67" fmla="*/ 2288292 w 4667161"/>
              <a:gd name="connsiteY67" fmla="*/ 280987 h 1958188"/>
              <a:gd name="connsiteX68" fmla="*/ 2357348 w 4667161"/>
              <a:gd name="connsiteY68" fmla="*/ 316706 h 1958188"/>
              <a:gd name="connsiteX69" fmla="*/ 2426405 w 4667161"/>
              <a:gd name="connsiteY69" fmla="*/ 307181 h 1958188"/>
              <a:gd name="connsiteX70" fmla="*/ 2474030 w 4667161"/>
              <a:gd name="connsiteY70" fmla="*/ 295275 h 1958188"/>
              <a:gd name="connsiteX71" fmla="*/ 2512130 w 4667161"/>
              <a:gd name="connsiteY71" fmla="*/ 307181 h 1958188"/>
              <a:gd name="connsiteX72" fmla="*/ 2562136 w 4667161"/>
              <a:gd name="connsiteY72" fmla="*/ 304800 h 1958188"/>
              <a:gd name="connsiteX73" fmla="*/ 2607380 w 4667161"/>
              <a:gd name="connsiteY73" fmla="*/ 316706 h 1958188"/>
              <a:gd name="connsiteX74" fmla="*/ 2652623 w 4667161"/>
              <a:gd name="connsiteY74" fmla="*/ 302418 h 1958188"/>
              <a:gd name="connsiteX75" fmla="*/ 2674055 w 4667161"/>
              <a:gd name="connsiteY75" fmla="*/ 276225 h 1958188"/>
              <a:gd name="connsiteX76" fmla="*/ 2752636 w 4667161"/>
              <a:gd name="connsiteY76" fmla="*/ 297656 h 1958188"/>
              <a:gd name="connsiteX77" fmla="*/ 2793117 w 4667161"/>
              <a:gd name="connsiteY77" fmla="*/ 283368 h 1958188"/>
              <a:gd name="connsiteX78" fmla="*/ 2800261 w 4667161"/>
              <a:gd name="connsiteY78" fmla="*/ 242887 h 1958188"/>
              <a:gd name="connsiteX79" fmla="*/ 2771686 w 4667161"/>
              <a:gd name="connsiteY79" fmla="*/ 195262 h 1958188"/>
              <a:gd name="connsiteX80" fmla="*/ 2755017 w 4667161"/>
              <a:gd name="connsiteY80" fmla="*/ 135731 h 1958188"/>
              <a:gd name="connsiteX81" fmla="*/ 2721680 w 4667161"/>
              <a:gd name="connsiteY81" fmla="*/ 102393 h 1958188"/>
              <a:gd name="connsiteX82" fmla="*/ 2697867 w 4667161"/>
              <a:gd name="connsiteY82" fmla="*/ 59531 h 1958188"/>
              <a:gd name="connsiteX83" fmla="*/ 2707392 w 4667161"/>
              <a:gd name="connsiteY83" fmla="*/ 38100 h 1958188"/>
              <a:gd name="connsiteX84" fmla="*/ 2743111 w 4667161"/>
              <a:gd name="connsiteY84" fmla="*/ 0 h 1958188"/>
              <a:gd name="connsiteX85" fmla="*/ 2762161 w 4667161"/>
              <a:gd name="connsiteY85" fmla="*/ 16668 h 1958188"/>
              <a:gd name="connsiteX86" fmla="*/ 2843123 w 4667161"/>
              <a:gd name="connsiteY86" fmla="*/ 30956 h 1958188"/>
              <a:gd name="connsiteX87" fmla="*/ 2926467 w 4667161"/>
              <a:gd name="connsiteY87" fmla="*/ 47625 h 1958188"/>
              <a:gd name="connsiteX88" fmla="*/ 2976473 w 4667161"/>
              <a:gd name="connsiteY88" fmla="*/ 66675 h 1958188"/>
              <a:gd name="connsiteX89" fmla="*/ 3026480 w 4667161"/>
              <a:gd name="connsiteY89" fmla="*/ 61912 h 1958188"/>
              <a:gd name="connsiteX90" fmla="*/ 3074105 w 4667161"/>
              <a:gd name="connsiteY90" fmla="*/ 92868 h 1958188"/>
              <a:gd name="connsiteX91" fmla="*/ 3116967 w 4667161"/>
              <a:gd name="connsiteY91" fmla="*/ 119062 h 1958188"/>
              <a:gd name="connsiteX92" fmla="*/ 3138398 w 4667161"/>
              <a:gd name="connsiteY92" fmla="*/ 150018 h 1958188"/>
              <a:gd name="connsiteX93" fmla="*/ 3188405 w 4667161"/>
              <a:gd name="connsiteY93" fmla="*/ 157162 h 1958188"/>
              <a:gd name="connsiteX94" fmla="*/ 3214598 w 4667161"/>
              <a:gd name="connsiteY94" fmla="*/ 202406 h 1958188"/>
              <a:gd name="connsiteX95" fmla="*/ 3240792 w 4667161"/>
              <a:gd name="connsiteY95" fmla="*/ 233362 h 1958188"/>
              <a:gd name="connsiteX96" fmla="*/ 3257461 w 4667161"/>
              <a:gd name="connsiteY96" fmla="*/ 278606 h 1958188"/>
              <a:gd name="connsiteX97" fmla="*/ 3316992 w 4667161"/>
              <a:gd name="connsiteY97" fmla="*/ 295275 h 1958188"/>
              <a:gd name="connsiteX98" fmla="*/ 3345567 w 4667161"/>
              <a:gd name="connsiteY98" fmla="*/ 326231 h 1958188"/>
              <a:gd name="connsiteX99" fmla="*/ 3366998 w 4667161"/>
              <a:gd name="connsiteY99" fmla="*/ 335756 h 1958188"/>
              <a:gd name="connsiteX100" fmla="*/ 3378905 w 4667161"/>
              <a:gd name="connsiteY100" fmla="*/ 376237 h 1958188"/>
              <a:gd name="connsiteX101" fmla="*/ 3409861 w 4667161"/>
              <a:gd name="connsiteY101" fmla="*/ 383381 h 1958188"/>
              <a:gd name="connsiteX102" fmla="*/ 3447961 w 4667161"/>
              <a:gd name="connsiteY102" fmla="*/ 447675 h 1958188"/>
              <a:gd name="connsiteX103" fmla="*/ 3443198 w 4667161"/>
              <a:gd name="connsiteY103" fmla="*/ 502443 h 1958188"/>
              <a:gd name="connsiteX104" fmla="*/ 3431292 w 4667161"/>
              <a:gd name="connsiteY104" fmla="*/ 531018 h 1958188"/>
              <a:gd name="connsiteX105" fmla="*/ 3471773 w 4667161"/>
              <a:gd name="connsiteY105" fmla="*/ 564356 h 1958188"/>
              <a:gd name="connsiteX106" fmla="*/ 3469392 w 4667161"/>
              <a:gd name="connsiteY106" fmla="*/ 647700 h 1958188"/>
              <a:gd name="connsiteX107" fmla="*/ 3450342 w 4667161"/>
              <a:gd name="connsiteY107" fmla="*/ 664368 h 1958188"/>
              <a:gd name="connsiteX108" fmla="*/ 3433673 w 4667161"/>
              <a:gd name="connsiteY108" fmla="*/ 738187 h 1958188"/>
              <a:gd name="connsiteX109" fmla="*/ 3455105 w 4667161"/>
              <a:gd name="connsiteY109" fmla="*/ 773906 h 1958188"/>
              <a:gd name="connsiteX110" fmla="*/ 3509873 w 4667161"/>
              <a:gd name="connsiteY110" fmla="*/ 797718 h 1958188"/>
              <a:gd name="connsiteX111" fmla="*/ 3547973 w 4667161"/>
              <a:gd name="connsiteY111" fmla="*/ 778668 h 1958188"/>
              <a:gd name="connsiteX112" fmla="*/ 3590836 w 4667161"/>
              <a:gd name="connsiteY112" fmla="*/ 797718 h 1958188"/>
              <a:gd name="connsiteX113" fmla="*/ 3626555 w 4667161"/>
              <a:gd name="connsiteY113" fmla="*/ 783431 h 1958188"/>
              <a:gd name="connsiteX114" fmla="*/ 3664655 w 4667161"/>
              <a:gd name="connsiteY114" fmla="*/ 826293 h 1958188"/>
              <a:gd name="connsiteX115" fmla="*/ 3743236 w 4667161"/>
              <a:gd name="connsiteY115" fmla="*/ 902493 h 1958188"/>
              <a:gd name="connsiteX116" fmla="*/ 3812292 w 4667161"/>
              <a:gd name="connsiteY116" fmla="*/ 916781 h 1958188"/>
              <a:gd name="connsiteX117" fmla="*/ 3907542 w 4667161"/>
              <a:gd name="connsiteY117" fmla="*/ 959643 h 1958188"/>
              <a:gd name="connsiteX118" fmla="*/ 3974217 w 4667161"/>
              <a:gd name="connsiteY118" fmla="*/ 992981 h 1958188"/>
              <a:gd name="connsiteX119" fmla="*/ 3990886 w 4667161"/>
              <a:gd name="connsiteY119" fmla="*/ 1035843 h 1958188"/>
              <a:gd name="connsiteX120" fmla="*/ 4000411 w 4667161"/>
              <a:gd name="connsiteY120" fmla="*/ 1081087 h 1958188"/>
              <a:gd name="connsiteX121" fmla="*/ 4048036 w 4667161"/>
              <a:gd name="connsiteY121" fmla="*/ 1109662 h 1958188"/>
              <a:gd name="connsiteX122" fmla="*/ 4083755 w 4667161"/>
              <a:gd name="connsiteY122" fmla="*/ 1107281 h 1958188"/>
              <a:gd name="connsiteX123" fmla="*/ 4150430 w 4667161"/>
              <a:gd name="connsiteY123" fmla="*/ 1145381 h 1958188"/>
              <a:gd name="connsiteX124" fmla="*/ 4209961 w 4667161"/>
              <a:gd name="connsiteY124" fmla="*/ 1197768 h 1958188"/>
              <a:gd name="connsiteX125" fmla="*/ 4293305 w 4667161"/>
              <a:gd name="connsiteY125" fmla="*/ 1240631 h 1958188"/>
              <a:gd name="connsiteX126" fmla="*/ 4359980 w 4667161"/>
              <a:gd name="connsiteY126" fmla="*/ 1302543 h 1958188"/>
              <a:gd name="connsiteX127" fmla="*/ 4436180 w 4667161"/>
              <a:gd name="connsiteY127" fmla="*/ 1359693 h 1958188"/>
              <a:gd name="connsiteX128" fmla="*/ 4476661 w 4667161"/>
              <a:gd name="connsiteY128" fmla="*/ 1357312 h 1958188"/>
              <a:gd name="connsiteX129" fmla="*/ 4533811 w 4667161"/>
              <a:gd name="connsiteY129" fmla="*/ 1383506 h 1958188"/>
              <a:gd name="connsiteX130" fmla="*/ 4643348 w 4667161"/>
              <a:gd name="connsiteY130" fmla="*/ 1345406 h 1958188"/>
              <a:gd name="connsiteX131" fmla="*/ 4667161 w 4667161"/>
              <a:gd name="connsiteY131" fmla="*/ 1302543 h 1958188"/>
              <a:gd name="connsiteX132" fmla="*/ 4662398 w 4667161"/>
              <a:gd name="connsiteY132" fmla="*/ 1235868 h 1958188"/>
              <a:gd name="connsiteX133" fmla="*/ 4660017 w 4667161"/>
              <a:gd name="connsiteY133" fmla="*/ 1116806 h 1958188"/>
              <a:gd name="connsiteX134" fmla="*/ 4633823 w 4667161"/>
              <a:gd name="connsiteY134" fmla="*/ 1078706 h 1958188"/>
              <a:gd name="connsiteX135" fmla="*/ 4571911 w 4667161"/>
              <a:gd name="connsiteY135" fmla="*/ 1057275 h 1958188"/>
              <a:gd name="connsiteX136" fmla="*/ 4555242 w 4667161"/>
              <a:gd name="connsiteY136" fmla="*/ 1014412 h 1958188"/>
              <a:gd name="connsiteX137" fmla="*/ 4529048 w 4667161"/>
              <a:gd name="connsiteY137" fmla="*/ 931068 h 1958188"/>
              <a:gd name="connsiteX138" fmla="*/ 4500473 w 4667161"/>
              <a:gd name="connsiteY138" fmla="*/ 890587 h 1958188"/>
              <a:gd name="connsiteX139" fmla="*/ 4526667 w 4667161"/>
              <a:gd name="connsiteY139" fmla="*/ 862012 h 1958188"/>
              <a:gd name="connsiteX140" fmla="*/ 4595723 w 4667161"/>
              <a:gd name="connsiteY140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459798 w 4667161"/>
              <a:gd name="connsiteY12" fmla="*/ 1412170 h 1958188"/>
              <a:gd name="connsiteX13" fmla="*/ 489137 w 4667161"/>
              <a:gd name="connsiteY13" fmla="*/ 1373051 h 1958188"/>
              <a:gd name="connsiteX14" fmla="*/ 533145 w 4667161"/>
              <a:gd name="connsiteY14" fmla="*/ 1365716 h 1958188"/>
              <a:gd name="connsiteX15" fmla="*/ 673805 w 4667161"/>
              <a:gd name="connsiteY15" fmla="*/ 1304925 h 1958188"/>
              <a:gd name="connsiteX16" fmla="*/ 714286 w 4667161"/>
              <a:gd name="connsiteY16" fmla="*/ 1259681 h 1958188"/>
              <a:gd name="connsiteX17" fmla="*/ 745242 w 4667161"/>
              <a:gd name="connsiteY17" fmla="*/ 1247775 h 1958188"/>
              <a:gd name="connsiteX18" fmla="*/ 795248 w 4667161"/>
              <a:gd name="connsiteY18" fmla="*/ 1257300 h 1958188"/>
              <a:gd name="connsiteX19" fmla="*/ 842873 w 4667161"/>
              <a:gd name="connsiteY19" fmla="*/ 1207293 h 1958188"/>
              <a:gd name="connsiteX20" fmla="*/ 890498 w 4667161"/>
              <a:gd name="connsiteY20" fmla="*/ 1214437 h 1958188"/>
              <a:gd name="connsiteX21" fmla="*/ 911930 w 4667161"/>
              <a:gd name="connsiteY21" fmla="*/ 1214437 h 1958188"/>
              <a:gd name="connsiteX22" fmla="*/ 947648 w 4667161"/>
              <a:gd name="connsiteY22" fmla="*/ 1195387 h 1958188"/>
              <a:gd name="connsiteX23" fmla="*/ 971461 w 4667161"/>
              <a:gd name="connsiteY23" fmla="*/ 1157287 h 1958188"/>
              <a:gd name="connsiteX24" fmla="*/ 1016705 w 4667161"/>
              <a:gd name="connsiteY24" fmla="*/ 1157287 h 1958188"/>
              <a:gd name="connsiteX25" fmla="*/ 1042898 w 4667161"/>
              <a:gd name="connsiteY25" fmla="*/ 1119187 h 1958188"/>
              <a:gd name="connsiteX26" fmla="*/ 1069092 w 4667161"/>
              <a:gd name="connsiteY26" fmla="*/ 1100137 h 1958188"/>
              <a:gd name="connsiteX27" fmla="*/ 1088142 w 4667161"/>
              <a:gd name="connsiteY27" fmla="*/ 1071562 h 1958188"/>
              <a:gd name="connsiteX28" fmla="*/ 1133386 w 4667161"/>
              <a:gd name="connsiteY28" fmla="*/ 1064418 h 1958188"/>
              <a:gd name="connsiteX29" fmla="*/ 1145292 w 4667161"/>
              <a:gd name="connsiteY29" fmla="*/ 1031081 h 1958188"/>
              <a:gd name="connsiteX30" fmla="*/ 1181011 w 4667161"/>
              <a:gd name="connsiteY30" fmla="*/ 1012031 h 1958188"/>
              <a:gd name="connsiteX31" fmla="*/ 1202442 w 4667161"/>
              <a:gd name="connsiteY31" fmla="*/ 988218 h 1958188"/>
              <a:gd name="connsiteX32" fmla="*/ 1283405 w 4667161"/>
              <a:gd name="connsiteY32" fmla="*/ 966787 h 1958188"/>
              <a:gd name="connsiteX33" fmla="*/ 1297692 w 4667161"/>
              <a:gd name="connsiteY33" fmla="*/ 952500 h 1958188"/>
              <a:gd name="connsiteX34" fmla="*/ 1307217 w 4667161"/>
              <a:gd name="connsiteY34" fmla="*/ 919162 h 1958188"/>
              <a:gd name="connsiteX35" fmla="*/ 1388180 w 4667161"/>
              <a:gd name="connsiteY35" fmla="*/ 878681 h 1958188"/>
              <a:gd name="connsiteX36" fmla="*/ 1407230 w 4667161"/>
              <a:gd name="connsiteY36" fmla="*/ 873918 h 1958188"/>
              <a:gd name="connsiteX37" fmla="*/ 1466761 w 4667161"/>
              <a:gd name="connsiteY37" fmla="*/ 809625 h 1958188"/>
              <a:gd name="connsiteX38" fmla="*/ 1471523 w 4667161"/>
              <a:gd name="connsiteY38" fmla="*/ 759618 h 1958188"/>
              <a:gd name="connsiteX39" fmla="*/ 1497717 w 4667161"/>
              <a:gd name="connsiteY39" fmla="*/ 733425 h 1958188"/>
              <a:gd name="connsiteX40" fmla="*/ 1523911 w 4667161"/>
              <a:gd name="connsiteY40" fmla="*/ 728662 h 1958188"/>
              <a:gd name="connsiteX41" fmla="*/ 1585823 w 4667161"/>
              <a:gd name="connsiteY41" fmla="*/ 683418 h 1958188"/>
              <a:gd name="connsiteX42" fmla="*/ 1671548 w 4667161"/>
              <a:gd name="connsiteY42" fmla="*/ 640556 h 1958188"/>
              <a:gd name="connsiteX43" fmla="*/ 1707267 w 4667161"/>
              <a:gd name="connsiteY43" fmla="*/ 600075 h 1958188"/>
              <a:gd name="connsiteX44" fmla="*/ 1735842 w 4667161"/>
              <a:gd name="connsiteY44" fmla="*/ 585787 h 1958188"/>
              <a:gd name="connsiteX45" fmla="*/ 1742986 w 4667161"/>
              <a:gd name="connsiteY45" fmla="*/ 519112 h 1958188"/>
              <a:gd name="connsiteX46" fmla="*/ 1759655 w 4667161"/>
              <a:gd name="connsiteY46" fmla="*/ 473868 h 1958188"/>
              <a:gd name="connsiteX47" fmla="*/ 1745367 w 4667161"/>
              <a:gd name="connsiteY47" fmla="*/ 433387 h 1958188"/>
              <a:gd name="connsiteX48" fmla="*/ 1750130 w 4667161"/>
              <a:gd name="connsiteY48" fmla="*/ 347662 h 1958188"/>
              <a:gd name="connsiteX49" fmla="*/ 1745367 w 4667161"/>
              <a:gd name="connsiteY49" fmla="*/ 307181 h 1958188"/>
              <a:gd name="connsiteX50" fmla="*/ 1745367 w 4667161"/>
              <a:gd name="connsiteY50" fmla="*/ 264318 h 1958188"/>
              <a:gd name="connsiteX51" fmla="*/ 1771561 w 4667161"/>
              <a:gd name="connsiteY51" fmla="*/ 254793 h 1958188"/>
              <a:gd name="connsiteX52" fmla="*/ 1792992 w 4667161"/>
              <a:gd name="connsiteY52" fmla="*/ 271462 h 1958188"/>
              <a:gd name="connsiteX53" fmla="*/ 1807280 w 4667161"/>
              <a:gd name="connsiteY53" fmla="*/ 297656 h 1958188"/>
              <a:gd name="connsiteX54" fmla="*/ 1835855 w 4667161"/>
              <a:gd name="connsiteY54" fmla="*/ 300037 h 1958188"/>
              <a:gd name="connsiteX55" fmla="*/ 1857286 w 4667161"/>
              <a:gd name="connsiteY55" fmla="*/ 278606 h 1958188"/>
              <a:gd name="connsiteX56" fmla="*/ 1943011 w 4667161"/>
              <a:gd name="connsiteY56" fmla="*/ 280987 h 1958188"/>
              <a:gd name="connsiteX57" fmla="*/ 1995398 w 4667161"/>
              <a:gd name="connsiteY57" fmla="*/ 290512 h 1958188"/>
              <a:gd name="connsiteX58" fmla="*/ 2043023 w 4667161"/>
              <a:gd name="connsiteY58" fmla="*/ 266700 h 1958188"/>
              <a:gd name="connsiteX59" fmla="*/ 2054930 w 4667161"/>
              <a:gd name="connsiteY59" fmla="*/ 233362 h 1958188"/>
              <a:gd name="connsiteX60" fmla="*/ 2095411 w 4667161"/>
              <a:gd name="connsiteY60" fmla="*/ 200025 h 1958188"/>
              <a:gd name="connsiteX61" fmla="*/ 2085886 w 4667161"/>
              <a:gd name="connsiteY61" fmla="*/ 173831 h 1958188"/>
              <a:gd name="connsiteX62" fmla="*/ 2102555 w 4667161"/>
              <a:gd name="connsiteY62" fmla="*/ 147637 h 1958188"/>
              <a:gd name="connsiteX63" fmla="*/ 2157323 w 4667161"/>
              <a:gd name="connsiteY63" fmla="*/ 169068 h 1958188"/>
              <a:gd name="connsiteX64" fmla="*/ 2204948 w 4667161"/>
              <a:gd name="connsiteY64" fmla="*/ 173831 h 1958188"/>
              <a:gd name="connsiteX65" fmla="*/ 2240667 w 4667161"/>
              <a:gd name="connsiteY65" fmla="*/ 209550 h 1958188"/>
              <a:gd name="connsiteX66" fmla="*/ 2269242 w 4667161"/>
              <a:gd name="connsiteY66" fmla="*/ 223837 h 1958188"/>
              <a:gd name="connsiteX67" fmla="*/ 2288292 w 4667161"/>
              <a:gd name="connsiteY67" fmla="*/ 280987 h 1958188"/>
              <a:gd name="connsiteX68" fmla="*/ 2357348 w 4667161"/>
              <a:gd name="connsiteY68" fmla="*/ 316706 h 1958188"/>
              <a:gd name="connsiteX69" fmla="*/ 2426405 w 4667161"/>
              <a:gd name="connsiteY69" fmla="*/ 307181 h 1958188"/>
              <a:gd name="connsiteX70" fmla="*/ 2474030 w 4667161"/>
              <a:gd name="connsiteY70" fmla="*/ 295275 h 1958188"/>
              <a:gd name="connsiteX71" fmla="*/ 2512130 w 4667161"/>
              <a:gd name="connsiteY71" fmla="*/ 307181 h 1958188"/>
              <a:gd name="connsiteX72" fmla="*/ 2562136 w 4667161"/>
              <a:gd name="connsiteY72" fmla="*/ 304800 h 1958188"/>
              <a:gd name="connsiteX73" fmla="*/ 2607380 w 4667161"/>
              <a:gd name="connsiteY73" fmla="*/ 316706 h 1958188"/>
              <a:gd name="connsiteX74" fmla="*/ 2652623 w 4667161"/>
              <a:gd name="connsiteY74" fmla="*/ 302418 h 1958188"/>
              <a:gd name="connsiteX75" fmla="*/ 2674055 w 4667161"/>
              <a:gd name="connsiteY75" fmla="*/ 276225 h 1958188"/>
              <a:gd name="connsiteX76" fmla="*/ 2752636 w 4667161"/>
              <a:gd name="connsiteY76" fmla="*/ 297656 h 1958188"/>
              <a:gd name="connsiteX77" fmla="*/ 2793117 w 4667161"/>
              <a:gd name="connsiteY77" fmla="*/ 283368 h 1958188"/>
              <a:gd name="connsiteX78" fmla="*/ 2800261 w 4667161"/>
              <a:gd name="connsiteY78" fmla="*/ 242887 h 1958188"/>
              <a:gd name="connsiteX79" fmla="*/ 2771686 w 4667161"/>
              <a:gd name="connsiteY79" fmla="*/ 195262 h 1958188"/>
              <a:gd name="connsiteX80" fmla="*/ 2755017 w 4667161"/>
              <a:gd name="connsiteY80" fmla="*/ 135731 h 1958188"/>
              <a:gd name="connsiteX81" fmla="*/ 2721680 w 4667161"/>
              <a:gd name="connsiteY81" fmla="*/ 102393 h 1958188"/>
              <a:gd name="connsiteX82" fmla="*/ 2697867 w 4667161"/>
              <a:gd name="connsiteY82" fmla="*/ 59531 h 1958188"/>
              <a:gd name="connsiteX83" fmla="*/ 2707392 w 4667161"/>
              <a:gd name="connsiteY83" fmla="*/ 38100 h 1958188"/>
              <a:gd name="connsiteX84" fmla="*/ 2743111 w 4667161"/>
              <a:gd name="connsiteY84" fmla="*/ 0 h 1958188"/>
              <a:gd name="connsiteX85" fmla="*/ 2762161 w 4667161"/>
              <a:gd name="connsiteY85" fmla="*/ 16668 h 1958188"/>
              <a:gd name="connsiteX86" fmla="*/ 2843123 w 4667161"/>
              <a:gd name="connsiteY86" fmla="*/ 30956 h 1958188"/>
              <a:gd name="connsiteX87" fmla="*/ 2926467 w 4667161"/>
              <a:gd name="connsiteY87" fmla="*/ 47625 h 1958188"/>
              <a:gd name="connsiteX88" fmla="*/ 2976473 w 4667161"/>
              <a:gd name="connsiteY88" fmla="*/ 66675 h 1958188"/>
              <a:gd name="connsiteX89" fmla="*/ 3026480 w 4667161"/>
              <a:gd name="connsiteY89" fmla="*/ 61912 h 1958188"/>
              <a:gd name="connsiteX90" fmla="*/ 3074105 w 4667161"/>
              <a:gd name="connsiteY90" fmla="*/ 92868 h 1958188"/>
              <a:gd name="connsiteX91" fmla="*/ 3116967 w 4667161"/>
              <a:gd name="connsiteY91" fmla="*/ 119062 h 1958188"/>
              <a:gd name="connsiteX92" fmla="*/ 3138398 w 4667161"/>
              <a:gd name="connsiteY92" fmla="*/ 150018 h 1958188"/>
              <a:gd name="connsiteX93" fmla="*/ 3188405 w 4667161"/>
              <a:gd name="connsiteY93" fmla="*/ 157162 h 1958188"/>
              <a:gd name="connsiteX94" fmla="*/ 3214598 w 4667161"/>
              <a:gd name="connsiteY94" fmla="*/ 202406 h 1958188"/>
              <a:gd name="connsiteX95" fmla="*/ 3240792 w 4667161"/>
              <a:gd name="connsiteY95" fmla="*/ 233362 h 1958188"/>
              <a:gd name="connsiteX96" fmla="*/ 3257461 w 4667161"/>
              <a:gd name="connsiteY96" fmla="*/ 278606 h 1958188"/>
              <a:gd name="connsiteX97" fmla="*/ 3316992 w 4667161"/>
              <a:gd name="connsiteY97" fmla="*/ 295275 h 1958188"/>
              <a:gd name="connsiteX98" fmla="*/ 3345567 w 4667161"/>
              <a:gd name="connsiteY98" fmla="*/ 326231 h 1958188"/>
              <a:gd name="connsiteX99" fmla="*/ 3366998 w 4667161"/>
              <a:gd name="connsiteY99" fmla="*/ 335756 h 1958188"/>
              <a:gd name="connsiteX100" fmla="*/ 3378905 w 4667161"/>
              <a:gd name="connsiteY100" fmla="*/ 376237 h 1958188"/>
              <a:gd name="connsiteX101" fmla="*/ 3409861 w 4667161"/>
              <a:gd name="connsiteY101" fmla="*/ 383381 h 1958188"/>
              <a:gd name="connsiteX102" fmla="*/ 3447961 w 4667161"/>
              <a:gd name="connsiteY102" fmla="*/ 447675 h 1958188"/>
              <a:gd name="connsiteX103" fmla="*/ 3443198 w 4667161"/>
              <a:gd name="connsiteY103" fmla="*/ 502443 h 1958188"/>
              <a:gd name="connsiteX104" fmla="*/ 3431292 w 4667161"/>
              <a:gd name="connsiteY104" fmla="*/ 531018 h 1958188"/>
              <a:gd name="connsiteX105" fmla="*/ 3471773 w 4667161"/>
              <a:gd name="connsiteY105" fmla="*/ 564356 h 1958188"/>
              <a:gd name="connsiteX106" fmla="*/ 3469392 w 4667161"/>
              <a:gd name="connsiteY106" fmla="*/ 647700 h 1958188"/>
              <a:gd name="connsiteX107" fmla="*/ 3450342 w 4667161"/>
              <a:gd name="connsiteY107" fmla="*/ 664368 h 1958188"/>
              <a:gd name="connsiteX108" fmla="*/ 3433673 w 4667161"/>
              <a:gd name="connsiteY108" fmla="*/ 738187 h 1958188"/>
              <a:gd name="connsiteX109" fmla="*/ 3455105 w 4667161"/>
              <a:gd name="connsiteY109" fmla="*/ 773906 h 1958188"/>
              <a:gd name="connsiteX110" fmla="*/ 3509873 w 4667161"/>
              <a:gd name="connsiteY110" fmla="*/ 797718 h 1958188"/>
              <a:gd name="connsiteX111" fmla="*/ 3547973 w 4667161"/>
              <a:gd name="connsiteY111" fmla="*/ 778668 h 1958188"/>
              <a:gd name="connsiteX112" fmla="*/ 3590836 w 4667161"/>
              <a:gd name="connsiteY112" fmla="*/ 797718 h 1958188"/>
              <a:gd name="connsiteX113" fmla="*/ 3626555 w 4667161"/>
              <a:gd name="connsiteY113" fmla="*/ 783431 h 1958188"/>
              <a:gd name="connsiteX114" fmla="*/ 3664655 w 4667161"/>
              <a:gd name="connsiteY114" fmla="*/ 826293 h 1958188"/>
              <a:gd name="connsiteX115" fmla="*/ 3743236 w 4667161"/>
              <a:gd name="connsiteY115" fmla="*/ 902493 h 1958188"/>
              <a:gd name="connsiteX116" fmla="*/ 3812292 w 4667161"/>
              <a:gd name="connsiteY116" fmla="*/ 916781 h 1958188"/>
              <a:gd name="connsiteX117" fmla="*/ 3907542 w 4667161"/>
              <a:gd name="connsiteY117" fmla="*/ 959643 h 1958188"/>
              <a:gd name="connsiteX118" fmla="*/ 3974217 w 4667161"/>
              <a:gd name="connsiteY118" fmla="*/ 992981 h 1958188"/>
              <a:gd name="connsiteX119" fmla="*/ 3990886 w 4667161"/>
              <a:gd name="connsiteY119" fmla="*/ 1035843 h 1958188"/>
              <a:gd name="connsiteX120" fmla="*/ 4000411 w 4667161"/>
              <a:gd name="connsiteY120" fmla="*/ 1081087 h 1958188"/>
              <a:gd name="connsiteX121" fmla="*/ 4048036 w 4667161"/>
              <a:gd name="connsiteY121" fmla="*/ 1109662 h 1958188"/>
              <a:gd name="connsiteX122" fmla="*/ 4083755 w 4667161"/>
              <a:gd name="connsiteY122" fmla="*/ 1107281 h 1958188"/>
              <a:gd name="connsiteX123" fmla="*/ 4150430 w 4667161"/>
              <a:gd name="connsiteY123" fmla="*/ 1145381 h 1958188"/>
              <a:gd name="connsiteX124" fmla="*/ 4209961 w 4667161"/>
              <a:gd name="connsiteY124" fmla="*/ 1197768 h 1958188"/>
              <a:gd name="connsiteX125" fmla="*/ 4293305 w 4667161"/>
              <a:gd name="connsiteY125" fmla="*/ 1240631 h 1958188"/>
              <a:gd name="connsiteX126" fmla="*/ 4359980 w 4667161"/>
              <a:gd name="connsiteY126" fmla="*/ 1302543 h 1958188"/>
              <a:gd name="connsiteX127" fmla="*/ 4436180 w 4667161"/>
              <a:gd name="connsiteY127" fmla="*/ 1359693 h 1958188"/>
              <a:gd name="connsiteX128" fmla="*/ 4476661 w 4667161"/>
              <a:gd name="connsiteY128" fmla="*/ 1357312 h 1958188"/>
              <a:gd name="connsiteX129" fmla="*/ 4533811 w 4667161"/>
              <a:gd name="connsiteY129" fmla="*/ 1383506 h 1958188"/>
              <a:gd name="connsiteX130" fmla="*/ 4643348 w 4667161"/>
              <a:gd name="connsiteY130" fmla="*/ 1345406 h 1958188"/>
              <a:gd name="connsiteX131" fmla="*/ 4667161 w 4667161"/>
              <a:gd name="connsiteY131" fmla="*/ 1302543 h 1958188"/>
              <a:gd name="connsiteX132" fmla="*/ 4662398 w 4667161"/>
              <a:gd name="connsiteY132" fmla="*/ 1235868 h 1958188"/>
              <a:gd name="connsiteX133" fmla="*/ 4660017 w 4667161"/>
              <a:gd name="connsiteY133" fmla="*/ 1116806 h 1958188"/>
              <a:gd name="connsiteX134" fmla="*/ 4633823 w 4667161"/>
              <a:gd name="connsiteY134" fmla="*/ 1078706 h 1958188"/>
              <a:gd name="connsiteX135" fmla="*/ 4571911 w 4667161"/>
              <a:gd name="connsiteY135" fmla="*/ 1057275 h 1958188"/>
              <a:gd name="connsiteX136" fmla="*/ 4555242 w 4667161"/>
              <a:gd name="connsiteY136" fmla="*/ 1014412 h 1958188"/>
              <a:gd name="connsiteX137" fmla="*/ 4529048 w 4667161"/>
              <a:gd name="connsiteY137" fmla="*/ 931068 h 1958188"/>
              <a:gd name="connsiteX138" fmla="*/ 4500473 w 4667161"/>
              <a:gd name="connsiteY138" fmla="*/ 890587 h 1958188"/>
              <a:gd name="connsiteX139" fmla="*/ 4526667 w 4667161"/>
              <a:gd name="connsiteY139" fmla="*/ 862012 h 1958188"/>
              <a:gd name="connsiteX140" fmla="*/ 4595723 w 4667161"/>
              <a:gd name="connsiteY140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459798 w 4667161"/>
              <a:gd name="connsiteY12" fmla="*/ 1412170 h 1958188"/>
              <a:gd name="connsiteX13" fmla="*/ 489137 w 4667161"/>
              <a:gd name="connsiteY13" fmla="*/ 1373051 h 1958188"/>
              <a:gd name="connsiteX14" fmla="*/ 533145 w 4667161"/>
              <a:gd name="connsiteY14" fmla="*/ 1365716 h 1958188"/>
              <a:gd name="connsiteX15" fmla="*/ 623607 w 4667161"/>
              <a:gd name="connsiteY15" fmla="*/ 1326598 h 1958188"/>
              <a:gd name="connsiteX16" fmla="*/ 673805 w 4667161"/>
              <a:gd name="connsiteY16" fmla="*/ 1304925 h 1958188"/>
              <a:gd name="connsiteX17" fmla="*/ 714286 w 4667161"/>
              <a:gd name="connsiteY17" fmla="*/ 1259681 h 1958188"/>
              <a:gd name="connsiteX18" fmla="*/ 745242 w 4667161"/>
              <a:gd name="connsiteY18" fmla="*/ 1247775 h 1958188"/>
              <a:gd name="connsiteX19" fmla="*/ 795248 w 4667161"/>
              <a:gd name="connsiteY19" fmla="*/ 1257300 h 1958188"/>
              <a:gd name="connsiteX20" fmla="*/ 842873 w 4667161"/>
              <a:gd name="connsiteY20" fmla="*/ 1207293 h 1958188"/>
              <a:gd name="connsiteX21" fmla="*/ 890498 w 4667161"/>
              <a:gd name="connsiteY21" fmla="*/ 1214437 h 1958188"/>
              <a:gd name="connsiteX22" fmla="*/ 911930 w 4667161"/>
              <a:gd name="connsiteY22" fmla="*/ 1214437 h 1958188"/>
              <a:gd name="connsiteX23" fmla="*/ 947648 w 4667161"/>
              <a:gd name="connsiteY23" fmla="*/ 1195387 h 1958188"/>
              <a:gd name="connsiteX24" fmla="*/ 971461 w 4667161"/>
              <a:gd name="connsiteY24" fmla="*/ 1157287 h 1958188"/>
              <a:gd name="connsiteX25" fmla="*/ 1016705 w 4667161"/>
              <a:gd name="connsiteY25" fmla="*/ 1157287 h 1958188"/>
              <a:gd name="connsiteX26" fmla="*/ 1042898 w 4667161"/>
              <a:gd name="connsiteY26" fmla="*/ 1119187 h 1958188"/>
              <a:gd name="connsiteX27" fmla="*/ 1069092 w 4667161"/>
              <a:gd name="connsiteY27" fmla="*/ 1100137 h 1958188"/>
              <a:gd name="connsiteX28" fmla="*/ 1088142 w 4667161"/>
              <a:gd name="connsiteY28" fmla="*/ 1071562 h 1958188"/>
              <a:gd name="connsiteX29" fmla="*/ 1133386 w 4667161"/>
              <a:gd name="connsiteY29" fmla="*/ 1064418 h 1958188"/>
              <a:gd name="connsiteX30" fmla="*/ 1145292 w 4667161"/>
              <a:gd name="connsiteY30" fmla="*/ 1031081 h 1958188"/>
              <a:gd name="connsiteX31" fmla="*/ 1181011 w 4667161"/>
              <a:gd name="connsiteY31" fmla="*/ 1012031 h 1958188"/>
              <a:gd name="connsiteX32" fmla="*/ 1202442 w 4667161"/>
              <a:gd name="connsiteY32" fmla="*/ 988218 h 1958188"/>
              <a:gd name="connsiteX33" fmla="*/ 1283405 w 4667161"/>
              <a:gd name="connsiteY33" fmla="*/ 966787 h 1958188"/>
              <a:gd name="connsiteX34" fmla="*/ 1297692 w 4667161"/>
              <a:gd name="connsiteY34" fmla="*/ 952500 h 1958188"/>
              <a:gd name="connsiteX35" fmla="*/ 1307217 w 4667161"/>
              <a:gd name="connsiteY35" fmla="*/ 919162 h 1958188"/>
              <a:gd name="connsiteX36" fmla="*/ 1388180 w 4667161"/>
              <a:gd name="connsiteY36" fmla="*/ 878681 h 1958188"/>
              <a:gd name="connsiteX37" fmla="*/ 1407230 w 4667161"/>
              <a:gd name="connsiteY37" fmla="*/ 873918 h 1958188"/>
              <a:gd name="connsiteX38" fmla="*/ 1466761 w 4667161"/>
              <a:gd name="connsiteY38" fmla="*/ 809625 h 1958188"/>
              <a:gd name="connsiteX39" fmla="*/ 1471523 w 4667161"/>
              <a:gd name="connsiteY39" fmla="*/ 759618 h 1958188"/>
              <a:gd name="connsiteX40" fmla="*/ 1497717 w 4667161"/>
              <a:gd name="connsiteY40" fmla="*/ 733425 h 1958188"/>
              <a:gd name="connsiteX41" fmla="*/ 1523911 w 4667161"/>
              <a:gd name="connsiteY41" fmla="*/ 728662 h 1958188"/>
              <a:gd name="connsiteX42" fmla="*/ 1585823 w 4667161"/>
              <a:gd name="connsiteY42" fmla="*/ 683418 h 1958188"/>
              <a:gd name="connsiteX43" fmla="*/ 1671548 w 4667161"/>
              <a:gd name="connsiteY43" fmla="*/ 640556 h 1958188"/>
              <a:gd name="connsiteX44" fmla="*/ 1707267 w 4667161"/>
              <a:gd name="connsiteY44" fmla="*/ 600075 h 1958188"/>
              <a:gd name="connsiteX45" fmla="*/ 1735842 w 4667161"/>
              <a:gd name="connsiteY45" fmla="*/ 585787 h 1958188"/>
              <a:gd name="connsiteX46" fmla="*/ 1742986 w 4667161"/>
              <a:gd name="connsiteY46" fmla="*/ 519112 h 1958188"/>
              <a:gd name="connsiteX47" fmla="*/ 1759655 w 4667161"/>
              <a:gd name="connsiteY47" fmla="*/ 473868 h 1958188"/>
              <a:gd name="connsiteX48" fmla="*/ 1745367 w 4667161"/>
              <a:gd name="connsiteY48" fmla="*/ 433387 h 1958188"/>
              <a:gd name="connsiteX49" fmla="*/ 1750130 w 4667161"/>
              <a:gd name="connsiteY49" fmla="*/ 347662 h 1958188"/>
              <a:gd name="connsiteX50" fmla="*/ 1745367 w 4667161"/>
              <a:gd name="connsiteY50" fmla="*/ 307181 h 1958188"/>
              <a:gd name="connsiteX51" fmla="*/ 1745367 w 4667161"/>
              <a:gd name="connsiteY51" fmla="*/ 264318 h 1958188"/>
              <a:gd name="connsiteX52" fmla="*/ 1771561 w 4667161"/>
              <a:gd name="connsiteY52" fmla="*/ 254793 h 1958188"/>
              <a:gd name="connsiteX53" fmla="*/ 1792992 w 4667161"/>
              <a:gd name="connsiteY53" fmla="*/ 271462 h 1958188"/>
              <a:gd name="connsiteX54" fmla="*/ 1807280 w 4667161"/>
              <a:gd name="connsiteY54" fmla="*/ 297656 h 1958188"/>
              <a:gd name="connsiteX55" fmla="*/ 1835855 w 4667161"/>
              <a:gd name="connsiteY55" fmla="*/ 300037 h 1958188"/>
              <a:gd name="connsiteX56" fmla="*/ 1857286 w 4667161"/>
              <a:gd name="connsiteY56" fmla="*/ 278606 h 1958188"/>
              <a:gd name="connsiteX57" fmla="*/ 1943011 w 4667161"/>
              <a:gd name="connsiteY57" fmla="*/ 280987 h 1958188"/>
              <a:gd name="connsiteX58" fmla="*/ 1995398 w 4667161"/>
              <a:gd name="connsiteY58" fmla="*/ 290512 h 1958188"/>
              <a:gd name="connsiteX59" fmla="*/ 2043023 w 4667161"/>
              <a:gd name="connsiteY59" fmla="*/ 266700 h 1958188"/>
              <a:gd name="connsiteX60" fmla="*/ 2054930 w 4667161"/>
              <a:gd name="connsiteY60" fmla="*/ 233362 h 1958188"/>
              <a:gd name="connsiteX61" fmla="*/ 2095411 w 4667161"/>
              <a:gd name="connsiteY61" fmla="*/ 200025 h 1958188"/>
              <a:gd name="connsiteX62" fmla="*/ 2085886 w 4667161"/>
              <a:gd name="connsiteY62" fmla="*/ 173831 h 1958188"/>
              <a:gd name="connsiteX63" fmla="*/ 2102555 w 4667161"/>
              <a:gd name="connsiteY63" fmla="*/ 147637 h 1958188"/>
              <a:gd name="connsiteX64" fmla="*/ 2157323 w 4667161"/>
              <a:gd name="connsiteY64" fmla="*/ 169068 h 1958188"/>
              <a:gd name="connsiteX65" fmla="*/ 2204948 w 4667161"/>
              <a:gd name="connsiteY65" fmla="*/ 173831 h 1958188"/>
              <a:gd name="connsiteX66" fmla="*/ 2240667 w 4667161"/>
              <a:gd name="connsiteY66" fmla="*/ 209550 h 1958188"/>
              <a:gd name="connsiteX67" fmla="*/ 2269242 w 4667161"/>
              <a:gd name="connsiteY67" fmla="*/ 223837 h 1958188"/>
              <a:gd name="connsiteX68" fmla="*/ 2288292 w 4667161"/>
              <a:gd name="connsiteY68" fmla="*/ 280987 h 1958188"/>
              <a:gd name="connsiteX69" fmla="*/ 2357348 w 4667161"/>
              <a:gd name="connsiteY69" fmla="*/ 316706 h 1958188"/>
              <a:gd name="connsiteX70" fmla="*/ 2426405 w 4667161"/>
              <a:gd name="connsiteY70" fmla="*/ 307181 h 1958188"/>
              <a:gd name="connsiteX71" fmla="*/ 2474030 w 4667161"/>
              <a:gd name="connsiteY71" fmla="*/ 295275 h 1958188"/>
              <a:gd name="connsiteX72" fmla="*/ 2512130 w 4667161"/>
              <a:gd name="connsiteY72" fmla="*/ 307181 h 1958188"/>
              <a:gd name="connsiteX73" fmla="*/ 2562136 w 4667161"/>
              <a:gd name="connsiteY73" fmla="*/ 304800 h 1958188"/>
              <a:gd name="connsiteX74" fmla="*/ 2607380 w 4667161"/>
              <a:gd name="connsiteY74" fmla="*/ 316706 h 1958188"/>
              <a:gd name="connsiteX75" fmla="*/ 2652623 w 4667161"/>
              <a:gd name="connsiteY75" fmla="*/ 302418 h 1958188"/>
              <a:gd name="connsiteX76" fmla="*/ 2674055 w 4667161"/>
              <a:gd name="connsiteY76" fmla="*/ 276225 h 1958188"/>
              <a:gd name="connsiteX77" fmla="*/ 2752636 w 4667161"/>
              <a:gd name="connsiteY77" fmla="*/ 297656 h 1958188"/>
              <a:gd name="connsiteX78" fmla="*/ 2793117 w 4667161"/>
              <a:gd name="connsiteY78" fmla="*/ 283368 h 1958188"/>
              <a:gd name="connsiteX79" fmla="*/ 2800261 w 4667161"/>
              <a:gd name="connsiteY79" fmla="*/ 242887 h 1958188"/>
              <a:gd name="connsiteX80" fmla="*/ 2771686 w 4667161"/>
              <a:gd name="connsiteY80" fmla="*/ 195262 h 1958188"/>
              <a:gd name="connsiteX81" fmla="*/ 2755017 w 4667161"/>
              <a:gd name="connsiteY81" fmla="*/ 135731 h 1958188"/>
              <a:gd name="connsiteX82" fmla="*/ 2721680 w 4667161"/>
              <a:gd name="connsiteY82" fmla="*/ 102393 h 1958188"/>
              <a:gd name="connsiteX83" fmla="*/ 2697867 w 4667161"/>
              <a:gd name="connsiteY83" fmla="*/ 59531 h 1958188"/>
              <a:gd name="connsiteX84" fmla="*/ 2707392 w 4667161"/>
              <a:gd name="connsiteY84" fmla="*/ 38100 h 1958188"/>
              <a:gd name="connsiteX85" fmla="*/ 2743111 w 4667161"/>
              <a:gd name="connsiteY85" fmla="*/ 0 h 1958188"/>
              <a:gd name="connsiteX86" fmla="*/ 2762161 w 4667161"/>
              <a:gd name="connsiteY86" fmla="*/ 16668 h 1958188"/>
              <a:gd name="connsiteX87" fmla="*/ 2843123 w 4667161"/>
              <a:gd name="connsiteY87" fmla="*/ 30956 h 1958188"/>
              <a:gd name="connsiteX88" fmla="*/ 2926467 w 4667161"/>
              <a:gd name="connsiteY88" fmla="*/ 47625 h 1958188"/>
              <a:gd name="connsiteX89" fmla="*/ 2976473 w 4667161"/>
              <a:gd name="connsiteY89" fmla="*/ 66675 h 1958188"/>
              <a:gd name="connsiteX90" fmla="*/ 3026480 w 4667161"/>
              <a:gd name="connsiteY90" fmla="*/ 61912 h 1958188"/>
              <a:gd name="connsiteX91" fmla="*/ 3074105 w 4667161"/>
              <a:gd name="connsiteY91" fmla="*/ 92868 h 1958188"/>
              <a:gd name="connsiteX92" fmla="*/ 3116967 w 4667161"/>
              <a:gd name="connsiteY92" fmla="*/ 119062 h 1958188"/>
              <a:gd name="connsiteX93" fmla="*/ 3138398 w 4667161"/>
              <a:gd name="connsiteY93" fmla="*/ 150018 h 1958188"/>
              <a:gd name="connsiteX94" fmla="*/ 3188405 w 4667161"/>
              <a:gd name="connsiteY94" fmla="*/ 157162 h 1958188"/>
              <a:gd name="connsiteX95" fmla="*/ 3214598 w 4667161"/>
              <a:gd name="connsiteY95" fmla="*/ 202406 h 1958188"/>
              <a:gd name="connsiteX96" fmla="*/ 3240792 w 4667161"/>
              <a:gd name="connsiteY96" fmla="*/ 233362 h 1958188"/>
              <a:gd name="connsiteX97" fmla="*/ 3257461 w 4667161"/>
              <a:gd name="connsiteY97" fmla="*/ 278606 h 1958188"/>
              <a:gd name="connsiteX98" fmla="*/ 3316992 w 4667161"/>
              <a:gd name="connsiteY98" fmla="*/ 295275 h 1958188"/>
              <a:gd name="connsiteX99" fmla="*/ 3345567 w 4667161"/>
              <a:gd name="connsiteY99" fmla="*/ 326231 h 1958188"/>
              <a:gd name="connsiteX100" fmla="*/ 3366998 w 4667161"/>
              <a:gd name="connsiteY100" fmla="*/ 335756 h 1958188"/>
              <a:gd name="connsiteX101" fmla="*/ 3378905 w 4667161"/>
              <a:gd name="connsiteY101" fmla="*/ 376237 h 1958188"/>
              <a:gd name="connsiteX102" fmla="*/ 3409861 w 4667161"/>
              <a:gd name="connsiteY102" fmla="*/ 383381 h 1958188"/>
              <a:gd name="connsiteX103" fmla="*/ 3447961 w 4667161"/>
              <a:gd name="connsiteY103" fmla="*/ 447675 h 1958188"/>
              <a:gd name="connsiteX104" fmla="*/ 3443198 w 4667161"/>
              <a:gd name="connsiteY104" fmla="*/ 502443 h 1958188"/>
              <a:gd name="connsiteX105" fmla="*/ 3431292 w 4667161"/>
              <a:gd name="connsiteY105" fmla="*/ 531018 h 1958188"/>
              <a:gd name="connsiteX106" fmla="*/ 3471773 w 4667161"/>
              <a:gd name="connsiteY106" fmla="*/ 564356 h 1958188"/>
              <a:gd name="connsiteX107" fmla="*/ 3469392 w 4667161"/>
              <a:gd name="connsiteY107" fmla="*/ 647700 h 1958188"/>
              <a:gd name="connsiteX108" fmla="*/ 3450342 w 4667161"/>
              <a:gd name="connsiteY108" fmla="*/ 664368 h 1958188"/>
              <a:gd name="connsiteX109" fmla="*/ 3433673 w 4667161"/>
              <a:gd name="connsiteY109" fmla="*/ 738187 h 1958188"/>
              <a:gd name="connsiteX110" fmla="*/ 3455105 w 4667161"/>
              <a:gd name="connsiteY110" fmla="*/ 773906 h 1958188"/>
              <a:gd name="connsiteX111" fmla="*/ 3509873 w 4667161"/>
              <a:gd name="connsiteY111" fmla="*/ 797718 h 1958188"/>
              <a:gd name="connsiteX112" fmla="*/ 3547973 w 4667161"/>
              <a:gd name="connsiteY112" fmla="*/ 778668 h 1958188"/>
              <a:gd name="connsiteX113" fmla="*/ 3590836 w 4667161"/>
              <a:gd name="connsiteY113" fmla="*/ 797718 h 1958188"/>
              <a:gd name="connsiteX114" fmla="*/ 3626555 w 4667161"/>
              <a:gd name="connsiteY114" fmla="*/ 783431 h 1958188"/>
              <a:gd name="connsiteX115" fmla="*/ 3664655 w 4667161"/>
              <a:gd name="connsiteY115" fmla="*/ 826293 h 1958188"/>
              <a:gd name="connsiteX116" fmla="*/ 3743236 w 4667161"/>
              <a:gd name="connsiteY116" fmla="*/ 902493 h 1958188"/>
              <a:gd name="connsiteX117" fmla="*/ 3812292 w 4667161"/>
              <a:gd name="connsiteY117" fmla="*/ 916781 h 1958188"/>
              <a:gd name="connsiteX118" fmla="*/ 3907542 w 4667161"/>
              <a:gd name="connsiteY118" fmla="*/ 959643 h 1958188"/>
              <a:gd name="connsiteX119" fmla="*/ 3974217 w 4667161"/>
              <a:gd name="connsiteY119" fmla="*/ 992981 h 1958188"/>
              <a:gd name="connsiteX120" fmla="*/ 3990886 w 4667161"/>
              <a:gd name="connsiteY120" fmla="*/ 1035843 h 1958188"/>
              <a:gd name="connsiteX121" fmla="*/ 4000411 w 4667161"/>
              <a:gd name="connsiteY121" fmla="*/ 1081087 h 1958188"/>
              <a:gd name="connsiteX122" fmla="*/ 4048036 w 4667161"/>
              <a:gd name="connsiteY122" fmla="*/ 1109662 h 1958188"/>
              <a:gd name="connsiteX123" fmla="*/ 4083755 w 4667161"/>
              <a:gd name="connsiteY123" fmla="*/ 1107281 h 1958188"/>
              <a:gd name="connsiteX124" fmla="*/ 4150430 w 4667161"/>
              <a:gd name="connsiteY124" fmla="*/ 1145381 h 1958188"/>
              <a:gd name="connsiteX125" fmla="*/ 4209961 w 4667161"/>
              <a:gd name="connsiteY125" fmla="*/ 1197768 h 1958188"/>
              <a:gd name="connsiteX126" fmla="*/ 4293305 w 4667161"/>
              <a:gd name="connsiteY126" fmla="*/ 1240631 h 1958188"/>
              <a:gd name="connsiteX127" fmla="*/ 4359980 w 4667161"/>
              <a:gd name="connsiteY127" fmla="*/ 1302543 h 1958188"/>
              <a:gd name="connsiteX128" fmla="*/ 4436180 w 4667161"/>
              <a:gd name="connsiteY128" fmla="*/ 1359693 h 1958188"/>
              <a:gd name="connsiteX129" fmla="*/ 4476661 w 4667161"/>
              <a:gd name="connsiteY129" fmla="*/ 1357312 h 1958188"/>
              <a:gd name="connsiteX130" fmla="*/ 4533811 w 4667161"/>
              <a:gd name="connsiteY130" fmla="*/ 1383506 h 1958188"/>
              <a:gd name="connsiteX131" fmla="*/ 4643348 w 4667161"/>
              <a:gd name="connsiteY131" fmla="*/ 1345406 h 1958188"/>
              <a:gd name="connsiteX132" fmla="*/ 4667161 w 4667161"/>
              <a:gd name="connsiteY132" fmla="*/ 1302543 h 1958188"/>
              <a:gd name="connsiteX133" fmla="*/ 4662398 w 4667161"/>
              <a:gd name="connsiteY133" fmla="*/ 1235868 h 1958188"/>
              <a:gd name="connsiteX134" fmla="*/ 4660017 w 4667161"/>
              <a:gd name="connsiteY134" fmla="*/ 1116806 h 1958188"/>
              <a:gd name="connsiteX135" fmla="*/ 4633823 w 4667161"/>
              <a:gd name="connsiteY135" fmla="*/ 1078706 h 1958188"/>
              <a:gd name="connsiteX136" fmla="*/ 4571911 w 4667161"/>
              <a:gd name="connsiteY136" fmla="*/ 1057275 h 1958188"/>
              <a:gd name="connsiteX137" fmla="*/ 4555242 w 4667161"/>
              <a:gd name="connsiteY137" fmla="*/ 1014412 h 1958188"/>
              <a:gd name="connsiteX138" fmla="*/ 4529048 w 4667161"/>
              <a:gd name="connsiteY138" fmla="*/ 931068 h 1958188"/>
              <a:gd name="connsiteX139" fmla="*/ 4500473 w 4667161"/>
              <a:gd name="connsiteY139" fmla="*/ 890587 h 1958188"/>
              <a:gd name="connsiteX140" fmla="*/ 4526667 w 4667161"/>
              <a:gd name="connsiteY140" fmla="*/ 862012 h 1958188"/>
              <a:gd name="connsiteX141" fmla="*/ 4595723 w 4667161"/>
              <a:gd name="connsiteY141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459798 w 4667161"/>
              <a:gd name="connsiteY12" fmla="*/ 1412170 h 1958188"/>
              <a:gd name="connsiteX13" fmla="*/ 489137 w 4667161"/>
              <a:gd name="connsiteY13" fmla="*/ 1373051 h 1958188"/>
              <a:gd name="connsiteX14" fmla="*/ 533145 w 4667161"/>
              <a:gd name="connsiteY14" fmla="*/ 1365716 h 1958188"/>
              <a:gd name="connsiteX15" fmla="*/ 557594 w 4667161"/>
              <a:gd name="connsiteY15" fmla="*/ 1346157 h 1958188"/>
              <a:gd name="connsiteX16" fmla="*/ 673805 w 4667161"/>
              <a:gd name="connsiteY16" fmla="*/ 1304925 h 1958188"/>
              <a:gd name="connsiteX17" fmla="*/ 714286 w 4667161"/>
              <a:gd name="connsiteY17" fmla="*/ 1259681 h 1958188"/>
              <a:gd name="connsiteX18" fmla="*/ 745242 w 4667161"/>
              <a:gd name="connsiteY18" fmla="*/ 1247775 h 1958188"/>
              <a:gd name="connsiteX19" fmla="*/ 795248 w 4667161"/>
              <a:gd name="connsiteY19" fmla="*/ 1257300 h 1958188"/>
              <a:gd name="connsiteX20" fmla="*/ 842873 w 4667161"/>
              <a:gd name="connsiteY20" fmla="*/ 1207293 h 1958188"/>
              <a:gd name="connsiteX21" fmla="*/ 890498 w 4667161"/>
              <a:gd name="connsiteY21" fmla="*/ 1214437 h 1958188"/>
              <a:gd name="connsiteX22" fmla="*/ 911930 w 4667161"/>
              <a:gd name="connsiteY22" fmla="*/ 1214437 h 1958188"/>
              <a:gd name="connsiteX23" fmla="*/ 947648 w 4667161"/>
              <a:gd name="connsiteY23" fmla="*/ 1195387 h 1958188"/>
              <a:gd name="connsiteX24" fmla="*/ 971461 w 4667161"/>
              <a:gd name="connsiteY24" fmla="*/ 1157287 h 1958188"/>
              <a:gd name="connsiteX25" fmla="*/ 1016705 w 4667161"/>
              <a:gd name="connsiteY25" fmla="*/ 1157287 h 1958188"/>
              <a:gd name="connsiteX26" fmla="*/ 1042898 w 4667161"/>
              <a:gd name="connsiteY26" fmla="*/ 1119187 h 1958188"/>
              <a:gd name="connsiteX27" fmla="*/ 1069092 w 4667161"/>
              <a:gd name="connsiteY27" fmla="*/ 1100137 h 1958188"/>
              <a:gd name="connsiteX28" fmla="*/ 1088142 w 4667161"/>
              <a:gd name="connsiteY28" fmla="*/ 1071562 h 1958188"/>
              <a:gd name="connsiteX29" fmla="*/ 1133386 w 4667161"/>
              <a:gd name="connsiteY29" fmla="*/ 1064418 h 1958188"/>
              <a:gd name="connsiteX30" fmla="*/ 1145292 w 4667161"/>
              <a:gd name="connsiteY30" fmla="*/ 1031081 h 1958188"/>
              <a:gd name="connsiteX31" fmla="*/ 1181011 w 4667161"/>
              <a:gd name="connsiteY31" fmla="*/ 1012031 h 1958188"/>
              <a:gd name="connsiteX32" fmla="*/ 1202442 w 4667161"/>
              <a:gd name="connsiteY32" fmla="*/ 988218 h 1958188"/>
              <a:gd name="connsiteX33" fmla="*/ 1283405 w 4667161"/>
              <a:gd name="connsiteY33" fmla="*/ 966787 h 1958188"/>
              <a:gd name="connsiteX34" fmla="*/ 1297692 w 4667161"/>
              <a:gd name="connsiteY34" fmla="*/ 952500 h 1958188"/>
              <a:gd name="connsiteX35" fmla="*/ 1307217 w 4667161"/>
              <a:gd name="connsiteY35" fmla="*/ 919162 h 1958188"/>
              <a:gd name="connsiteX36" fmla="*/ 1388180 w 4667161"/>
              <a:gd name="connsiteY36" fmla="*/ 878681 h 1958188"/>
              <a:gd name="connsiteX37" fmla="*/ 1407230 w 4667161"/>
              <a:gd name="connsiteY37" fmla="*/ 873918 h 1958188"/>
              <a:gd name="connsiteX38" fmla="*/ 1466761 w 4667161"/>
              <a:gd name="connsiteY38" fmla="*/ 809625 h 1958188"/>
              <a:gd name="connsiteX39" fmla="*/ 1471523 w 4667161"/>
              <a:gd name="connsiteY39" fmla="*/ 759618 h 1958188"/>
              <a:gd name="connsiteX40" fmla="*/ 1497717 w 4667161"/>
              <a:gd name="connsiteY40" fmla="*/ 733425 h 1958188"/>
              <a:gd name="connsiteX41" fmla="*/ 1523911 w 4667161"/>
              <a:gd name="connsiteY41" fmla="*/ 728662 h 1958188"/>
              <a:gd name="connsiteX42" fmla="*/ 1585823 w 4667161"/>
              <a:gd name="connsiteY42" fmla="*/ 683418 h 1958188"/>
              <a:gd name="connsiteX43" fmla="*/ 1671548 w 4667161"/>
              <a:gd name="connsiteY43" fmla="*/ 640556 h 1958188"/>
              <a:gd name="connsiteX44" fmla="*/ 1707267 w 4667161"/>
              <a:gd name="connsiteY44" fmla="*/ 600075 h 1958188"/>
              <a:gd name="connsiteX45" fmla="*/ 1735842 w 4667161"/>
              <a:gd name="connsiteY45" fmla="*/ 585787 h 1958188"/>
              <a:gd name="connsiteX46" fmla="*/ 1742986 w 4667161"/>
              <a:gd name="connsiteY46" fmla="*/ 519112 h 1958188"/>
              <a:gd name="connsiteX47" fmla="*/ 1759655 w 4667161"/>
              <a:gd name="connsiteY47" fmla="*/ 473868 h 1958188"/>
              <a:gd name="connsiteX48" fmla="*/ 1745367 w 4667161"/>
              <a:gd name="connsiteY48" fmla="*/ 433387 h 1958188"/>
              <a:gd name="connsiteX49" fmla="*/ 1750130 w 4667161"/>
              <a:gd name="connsiteY49" fmla="*/ 347662 h 1958188"/>
              <a:gd name="connsiteX50" fmla="*/ 1745367 w 4667161"/>
              <a:gd name="connsiteY50" fmla="*/ 307181 h 1958188"/>
              <a:gd name="connsiteX51" fmla="*/ 1745367 w 4667161"/>
              <a:gd name="connsiteY51" fmla="*/ 264318 h 1958188"/>
              <a:gd name="connsiteX52" fmla="*/ 1771561 w 4667161"/>
              <a:gd name="connsiteY52" fmla="*/ 254793 h 1958188"/>
              <a:gd name="connsiteX53" fmla="*/ 1792992 w 4667161"/>
              <a:gd name="connsiteY53" fmla="*/ 271462 h 1958188"/>
              <a:gd name="connsiteX54" fmla="*/ 1807280 w 4667161"/>
              <a:gd name="connsiteY54" fmla="*/ 297656 h 1958188"/>
              <a:gd name="connsiteX55" fmla="*/ 1835855 w 4667161"/>
              <a:gd name="connsiteY55" fmla="*/ 300037 h 1958188"/>
              <a:gd name="connsiteX56" fmla="*/ 1857286 w 4667161"/>
              <a:gd name="connsiteY56" fmla="*/ 278606 h 1958188"/>
              <a:gd name="connsiteX57" fmla="*/ 1943011 w 4667161"/>
              <a:gd name="connsiteY57" fmla="*/ 280987 h 1958188"/>
              <a:gd name="connsiteX58" fmla="*/ 1995398 w 4667161"/>
              <a:gd name="connsiteY58" fmla="*/ 290512 h 1958188"/>
              <a:gd name="connsiteX59" fmla="*/ 2043023 w 4667161"/>
              <a:gd name="connsiteY59" fmla="*/ 266700 h 1958188"/>
              <a:gd name="connsiteX60" fmla="*/ 2054930 w 4667161"/>
              <a:gd name="connsiteY60" fmla="*/ 233362 h 1958188"/>
              <a:gd name="connsiteX61" fmla="*/ 2095411 w 4667161"/>
              <a:gd name="connsiteY61" fmla="*/ 200025 h 1958188"/>
              <a:gd name="connsiteX62" fmla="*/ 2085886 w 4667161"/>
              <a:gd name="connsiteY62" fmla="*/ 173831 h 1958188"/>
              <a:gd name="connsiteX63" fmla="*/ 2102555 w 4667161"/>
              <a:gd name="connsiteY63" fmla="*/ 147637 h 1958188"/>
              <a:gd name="connsiteX64" fmla="*/ 2157323 w 4667161"/>
              <a:gd name="connsiteY64" fmla="*/ 169068 h 1958188"/>
              <a:gd name="connsiteX65" fmla="*/ 2204948 w 4667161"/>
              <a:gd name="connsiteY65" fmla="*/ 173831 h 1958188"/>
              <a:gd name="connsiteX66" fmla="*/ 2240667 w 4667161"/>
              <a:gd name="connsiteY66" fmla="*/ 209550 h 1958188"/>
              <a:gd name="connsiteX67" fmla="*/ 2269242 w 4667161"/>
              <a:gd name="connsiteY67" fmla="*/ 223837 h 1958188"/>
              <a:gd name="connsiteX68" fmla="*/ 2288292 w 4667161"/>
              <a:gd name="connsiteY68" fmla="*/ 280987 h 1958188"/>
              <a:gd name="connsiteX69" fmla="*/ 2357348 w 4667161"/>
              <a:gd name="connsiteY69" fmla="*/ 316706 h 1958188"/>
              <a:gd name="connsiteX70" fmla="*/ 2426405 w 4667161"/>
              <a:gd name="connsiteY70" fmla="*/ 307181 h 1958188"/>
              <a:gd name="connsiteX71" fmla="*/ 2474030 w 4667161"/>
              <a:gd name="connsiteY71" fmla="*/ 295275 h 1958188"/>
              <a:gd name="connsiteX72" fmla="*/ 2512130 w 4667161"/>
              <a:gd name="connsiteY72" fmla="*/ 307181 h 1958188"/>
              <a:gd name="connsiteX73" fmla="*/ 2562136 w 4667161"/>
              <a:gd name="connsiteY73" fmla="*/ 304800 h 1958188"/>
              <a:gd name="connsiteX74" fmla="*/ 2607380 w 4667161"/>
              <a:gd name="connsiteY74" fmla="*/ 316706 h 1958188"/>
              <a:gd name="connsiteX75" fmla="*/ 2652623 w 4667161"/>
              <a:gd name="connsiteY75" fmla="*/ 302418 h 1958188"/>
              <a:gd name="connsiteX76" fmla="*/ 2674055 w 4667161"/>
              <a:gd name="connsiteY76" fmla="*/ 276225 h 1958188"/>
              <a:gd name="connsiteX77" fmla="*/ 2752636 w 4667161"/>
              <a:gd name="connsiteY77" fmla="*/ 297656 h 1958188"/>
              <a:gd name="connsiteX78" fmla="*/ 2793117 w 4667161"/>
              <a:gd name="connsiteY78" fmla="*/ 283368 h 1958188"/>
              <a:gd name="connsiteX79" fmla="*/ 2800261 w 4667161"/>
              <a:gd name="connsiteY79" fmla="*/ 242887 h 1958188"/>
              <a:gd name="connsiteX80" fmla="*/ 2771686 w 4667161"/>
              <a:gd name="connsiteY80" fmla="*/ 195262 h 1958188"/>
              <a:gd name="connsiteX81" fmla="*/ 2755017 w 4667161"/>
              <a:gd name="connsiteY81" fmla="*/ 135731 h 1958188"/>
              <a:gd name="connsiteX82" fmla="*/ 2721680 w 4667161"/>
              <a:gd name="connsiteY82" fmla="*/ 102393 h 1958188"/>
              <a:gd name="connsiteX83" fmla="*/ 2697867 w 4667161"/>
              <a:gd name="connsiteY83" fmla="*/ 59531 h 1958188"/>
              <a:gd name="connsiteX84" fmla="*/ 2707392 w 4667161"/>
              <a:gd name="connsiteY84" fmla="*/ 38100 h 1958188"/>
              <a:gd name="connsiteX85" fmla="*/ 2743111 w 4667161"/>
              <a:gd name="connsiteY85" fmla="*/ 0 h 1958188"/>
              <a:gd name="connsiteX86" fmla="*/ 2762161 w 4667161"/>
              <a:gd name="connsiteY86" fmla="*/ 16668 h 1958188"/>
              <a:gd name="connsiteX87" fmla="*/ 2843123 w 4667161"/>
              <a:gd name="connsiteY87" fmla="*/ 30956 h 1958188"/>
              <a:gd name="connsiteX88" fmla="*/ 2926467 w 4667161"/>
              <a:gd name="connsiteY88" fmla="*/ 47625 h 1958188"/>
              <a:gd name="connsiteX89" fmla="*/ 2976473 w 4667161"/>
              <a:gd name="connsiteY89" fmla="*/ 66675 h 1958188"/>
              <a:gd name="connsiteX90" fmla="*/ 3026480 w 4667161"/>
              <a:gd name="connsiteY90" fmla="*/ 61912 h 1958188"/>
              <a:gd name="connsiteX91" fmla="*/ 3074105 w 4667161"/>
              <a:gd name="connsiteY91" fmla="*/ 92868 h 1958188"/>
              <a:gd name="connsiteX92" fmla="*/ 3116967 w 4667161"/>
              <a:gd name="connsiteY92" fmla="*/ 119062 h 1958188"/>
              <a:gd name="connsiteX93" fmla="*/ 3138398 w 4667161"/>
              <a:gd name="connsiteY93" fmla="*/ 150018 h 1958188"/>
              <a:gd name="connsiteX94" fmla="*/ 3188405 w 4667161"/>
              <a:gd name="connsiteY94" fmla="*/ 157162 h 1958188"/>
              <a:gd name="connsiteX95" fmla="*/ 3214598 w 4667161"/>
              <a:gd name="connsiteY95" fmla="*/ 202406 h 1958188"/>
              <a:gd name="connsiteX96" fmla="*/ 3240792 w 4667161"/>
              <a:gd name="connsiteY96" fmla="*/ 233362 h 1958188"/>
              <a:gd name="connsiteX97" fmla="*/ 3257461 w 4667161"/>
              <a:gd name="connsiteY97" fmla="*/ 278606 h 1958188"/>
              <a:gd name="connsiteX98" fmla="*/ 3316992 w 4667161"/>
              <a:gd name="connsiteY98" fmla="*/ 295275 h 1958188"/>
              <a:gd name="connsiteX99" fmla="*/ 3345567 w 4667161"/>
              <a:gd name="connsiteY99" fmla="*/ 326231 h 1958188"/>
              <a:gd name="connsiteX100" fmla="*/ 3366998 w 4667161"/>
              <a:gd name="connsiteY100" fmla="*/ 335756 h 1958188"/>
              <a:gd name="connsiteX101" fmla="*/ 3378905 w 4667161"/>
              <a:gd name="connsiteY101" fmla="*/ 376237 h 1958188"/>
              <a:gd name="connsiteX102" fmla="*/ 3409861 w 4667161"/>
              <a:gd name="connsiteY102" fmla="*/ 383381 h 1958188"/>
              <a:gd name="connsiteX103" fmla="*/ 3447961 w 4667161"/>
              <a:gd name="connsiteY103" fmla="*/ 447675 h 1958188"/>
              <a:gd name="connsiteX104" fmla="*/ 3443198 w 4667161"/>
              <a:gd name="connsiteY104" fmla="*/ 502443 h 1958188"/>
              <a:gd name="connsiteX105" fmla="*/ 3431292 w 4667161"/>
              <a:gd name="connsiteY105" fmla="*/ 531018 h 1958188"/>
              <a:gd name="connsiteX106" fmla="*/ 3471773 w 4667161"/>
              <a:gd name="connsiteY106" fmla="*/ 564356 h 1958188"/>
              <a:gd name="connsiteX107" fmla="*/ 3469392 w 4667161"/>
              <a:gd name="connsiteY107" fmla="*/ 647700 h 1958188"/>
              <a:gd name="connsiteX108" fmla="*/ 3450342 w 4667161"/>
              <a:gd name="connsiteY108" fmla="*/ 664368 h 1958188"/>
              <a:gd name="connsiteX109" fmla="*/ 3433673 w 4667161"/>
              <a:gd name="connsiteY109" fmla="*/ 738187 h 1958188"/>
              <a:gd name="connsiteX110" fmla="*/ 3455105 w 4667161"/>
              <a:gd name="connsiteY110" fmla="*/ 773906 h 1958188"/>
              <a:gd name="connsiteX111" fmla="*/ 3509873 w 4667161"/>
              <a:gd name="connsiteY111" fmla="*/ 797718 h 1958188"/>
              <a:gd name="connsiteX112" fmla="*/ 3547973 w 4667161"/>
              <a:gd name="connsiteY112" fmla="*/ 778668 h 1958188"/>
              <a:gd name="connsiteX113" fmla="*/ 3590836 w 4667161"/>
              <a:gd name="connsiteY113" fmla="*/ 797718 h 1958188"/>
              <a:gd name="connsiteX114" fmla="*/ 3626555 w 4667161"/>
              <a:gd name="connsiteY114" fmla="*/ 783431 h 1958188"/>
              <a:gd name="connsiteX115" fmla="*/ 3664655 w 4667161"/>
              <a:gd name="connsiteY115" fmla="*/ 826293 h 1958188"/>
              <a:gd name="connsiteX116" fmla="*/ 3743236 w 4667161"/>
              <a:gd name="connsiteY116" fmla="*/ 902493 h 1958188"/>
              <a:gd name="connsiteX117" fmla="*/ 3812292 w 4667161"/>
              <a:gd name="connsiteY117" fmla="*/ 916781 h 1958188"/>
              <a:gd name="connsiteX118" fmla="*/ 3907542 w 4667161"/>
              <a:gd name="connsiteY118" fmla="*/ 959643 h 1958188"/>
              <a:gd name="connsiteX119" fmla="*/ 3974217 w 4667161"/>
              <a:gd name="connsiteY119" fmla="*/ 992981 h 1958188"/>
              <a:gd name="connsiteX120" fmla="*/ 3990886 w 4667161"/>
              <a:gd name="connsiteY120" fmla="*/ 1035843 h 1958188"/>
              <a:gd name="connsiteX121" fmla="*/ 4000411 w 4667161"/>
              <a:gd name="connsiteY121" fmla="*/ 1081087 h 1958188"/>
              <a:gd name="connsiteX122" fmla="*/ 4048036 w 4667161"/>
              <a:gd name="connsiteY122" fmla="*/ 1109662 h 1958188"/>
              <a:gd name="connsiteX123" fmla="*/ 4083755 w 4667161"/>
              <a:gd name="connsiteY123" fmla="*/ 1107281 h 1958188"/>
              <a:gd name="connsiteX124" fmla="*/ 4150430 w 4667161"/>
              <a:gd name="connsiteY124" fmla="*/ 1145381 h 1958188"/>
              <a:gd name="connsiteX125" fmla="*/ 4209961 w 4667161"/>
              <a:gd name="connsiteY125" fmla="*/ 1197768 h 1958188"/>
              <a:gd name="connsiteX126" fmla="*/ 4293305 w 4667161"/>
              <a:gd name="connsiteY126" fmla="*/ 1240631 h 1958188"/>
              <a:gd name="connsiteX127" fmla="*/ 4359980 w 4667161"/>
              <a:gd name="connsiteY127" fmla="*/ 1302543 h 1958188"/>
              <a:gd name="connsiteX128" fmla="*/ 4436180 w 4667161"/>
              <a:gd name="connsiteY128" fmla="*/ 1359693 h 1958188"/>
              <a:gd name="connsiteX129" fmla="*/ 4476661 w 4667161"/>
              <a:gd name="connsiteY129" fmla="*/ 1357312 h 1958188"/>
              <a:gd name="connsiteX130" fmla="*/ 4533811 w 4667161"/>
              <a:gd name="connsiteY130" fmla="*/ 1383506 h 1958188"/>
              <a:gd name="connsiteX131" fmla="*/ 4643348 w 4667161"/>
              <a:gd name="connsiteY131" fmla="*/ 1345406 h 1958188"/>
              <a:gd name="connsiteX132" fmla="*/ 4667161 w 4667161"/>
              <a:gd name="connsiteY132" fmla="*/ 1302543 h 1958188"/>
              <a:gd name="connsiteX133" fmla="*/ 4662398 w 4667161"/>
              <a:gd name="connsiteY133" fmla="*/ 1235868 h 1958188"/>
              <a:gd name="connsiteX134" fmla="*/ 4660017 w 4667161"/>
              <a:gd name="connsiteY134" fmla="*/ 1116806 h 1958188"/>
              <a:gd name="connsiteX135" fmla="*/ 4633823 w 4667161"/>
              <a:gd name="connsiteY135" fmla="*/ 1078706 h 1958188"/>
              <a:gd name="connsiteX136" fmla="*/ 4571911 w 4667161"/>
              <a:gd name="connsiteY136" fmla="*/ 1057275 h 1958188"/>
              <a:gd name="connsiteX137" fmla="*/ 4555242 w 4667161"/>
              <a:gd name="connsiteY137" fmla="*/ 1014412 h 1958188"/>
              <a:gd name="connsiteX138" fmla="*/ 4529048 w 4667161"/>
              <a:gd name="connsiteY138" fmla="*/ 931068 h 1958188"/>
              <a:gd name="connsiteX139" fmla="*/ 4500473 w 4667161"/>
              <a:gd name="connsiteY139" fmla="*/ 890587 h 1958188"/>
              <a:gd name="connsiteX140" fmla="*/ 4526667 w 4667161"/>
              <a:gd name="connsiteY140" fmla="*/ 862012 h 1958188"/>
              <a:gd name="connsiteX141" fmla="*/ 4595723 w 4667161"/>
              <a:gd name="connsiteY141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459798 w 4667161"/>
              <a:gd name="connsiteY12" fmla="*/ 1412170 h 1958188"/>
              <a:gd name="connsiteX13" fmla="*/ 489137 w 4667161"/>
              <a:gd name="connsiteY13" fmla="*/ 1373051 h 1958188"/>
              <a:gd name="connsiteX14" fmla="*/ 533145 w 4667161"/>
              <a:gd name="connsiteY14" fmla="*/ 1365716 h 1958188"/>
              <a:gd name="connsiteX15" fmla="*/ 557594 w 4667161"/>
              <a:gd name="connsiteY15" fmla="*/ 1346157 h 1958188"/>
              <a:gd name="connsiteX16" fmla="*/ 606493 w 4667161"/>
              <a:gd name="connsiteY16" fmla="*/ 1331488 h 1958188"/>
              <a:gd name="connsiteX17" fmla="*/ 673805 w 4667161"/>
              <a:gd name="connsiteY17" fmla="*/ 1304925 h 1958188"/>
              <a:gd name="connsiteX18" fmla="*/ 714286 w 4667161"/>
              <a:gd name="connsiteY18" fmla="*/ 1259681 h 1958188"/>
              <a:gd name="connsiteX19" fmla="*/ 745242 w 4667161"/>
              <a:gd name="connsiteY19" fmla="*/ 1247775 h 1958188"/>
              <a:gd name="connsiteX20" fmla="*/ 795248 w 4667161"/>
              <a:gd name="connsiteY20" fmla="*/ 1257300 h 1958188"/>
              <a:gd name="connsiteX21" fmla="*/ 842873 w 4667161"/>
              <a:gd name="connsiteY21" fmla="*/ 1207293 h 1958188"/>
              <a:gd name="connsiteX22" fmla="*/ 890498 w 4667161"/>
              <a:gd name="connsiteY22" fmla="*/ 1214437 h 1958188"/>
              <a:gd name="connsiteX23" fmla="*/ 911930 w 4667161"/>
              <a:gd name="connsiteY23" fmla="*/ 1214437 h 1958188"/>
              <a:gd name="connsiteX24" fmla="*/ 947648 w 4667161"/>
              <a:gd name="connsiteY24" fmla="*/ 1195387 h 1958188"/>
              <a:gd name="connsiteX25" fmla="*/ 971461 w 4667161"/>
              <a:gd name="connsiteY25" fmla="*/ 1157287 h 1958188"/>
              <a:gd name="connsiteX26" fmla="*/ 1016705 w 4667161"/>
              <a:gd name="connsiteY26" fmla="*/ 1157287 h 1958188"/>
              <a:gd name="connsiteX27" fmla="*/ 1042898 w 4667161"/>
              <a:gd name="connsiteY27" fmla="*/ 1119187 h 1958188"/>
              <a:gd name="connsiteX28" fmla="*/ 1069092 w 4667161"/>
              <a:gd name="connsiteY28" fmla="*/ 1100137 h 1958188"/>
              <a:gd name="connsiteX29" fmla="*/ 1088142 w 4667161"/>
              <a:gd name="connsiteY29" fmla="*/ 1071562 h 1958188"/>
              <a:gd name="connsiteX30" fmla="*/ 1133386 w 4667161"/>
              <a:gd name="connsiteY30" fmla="*/ 1064418 h 1958188"/>
              <a:gd name="connsiteX31" fmla="*/ 1145292 w 4667161"/>
              <a:gd name="connsiteY31" fmla="*/ 1031081 h 1958188"/>
              <a:gd name="connsiteX32" fmla="*/ 1181011 w 4667161"/>
              <a:gd name="connsiteY32" fmla="*/ 1012031 h 1958188"/>
              <a:gd name="connsiteX33" fmla="*/ 1202442 w 4667161"/>
              <a:gd name="connsiteY33" fmla="*/ 988218 h 1958188"/>
              <a:gd name="connsiteX34" fmla="*/ 1283405 w 4667161"/>
              <a:gd name="connsiteY34" fmla="*/ 966787 h 1958188"/>
              <a:gd name="connsiteX35" fmla="*/ 1297692 w 4667161"/>
              <a:gd name="connsiteY35" fmla="*/ 952500 h 1958188"/>
              <a:gd name="connsiteX36" fmla="*/ 1307217 w 4667161"/>
              <a:gd name="connsiteY36" fmla="*/ 919162 h 1958188"/>
              <a:gd name="connsiteX37" fmla="*/ 1388180 w 4667161"/>
              <a:gd name="connsiteY37" fmla="*/ 878681 h 1958188"/>
              <a:gd name="connsiteX38" fmla="*/ 1407230 w 4667161"/>
              <a:gd name="connsiteY38" fmla="*/ 873918 h 1958188"/>
              <a:gd name="connsiteX39" fmla="*/ 1466761 w 4667161"/>
              <a:gd name="connsiteY39" fmla="*/ 809625 h 1958188"/>
              <a:gd name="connsiteX40" fmla="*/ 1471523 w 4667161"/>
              <a:gd name="connsiteY40" fmla="*/ 759618 h 1958188"/>
              <a:gd name="connsiteX41" fmla="*/ 1497717 w 4667161"/>
              <a:gd name="connsiteY41" fmla="*/ 733425 h 1958188"/>
              <a:gd name="connsiteX42" fmla="*/ 1523911 w 4667161"/>
              <a:gd name="connsiteY42" fmla="*/ 728662 h 1958188"/>
              <a:gd name="connsiteX43" fmla="*/ 1585823 w 4667161"/>
              <a:gd name="connsiteY43" fmla="*/ 683418 h 1958188"/>
              <a:gd name="connsiteX44" fmla="*/ 1671548 w 4667161"/>
              <a:gd name="connsiteY44" fmla="*/ 640556 h 1958188"/>
              <a:gd name="connsiteX45" fmla="*/ 1707267 w 4667161"/>
              <a:gd name="connsiteY45" fmla="*/ 600075 h 1958188"/>
              <a:gd name="connsiteX46" fmla="*/ 1735842 w 4667161"/>
              <a:gd name="connsiteY46" fmla="*/ 585787 h 1958188"/>
              <a:gd name="connsiteX47" fmla="*/ 1742986 w 4667161"/>
              <a:gd name="connsiteY47" fmla="*/ 519112 h 1958188"/>
              <a:gd name="connsiteX48" fmla="*/ 1759655 w 4667161"/>
              <a:gd name="connsiteY48" fmla="*/ 473868 h 1958188"/>
              <a:gd name="connsiteX49" fmla="*/ 1745367 w 4667161"/>
              <a:gd name="connsiteY49" fmla="*/ 433387 h 1958188"/>
              <a:gd name="connsiteX50" fmla="*/ 1750130 w 4667161"/>
              <a:gd name="connsiteY50" fmla="*/ 347662 h 1958188"/>
              <a:gd name="connsiteX51" fmla="*/ 1745367 w 4667161"/>
              <a:gd name="connsiteY51" fmla="*/ 307181 h 1958188"/>
              <a:gd name="connsiteX52" fmla="*/ 1745367 w 4667161"/>
              <a:gd name="connsiteY52" fmla="*/ 264318 h 1958188"/>
              <a:gd name="connsiteX53" fmla="*/ 1771561 w 4667161"/>
              <a:gd name="connsiteY53" fmla="*/ 254793 h 1958188"/>
              <a:gd name="connsiteX54" fmla="*/ 1792992 w 4667161"/>
              <a:gd name="connsiteY54" fmla="*/ 271462 h 1958188"/>
              <a:gd name="connsiteX55" fmla="*/ 1807280 w 4667161"/>
              <a:gd name="connsiteY55" fmla="*/ 297656 h 1958188"/>
              <a:gd name="connsiteX56" fmla="*/ 1835855 w 4667161"/>
              <a:gd name="connsiteY56" fmla="*/ 300037 h 1958188"/>
              <a:gd name="connsiteX57" fmla="*/ 1857286 w 4667161"/>
              <a:gd name="connsiteY57" fmla="*/ 278606 h 1958188"/>
              <a:gd name="connsiteX58" fmla="*/ 1943011 w 4667161"/>
              <a:gd name="connsiteY58" fmla="*/ 280987 h 1958188"/>
              <a:gd name="connsiteX59" fmla="*/ 1995398 w 4667161"/>
              <a:gd name="connsiteY59" fmla="*/ 290512 h 1958188"/>
              <a:gd name="connsiteX60" fmla="*/ 2043023 w 4667161"/>
              <a:gd name="connsiteY60" fmla="*/ 266700 h 1958188"/>
              <a:gd name="connsiteX61" fmla="*/ 2054930 w 4667161"/>
              <a:gd name="connsiteY61" fmla="*/ 233362 h 1958188"/>
              <a:gd name="connsiteX62" fmla="*/ 2095411 w 4667161"/>
              <a:gd name="connsiteY62" fmla="*/ 200025 h 1958188"/>
              <a:gd name="connsiteX63" fmla="*/ 2085886 w 4667161"/>
              <a:gd name="connsiteY63" fmla="*/ 173831 h 1958188"/>
              <a:gd name="connsiteX64" fmla="*/ 2102555 w 4667161"/>
              <a:gd name="connsiteY64" fmla="*/ 147637 h 1958188"/>
              <a:gd name="connsiteX65" fmla="*/ 2157323 w 4667161"/>
              <a:gd name="connsiteY65" fmla="*/ 169068 h 1958188"/>
              <a:gd name="connsiteX66" fmla="*/ 2204948 w 4667161"/>
              <a:gd name="connsiteY66" fmla="*/ 173831 h 1958188"/>
              <a:gd name="connsiteX67" fmla="*/ 2240667 w 4667161"/>
              <a:gd name="connsiteY67" fmla="*/ 209550 h 1958188"/>
              <a:gd name="connsiteX68" fmla="*/ 2269242 w 4667161"/>
              <a:gd name="connsiteY68" fmla="*/ 223837 h 1958188"/>
              <a:gd name="connsiteX69" fmla="*/ 2288292 w 4667161"/>
              <a:gd name="connsiteY69" fmla="*/ 280987 h 1958188"/>
              <a:gd name="connsiteX70" fmla="*/ 2357348 w 4667161"/>
              <a:gd name="connsiteY70" fmla="*/ 316706 h 1958188"/>
              <a:gd name="connsiteX71" fmla="*/ 2426405 w 4667161"/>
              <a:gd name="connsiteY71" fmla="*/ 307181 h 1958188"/>
              <a:gd name="connsiteX72" fmla="*/ 2474030 w 4667161"/>
              <a:gd name="connsiteY72" fmla="*/ 295275 h 1958188"/>
              <a:gd name="connsiteX73" fmla="*/ 2512130 w 4667161"/>
              <a:gd name="connsiteY73" fmla="*/ 307181 h 1958188"/>
              <a:gd name="connsiteX74" fmla="*/ 2562136 w 4667161"/>
              <a:gd name="connsiteY74" fmla="*/ 304800 h 1958188"/>
              <a:gd name="connsiteX75" fmla="*/ 2607380 w 4667161"/>
              <a:gd name="connsiteY75" fmla="*/ 316706 h 1958188"/>
              <a:gd name="connsiteX76" fmla="*/ 2652623 w 4667161"/>
              <a:gd name="connsiteY76" fmla="*/ 302418 h 1958188"/>
              <a:gd name="connsiteX77" fmla="*/ 2674055 w 4667161"/>
              <a:gd name="connsiteY77" fmla="*/ 276225 h 1958188"/>
              <a:gd name="connsiteX78" fmla="*/ 2752636 w 4667161"/>
              <a:gd name="connsiteY78" fmla="*/ 297656 h 1958188"/>
              <a:gd name="connsiteX79" fmla="*/ 2793117 w 4667161"/>
              <a:gd name="connsiteY79" fmla="*/ 283368 h 1958188"/>
              <a:gd name="connsiteX80" fmla="*/ 2800261 w 4667161"/>
              <a:gd name="connsiteY80" fmla="*/ 242887 h 1958188"/>
              <a:gd name="connsiteX81" fmla="*/ 2771686 w 4667161"/>
              <a:gd name="connsiteY81" fmla="*/ 195262 h 1958188"/>
              <a:gd name="connsiteX82" fmla="*/ 2755017 w 4667161"/>
              <a:gd name="connsiteY82" fmla="*/ 135731 h 1958188"/>
              <a:gd name="connsiteX83" fmla="*/ 2721680 w 4667161"/>
              <a:gd name="connsiteY83" fmla="*/ 102393 h 1958188"/>
              <a:gd name="connsiteX84" fmla="*/ 2697867 w 4667161"/>
              <a:gd name="connsiteY84" fmla="*/ 59531 h 1958188"/>
              <a:gd name="connsiteX85" fmla="*/ 2707392 w 4667161"/>
              <a:gd name="connsiteY85" fmla="*/ 38100 h 1958188"/>
              <a:gd name="connsiteX86" fmla="*/ 2743111 w 4667161"/>
              <a:gd name="connsiteY86" fmla="*/ 0 h 1958188"/>
              <a:gd name="connsiteX87" fmla="*/ 2762161 w 4667161"/>
              <a:gd name="connsiteY87" fmla="*/ 16668 h 1958188"/>
              <a:gd name="connsiteX88" fmla="*/ 2843123 w 4667161"/>
              <a:gd name="connsiteY88" fmla="*/ 30956 h 1958188"/>
              <a:gd name="connsiteX89" fmla="*/ 2926467 w 4667161"/>
              <a:gd name="connsiteY89" fmla="*/ 47625 h 1958188"/>
              <a:gd name="connsiteX90" fmla="*/ 2976473 w 4667161"/>
              <a:gd name="connsiteY90" fmla="*/ 66675 h 1958188"/>
              <a:gd name="connsiteX91" fmla="*/ 3026480 w 4667161"/>
              <a:gd name="connsiteY91" fmla="*/ 61912 h 1958188"/>
              <a:gd name="connsiteX92" fmla="*/ 3074105 w 4667161"/>
              <a:gd name="connsiteY92" fmla="*/ 92868 h 1958188"/>
              <a:gd name="connsiteX93" fmla="*/ 3116967 w 4667161"/>
              <a:gd name="connsiteY93" fmla="*/ 119062 h 1958188"/>
              <a:gd name="connsiteX94" fmla="*/ 3138398 w 4667161"/>
              <a:gd name="connsiteY94" fmla="*/ 150018 h 1958188"/>
              <a:gd name="connsiteX95" fmla="*/ 3188405 w 4667161"/>
              <a:gd name="connsiteY95" fmla="*/ 157162 h 1958188"/>
              <a:gd name="connsiteX96" fmla="*/ 3214598 w 4667161"/>
              <a:gd name="connsiteY96" fmla="*/ 202406 h 1958188"/>
              <a:gd name="connsiteX97" fmla="*/ 3240792 w 4667161"/>
              <a:gd name="connsiteY97" fmla="*/ 233362 h 1958188"/>
              <a:gd name="connsiteX98" fmla="*/ 3257461 w 4667161"/>
              <a:gd name="connsiteY98" fmla="*/ 278606 h 1958188"/>
              <a:gd name="connsiteX99" fmla="*/ 3316992 w 4667161"/>
              <a:gd name="connsiteY99" fmla="*/ 295275 h 1958188"/>
              <a:gd name="connsiteX100" fmla="*/ 3345567 w 4667161"/>
              <a:gd name="connsiteY100" fmla="*/ 326231 h 1958188"/>
              <a:gd name="connsiteX101" fmla="*/ 3366998 w 4667161"/>
              <a:gd name="connsiteY101" fmla="*/ 335756 h 1958188"/>
              <a:gd name="connsiteX102" fmla="*/ 3378905 w 4667161"/>
              <a:gd name="connsiteY102" fmla="*/ 376237 h 1958188"/>
              <a:gd name="connsiteX103" fmla="*/ 3409861 w 4667161"/>
              <a:gd name="connsiteY103" fmla="*/ 383381 h 1958188"/>
              <a:gd name="connsiteX104" fmla="*/ 3447961 w 4667161"/>
              <a:gd name="connsiteY104" fmla="*/ 447675 h 1958188"/>
              <a:gd name="connsiteX105" fmla="*/ 3443198 w 4667161"/>
              <a:gd name="connsiteY105" fmla="*/ 502443 h 1958188"/>
              <a:gd name="connsiteX106" fmla="*/ 3431292 w 4667161"/>
              <a:gd name="connsiteY106" fmla="*/ 531018 h 1958188"/>
              <a:gd name="connsiteX107" fmla="*/ 3471773 w 4667161"/>
              <a:gd name="connsiteY107" fmla="*/ 564356 h 1958188"/>
              <a:gd name="connsiteX108" fmla="*/ 3469392 w 4667161"/>
              <a:gd name="connsiteY108" fmla="*/ 647700 h 1958188"/>
              <a:gd name="connsiteX109" fmla="*/ 3450342 w 4667161"/>
              <a:gd name="connsiteY109" fmla="*/ 664368 h 1958188"/>
              <a:gd name="connsiteX110" fmla="*/ 3433673 w 4667161"/>
              <a:gd name="connsiteY110" fmla="*/ 738187 h 1958188"/>
              <a:gd name="connsiteX111" fmla="*/ 3455105 w 4667161"/>
              <a:gd name="connsiteY111" fmla="*/ 773906 h 1958188"/>
              <a:gd name="connsiteX112" fmla="*/ 3509873 w 4667161"/>
              <a:gd name="connsiteY112" fmla="*/ 797718 h 1958188"/>
              <a:gd name="connsiteX113" fmla="*/ 3547973 w 4667161"/>
              <a:gd name="connsiteY113" fmla="*/ 778668 h 1958188"/>
              <a:gd name="connsiteX114" fmla="*/ 3590836 w 4667161"/>
              <a:gd name="connsiteY114" fmla="*/ 797718 h 1958188"/>
              <a:gd name="connsiteX115" fmla="*/ 3626555 w 4667161"/>
              <a:gd name="connsiteY115" fmla="*/ 783431 h 1958188"/>
              <a:gd name="connsiteX116" fmla="*/ 3664655 w 4667161"/>
              <a:gd name="connsiteY116" fmla="*/ 826293 h 1958188"/>
              <a:gd name="connsiteX117" fmla="*/ 3743236 w 4667161"/>
              <a:gd name="connsiteY117" fmla="*/ 902493 h 1958188"/>
              <a:gd name="connsiteX118" fmla="*/ 3812292 w 4667161"/>
              <a:gd name="connsiteY118" fmla="*/ 916781 h 1958188"/>
              <a:gd name="connsiteX119" fmla="*/ 3907542 w 4667161"/>
              <a:gd name="connsiteY119" fmla="*/ 959643 h 1958188"/>
              <a:gd name="connsiteX120" fmla="*/ 3974217 w 4667161"/>
              <a:gd name="connsiteY120" fmla="*/ 992981 h 1958188"/>
              <a:gd name="connsiteX121" fmla="*/ 3990886 w 4667161"/>
              <a:gd name="connsiteY121" fmla="*/ 1035843 h 1958188"/>
              <a:gd name="connsiteX122" fmla="*/ 4000411 w 4667161"/>
              <a:gd name="connsiteY122" fmla="*/ 1081087 h 1958188"/>
              <a:gd name="connsiteX123" fmla="*/ 4048036 w 4667161"/>
              <a:gd name="connsiteY123" fmla="*/ 1109662 h 1958188"/>
              <a:gd name="connsiteX124" fmla="*/ 4083755 w 4667161"/>
              <a:gd name="connsiteY124" fmla="*/ 1107281 h 1958188"/>
              <a:gd name="connsiteX125" fmla="*/ 4150430 w 4667161"/>
              <a:gd name="connsiteY125" fmla="*/ 1145381 h 1958188"/>
              <a:gd name="connsiteX126" fmla="*/ 4209961 w 4667161"/>
              <a:gd name="connsiteY126" fmla="*/ 1197768 h 1958188"/>
              <a:gd name="connsiteX127" fmla="*/ 4293305 w 4667161"/>
              <a:gd name="connsiteY127" fmla="*/ 1240631 h 1958188"/>
              <a:gd name="connsiteX128" fmla="*/ 4359980 w 4667161"/>
              <a:gd name="connsiteY128" fmla="*/ 1302543 h 1958188"/>
              <a:gd name="connsiteX129" fmla="*/ 4436180 w 4667161"/>
              <a:gd name="connsiteY129" fmla="*/ 1359693 h 1958188"/>
              <a:gd name="connsiteX130" fmla="*/ 4476661 w 4667161"/>
              <a:gd name="connsiteY130" fmla="*/ 1357312 h 1958188"/>
              <a:gd name="connsiteX131" fmla="*/ 4533811 w 4667161"/>
              <a:gd name="connsiteY131" fmla="*/ 1383506 h 1958188"/>
              <a:gd name="connsiteX132" fmla="*/ 4643348 w 4667161"/>
              <a:gd name="connsiteY132" fmla="*/ 1345406 h 1958188"/>
              <a:gd name="connsiteX133" fmla="*/ 4667161 w 4667161"/>
              <a:gd name="connsiteY133" fmla="*/ 1302543 h 1958188"/>
              <a:gd name="connsiteX134" fmla="*/ 4662398 w 4667161"/>
              <a:gd name="connsiteY134" fmla="*/ 1235868 h 1958188"/>
              <a:gd name="connsiteX135" fmla="*/ 4660017 w 4667161"/>
              <a:gd name="connsiteY135" fmla="*/ 1116806 h 1958188"/>
              <a:gd name="connsiteX136" fmla="*/ 4633823 w 4667161"/>
              <a:gd name="connsiteY136" fmla="*/ 1078706 h 1958188"/>
              <a:gd name="connsiteX137" fmla="*/ 4571911 w 4667161"/>
              <a:gd name="connsiteY137" fmla="*/ 1057275 h 1958188"/>
              <a:gd name="connsiteX138" fmla="*/ 4555242 w 4667161"/>
              <a:gd name="connsiteY138" fmla="*/ 1014412 h 1958188"/>
              <a:gd name="connsiteX139" fmla="*/ 4529048 w 4667161"/>
              <a:gd name="connsiteY139" fmla="*/ 931068 h 1958188"/>
              <a:gd name="connsiteX140" fmla="*/ 4500473 w 4667161"/>
              <a:gd name="connsiteY140" fmla="*/ 890587 h 1958188"/>
              <a:gd name="connsiteX141" fmla="*/ 4526667 w 4667161"/>
              <a:gd name="connsiteY141" fmla="*/ 862012 h 1958188"/>
              <a:gd name="connsiteX142" fmla="*/ 4595723 w 4667161"/>
              <a:gd name="connsiteY142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459798 w 4667161"/>
              <a:gd name="connsiteY12" fmla="*/ 1412170 h 1958188"/>
              <a:gd name="connsiteX13" fmla="*/ 489137 w 4667161"/>
              <a:gd name="connsiteY13" fmla="*/ 1373051 h 1958188"/>
              <a:gd name="connsiteX14" fmla="*/ 533145 w 4667161"/>
              <a:gd name="connsiteY14" fmla="*/ 1365716 h 1958188"/>
              <a:gd name="connsiteX15" fmla="*/ 557594 w 4667161"/>
              <a:gd name="connsiteY15" fmla="*/ 1346157 h 1958188"/>
              <a:gd name="connsiteX16" fmla="*/ 577154 w 4667161"/>
              <a:gd name="connsiteY16" fmla="*/ 1309483 h 1958188"/>
              <a:gd name="connsiteX17" fmla="*/ 673805 w 4667161"/>
              <a:gd name="connsiteY17" fmla="*/ 1304925 h 1958188"/>
              <a:gd name="connsiteX18" fmla="*/ 714286 w 4667161"/>
              <a:gd name="connsiteY18" fmla="*/ 1259681 h 1958188"/>
              <a:gd name="connsiteX19" fmla="*/ 745242 w 4667161"/>
              <a:gd name="connsiteY19" fmla="*/ 1247775 h 1958188"/>
              <a:gd name="connsiteX20" fmla="*/ 795248 w 4667161"/>
              <a:gd name="connsiteY20" fmla="*/ 1257300 h 1958188"/>
              <a:gd name="connsiteX21" fmla="*/ 842873 w 4667161"/>
              <a:gd name="connsiteY21" fmla="*/ 1207293 h 1958188"/>
              <a:gd name="connsiteX22" fmla="*/ 890498 w 4667161"/>
              <a:gd name="connsiteY22" fmla="*/ 1214437 h 1958188"/>
              <a:gd name="connsiteX23" fmla="*/ 911930 w 4667161"/>
              <a:gd name="connsiteY23" fmla="*/ 1214437 h 1958188"/>
              <a:gd name="connsiteX24" fmla="*/ 947648 w 4667161"/>
              <a:gd name="connsiteY24" fmla="*/ 1195387 h 1958188"/>
              <a:gd name="connsiteX25" fmla="*/ 971461 w 4667161"/>
              <a:gd name="connsiteY25" fmla="*/ 1157287 h 1958188"/>
              <a:gd name="connsiteX26" fmla="*/ 1016705 w 4667161"/>
              <a:gd name="connsiteY26" fmla="*/ 1157287 h 1958188"/>
              <a:gd name="connsiteX27" fmla="*/ 1042898 w 4667161"/>
              <a:gd name="connsiteY27" fmla="*/ 1119187 h 1958188"/>
              <a:gd name="connsiteX28" fmla="*/ 1069092 w 4667161"/>
              <a:gd name="connsiteY28" fmla="*/ 1100137 h 1958188"/>
              <a:gd name="connsiteX29" fmla="*/ 1088142 w 4667161"/>
              <a:gd name="connsiteY29" fmla="*/ 1071562 h 1958188"/>
              <a:gd name="connsiteX30" fmla="*/ 1133386 w 4667161"/>
              <a:gd name="connsiteY30" fmla="*/ 1064418 h 1958188"/>
              <a:gd name="connsiteX31" fmla="*/ 1145292 w 4667161"/>
              <a:gd name="connsiteY31" fmla="*/ 1031081 h 1958188"/>
              <a:gd name="connsiteX32" fmla="*/ 1181011 w 4667161"/>
              <a:gd name="connsiteY32" fmla="*/ 1012031 h 1958188"/>
              <a:gd name="connsiteX33" fmla="*/ 1202442 w 4667161"/>
              <a:gd name="connsiteY33" fmla="*/ 988218 h 1958188"/>
              <a:gd name="connsiteX34" fmla="*/ 1283405 w 4667161"/>
              <a:gd name="connsiteY34" fmla="*/ 966787 h 1958188"/>
              <a:gd name="connsiteX35" fmla="*/ 1297692 w 4667161"/>
              <a:gd name="connsiteY35" fmla="*/ 952500 h 1958188"/>
              <a:gd name="connsiteX36" fmla="*/ 1307217 w 4667161"/>
              <a:gd name="connsiteY36" fmla="*/ 919162 h 1958188"/>
              <a:gd name="connsiteX37" fmla="*/ 1388180 w 4667161"/>
              <a:gd name="connsiteY37" fmla="*/ 878681 h 1958188"/>
              <a:gd name="connsiteX38" fmla="*/ 1407230 w 4667161"/>
              <a:gd name="connsiteY38" fmla="*/ 873918 h 1958188"/>
              <a:gd name="connsiteX39" fmla="*/ 1466761 w 4667161"/>
              <a:gd name="connsiteY39" fmla="*/ 809625 h 1958188"/>
              <a:gd name="connsiteX40" fmla="*/ 1471523 w 4667161"/>
              <a:gd name="connsiteY40" fmla="*/ 759618 h 1958188"/>
              <a:gd name="connsiteX41" fmla="*/ 1497717 w 4667161"/>
              <a:gd name="connsiteY41" fmla="*/ 733425 h 1958188"/>
              <a:gd name="connsiteX42" fmla="*/ 1523911 w 4667161"/>
              <a:gd name="connsiteY42" fmla="*/ 728662 h 1958188"/>
              <a:gd name="connsiteX43" fmla="*/ 1585823 w 4667161"/>
              <a:gd name="connsiteY43" fmla="*/ 683418 h 1958188"/>
              <a:gd name="connsiteX44" fmla="*/ 1671548 w 4667161"/>
              <a:gd name="connsiteY44" fmla="*/ 640556 h 1958188"/>
              <a:gd name="connsiteX45" fmla="*/ 1707267 w 4667161"/>
              <a:gd name="connsiteY45" fmla="*/ 600075 h 1958188"/>
              <a:gd name="connsiteX46" fmla="*/ 1735842 w 4667161"/>
              <a:gd name="connsiteY46" fmla="*/ 585787 h 1958188"/>
              <a:gd name="connsiteX47" fmla="*/ 1742986 w 4667161"/>
              <a:gd name="connsiteY47" fmla="*/ 519112 h 1958188"/>
              <a:gd name="connsiteX48" fmla="*/ 1759655 w 4667161"/>
              <a:gd name="connsiteY48" fmla="*/ 473868 h 1958188"/>
              <a:gd name="connsiteX49" fmla="*/ 1745367 w 4667161"/>
              <a:gd name="connsiteY49" fmla="*/ 433387 h 1958188"/>
              <a:gd name="connsiteX50" fmla="*/ 1750130 w 4667161"/>
              <a:gd name="connsiteY50" fmla="*/ 347662 h 1958188"/>
              <a:gd name="connsiteX51" fmla="*/ 1745367 w 4667161"/>
              <a:gd name="connsiteY51" fmla="*/ 307181 h 1958188"/>
              <a:gd name="connsiteX52" fmla="*/ 1745367 w 4667161"/>
              <a:gd name="connsiteY52" fmla="*/ 264318 h 1958188"/>
              <a:gd name="connsiteX53" fmla="*/ 1771561 w 4667161"/>
              <a:gd name="connsiteY53" fmla="*/ 254793 h 1958188"/>
              <a:gd name="connsiteX54" fmla="*/ 1792992 w 4667161"/>
              <a:gd name="connsiteY54" fmla="*/ 271462 h 1958188"/>
              <a:gd name="connsiteX55" fmla="*/ 1807280 w 4667161"/>
              <a:gd name="connsiteY55" fmla="*/ 297656 h 1958188"/>
              <a:gd name="connsiteX56" fmla="*/ 1835855 w 4667161"/>
              <a:gd name="connsiteY56" fmla="*/ 300037 h 1958188"/>
              <a:gd name="connsiteX57" fmla="*/ 1857286 w 4667161"/>
              <a:gd name="connsiteY57" fmla="*/ 278606 h 1958188"/>
              <a:gd name="connsiteX58" fmla="*/ 1943011 w 4667161"/>
              <a:gd name="connsiteY58" fmla="*/ 280987 h 1958188"/>
              <a:gd name="connsiteX59" fmla="*/ 1995398 w 4667161"/>
              <a:gd name="connsiteY59" fmla="*/ 290512 h 1958188"/>
              <a:gd name="connsiteX60" fmla="*/ 2043023 w 4667161"/>
              <a:gd name="connsiteY60" fmla="*/ 266700 h 1958188"/>
              <a:gd name="connsiteX61" fmla="*/ 2054930 w 4667161"/>
              <a:gd name="connsiteY61" fmla="*/ 233362 h 1958188"/>
              <a:gd name="connsiteX62" fmla="*/ 2095411 w 4667161"/>
              <a:gd name="connsiteY62" fmla="*/ 200025 h 1958188"/>
              <a:gd name="connsiteX63" fmla="*/ 2085886 w 4667161"/>
              <a:gd name="connsiteY63" fmla="*/ 173831 h 1958188"/>
              <a:gd name="connsiteX64" fmla="*/ 2102555 w 4667161"/>
              <a:gd name="connsiteY64" fmla="*/ 147637 h 1958188"/>
              <a:gd name="connsiteX65" fmla="*/ 2157323 w 4667161"/>
              <a:gd name="connsiteY65" fmla="*/ 169068 h 1958188"/>
              <a:gd name="connsiteX66" fmla="*/ 2204948 w 4667161"/>
              <a:gd name="connsiteY66" fmla="*/ 173831 h 1958188"/>
              <a:gd name="connsiteX67" fmla="*/ 2240667 w 4667161"/>
              <a:gd name="connsiteY67" fmla="*/ 209550 h 1958188"/>
              <a:gd name="connsiteX68" fmla="*/ 2269242 w 4667161"/>
              <a:gd name="connsiteY68" fmla="*/ 223837 h 1958188"/>
              <a:gd name="connsiteX69" fmla="*/ 2288292 w 4667161"/>
              <a:gd name="connsiteY69" fmla="*/ 280987 h 1958188"/>
              <a:gd name="connsiteX70" fmla="*/ 2357348 w 4667161"/>
              <a:gd name="connsiteY70" fmla="*/ 316706 h 1958188"/>
              <a:gd name="connsiteX71" fmla="*/ 2426405 w 4667161"/>
              <a:gd name="connsiteY71" fmla="*/ 307181 h 1958188"/>
              <a:gd name="connsiteX72" fmla="*/ 2474030 w 4667161"/>
              <a:gd name="connsiteY72" fmla="*/ 295275 h 1958188"/>
              <a:gd name="connsiteX73" fmla="*/ 2512130 w 4667161"/>
              <a:gd name="connsiteY73" fmla="*/ 307181 h 1958188"/>
              <a:gd name="connsiteX74" fmla="*/ 2562136 w 4667161"/>
              <a:gd name="connsiteY74" fmla="*/ 304800 h 1958188"/>
              <a:gd name="connsiteX75" fmla="*/ 2607380 w 4667161"/>
              <a:gd name="connsiteY75" fmla="*/ 316706 h 1958188"/>
              <a:gd name="connsiteX76" fmla="*/ 2652623 w 4667161"/>
              <a:gd name="connsiteY76" fmla="*/ 302418 h 1958188"/>
              <a:gd name="connsiteX77" fmla="*/ 2674055 w 4667161"/>
              <a:gd name="connsiteY77" fmla="*/ 276225 h 1958188"/>
              <a:gd name="connsiteX78" fmla="*/ 2752636 w 4667161"/>
              <a:gd name="connsiteY78" fmla="*/ 297656 h 1958188"/>
              <a:gd name="connsiteX79" fmla="*/ 2793117 w 4667161"/>
              <a:gd name="connsiteY79" fmla="*/ 283368 h 1958188"/>
              <a:gd name="connsiteX80" fmla="*/ 2800261 w 4667161"/>
              <a:gd name="connsiteY80" fmla="*/ 242887 h 1958188"/>
              <a:gd name="connsiteX81" fmla="*/ 2771686 w 4667161"/>
              <a:gd name="connsiteY81" fmla="*/ 195262 h 1958188"/>
              <a:gd name="connsiteX82" fmla="*/ 2755017 w 4667161"/>
              <a:gd name="connsiteY82" fmla="*/ 135731 h 1958188"/>
              <a:gd name="connsiteX83" fmla="*/ 2721680 w 4667161"/>
              <a:gd name="connsiteY83" fmla="*/ 102393 h 1958188"/>
              <a:gd name="connsiteX84" fmla="*/ 2697867 w 4667161"/>
              <a:gd name="connsiteY84" fmla="*/ 59531 h 1958188"/>
              <a:gd name="connsiteX85" fmla="*/ 2707392 w 4667161"/>
              <a:gd name="connsiteY85" fmla="*/ 38100 h 1958188"/>
              <a:gd name="connsiteX86" fmla="*/ 2743111 w 4667161"/>
              <a:gd name="connsiteY86" fmla="*/ 0 h 1958188"/>
              <a:gd name="connsiteX87" fmla="*/ 2762161 w 4667161"/>
              <a:gd name="connsiteY87" fmla="*/ 16668 h 1958188"/>
              <a:gd name="connsiteX88" fmla="*/ 2843123 w 4667161"/>
              <a:gd name="connsiteY88" fmla="*/ 30956 h 1958188"/>
              <a:gd name="connsiteX89" fmla="*/ 2926467 w 4667161"/>
              <a:gd name="connsiteY89" fmla="*/ 47625 h 1958188"/>
              <a:gd name="connsiteX90" fmla="*/ 2976473 w 4667161"/>
              <a:gd name="connsiteY90" fmla="*/ 66675 h 1958188"/>
              <a:gd name="connsiteX91" fmla="*/ 3026480 w 4667161"/>
              <a:gd name="connsiteY91" fmla="*/ 61912 h 1958188"/>
              <a:gd name="connsiteX92" fmla="*/ 3074105 w 4667161"/>
              <a:gd name="connsiteY92" fmla="*/ 92868 h 1958188"/>
              <a:gd name="connsiteX93" fmla="*/ 3116967 w 4667161"/>
              <a:gd name="connsiteY93" fmla="*/ 119062 h 1958188"/>
              <a:gd name="connsiteX94" fmla="*/ 3138398 w 4667161"/>
              <a:gd name="connsiteY94" fmla="*/ 150018 h 1958188"/>
              <a:gd name="connsiteX95" fmla="*/ 3188405 w 4667161"/>
              <a:gd name="connsiteY95" fmla="*/ 157162 h 1958188"/>
              <a:gd name="connsiteX96" fmla="*/ 3214598 w 4667161"/>
              <a:gd name="connsiteY96" fmla="*/ 202406 h 1958188"/>
              <a:gd name="connsiteX97" fmla="*/ 3240792 w 4667161"/>
              <a:gd name="connsiteY97" fmla="*/ 233362 h 1958188"/>
              <a:gd name="connsiteX98" fmla="*/ 3257461 w 4667161"/>
              <a:gd name="connsiteY98" fmla="*/ 278606 h 1958188"/>
              <a:gd name="connsiteX99" fmla="*/ 3316992 w 4667161"/>
              <a:gd name="connsiteY99" fmla="*/ 295275 h 1958188"/>
              <a:gd name="connsiteX100" fmla="*/ 3345567 w 4667161"/>
              <a:gd name="connsiteY100" fmla="*/ 326231 h 1958188"/>
              <a:gd name="connsiteX101" fmla="*/ 3366998 w 4667161"/>
              <a:gd name="connsiteY101" fmla="*/ 335756 h 1958188"/>
              <a:gd name="connsiteX102" fmla="*/ 3378905 w 4667161"/>
              <a:gd name="connsiteY102" fmla="*/ 376237 h 1958188"/>
              <a:gd name="connsiteX103" fmla="*/ 3409861 w 4667161"/>
              <a:gd name="connsiteY103" fmla="*/ 383381 h 1958188"/>
              <a:gd name="connsiteX104" fmla="*/ 3447961 w 4667161"/>
              <a:gd name="connsiteY104" fmla="*/ 447675 h 1958188"/>
              <a:gd name="connsiteX105" fmla="*/ 3443198 w 4667161"/>
              <a:gd name="connsiteY105" fmla="*/ 502443 h 1958188"/>
              <a:gd name="connsiteX106" fmla="*/ 3431292 w 4667161"/>
              <a:gd name="connsiteY106" fmla="*/ 531018 h 1958188"/>
              <a:gd name="connsiteX107" fmla="*/ 3471773 w 4667161"/>
              <a:gd name="connsiteY107" fmla="*/ 564356 h 1958188"/>
              <a:gd name="connsiteX108" fmla="*/ 3469392 w 4667161"/>
              <a:gd name="connsiteY108" fmla="*/ 647700 h 1958188"/>
              <a:gd name="connsiteX109" fmla="*/ 3450342 w 4667161"/>
              <a:gd name="connsiteY109" fmla="*/ 664368 h 1958188"/>
              <a:gd name="connsiteX110" fmla="*/ 3433673 w 4667161"/>
              <a:gd name="connsiteY110" fmla="*/ 738187 h 1958188"/>
              <a:gd name="connsiteX111" fmla="*/ 3455105 w 4667161"/>
              <a:gd name="connsiteY111" fmla="*/ 773906 h 1958188"/>
              <a:gd name="connsiteX112" fmla="*/ 3509873 w 4667161"/>
              <a:gd name="connsiteY112" fmla="*/ 797718 h 1958188"/>
              <a:gd name="connsiteX113" fmla="*/ 3547973 w 4667161"/>
              <a:gd name="connsiteY113" fmla="*/ 778668 h 1958188"/>
              <a:gd name="connsiteX114" fmla="*/ 3590836 w 4667161"/>
              <a:gd name="connsiteY114" fmla="*/ 797718 h 1958188"/>
              <a:gd name="connsiteX115" fmla="*/ 3626555 w 4667161"/>
              <a:gd name="connsiteY115" fmla="*/ 783431 h 1958188"/>
              <a:gd name="connsiteX116" fmla="*/ 3664655 w 4667161"/>
              <a:gd name="connsiteY116" fmla="*/ 826293 h 1958188"/>
              <a:gd name="connsiteX117" fmla="*/ 3743236 w 4667161"/>
              <a:gd name="connsiteY117" fmla="*/ 902493 h 1958188"/>
              <a:gd name="connsiteX118" fmla="*/ 3812292 w 4667161"/>
              <a:gd name="connsiteY118" fmla="*/ 916781 h 1958188"/>
              <a:gd name="connsiteX119" fmla="*/ 3907542 w 4667161"/>
              <a:gd name="connsiteY119" fmla="*/ 959643 h 1958188"/>
              <a:gd name="connsiteX120" fmla="*/ 3974217 w 4667161"/>
              <a:gd name="connsiteY120" fmla="*/ 992981 h 1958188"/>
              <a:gd name="connsiteX121" fmla="*/ 3990886 w 4667161"/>
              <a:gd name="connsiteY121" fmla="*/ 1035843 h 1958188"/>
              <a:gd name="connsiteX122" fmla="*/ 4000411 w 4667161"/>
              <a:gd name="connsiteY122" fmla="*/ 1081087 h 1958188"/>
              <a:gd name="connsiteX123" fmla="*/ 4048036 w 4667161"/>
              <a:gd name="connsiteY123" fmla="*/ 1109662 h 1958188"/>
              <a:gd name="connsiteX124" fmla="*/ 4083755 w 4667161"/>
              <a:gd name="connsiteY124" fmla="*/ 1107281 h 1958188"/>
              <a:gd name="connsiteX125" fmla="*/ 4150430 w 4667161"/>
              <a:gd name="connsiteY125" fmla="*/ 1145381 h 1958188"/>
              <a:gd name="connsiteX126" fmla="*/ 4209961 w 4667161"/>
              <a:gd name="connsiteY126" fmla="*/ 1197768 h 1958188"/>
              <a:gd name="connsiteX127" fmla="*/ 4293305 w 4667161"/>
              <a:gd name="connsiteY127" fmla="*/ 1240631 h 1958188"/>
              <a:gd name="connsiteX128" fmla="*/ 4359980 w 4667161"/>
              <a:gd name="connsiteY128" fmla="*/ 1302543 h 1958188"/>
              <a:gd name="connsiteX129" fmla="*/ 4436180 w 4667161"/>
              <a:gd name="connsiteY129" fmla="*/ 1359693 h 1958188"/>
              <a:gd name="connsiteX130" fmla="*/ 4476661 w 4667161"/>
              <a:gd name="connsiteY130" fmla="*/ 1357312 h 1958188"/>
              <a:gd name="connsiteX131" fmla="*/ 4533811 w 4667161"/>
              <a:gd name="connsiteY131" fmla="*/ 1383506 h 1958188"/>
              <a:gd name="connsiteX132" fmla="*/ 4643348 w 4667161"/>
              <a:gd name="connsiteY132" fmla="*/ 1345406 h 1958188"/>
              <a:gd name="connsiteX133" fmla="*/ 4667161 w 4667161"/>
              <a:gd name="connsiteY133" fmla="*/ 1302543 h 1958188"/>
              <a:gd name="connsiteX134" fmla="*/ 4662398 w 4667161"/>
              <a:gd name="connsiteY134" fmla="*/ 1235868 h 1958188"/>
              <a:gd name="connsiteX135" fmla="*/ 4660017 w 4667161"/>
              <a:gd name="connsiteY135" fmla="*/ 1116806 h 1958188"/>
              <a:gd name="connsiteX136" fmla="*/ 4633823 w 4667161"/>
              <a:gd name="connsiteY136" fmla="*/ 1078706 h 1958188"/>
              <a:gd name="connsiteX137" fmla="*/ 4571911 w 4667161"/>
              <a:gd name="connsiteY137" fmla="*/ 1057275 h 1958188"/>
              <a:gd name="connsiteX138" fmla="*/ 4555242 w 4667161"/>
              <a:gd name="connsiteY138" fmla="*/ 1014412 h 1958188"/>
              <a:gd name="connsiteX139" fmla="*/ 4529048 w 4667161"/>
              <a:gd name="connsiteY139" fmla="*/ 931068 h 1958188"/>
              <a:gd name="connsiteX140" fmla="*/ 4500473 w 4667161"/>
              <a:gd name="connsiteY140" fmla="*/ 890587 h 1958188"/>
              <a:gd name="connsiteX141" fmla="*/ 4526667 w 4667161"/>
              <a:gd name="connsiteY141" fmla="*/ 862012 h 1958188"/>
              <a:gd name="connsiteX142" fmla="*/ 4595723 w 4667161"/>
              <a:gd name="connsiteY142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459798 w 4667161"/>
              <a:gd name="connsiteY12" fmla="*/ 1412170 h 1958188"/>
              <a:gd name="connsiteX13" fmla="*/ 489137 w 4667161"/>
              <a:gd name="connsiteY13" fmla="*/ 1373051 h 1958188"/>
              <a:gd name="connsiteX14" fmla="*/ 533145 w 4667161"/>
              <a:gd name="connsiteY14" fmla="*/ 1365716 h 1958188"/>
              <a:gd name="connsiteX15" fmla="*/ 557594 w 4667161"/>
              <a:gd name="connsiteY15" fmla="*/ 1346157 h 1958188"/>
              <a:gd name="connsiteX16" fmla="*/ 577154 w 4667161"/>
              <a:gd name="connsiteY16" fmla="*/ 1309483 h 1958188"/>
              <a:gd name="connsiteX17" fmla="*/ 638277 w 4667161"/>
              <a:gd name="connsiteY17" fmla="*/ 1304593 h 1958188"/>
              <a:gd name="connsiteX18" fmla="*/ 673805 w 4667161"/>
              <a:gd name="connsiteY18" fmla="*/ 1304925 h 1958188"/>
              <a:gd name="connsiteX19" fmla="*/ 714286 w 4667161"/>
              <a:gd name="connsiteY19" fmla="*/ 1259681 h 1958188"/>
              <a:gd name="connsiteX20" fmla="*/ 745242 w 4667161"/>
              <a:gd name="connsiteY20" fmla="*/ 1247775 h 1958188"/>
              <a:gd name="connsiteX21" fmla="*/ 795248 w 4667161"/>
              <a:gd name="connsiteY21" fmla="*/ 1257300 h 1958188"/>
              <a:gd name="connsiteX22" fmla="*/ 842873 w 4667161"/>
              <a:gd name="connsiteY22" fmla="*/ 1207293 h 1958188"/>
              <a:gd name="connsiteX23" fmla="*/ 890498 w 4667161"/>
              <a:gd name="connsiteY23" fmla="*/ 1214437 h 1958188"/>
              <a:gd name="connsiteX24" fmla="*/ 911930 w 4667161"/>
              <a:gd name="connsiteY24" fmla="*/ 1214437 h 1958188"/>
              <a:gd name="connsiteX25" fmla="*/ 947648 w 4667161"/>
              <a:gd name="connsiteY25" fmla="*/ 1195387 h 1958188"/>
              <a:gd name="connsiteX26" fmla="*/ 971461 w 4667161"/>
              <a:gd name="connsiteY26" fmla="*/ 1157287 h 1958188"/>
              <a:gd name="connsiteX27" fmla="*/ 1016705 w 4667161"/>
              <a:gd name="connsiteY27" fmla="*/ 1157287 h 1958188"/>
              <a:gd name="connsiteX28" fmla="*/ 1042898 w 4667161"/>
              <a:gd name="connsiteY28" fmla="*/ 1119187 h 1958188"/>
              <a:gd name="connsiteX29" fmla="*/ 1069092 w 4667161"/>
              <a:gd name="connsiteY29" fmla="*/ 1100137 h 1958188"/>
              <a:gd name="connsiteX30" fmla="*/ 1088142 w 4667161"/>
              <a:gd name="connsiteY30" fmla="*/ 1071562 h 1958188"/>
              <a:gd name="connsiteX31" fmla="*/ 1133386 w 4667161"/>
              <a:gd name="connsiteY31" fmla="*/ 1064418 h 1958188"/>
              <a:gd name="connsiteX32" fmla="*/ 1145292 w 4667161"/>
              <a:gd name="connsiteY32" fmla="*/ 1031081 h 1958188"/>
              <a:gd name="connsiteX33" fmla="*/ 1181011 w 4667161"/>
              <a:gd name="connsiteY33" fmla="*/ 1012031 h 1958188"/>
              <a:gd name="connsiteX34" fmla="*/ 1202442 w 4667161"/>
              <a:gd name="connsiteY34" fmla="*/ 988218 h 1958188"/>
              <a:gd name="connsiteX35" fmla="*/ 1283405 w 4667161"/>
              <a:gd name="connsiteY35" fmla="*/ 966787 h 1958188"/>
              <a:gd name="connsiteX36" fmla="*/ 1297692 w 4667161"/>
              <a:gd name="connsiteY36" fmla="*/ 952500 h 1958188"/>
              <a:gd name="connsiteX37" fmla="*/ 1307217 w 4667161"/>
              <a:gd name="connsiteY37" fmla="*/ 919162 h 1958188"/>
              <a:gd name="connsiteX38" fmla="*/ 1388180 w 4667161"/>
              <a:gd name="connsiteY38" fmla="*/ 878681 h 1958188"/>
              <a:gd name="connsiteX39" fmla="*/ 1407230 w 4667161"/>
              <a:gd name="connsiteY39" fmla="*/ 873918 h 1958188"/>
              <a:gd name="connsiteX40" fmla="*/ 1466761 w 4667161"/>
              <a:gd name="connsiteY40" fmla="*/ 809625 h 1958188"/>
              <a:gd name="connsiteX41" fmla="*/ 1471523 w 4667161"/>
              <a:gd name="connsiteY41" fmla="*/ 759618 h 1958188"/>
              <a:gd name="connsiteX42" fmla="*/ 1497717 w 4667161"/>
              <a:gd name="connsiteY42" fmla="*/ 733425 h 1958188"/>
              <a:gd name="connsiteX43" fmla="*/ 1523911 w 4667161"/>
              <a:gd name="connsiteY43" fmla="*/ 728662 h 1958188"/>
              <a:gd name="connsiteX44" fmla="*/ 1585823 w 4667161"/>
              <a:gd name="connsiteY44" fmla="*/ 683418 h 1958188"/>
              <a:gd name="connsiteX45" fmla="*/ 1671548 w 4667161"/>
              <a:gd name="connsiteY45" fmla="*/ 640556 h 1958188"/>
              <a:gd name="connsiteX46" fmla="*/ 1707267 w 4667161"/>
              <a:gd name="connsiteY46" fmla="*/ 600075 h 1958188"/>
              <a:gd name="connsiteX47" fmla="*/ 1735842 w 4667161"/>
              <a:gd name="connsiteY47" fmla="*/ 585787 h 1958188"/>
              <a:gd name="connsiteX48" fmla="*/ 1742986 w 4667161"/>
              <a:gd name="connsiteY48" fmla="*/ 519112 h 1958188"/>
              <a:gd name="connsiteX49" fmla="*/ 1759655 w 4667161"/>
              <a:gd name="connsiteY49" fmla="*/ 473868 h 1958188"/>
              <a:gd name="connsiteX50" fmla="*/ 1745367 w 4667161"/>
              <a:gd name="connsiteY50" fmla="*/ 433387 h 1958188"/>
              <a:gd name="connsiteX51" fmla="*/ 1750130 w 4667161"/>
              <a:gd name="connsiteY51" fmla="*/ 347662 h 1958188"/>
              <a:gd name="connsiteX52" fmla="*/ 1745367 w 4667161"/>
              <a:gd name="connsiteY52" fmla="*/ 307181 h 1958188"/>
              <a:gd name="connsiteX53" fmla="*/ 1745367 w 4667161"/>
              <a:gd name="connsiteY53" fmla="*/ 264318 h 1958188"/>
              <a:gd name="connsiteX54" fmla="*/ 1771561 w 4667161"/>
              <a:gd name="connsiteY54" fmla="*/ 254793 h 1958188"/>
              <a:gd name="connsiteX55" fmla="*/ 1792992 w 4667161"/>
              <a:gd name="connsiteY55" fmla="*/ 271462 h 1958188"/>
              <a:gd name="connsiteX56" fmla="*/ 1807280 w 4667161"/>
              <a:gd name="connsiteY56" fmla="*/ 297656 h 1958188"/>
              <a:gd name="connsiteX57" fmla="*/ 1835855 w 4667161"/>
              <a:gd name="connsiteY57" fmla="*/ 300037 h 1958188"/>
              <a:gd name="connsiteX58" fmla="*/ 1857286 w 4667161"/>
              <a:gd name="connsiteY58" fmla="*/ 278606 h 1958188"/>
              <a:gd name="connsiteX59" fmla="*/ 1943011 w 4667161"/>
              <a:gd name="connsiteY59" fmla="*/ 280987 h 1958188"/>
              <a:gd name="connsiteX60" fmla="*/ 1995398 w 4667161"/>
              <a:gd name="connsiteY60" fmla="*/ 290512 h 1958188"/>
              <a:gd name="connsiteX61" fmla="*/ 2043023 w 4667161"/>
              <a:gd name="connsiteY61" fmla="*/ 266700 h 1958188"/>
              <a:gd name="connsiteX62" fmla="*/ 2054930 w 4667161"/>
              <a:gd name="connsiteY62" fmla="*/ 233362 h 1958188"/>
              <a:gd name="connsiteX63" fmla="*/ 2095411 w 4667161"/>
              <a:gd name="connsiteY63" fmla="*/ 200025 h 1958188"/>
              <a:gd name="connsiteX64" fmla="*/ 2085886 w 4667161"/>
              <a:gd name="connsiteY64" fmla="*/ 173831 h 1958188"/>
              <a:gd name="connsiteX65" fmla="*/ 2102555 w 4667161"/>
              <a:gd name="connsiteY65" fmla="*/ 147637 h 1958188"/>
              <a:gd name="connsiteX66" fmla="*/ 2157323 w 4667161"/>
              <a:gd name="connsiteY66" fmla="*/ 169068 h 1958188"/>
              <a:gd name="connsiteX67" fmla="*/ 2204948 w 4667161"/>
              <a:gd name="connsiteY67" fmla="*/ 173831 h 1958188"/>
              <a:gd name="connsiteX68" fmla="*/ 2240667 w 4667161"/>
              <a:gd name="connsiteY68" fmla="*/ 209550 h 1958188"/>
              <a:gd name="connsiteX69" fmla="*/ 2269242 w 4667161"/>
              <a:gd name="connsiteY69" fmla="*/ 223837 h 1958188"/>
              <a:gd name="connsiteX70" fmla="*/ 2288292 w 4667161"/>
              <a:gd name="connsiteY70" fmla="*/ 280987 h 1958188"/>
              <a:gd name="connsiteX71" fmla="*/ 2357348 w 4667161"/>
              <a:gd name="connsiteY71" fmla="*/ 316706 h 1958188"/>
              <a:gd name="connsiteX72" fmla="*/ 2426405 w 4667161"/>
              <a:gd name="connsiteY72" fmla="*/ 307181 h 1958188"/>
              <a:gd name="connsiteX73" fmla="*/ 2474030 w 4667161"/>
              <a:gd name="connsiteY73" fmla="*/ 295275 h 1958188"/>
              <a:gd name="connsiteX74" fmla="*/ 2512130 w 4667161"/>
              <a:gd name="connsiteY74" fmla="*/ 307181 h 1958188"/>
              <a:gd name="connsiteX75" fmla="*/ 2562136 w 4667161"/>
              <a:gd name="connsiteY75" fmla="*/ 304800 h 1958188"/>
              <a:gd name="connsiteX76" fmla="*/ 2607380 w 4667161"/>
              <a:gd name="connsiteY76" fmla="*/ 316706 h 1958188"/>
              <a:gd name="connsiteX77" fmla="*/ 2652623 w 4667161"/>
              <a:gd name="connsiteY77" fmla="*/ 302418 h 1958188"/>
              <a:gd name="connsiteX78" fmla="*/ 2674055 w 4667161"/>
              <a:gd name="connsiteY78" fmla="*/ 276225 h 1958188"/>
              <a:gd name="connsiteX79" fmla="*/ 2752636 w 4667161"/>
              <a:gd name="connsiteY79" fmla="*/ 297656 h 1958188"/>
              <a:gd name="connsiteX80" fmla="*/ 2793117 w 4667161"/>
              <a:gd name="connsiteY80" fmla="*/ 283368 h 1958188"/>
              <a:gd name="connsiteX81" fmla="*/ 2800261 w 4667161"/>
              <a:gd name="connsiteY81" fmla="*/ 242887 h 1958188"/>
              <a:gd name="connsiteX82" fmla="*/ 2771686 w 4667161"/>
              <a:gd name="connsiteY82" fmla="*/ 195262 h 1958188"/>
              <a:gd name="connsiteX83" fmla="*/ 2755017 w 4667161"/>
              <a:gd name="connsiteY83" fmla="*/ 135731 h 1958188"/>
              <a:gd name="connsiteX84" fmla="*/ 2721680 w 4667161"/>
              <a:gd name="connsiteY84" fmla="*/ 102393 h 1958188"/>
              <a:gd name="connsiteX85" fmla="*/ 2697867 w 4667161"/>
              <a:gd name="connsiteY85" fmla="*/ 59531 h 1958188"/>
              <a:gd name="connsiteX86" fmla="*/ 2707392 w 4667161"/>
              <a:gd name="connsiteY86" fmla="*/ 38100 h 1958188"/>
              <a:gd name="connsiteX87" fmla="*/ 2743111 w 4667161"/>
              <a:gd name="connsiteY87" fmla="*/ 0 h 1958188"/>
              <a:gd name="connsiteX88" fmla="*/ 2762161 w 4667161"/>
              <a:gd name="connsiteY88" fmla="*/ 16668 h 1958188"/>
              <a:gd name="connsiteX89" fmla="*/ 2843123 w 4667161"/>
              <a:gd name="connsiteY89" fmla="*/ 30956 h 1958188"/>
              <a:gd name="connsiteX90" fmla="*/ 2926467 w 4667161"/>
              <a:gd name="connsiteY90" fmla="*/ 47625 h 1958188"/>
              <a:gd name="connsiteX91" fmla="*/ 2976473 w 4667161"/>
              <a:gd name="connsiteY91" fmla="*/ 66675 h 1958188"/>
              <a:gd name="connsiteX92" fmla="*/ 3026480 w 4667161"/>
              <a:gd name="connsiteY92" fmla="*/ 61912 h 1958188"/>
              <a:gd name="connsiteX93" fmla="*/ 3074105 w 4667161"/>
              <a:gd name="connsiteY93" fmla="*/ 92868 h 1958188"/>
              <a:gd name="connsiteX94" fmla="*/ 3116967 w 4667161"/>
              <a:gd name="connsiteY94" fmla="*/ 119062 h 1958188"/>
              <a:gd name="connsiteX95" fmla="*/ 3138398 w 4667161"/>
              <a:gd name="connsiteY95" fmla="*/ 150018 h 1958188"/>
              <a:gd name="connsiteX96" fmla="*/ 3188405 w 4667161"/>
              <a:gd name="connsiteY96" fmla="*/ 157162 h 1958188"/>
              <a:gd name="connsiteX97" fmla="*/ 3214598 w 4667161"/>
              <a:gd name="connsiteY97" fmla="*/ 202406 h 1958188"/>
              <a:gd name="connsiteX98" fmla="*/ 3240792 w 4667161"/>
              <a:gd name="connsiteY98" fmla="*/ 233362 h 1958188"/>
              <a:gd name="connsiteX99" fmla="*/ 3257461 w 4667161"/>
              <a:gd name="connsiteY99" fmla="*/ 278606 h 1958188"/>
              <a:gd name="connsiteX100" fmla="*/ 3316992 w 4667161"/>
              <a:gd name="connsiteY100" fmla="*/ 295275 h 1958188"/>
              <a:gd name="connsiteX101" fmla="*/ 3345567 w 4667161"/>
              <a:gd name="connsiteY101" fmla="*/ 326231 h 1958188"/>
              <a:gd name="connsiteX102" fmla="*/ 3366998 w 4667161"/>
              <a:gd name="connsiteY102" fmla="*/ 335756 h 1958188"/>
              <a:gd name="connsiteX103" fmla="*/ 3378905 w 4667161"/>
              <a:gd name="connsiteY103" fmla="*/ 376237 h 1958188"/>
              <a:gd name="connsiteX104" fmla="*/ 3409861 w 4667161"/>
              <a:gd name="connsiteY104" fmla="*/ 383381 h 1958188"/>
              <a:gd name="connsiteX105" fmla="*/ 3447961 w 4667161"/>
              <a:gd name="connsiteY105" fmla="*/ 447675 h 1958188"/>
              <a:gd name="connsiteX106" fmla="*/ 3443198 w 4667161"/>
              <a:gd name="connsiteY106" fmla="*/ 502443 h 1958188"/>
              <a:gd name="connsiteX107" fmla="*/ 3431292 w 4667161"/>
              <a:gd name="connsiteY107" fmla="*/ 531018 h 1958188"/>
              <a:gd name="connsiteX108" fmla="*/ 3471773 w 4667161"/>
              <a:gd name="connsiteY108" fmla="*/ 564356 h 1958188"/>
              <a:gd name="connsiteX109" fmla="*/ 3469392 w 4667161"/>
              <a:gd name="connsiteY109" fmla="*/ 647700 h 1958188"/>
              <a:gd name="connsiteX110" fmla="*/ 3450342 w 4667161"/>
              <a:gd name="connsiteY110" fmla="*/ 664368 h 1958188"/>
              <a:gd name="connsiteX111" fmla="*/ 3433673 w 4667161"/>
              <a:gd name="connsiteY111" fmla="*/ 738187 h 1958188"/>
              <a:gd name="connsiteX112" fmla="*/ 3455105 w 4667161"/>
              <a:gd name="connsiteY112" fmla="*/ 773906 h 1958188"/>
              <a:gd name="connsiteX113" fmla="*/ 3509873 w 4667161"/>
              <a:gd name="connsiteY113" fmla="*/ 797718 h 1958188"/>
              <a:gd name="connsiteX114" fmla="*/ 3547973 w 4667161"/>
              <a:gd name="connsiteY114" fmla="*/ 778668 h 1958188"/>
              <a:gd name="connsiteX115" fmla="*/ 3590836 w 4667161"/>
              <a:gd name="connsiteY115" fmla="*/ 797718 h 1958188"/>
              <a:gd name="connsiteX116" fmla="*/ 3626555 w 4667161"/>
              <a:gd name="connsiteY116" fmla="*/ 783431 h 1958188"/>
              <a:gd name="connsiteX117" fmla="*/ 3664655 w 4667161"/>
              <a:gd name="connsiteY117" fmla="*/ 826293 h 1958188"/>
              <a:gd name="connsiteX118" fmla="*/ 3743236 w 4667161"/>
              <a:gd name="connsiteY118" fmla="*/ 902493 h 1958188"/>
              <a:gd name="connsiteX119" fmla="*/ 3812292 w 4667161"/>
              <a:gd name="connsiteY119" fmla="*/ 916781 h 1958188"/>
              <a:gd name="connsiteX120" fmla="*/ 3907542 w 4667161"/>
              <a:gd name="connsiteY120" fmla="*/ 959643 h 1958188"/>
              <a:gd name="connsiteX121" fmla="*/ 3974217 w 4667161"/>
              <a:gd name="connsiteY121" fmla="*/ 992981 h 1958188"/>
              <a:gd name="connsiteX122" fmla="*/ 3990886 w 4667161"/>
              <a:gd name="connsiteY122" fmla="*/ 1035843 h 1958188"/>
              <a:gd name="connsiteX123" fmla="*/ 4000411 w 4667161"/>
              <a:gd name="connsiteY123" fmla="*/ 1081087 h 1958188"/>
              <a:gd name="connsiteX124" fmla="*/ 4048036 w 4667161"/>
              <a:gd name="connsiteY124" fmla="*/ 1109662 h 1958188"/>
              <a:gd name="connsiteX125" fmla="*/ 4083755 w 4667161"/>
              <a:gd name="connsiteY125" fmla="*/ 1107281 h 1958188"/>
              <a:gd name="connsiteX126" fmla="*/ 4150430 w 4667161"/>
              <a:gd name="connsiteY126" fmla="*/ 1145381 h 1958188"/>
              <a:gd name="connsiteX127" fmla="*/ 4209961 w 4667161"/>
              <a:gd name="connsiteY127" fmla="*/ 1197768 h 1958188"/>
              <a:gd name="connsiteX128" fmla="*/ 4293305 w 4667161"/>
              <a:gd name="connsiteY128" fmla="*/ 1240631 h 1958188"/>
              <a:gd name="connsiteX129" fmla="*/ 4359980 w 4667161"/>
              <a:gd name="connsiteY129" fmla="*/ 1302543 h 1958188"/>
              <a:gd name="connsiteX130" fmla="*/ 4436180 w 4667161"/>
              <a:gd name="connsiteY130" fmla="*/ 1359693 h 1958188"/>
              <a:gd name="connsiteX131" fmla="*/ 4476661 w 4667161"/>
              <a:gd name="connsiteY131" fmla="*/ 1357312 h 1958188"/>
              <a:gd name="connsiteX132" fmla="*/ 4533811 w 4667161"/>
              <a:gd name="connsiteY132" fmla="*/ 1383506 h 1958188"/>
              <a:gd name="connsiteX133" fmla="*/ 4643348 w 4667161"/>
              <a:gd name="connsiteY133" fmla="*/ 1345406 h 1958188"/>
              <a:gd name="connsiteX134" fmla="*/ 4667161 w 4667161"/>
              <a:gd name="connsiteY134" fmla="*/ 1302543 h 1958188"/>
              <a:gd name="connsiteX135" fmla="*/ 4662398 w 4667161"/>
              <a:gd name="connsiteY135" fmla="*/ 1235868 h 1958188"/>
              <a:gd name="connsiteX136" fmla="*/ 4660017 w 4667161"/>
              <a:gd name="connsiteY136" fmla="*/ 1116806 h 1958188"/>
              <a:gd name="connsiteX137" fmla="*/ 4633823 w 4667161"/>
              <a:gd name="connsiteY137" fmla="*/ 1078706 h 1958188"/>
              <a:gd name="connsiteX138" fmla="*/ 4571911 w 4667161"/>
              <a:gd name="connsiteY138" fmla="*/ 1057275 h 1958188"/>
              <a:gd name="connsiteX139" fmla="*/ 4555242 w 4667161"/>
              <a:gd name="connsiteY139" fmla="*/ 1014412 h 1958188"/>
              <a:gd name="connsiteX140" fmla="*/ 4529048 w 4667161"/>
              <a:gd name="connsiteY140" fmla="*/ 931068 h 1958188"/>
              <a:gd name="connsiteX141" fmla="*/ 4500473 w 4667161"/>
              <a:gd name="connsiteY141" fmla="*/ 890587 h 1958188"/>
              <a:gd name="connsiteX142" fmla="*/ 4526667 w 4667161"/>
              <a:gd name="connsiteY142" fmla="*/ 862012 h 1958188"/>
              <a:gd name="connsiteX143" fmla="*/ 4595723 w 4667161"/>
              <a:gd name="connsiteY143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215306 w 4667161"/>
              <a:gd name="connsiteY6" fmla="*/ 1583314 h 1958188"/>
              <a:gd name="connsiteX7" fmla="*/ 239755 w 4667161"/>
              <a:gd name="connsiteY7" fmla="*/ 1563755 h 1958188"/>
              <a:gd name="connsiteX8" fmla="*/ 281318 w 4667161"/>
              <a:gd name="connsiteY8" fmla="*/ 1507522 h 1958188"/>
              <a:gd name="connsiteX9" fmla="*/ 308213 w 4667161"/>
              <a:gd name="connsiteY9" fmla="*/ 1443954 h 1958188"/>
              <a:gd name="connsiteX10" fmla="*/ 362001 w 4667161"/>
              <a:gd name="connsiteY10" fmla="*/ 1434174 h 1958188"/>
              <a:gd name="connsiteX11" fmla="*/ 423124 w 4667161"/>
              <a:gd name="connsiteY11" fmla="*/ 1436619 h 1958188"/>
              <a:gd name="connsiteX12" fmla="*/ 459798 w 4667161"/>
              <a:gd name="connsiteY12" fmla="*/ 1412170 h 1958188"/>
              <a:gd name="connsiteX13" fmla="*/ 489137 w 4667161"/>
              <a:gd name="connsiteY13" fmla="*/ 1373051 h 1958188"/>
              <a:gd name="connsiteX14" fmla="*/ 533145 w 4667161"/>
              <a:gd name="connsiteY14" fmla="*/ 1365716 h 1958188"/>
              <a:gd name="connsiteX15" fmla="*/ 557594 w 4667161"/>
              <a:gd name="connsiteY15" fmla="*/ 1346157 h 1958188"/>
              <a:gd name="connsiteX16" fmla="*/ 577154 w 4667161"/>
              <a:gd name="connsiteY16" fmla="*/ 1309483 h 1958188"/>
              <a:gd name="connsiteX17" fmla="*/ 626052 w 4667161"/>
              <a:gd name="connsiteY17" fmla="*/ 1299704 h 1958188"/>
              <a:gd name="connsiteX18" fmla="*/ 673805 w 4667161"/>
              <a:gd name="connsiteY18" fmla="*/ 1304925 h 1958188"/>
              <a:gd name="connsiteX19" fmla="*/ 714286 w 4667161"/>
              <a:gd name="connsiteY19" fmla="*/ 1259681 h 1958188"/>
              <a:gd name="connsiteX20" fmla="*/ 745242 w 4667161"/>
              <a:gd name="connsiteY20" fmla="*/ 1247775 h 1958188"/>
              <a:gd name="connsiteX21" fmla="*/ 795248 w 4667161"/>
              <a:gd name="connsiteY21" fmla="*/ 1257300 h 1958188"/>
              <a:gd name="connsiteX22" fmla="*/ 842873 w 4667161"/>
              <a:gd name="connsiteY22" fmla="*/ 1207293 h 1958188"/>
              <a:gd name="connsiteX23" fmla="*/ 890498 w 4667161"/>
              <a:gd name="connsiteY23" fmla="*/ 1214437 h 1958188"/>
              <a:gd name="connsiteX24" fmla="*/ 911930 w 4667161"/>
              <a:gd name="connsiteY24" fmla="*/ 1214437 h 1958188"/>
              <a:gd name="connsiteX25" fmla="*/ 947648 w 4667161"/>
              <a:gd name="connsiteY25" fmla="*/ 1195387 h 1958188"/>
              <a:gd name="connsiteX26" fmla="*/ 971461 w 4667161"/>
              <a:gd name="connsiteY26" fmla="*/ 1157287 h 1958188"/>
              <a:gd name="connsiteX27" fmla="*/ 1016705 w 4667161"/>
              <a:gd name="connsiteY27" fmla="*/ 1157287 h 1958188"/>
              <a:gd name="connsiteX28" fmla="*/ 1042898 w 4667161"/>
              <a:gd name="connsiteY28" fmla="*/ 1119187 h 1958188"/>
              <a:gd name="connsiteX29" fmla="*/ 1069092 w 4667161"/>
              <a:gd name="connsiteY29" fmla="*/ 1100137 h 1958188"/>
              <a:gd name="connsiteX30" fmla="*/ 1088142 w 4667161"/>
              <a:gd name="connsiteY30" fmla="*/ 1071562 h 1958188"/>
              <a:gd name="connsiteX31" fmla="*/ 1133386 w 4667161"/>
              <a:gd name="connsiteY31" fmla="*/ 1064418 h 1958188"/>
              <a:gd name="connsiteX32" fmla="*/ 1145292 w 4667161"/>
              <a:gd name="connsiteY32" fmla="*/ 1031081 h 1958188"/>
              <a:gd name="connsiteX33" fmla="*/ 1181011 w 4667161"/>
              <a:gd name="connsiteY33" fmla="*/ 1012031 h 1958188"/>
              <a:gd name="connsiteX34" fmla="*/ 1202442 w 4667161"/>
              <a:gd name="connsiteY34" fmla="*/ 988218 h 1958188"/>
              <a:gd name="connsiteX35" fmla="*/ 1283405 w 4667161"/>
              <a:gd name="connsiteY35" fmla="*/ 966787 h 1958188"/>
              <a:gd name="connsiteX36" fmla="*/ 1297692 w 4667161"/>
              <a:gd name="connsiteY36" fmla="*/ 952500 h 1958188"/>
              <a:gd name="connsiteX37" fmla="*/ 1307217 w 4667161"/>
              <a:gd name="connsiteY37" fmla="*/ 919162 h 1958188"/>
              <a:gd name="connsiteX38" fmla="*/ 1388180 w 4667161"/>
              <a:gd name="connsiteY38" fmla="*/ 878681 h 1958188"/>
              <a:gd name="connsiteX39" fmla="*/ 1407230 w 4667161"/>
              <a:gd name="connsiteY39" fmla="*/ 873918 h 1958188"/>
              <a:gd name="connsiteX40" fmla="*/ 1466761 w 4667161"/>
              <a:gd name="connsiteY40" fmla="*/ 809625 h 1958188"/>
              <a:gd name="connsiteX41" fmla="*/ 1471523 w 4667161"/>
              <a:gd name="connsiteY41" fmla="*/ 759618 h 1958188"/>
              <a:gd name="connsiteX42" fmla="*/ 1497717 w 4667161"/>
              <a:gd name="connsiteY42" fmla="*/ 733425 h 1958188"/>
              <a:gd name="connsiteX43" fmla="*/ 1523911 w 4667161"/>
              <a:gd name="connsiteY43" fmla="*/ 728662 h 1958188"/>
              <a:gd name="connsiteX44" fmla="*/ 1585823 w 4667161"/>
              <a:gd name="connsiteY44" fmla="*/ 683418 h 1958188"/>
              <a:gd name="connsiteX45" fmla="*/ 1671548 w 4667161"/>
              <a:gd name="connsiteY45" fmla="*/ 640556 h 1958188"/>
              <a:gd name="connsiteX46" fmla="*/ 1707267 w 4667161"/>
              <a:gd name="connsiteY46" fmla="*/ 600075 h 1958188"/>
              <a:gd name="connsiteX47" fmla="*/ 1735842 w 4667161"/>
              <a:gd name="connsiteY47" fmla="*/ 585787 h 1958188"/>
              <a:gd name="connsiteX48" fmla="*/ 1742986 w 4667161"/>
              <a:gd name="connsiteY48" fmla="*/ 519112 h 1958188"/>
              <a:gd name="connsiteX49" fmla="*/ 1759655 w 4667161"/>
              <a:gd name="connsiteY49" fmla="*/ 473868 h 1958188"/>
              <a:gd name="connsiteX50" fmla="*/ 1745367 w 4667161"/>
              <a:gd name="connsiteY50" fmla="*/ 433387 h 1958188"/>
              <a:gd name="connsiteX51" fmla="*/ 1750130 w 4667161"/>
              <a:gd name="connsiteY51" fmla="*/ 347662 h 1958188"/>
              <a:gd name="connsiteX52" fmla="*/ 1745367 w 4667161"/>
              <a:gd name="connsiteY52" fmla="*/ 307181 h 1958188"/>
              <a:gd name="connsiteX53" fmla="*/ 1745367 w 4667161"/>
              <a:gd name="connsiteY53" fmla="*/ 264318 h 1958188"/>
              <a:gd name="connsiteX54" fmla="*/ 1771561 w 4667161"/>
              <a:gd name="connsiteY54" fmla="*/ 254793 h 1958188"/>
              <a:gd name="connsiteX55" fmla="*/ 1792992 w 4667161"/>
              <a:gd name="connsiteY55" fmla="*/ 271462 h 1958188"/>
              <a:gd name="connsiteX56" fmla="*/ 1807280 w 4667161"/>
              <a:gd name="connsiteY56" fmla="*/ 297656 h 1958188"/>
              <a:gd name="connsiteX57" fmla="*/ 1835855 w 4667161"/>
              <a:gd name="connsiteY57" fmla="*/ 300037 h 1958188"/>
              <a:gd name="connsiteX58" fmla="*/ 1857286 w 4667161"/>
              <a:gd name="connsiteY58" fmla="*/ 278606 h 1958188"/>
              <a:gd name="connsiteX59" fmla="*/ 1943011 w 4667161"/>
              <a:gd name="connsiteY59" fmla="*/ 280987 h 1958188"/>
              <a:gd name="connsiteX60" fmla="*/ 1995398 w 4667161"/>
              <a:gd name="connsiteY60" fmla="*/ 290512 h 1958188"/>
              <a:gd name="connsiteX61" fmla="*/ 2043023 w 4667161"/>
              <a:gd name="connsiteY61" fmla="*/ 266700 h 1958188"/>
              <a:gd name="connsiteX62" fmla="*/ 2054930 w 4667161"/>
              <a:gd name="connsiteY62" fmla="*/ 233362 h 1958188"/>
              <a:gd name="connsiteX63" fmla="*/ 2095411 w 4667161"/>
              <a:gd name="connsiteY63" fmla="*/ 200025 h 1958188"/>
              <a:gd name="connsiteX64" fmla="*/ 2085886 w 4667161"/>
              <a:gd name="connsiteY64" fmla="*/ 173831 h 1958188"/>
              <a:gd name="connsiteX65" fmla="*/ 2102555 w 4667161"/>
              <a:gd name="connsiteY65" fmla="*/ 147637 h 1958188"/>
              <a:gd name="connsiteX66" fmla="*/ 2157323 w 4667161"/>
              <a:gd name="connsiteY66" fmla="*/ 169068 h 1958188"/>
              <a:gd name="connsiteX67" fmla="*/ 2204948 w 4667161"/>
              <a:gd name="connsiteY67" fmla="*/ 173831 h 1958188"/>
              <a:gd name="connsiteX68" fmla="*/ 2240667 w 4667161"/>
              <a:gd name="connsiteY68" fmla="*/ 209550 h 1958188"/>
              <a:gd name="connsiteX69" fmla="*/ 2269242 w 4667161"/>
              <a:gd name="connsiteY69" fmla="*/ 223837 h 1958188"/>
              <a:gd name="connsiteX70" fmla="*/ 2288292 w 4667161"/>
              <a:gd name="connsiteY70" fmla="*/ 280987 h 1958188"/>
              <a:gd name="connsiteX71" fmla="*/ 2357348 w 4667161"/>
              <a:gd name="connsiteY71" fmla="*/ 316706 h 1958188"/>
              <a:gd name="connsiteX72" fmla="*/ 2426405 w 4667161"/>
              <a:gd name="connsiteY72" fmla="*/ 307181 h 1958188"/>
              <a:gd name="connsiteX73" fmla="*/ 2474030 w 4667161"/>
              <a:gd name="connsiteY73" fmla="*/ 295275 h 1958188"/>
              <a:gd name="connsiteX74" fmla="*/ 2512130 w 4667161"/>
              <a:gd name="connsiteY74" fmla="*/ 307181 h 1958188"/>
              <a:gd name="connsiteX75" fmla="*/ 2562136 w 4667161"/>
              <a:gd name="connsiteY75" fmla="*/ 304800 h 1958188"/>
              <a:gd name="connsiteX76" fmla="*/ 2607380 w 4667161"/>
              <a:gd name="connsiteY76" fmla="*/ 316706 h 1958188"/>
              <a:gd name="connsiteX77" fmla="*/ 2652623 w 4667161"/>
              <a:gd name="connsiteY77" fmla="*/ 302418 h 1958188"/>
              <a:gd name="connsiteX78" fmla="*/ 2674055 w 4667161"/>
              <a:gd name="connsiteY78" fmla="*/ 276225 h 1958188"/>
              <a:gd name="connsiteX79" fmla="*/ 2752636 w 4667161"/>
              <a:gd name="connsiteY79" fmla="*/ 297656 h 1958188"/>
              <a:gd name="connsiteX80" fmla="*/ 2793117 w 4667161"/>
              <a:gd name="connsiteY80" fmla="*/ 283368 h 1958188"/>
              <a:gd name="connsiteX81" fmla="*/ 2800261 w 4667161"/>
              <a:gd name="connsiteY81" fmla="*/ 242887 h 1958188"/>
              <a:gd name="connsiteX82" fmla="*/ 2771686 w 4667161"/>
              <a:gd name="connsiteY82" fmla="*/ 195262 h 1958188"/>
              <a:gd name="connsiteX83" fmla="*/ 2755017 w 4667161"/>
              <a:gd name="connsiteY83" fmla="*/ 135731 h 1958188"/>
              <a:gd name="connsiteX84" fmla="*/ 2721680 w 4667161"/>
              <a:gd name="connsiteY84" fmla="*/ 102393 h 1958188"/>
              <a:gd name="connsiteX85" fmla="*/ 2697867 w 4667161"/>
              <a:gd name="connsiteY85" fmla="*/ 59531 h 1958188"/>
              <a:gd name="connsiteX86" fmla="*/ 2707392 w 4667161"/>
              <a:gd name="connsiteY86" fmla="*/ 38100 h 1958188"/>
              <a:gd name="connsiteX87" fmla="*/ 2743111 w 4667161"/>
              <a:gd name="connsiteY87" fmla="*/ 0 h 1958188"/>
              <a:gd name="connsiteX88" fmla="*/ 2762161 w 4667161"/>
              <a:gd name="connsiteY88" fmla="*/ 16668 h 1958188"/>
              <a:gd name="connsiteX89" fmla="*/ 2843123 w 4667161"/>
              <a:gd name="connsiteY89" fmla="*/ 30956 h 1958188"/>
              <a:gd name="connsiteX90" fmla="*/ 2926467 w 4667161"/>
              <a:gd name="connsiteY90" fmla="*/ 47625 h 1958188"/>
              <a:gd name="connsiteX91" fmla="*/ 2976473 w 4667161"/>
              <a:gd name="connsiteY91" fmla="*/ 66675 h 1958188"/>
              <a:gd name="connsiteX92" fmla="*/ 3026480 w 4667161"/>
              <a:gd name="connsiteY92" fmla="*/ 61912 h 1958188"/>
              <a:gd name="connsiteX93" fmla="*/ 3074105 w 4667161"/>
              <a:gd name="connsiteY93" fmla="*/ 92868 h 1958188"/>
              <a:gd name="connsiteX94" fmla="*/ 3116967 w 4667161"/>
              <a:gd name="connsiteY94" fmla="*/ 119062 h 1958188"/>
              <a:gd name="connsiteX95" fmla="*/ 3138398 w 4667161"/>
              <a:gd name="connsiteY95" fmla="*/ 150018 h 1958188"/>
              <a:gd name="connsiteX96" fmla="*/ 3188405 w 4667161"/>
              <a:gd name="connsiteY96" fmla="*/ 157162 h 1958188"/>
              <a:gd name="connsiteX97" fmla="*/ 3214598 w 4667161"/>
              <a:gd name="connsiteY97" fmla="*/ 202406 h 1958188"/>
              <a:gd name="connsiteX98" fmla="*/ 3240792 w 4667161"/>
              <a:gd name="connsiteY98" fmla="*/ 233362 h 1958188"/>
              <a:gd name="connsiteX99" fmla="*/ 3257461 w 4667161"/>
              <a:gd name="connsiteY99" fmla="*/ 278606 h 1958188"/>
              <a:gd name="connsiteX100" fmla="*/ 3316992 w 4667161"/>
              <a:gd name="connsiteY100" fmla="*/ 295275 h 1958188"/>
              <a:gd name="connsiteX101" fmla="*/ 3345567 w 4667161"/>
              <a:gd name="connsiteY101" fmla="*/ 326231 h 1958188"/>
              <a:gd name="connsiteX102" fmla="*/ 3366998 w 4667161"/>
              <a:gd name="connsiteY102" fmla="*/ 335756 h 1958188"/>
              <a:gd name="connsiteX103" fmla="*/ 3378905 w 4667161"/>
              <a:gd name="connsiteY103" fmla="*/ 376237 h 1958188"/>
              <a:gd name="connsiteX104" fmla="*/ 3409861 w 4667161"/>
              <a:gd name="connsiteY104" fmla="*/ 383381 h 1958188"/>
              <a:gd name="connsiteX105" fmla="*/ 3447961 w 4667161"/>
              <a:gd name="connsiteY105" fmla="*/ 447675 h 1958188"/>
              <a:gd name="connsiteX106" fmla="*/ 3443198 w 4667161"/>
              <a:gd name="connsiteY106" fmla="*/ 502443 h 1958188"/>
              <a:gd name="connsiteX107" fmla="*/ 3431292 w 4667161"/>
              <a:gd name="connsiteY107" fmla="*/ 531018 h 1958188"/>
              <a:gd name="connsiteX108" fmla="*/ 3471773 w 4667161"/>
              <a:gd name="connsiteY108" fmla="*/ 564356 h 1958188"/>
              <a:gd name="connsiteX109" fmla="*/ 3469392 w 4667161"/>
              <a:gd name="connsiteY109" fmla="*/ 647700 h 1958188"/>
              <a:gd name="connsiteX110" fmla="*/ 3450342 w 4667161"/>
              <a:gd name="connsiteY110" fmla="*/ 664368 h 1958188"/>
              <a:gd name="connsiteX111" fmla="*/ 3433673 w 4667161"/>
              <a:gd name="connsiteY111" fmla="*/ 738187 h 1958188"/>
              <a:gd name="connsiteX112" fmla="*/ 3455105 w 4667161"/>
              <a:gd name="connsiteY112" fmla="*/ 773906 h 1958188"/>
              <a:gd name="connsiteX113" fmla="*/ 3509873 w 4667161"/>
              <a:gd name="connsiteY113" fmla="*/ 797718 h 1958188"/>
              <a:gd name="connsiteX114" fmla="*/ 3547973 w 4667161"/>
              <a:gd name="connsiteY114" fmla="*/ 778668 h 1958188"/>
              <a:gd name="connsiteX115" fmla="*/ 3590836 w 4667161"/>
              <a:gd name="connsiteY115" fmla="*/ 797718 h 1958188"/>
              <a:gd name="connsiteX116" fmla="*/ 3626555 w 4667161"/>
              <a:gd name="connsiteY116" fmla="*/ 783431 h 1958188"/>
              <a:gd name="connsiteX117" fmla="*/ 3664655 w 4667161"/>
              <a:gd name="connsiteY117" fmla="*/ 826293 h 1958188"/>
              <a:gd name="connsiteX118" fmla="*/ 3743236 w 4667161"/>
              <a:gd name="connsiteY118" fmla="*/ 902493 h 1958188"/>
              <a:gd name="connsiteX119" fmla="*/ 3812292 w 4667161"/>
              <a:gd name="connsiteY119" fmla="*/ 916781 h 1958188"/>
              <a:gd name="connsiteX120" fmla="*/ 3907542 w 4667161"/>
              <a:gd name="connsiteY120" fmla="*/ 959643 h 1958188"/>
              <a:gd name="connsiteX121" fmla="*/ 3974217 w 4667161"/>
              <a:gd name="connsiteY121" fmla="*/ 992981 h 1958188"/>
              <a:gd name="connsiteX122" fmla="*/ 3990886 w 4667161"/>
              <a:gd name="connsiteY122" fmla="*/ 1035843 h 1958188"/>
              <a:gd name="connsiteX123" fmla="*/ 4000411 w 4667161"/>
              <a:gd name="connsiteY123" fmla="*/ 1081087 h 1958188"/>
              <a:gd name="connsiteX124" fmla="*/ 4048036 w 4667161"/>
              <a:gd name="connsiteY124" fmla="*/ 1109662 h 1958188"/>
              <a:gd name="connsiteX125" fmla="*/ 4083755 w 4667161"/>
              <a:gd name="connsiteY125" fmla="*/ 1107281 h 1958188"/>
              <a:gd name="connsiteX126" fmla="*/ 4150430 w 4667161"/>
              <a:gd name="connsiteY126" fmla="*/ 1145381 h 1958188"/>
              <a:gd name="connsiteX127" fmla="*/ 4209961 w 4667161"/>
              <a:gd name="connsiteY127" fmla="*/ 1197768 h 1958188"/>
              <a:gd name="connsiteX128" fmla="*/ 4293305 w 4667161"/>
              <a:gd name="connsiteY128" fmla="*/ 1240631 h 1958188"/>
              <a:gd name="connsiteX129" fmla="*/ 4359980 w 4667161"/>
              <a:gd name="connsiteY129" fmla="*/ 1302543 h 1958188"/>
              <a:gd name="connsiteX130" fmla="*/ 4436180 w 4667161"/>
              <a:gd name="connsiteY130" fmla="*/ 1359693 h 1958188"/>
              <a:gd name="connsiteX131" fmla="*/ 4476661 w 4667161"/>
              <a:gd name="connsiteY131" fmla="*/ 1357312 h 1958188"/>
              <a:gd name="connsiteX132" fmla="*/ 4533811 w 4667161"/>
              <a:gd name="connsiteY132" fmla="*/ 1383506 h 1958188"/>
              <a:gd name="connsiteX133" fmla="*/ 4643348 w 4667161"/>
              <a:gd name="connsiteY133" fmla="*/ 1345406 h 1958188"/>
              <a:gd name="connsiteX134" fmla="*/ 4667161 w 4667161"/>
              <a:gd name="connsiteY134" fmla="*/ 1302543 h 1958188"/>
              <a:gd name="connsiteX135" fmla="*/ 4662398 w 4667161"/>
              <a:gd name="connsiteY135" fmla="*/ 1235868 h 1958188"/>
              <a:gd name="connsiteX136" fmla="*/ 4660017 w 4667161"/>
              <a:gd name="connsiteY136" fmla="*/ 1116806 h 1958188"/>
              <a:gd name="connsiteX137" fmla="*/ 4633823 w 4667161"/>
              <a:gd name="connsiteY137" fmla="*/ 1078706 h 1958188"/>
              <a:gd name="connsiteX138" fmla="*/ 4571911 w 4667161"/>
              <a:gd name="connsiteY138" fmla="*/ 1057275 h 1958188"/>
              <a:gd name="connsiteX139" fmla="*/ 4555242 w 4667161"/>
              <a:gd name="connsiteY139" fmla="*/ 1014412 h 1958188"/>
              <a:gd name="connsiteX140" fmla="*/ 4529048 w 4667161"/>
              <a:gd name="connsiteY140" fmla="*/ 931068 h 1958188"/>
              <a:gd name="connsiteX141" fmla="*/ 4500473 w 4667161"/>
              <a:gd name="connsiteY141" fmla="*/ 890587 h 1958188"/>
              <a:gd name="connsiteX142" fmla="*/ 4526667 w 4667161"/>
              <a:gd name="connsiteY142" fmla="*/ 862012 h 1958188"/>
              <a:gd name="connsiteX143" fmla="*/ 4595723 w 4667161"/>
              <a:gd name="connsiteY143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91018 w 4667161"/>
              <a:gd name="connsiteY6" fmla="*/ 1625577 h 1958188"/>
              <a:gd name="connsiteX7" fmla="*/ 215306 w 4667161"/>
              <a:gd name="connsiteY7" fmla="*/ 1583314 h 1958188"/>
              <a:gd name="connsiteX8" fmla="*/ 239755 w 4667161"/>
              <a:gd name="connsiteY8" fmla="*/ 1563755 h 1958188"/>
              <a:gd name="connsiteX9" fmla="*/ 281318 w 4667161"/>
              <a:gd name="connsiteY9" fmla="*/ 1507522 h 1958188"/>
              <a:gd name="connsiteX10" fmla="*/ 308213 w 4667161"/>
              <a:gd name="connsiteY10" fmla="*/ 1443954 h 1958188"/>
              <a:gd name="connsiteX11" fmla="*/ 362001 w 4667161"/>
              <a:gd name="connsiteY11" fmla="*/ 1434174 h 1958188"/>
              <a:gd name="connsiteX12" fmla="*/ 423124 w 4667161"/>
              <a:gd name="connsiteY12" fmla="*/ 1436619 h 1958188"/>
              <a:gd name="connsiteX13" fmla="*/ 459798 w 4667161"/>
              <a:gd name="connsiteY13" fmla="*/ 1412170 h 1958188"/>
              <a:gd name="connsiteX14" fmla="*/ 489137 w 4667161"/>
              <a:gd name="connsiteY14" fmla="*/ 1373051 h 1958188"/>
              <a:gd name="connsiteX15" fmla="*/ 533145 w 4667161"/>
              <a:gd name="connsiteY15" fmla="*/ 1365716 h 1958188"/>
              <a:gd name="connsiteX16" fmla="*/ 557594 w 4667161"/>
              <a:gd name="connsiteY16" fmla="*/ 1346157 h 1958188"/>
              <a:gd name="connsiteX17" fmla="*/ 577154 w 4667161"/>
              <a:gd name="connsiteY17" fmla="*/ 1309483 h 1958188"/>
              <a:gd name="connsiteX18" fmla="*/ 626052 w 4667161"/>
              <a:gd name="connsiteY18" fmla="*/ 1299704 h 1958188"/>
              <a:gd name="connsiteX19" fmla="*/ 673805 w 4667161"/>
              <a:gd name="connsiteY19" fmla="*/ 1304925 h 1958188"/>
              <a:gd name="connsiteX20" fmla="*/ 714286 w 4667161"/>
              <a:gd name="connsiteY20" fmla="*/ 1259681 h 1958188"/>
              <a:gd name="connsiteX21" fmla="*/ 745242 w 4667161"/>
              <a:gd name="connsiteY21" fmla="*/ 1247775 h 1958188"/>
              <a:gd name="connsiteX22" fmla="*/ 795248 w 4667161"/>
              <a:gd name="connsiteY22" fmla="*/ 1257300 h 1958188"/>
              <a:gd name="connsiteX23" fmla="*/ 842873 w 4667161"/>
              <a:gd name="connsiteY23" fmla="*/ 1207293 h 1958188"/>
              <a:gd name="connsiteX24" fmla="*/ 890498 w 4667161"/>
              <a:gd name="connsiteY24" fmla="*/ 1214437 h 1958188"/>
              <a:gd name="connsiteX25" fmla="*/ 911930 w 4667161"/>
              <a:gd name="connsiteY25" fmla="*/ 1214437 h 1958188"/>
              <a:gd name="connsiteX26" fmla="*/ 947648 w 4667161"/>
              <a:gd name="connsiteY26" fmla="*/ 1195387 h 1958188"/>
              <a:gd name="connsiteX27" fmla="*/ 971461 w 4667161"/>
              <a:gd name="connsiteY27" fmla="*/ 1157287 h 1958188"/>
              <a:gd name="connsiteX28" fmla="*/ 1016705 w 4667161"/>
              <a:gd name="connsiteY28" fmla="*/ 1157287 h 1958188"/>
              <a:gd name="connsiteX29" fmla="*/ 1042898 w 4667161"/>
              <a:gd name="connsiteY29" fmla="*/ 1119187 h 1958188"/>
              <a:gd name="connsiteX30" fmla="*/ 1069092 w 4667161"/>
              <a:gd name="connsiteY30" fmla="*/ 1100137 h 1958188"/>
              <a:gd name="connsiteX31" fmla="*/ 1088142 w 4667161"/>
              <a:gd name="connsiteY31" fmla="*/ 1071562 h 1958188"/>
              <a:gd name="connsiteX32" fmla="*/ 1133386 w 4667161"/>
              <a:gd name="connsiteY32" fmla="*/ 1064418 h 1958188"/>
              <a:gd name="connsiteX33" fmla="*/ 1145292 w 4667161"/>
              <a:gd name="connsiteY33" fmla="*/ 1031081 h 1958188"/>
              <a:gd name="connsiteX34" fmla="*/ 1181011 w 4667161"/>
              <a:gd name="connsiteY34" fmla="*/ 1012031 h 1958188"/>
              <a:gd name="connsiteX35" fmla="*/ 1202442 w 4667161"/>
              <a:gd name="connsiteY35" fmla="*/ 988218 h 1958188"/>
              <a:gd name="connsiteX36" fmla="*/ 1283405 w 4667161"/>
              <a:gd name="connsiteY36" fmla="*/ 966787 h 1958188"/>
              <a:gd name="connsiteX37" fmla="*/ 1297692 w 4667161"/>
              <a:gd name="connsiteY37" fmla="*/ 952500 h 1958188"/>
              <a:gd name="connsiteX38" fmla="*/ 1307217 w 4667161"/>
              <a:gd name="connsiteY38" fmla="*/ 919162 h 1958188"/>
              <a:gd name="connsiteX39" fmla="*/ 1388180 w 4667161"/>
              <a:gd name="connsiteY39" fmla="*/ 878681 h 1958188"/>
              <a:gd name="connsiteX40" fmla="*/ 1407230 w 4667161"/>
              <a:gd name="connsiteY40" fmla="*/ 873918 h 1958188"/>
              <a:gd name="connsiteX41" fmla="*/ 1466761 w 4667161"/>
              <a:gd name="connsiteY41" fmla="*/ 809625 h 1958188"/>
              <a:gd name="connsiteX42" fmla="*/ 1471523 w 4667161"/>
              <a:gd name="connsiteY42" fmla="*/ 759618 h 1958188"/>
              <a:gd name="connsiteX43" fmla="*/ 1497717 w 4667161"/>
              <a:gd name="connsiteY43" fmla="*/ 733425 h 1958188"/>
              <a:gd name="connsiteX44" fmla="*/ 1523911 w 4667161"/>
              <a:gd name="connsiteY44" fmla="*/ 728662 h 1958188"/>
              <a:gd name="connsiteX45" fmla="*/ 1585823 w 4667161"/>
              <a:gd name="connsiteY45" fmla="*/ 683418 h 1958188"/>
              <a:gd name="connsiteX46" fmla="*/ 1671548 w 4667161"/>
              <a:gd name="connsiteY46" fmla="*/ 640556 h 1958188"/>
              <a:gd name="connsiteX47" fmla="*/ 1707267 w 4667161"/>
              <a:gd name="connsiteY47" fmla="*/ 600075 h 1958188"/>
              <a:gd name="connsiteX48" fmla="*/ 1735842 w 4667161"/>
              <a:gd name="connsiteY48" fmla="*/ 585787 h 1958188"/>
              <a:gd name="connsiteX49" fmla="*/ 1742986 w 4667161"/>
              <a:gd name="connsiteY49" fmla="*/ 519112 h 1958188"/>
              <a:gd name="connsiteX50" fmla="*/ 1759655 w 4667161"/>
              <a:gd name="connsiteY50" fmla="*/ 473868 h 1958188"/>
              <a:gd name="connsiteX51" fmla="*/ 1745367 w 4667161"/>
              <a:gd name="connsiteY51" fmla="*/ 433387 h 1958188"/>
              <a:gd name="connsiteX52" fmla="*/ 1750130 w 4667161"/>
              <a:gd name="connsiteY52" fmla="*/ 347662 h 1958188"/>
              <a:gd name="connsiteX53" fmla="*/ 1745367 w 4667161"/>
              <a:gd name="connsiteY53" fmla="*/ 307181 h 1958188"/>
              <a:gd name="connsiteX54" fmla="*/ 1745367 w 4667161"/>
              <a:gd name="connsiteY54" fmla="*/ 264318 h 1958188"/>
              <a:gd name="connsiteX55" fmla="*/ 1771561 w 4667161"/>
              <a:gd name="connsiteY55" fmla="*/ 254793 h 1958188"/>
              <a:gd name="connsiteX56" fmla="*/ 1792992 w 4667161"/>
              <a:gd name="connsiteY56" fmla="*/ 271462 h 1958188"/>
              <a:gd name="connsiteX57" fmla="*/ 1807280 w 4667161"/>
              <a:gd name="connsiteY57" fmla="*/ 297656 h 1958188"/>
              <a:gd name="connsiteX58" fmla="*/ 1835855 w 4667161"/>
              <a:gd name="connsiteY58" fmla="*/ 300037 h 1958188"/>
              <a:gd name="connsiteX59" fmla="*/ 1857286 w 4667161"/>
              <a:gd name="connsiteY59" fmla="*/ 278606 h 1958188"/>
              <a:gd name="connsiteX60" fmla="*/ 1943011 w 4667161"/>
              <a:gd name="connsiteY60" fmla="*/ 280987 h 1958188"/>
              <a:gd name="connsiteX61" fmla="*/ 1995398 w 4667161"/>
              <a:gd name="connsiteY61" fmla="*/ 290512 h 1958188"/>
              <a:gd name="connsiteX62" fmla="*/ 2043023 w 4667161"/>
              <a:gd name="connsiteY62" fmla="*/ 266700 h 1958188"/>
              <a:gd name="connsiteX63" fmla="*/ 2054930 w 4667161"/>
              <a:gd name="connsiteY63" fmla="*/ 233362 h 1958188"/>
              <a:gd name="connsiteX64" fmla="*/ 2095411 w 4667161"/>
              <a:gd name="connsiteY64" fmla="*/ 200025 h 1958188"/>
              <a:gd name="connsiteX65" fmla="*/ 2085886 w 4667161"/>
              <a:gd name="connsiteY65" fmla="*/ 173831 h 1958188"/>
              <a:gd name="connsiteX66" fmla="*/ 2102555 w 4667161"/>
              <a:gd name="connsiteY66" fmla="*/ 147637 h 1958188"/>
              <a:gd name="connsiteX67" fmla="*/ 2157323 w 4667161"/>
              <a:gd name="connsiteY67" fmla="*/ 169068 h 1958188"/>
              <a:gd name="connsiteX68" fmla="*/ 2204948 w 4667161"/>
              <a:gd name="connsiteY68" fmla="*/ 173831 h 1958188"/>
              <a:gd name="connsiteX69" fmla="*/ 2240667 w 4667161"/>
              <a:gd name="connsiteY69" fmla="*/ 209550 h 1958188"/>
              <a:gd name="connsiteX70" fmla="*/ 2269242 w 4667161"/>
              <a:gd name="connsiteY70" fmla="*/ 223837 h 1958188"/>
              <a:gd name="connsiteX71" fmla="*/ 2288292 w 4667161"/>
              <a:gd name="connsiteY71" fmla="*/ 280987 h 1958188"/>
              <a:gd name="connsiteX72" fmla="*/ 2357348 w 4667161"/>
              <a:gd name="connsiteY72" fmla="*/ 316706 h 1958188"/>
              <a:gd name="connsiteX73" fmla="*/ 2426405 w 4667161"/>
              <a:gd name="connsiteY73" fmla="*/ 307181 h 1958188"/>
              <a:gd name="connsiteX74" fmla="*/ 2474030 w 4667161"/>
              <a:gd name="connsiteY74" fmla="*/ 295275 h 1958188"/>
              <a:gd name="connsiteX75" fmla="*/ 2512130 w 4667161"/>
              <a:gd name="connsiteY75" fmla="*/ 307181 h 1958188"/>
              <a:gd name="connsiteX76" fmla="*/ 2562136 w 4667161"/>
              <a:gd name="connsiteY76" fmla="*/ 304800 h 1958188"/>
              <a:gd name="connsiteX77" fmla="*/ 2607380 w 4667161"/>
              <a:gd name="connsiteY77" fmla="*/ 316706 h 1958188"/>
              <a:gd name="connsiteX78" fmla="*/ 2652623 w 4667161"/>
              <a:gd name="connsiteY78" fmla="*/ 302418 h 1958188"/>
              <a:gd name="connsiteX79" fmla="*/ 2674055 w 4667161"/>
              <a:gd name="connsiteY79" fmla="*/ 276225 h 1958188"/>
              <a:gd name="connsiteX80" fmla="*/ 2752636 w 4667161"/>
              <a:gd name="connsiteY80" fmla="*/ 297656 h 1958188"/>
              <a:gd name="connsiteX81" fmla="*/ 2793117 w 4667161"/>
              <a:gd name="connsiteY81" fmla="*/ 283368 h 1958188"/>
              <a:gd name="connsiteX82" fmla="*/ 2800261 w 4667161"/>
              <a:gd name="connsiteY82" fmla="*/ 242887 h 1958188"/>
              <a:gd name="connsiteX83" fmla="*/ 2771686 w 4667161"/>
              <a:gd name="connsiteY83" fmla="*/ 195262 h 1958188"/>
              <a:gd name="connsiteX84" fmla="*/ 2755017 w 4667161"/>
              <a:gd name="connsiteY84" fmla="*/ 135731 h 1958188"/>
              <a:gd name="connsiteX85" fmla="*/ 2721680 w 4667161"/>
              <a:gd name="connsiteY85" fmla="*/ 102393 h 1958188"/>
              <a:gd name="connsiteX86" fmla="*/ 2697867 w 4667161"/>
              <a:gd name="connsiteY86" fmla="*/ 59531 h 1958188"/>
              <a:gd name="connsiteX87" fmla="*/ 2707392 w 4667161"/>
              <a:gd name="connsiteY87" fmla="*/ 38100 h 1958188"/>
              <a:gd name="connsiteX88" fmla="*/ 2743111 w 4667161"/>
              <a:gd name="connsiteY88" fmla="*/ 0 h 1958188"/>
              <a:gd name="connsiteX89" fmla="*/ 2762161 w 4667161"/>
              <a:gd name="connsiteY89" fmla="*/ 16668 h 1958188"/>
              <a:gd name="connsiteX90" fmla="*/ 2843123 w 4667161"/>
              <a:gd name="connsiteY90" fmla="*/ 30956 h 1958188"/>
              <a:gd name="connsiteX91" fmla="*/ 2926467 w 4667161"/>
              <a:gd name="connsiteY91" fmla="*/ 47625 h 1958188"/>
              <a:gd name="connsiteX92" fmla="*/ 2976473 w 4667161"/>
              <a:gd name="connsiteY92" fmla="*/ 66675 h 1958188"/>
              <a:gd name="connsiteX93" fmla="*/ 3026480 w 4667161"/>
              <a:gd name="connsiteY93" fmla="*/ 61912 h 1958188"/>
              <a:gd name="connsiteX94" fmla="*/ 3074105 w 4667161"/>
              <a:gd name="connsiteY94" fmla="*/ 92868 h 1958188"/>
              <a:gd name="connsiteX95" fmla="*/ 3116967 w 4667161"/>
              <a:gd name="connsiteY95" fmla="*/ 119062 h 1958188"/>
              <a:gd name="connsiteX96" fmla="*/ 3138398 w 4667161"/>
              <a:gd name="connsiteY96" fmla="*/ 150018 h 1958188"/>
              <a:gd name="connsiteX97" fmla="*/ 3188405 w 4667161"/>
              <a:gd name="connsiteY97" fmla="*/ 157162 h 1958188"/>
              <a:gd name="connsiteX98" fmla="*/ 3214598 w 4667161"/>
              <a:gd name="connsiteY98" fmla="*/ 202406 h 1958188"/>
              <a:gd name="connsiteX99" fmla="*/ 3240792 w 4667161"/>
              <a:gd name="connsiteY99" fmla="*/ 233362 h 1958188"/>
              <a:gd name="connsiteX100" fmla="*/ 3257461 w 4667161"/>
              <a:gd name="connsiteY100" fmla="*/ 278606 h 1958188"/>
              <a:gd name="connsiteX101" fmla="*/ 3316992 w 4667161"/>
              <a:gd name="connsiteY101" fmla="*/ 295275 h 1958188"/>
              <a:gd name="connsiteX102" fmla="*/ 3345567 w 4667161"/>
              <a:gd name="connsiteY102" fmla="*/ 326231 h 1958188"/>
              <a:gd name="connsiteX103" fmla="*/ 3366998 w 4667161"/>
              <a:gd name="connsiteY103" fmla="*/ 335756 h 1958188"/>
              <a:gd name="connsiteX104" fmla="*/ 3378905 w 4667161"/>
              <a:gd name="connsiteY104" fmla="*/ 376237 h 1958188"/>
              <a:gd name="connsiteX105" fmla="*/ 3409861 w 4667161"/>
              <a:gd name="connsiteY105" fmla="*/ 383381 h 1958188"/>
              <a:gd name="connsiteX106" fmla="*/ 3447961 w 4667161"/>
              <a:gd name="connsiteY106" fmla="*/ 447675 h 1958188"/>
              <a:gd name="connsiteX107" fmla="*/ 3443198 w 4667161"/>
              <a:gd name="connsiteY107" fmla="*/ 502443 h 1958188"/>
              <a:gd name="connsiteX108" fmla="*/ 3431292 w 4667161"/>
              <a:gd name="connsiteY108" fmla="*/ 531018 h 1958188"/>
              <a:gd name="connsiteX109" fmla="*/ 3471773 w 4667161"/>
              <a:gd name="connsiteY109" fmla="*/ 564356 h 1958188"/>
              <a:gd name="connsiteX110" fmla="*/ 3469392 w 4667161"/>
              <a:gd name="connsiteY110" fmla="*/ 647700 h 1958188"/>
              <a:gd name="connsiteX111" fmla="*/ 3450342 w 4667161"/>
              <a:gd name="connsiteY111" fmla="*/ 664368 h 1958188"/>
              <a:gd name="connsiteX112" fmla="*/ 3433673 w 4667161"/>
              <a:gd name="connsiteY112" fmla="*/ 738187 h 1958188"/>
              <a:gd name="connsiteX113" fmla="*/ 3455105 w 4667161"/>
              <a:gd name="connsiteY113" fmla="*/ 773906 h 1958188"/>
              <a:gd name="connsiteX114" fmla="*/ 3509873 w 4667161"/>
              <a:gd name="connsiteY114" fmla="*/ 797718 h 1958188"/>
              <a:gd name="connsiteX115" fmla="*/ 3547973 w 4667161"/>
              <a:gd name="connsiteY115" fmla="*/ 778668 h 1958188"/>
              <a:gd name="connsiteX116" fmla="*/ 3590836 w 4667161"/>
              <a:gd name="connsiteY116" fmla="*/ 797718 h 1958188"/>
              <a:gd name="connsiteX117" fmla="*/ 3626555 w 4667161"/>
              <a:gd name="connsiteY117" fmla="*/ 783431 h 1958188"/>
              <a:gd name="connsiteX118" fmla="*/ 3664655 w 4667161"/>
              <a:gd name="connsiteY118" fmla="*/ 826293 h 1958188"/>
              <a:gd name="connsiteX119" fmla="*/ 3743236 w 4667161"/>
              <a:gd name="connsiteY119" fmla="*/ 902493 h 1958188"/>
              <a:gd name="connsiteX120" fmla="*/ 3812292 w 4667161"/>
              <a:gd name="connsiteY120" fmla="*/ 916781 h 1958188"/>
              <a:gd name="connsiteX121" fmla="*/ 3907542 w 4667161"/>
              <a:gd name="connsiteY121" fmla="*/ 959643 h 1958188"/>
              <a:gd name="connsiteX122" fmla="*/ 3974217 w 4667161"/>
              <a:gd name="connsiteY122" fmla="*/ 992981 h 1958188"/>
              <a:gd name="connsiteX123" fmla="*/ 3990886 w 4667161"/>
              <a:gd name="connsiteY123" fmla="*/ 1035843 h 1958188"/>
              <a:gd name="connsiteX124" fmla="*/ 4000411 w 4667161"/>
              <a:gd name="connsiteY124" fmla="*/ 1081087 h 1958188"/>
              <a:gd name="connsiteX125" fmla="*/ 4048036 w 4667161"/>
              <a:gd name="connsiteY125" fmla="*/ 1109662 h 1958188"/>
              <a:gd name="connsiteX126" fmla="*/ 4083755 w 4667161"/>
              <a:gd name="connsiteY126" fmla="*/ 1107281 h 1958188"/>
              <a:gd name="connsiteX127" fmla="*/ 4150430 w 4667161"/>
              <a:gd name="connsiteY127" fmla="*/ 1145381 h 1958188"/>
              <a:gd name="connsiteX128" fmla="*/ 4209961 w 4667161"/>
              <a:gd name="connsiteY128" fmla="*/ 1197768 h 1958188"/>
              <a:gd name="connsiteX129" fmla="*/ 4293305 w 4667161"/>
              <a:gd name="connsiteY129" fmla="*/ 1240631 h 1958188"/>
              <a:gd name="connsiteX130" fmla="*/ 4359980 w 4667161"/>
              <a:gd name="connsiteY130" fmla="*/ 1302543 h 1958188"/>
              <a:gd name="connsiteX131" fmla="*/ 4436180 w 4667161"/>
              <a:gd name="connsiteY131" fmla="*/ 1359693 h 1958188"/>
              <a:gd name="connsiteX132" fmla="*/ 4476661 w 4667161"/>
              <a:gd name="connsiteY132" fmla="*/ 1357312 h 1958188"/>
              <a:gd name="connsiteX133" fmla="*/ 4533811 w 4667161"/>
              <a:gd name="connsiteY133" fmla="*/ 1383506 h 1958188"/>
              <a:gd name="connsiteX134" fmla="*/ 4643348 w 4667161"/>
              <a:gd name="connsiteY134" fmla="*/ 1345406 h 1958188"/>
              <a:gd name="connsiteX135" fmla="*/ 4667161 w 4667161"/>
              <a:gd name="connsiteY135" fmla="*/ 1302543 h 1958188"/>
              <a:gd name="connsiteX136" fmla="*/ 4662398 w 4667161"/>
              <a:gd name="connsiteY136" fmla="*/ 1235868 h 1958188"/>
              <a:gd name="connsiteX137" fmla="*/ 4660017 w 4667161"/>
              <a:gd name="connsiteY137" fmla="*/ 1116806 h 1958188"/>
              <a:gd name="connsiteX138" fmla="*/ 4633823 w 4667161"/>
              <a:gd name="connsiteY138" fmla="*/ 1078706 h 1958188"/>
              <a:gd name="connsiteX139" fmla="*/ 4571911 w 4667161"/>
              <a:gd name="connsiteY139" fmla="*/ 1057275 h 1958188"/>
              <a:gd name="connsiteX140" fmla="*/ 4555242 w 4667161"/>
              <a:gd name="connsiteY140" fmla="*/ 1014412 h 1958188"/>
              <a:gd name="connsiteX141" fmla="*/ 4529048 w 4667161"/>
              <a:gd name="connsiteY141" fmla="*/ 931068 h 1958188"/>
              <a:gd name="connsiteX142" fmla="*/ 4500473 w 4667161"/>
              <a:gd name="connsiteY142" fmla="*/ 890587 h 1958188"/>
              <a:gd name="connsiteX143" fmla="*/ 4526667 w 4667161"/>
              <a:gd name="connsiteY143" fmla="*/ 862012 h 1958188"/>
              <a:gd name="connsiteX144" fmla="*/ 4595723 w 4667161"/>
              <a:gd name="connsiteY144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215306 w 4667161"/>
              <a:gd name="connsiteY7" fmla="*/ 1583314 h 1958188"/>
              <a:gd name="connsiteX8" fmla="*/ 239755 w 4667161"/>
              <a:gd name="connsiteY8" fmla="*/ 1563755 h 1958188"/>
              <a:gd name="connsiteX9" fmla="*/ 281318 w 4667161"/>
              <a:gd name="connsiteY9" fmla="*/ 1507522 h 1958188"/>
              <a:gd name="connsiteX10" fmla="*/ 308213 w 4667161"/>
              <a:gd name="connsiteY10" fmla="*/ 1443954 h 1958188"/>
              <a:gd name="connsiteX11" fmla="*/ 362001 w 4667161"/>
              <a:gd name="connsiteY11" fmla="*/ 1434174 h 1958188"/>
              <a:gd name="connsiteX12" fmla="*/ 423124 w 4667161"/>
              <a:gd name="connsiteY12" fmla="*/ 1436619 h 1958188"/>
              <a:gd name="connsiteX13" fmla="*/ 459798 w 4667161"/>
              <a:gd name="connsiteY13" fmla="*/ 1412170 h 1958188"/>
              <a:gd name="connsiteX14" fmla="*/ 489137 w 4667161"/>
              <a:gd name="connsiteY14" fmla="*/ 1373051 h 1958188"/>
              <a:gd name="connsiteX15" fmla="*/ 533145 w 4667161"/>
              <a:gd name="connsiteY15" fmla="*/ 1365716 h 1958188"/>
              <a:gd name="connsiteX16" fmla="*/ 557594 w 4667161"/>
              <a:gd name="connsiteY16" fmla="*/ 1346157 h 1958188"/>
              <a:gd name="connsiteX17" fmla="*/ 577154 w 4667161"/>
              <a:gd name="connsiteY17" fmla="*/ 1309483 h 1958188"/>
              <a:gd name="connsiteX18" fmla="*/ 626052 w 4667161"/>
              <a:gd name="connsiteY18" fmla="*/ 1299704 h 1958188"/>
              <a:gd name="connsiteX19" fmla="*/ 673805 w 4667161"/>
              <a:gd name="connsiteY19" fmla="*/ 1304925 h 1958188"/>
              <a:gd name="connsiteX20" fmla="*/ 714286 w 4667161"/>
              <a:gd name="connsiteY20" fmla="*/ 1259681 h 1958188"/>
              <a:gd name="connsiteX21" fmla="*/ 745242 w 4667161"/>
              <a:gd name="connsiteY21" fmla="*/ 1247775 h 1958188"/>
              <a:gd name="connsiteX22" fmla="*/ 795248 w 4667161"/>
              <a:gd name="connsiteY22" fmla="*/ 1257300 h 1958188"/>
              <a:gd name="connsiteX23" fmla="*/ 842873 w 4667161"/>
              <a:gd name="connsiteY23" fmla="*/ 1207293 h 1958188"/>
              <a:gd name="connsiteX24" fmla="*/ 890498 w 4667161"/>
              <a:gd name="connsiteY24" fmla="*/ 1214437 h 1958188"/>
              <a:gd name="connsiteX25" fmla="*/ 911930 w 4667161"/>
              <a:gd name="connsiteY25" fmla="*/ 1214437 h 1958188"/>
              <a:gd name="connsiteX26" fmla="*/ 947648 w 4667161"/>
              <a:gd name="connsiteY26" fmla="*/ 1195387 h 1958188"/>
              <a:gd name="connsiteX27" fmla="*/ 971461 w 4667161"/>
              <a:gd name="connsiteY27" fmla="*/ 1157287 h 1958188"/>
              <a:gd name="connsiteX28" fmla="*/ 1016705 w 4667161"/>
              <a:gd name="connsiteY28" fmla="*/ 1157287 h 1958188"/>
              <a:gd name="connsiteX29" fmla="*/ 1042898 w 4667161"/>
              <a:gd name="connsiteY29" fmla="*/ 1119187 h 1958188"/>
              <a:gd name="connsiteX30" fmla="*/ 1069092 w 4667161"/>
              <a:gd name="connsiteY30" fmla="*/ 1100137 h 1958188"/>
              <a:gd name="connsiteX31" fmla="*/ 1088142 w 4667161"/>
              <a:gd name="connsiteY31" fmla="*/ 1071562 h 1958188"/>
              <a:gd name="connsiteX32" fmla="*/ 1133386 w 4667161"/>
              <a:gd name="connsiteY32" fmla="*/ 1064418 h 1958188"/>
              <a:gd name="connsiteX33" fmla="*/ 1145292 w 4667161"/>
              <a:gd name="connsiteY33" fmla="*/ 1031081 h 1958188"/>
              <a:gd name="connsiteX34" fmla="*/ 1181011 w 4667161"/>
              <a:gd name="connsiteY34" fmla="*/ 1012031 h 1958188"/>
              <a:gd name="connsiteX35" fmla="*/ 1202442 w 4667161"/>
              <a:gd name="connsiteY35" fmla="*/ 988218 h 1958188"/>
              <a:gd name="connsiteX36" fmla="*/ 1283405 w 4667161"/>
              <a:gd name="connsiteY36" fmla="*/ 966787 h 1958188"/>
              <a:gd name="connsiteX37" fmla="*/ 1297692 w 4667161"/>
              <a:gd name="connsiteY37" fmla="*/ 952500 h 1958188"/>
              <a:gd name="connsiteX38" fmla="*/ 1307217 w 4667161"/>
              <a:gd name="connsiteY38" fmla="*/ 919162 h 1958188"/>
              <a:gd name="connsiteX39" fmla="*/ 1388180 w 4667161"/>
              <a:gd name="connsiteY39" fmla="*/ 878681 h 1958188"/>
              <a:gd name="connsiteX40" fmla="*/ 1407230 w 4667161"/>
              <a:gd name="connsiteY40" fmla="*/ 873918 h 1958188"/>
              <a:gd name="connsiteX41" fmla="*/ 1466761 w 4667161"/>
              <a:gd name="connsiteY41" fmla="*/ 809625 h 1958188"/>
              <a:gd name="connsiteX42" fmla="*/ 1471523 w 4667161"/>
              <a:gd name="connsiteY42" fmla="*/ 759618 h 1958188"/>
              <a:gd name="connsiteX43" fmla="*/ 1497717 w 4667161"/>
              <a:gd name="connsiteY43" fmla="*/ 733425 h 1958188"/>
              <a:gd name="connsiteX44" fmla="*/ 1523911 w 4667161"/>
              <a:gd name="connsiteY44" fmla="*/ 728662 h 1958188"/>
              <a:gd name="connsiteX45" fmla="*/ 1585823 w 4667161"/>
              <a:gd name="connsiteY45" fmla="*/ 683418 h 1958188"/>
              <a:gd name="connsiteX46" fmla="*/ 1671548 w 4667161"/>
              <a:gd name="connsiteY46" fmla="*/ 640556 h 1958188"/>
              <a:gd name="connsiteX47" fmla="*/ 1707267 w 4667161"/>
              <a:gd name="connsiteY47" fmla="*/ 600075 h 1958188"/>
              <a:gd name="connsiteX48" fmla="*/ 1735842 w 4667161"/>
              <a:gd name="connsiteY48" fmla="*/ 585787 h 1958188"/>
              <a:gd name="connsiteX49" fmla="*/ 1742986 w 4667161"/>
              <a:gd name="connsiteY49" fmla="*/ 519112 h 1958188"/>
              <a:gd name="connsiteX50" fmla="*/ 1759655 w 4667161"/>
              <a:gd name="connsiteY50" fmla="*/ 473868 h 1958188"/>
              <a:gd name="connsiteX51" fmla="*/ 1745367 w 4667161"/>
              <a:gd name="connsiteY51" fmla="*/ 433387 h 1958188"/>
              <a:gd name="connsiteX52" fmla="*/ 1750130 w 4667161"/>
              <a:gd name="connsiteY52" fmla="*/ 347662 h 1958188"/>
              <a:gd name="connsiteX53" fmla="*/ 1745367 w 4667161"/>
              <a:gd name="connsiteY53" fmla="*/ 307181 h 1958188"/>
              <a:gd name="connsiteX54" fmla="*/ 1745367 w 4667161"/>
              <a:gd name="connsiteY54" fmla="*/ 264318 h 1958188"/>
              <a:gd name="connsiteX55" fmla="*/ 1771561 w 4667161"/>
              <a:gd name="connsiteY55" fmla="*/ 254793 h 1958188"/>
              <a:gd name="connsiteX56" fmla="*/ 1792992 w 4667161"/>
              <a:gd name="connsiteY56" fmla="*/ 271462 h 1958188"/>
              <a:gd name="connsiteX57" fmla="*/ 1807280 w 4667161"/>
              <a:gd name="connsiteY57" fmla="*/ 297656 h 1958188"/>
              <a:gd name="connsiteX58" fmla="*/ 1835855 w 4667161"/>
              <a:gd name="connsiteY58" fmla="*/ 300037 h 1958188"/>
              <a:gd name="connsiteX59" fmla="*/ 1857286 w 4667161"/>
              <a:gd name="connsiteY59" fmla="*/ 278606 h 1958188"/>
              <a:gd name="connsiteX60" fmla="*/ 1943011 w 4667161"/>
              <a:gd name="connsiteY60" fmla="*/ 280987 h 1958188"/>
              <a:gd name="connsiteX61" fmla="*/ 1995398 w 4667161"/>
              <a:gd name="connsiteY61" fmla="*/ 290512 h 1958188"/>
              <a:gd name="connsiteX62" fmla="*/ 2043023 w 4667161"/>
              <a:gd name="connsiteY62" fmla="*/ 266700 h 1958188"/>
              <a:gd name="connsiteX63" fmla="*/ 2054930 w 4667161"/>
              <a:gd name="connsiteY63" fmla="*/ 233362 h 1958188"/>
              <a:gd name="connsiteX64" fmla="*/ 2095411 w 4667161"/>
              <a:gd name="connsiteY64" fmla="*/ 200025 h 1958188"/>
              <a:gd name="connsiteX65" fmla="*/ 2085886 w 4667161"/>
              <a:gd name="connsiteY65" fmla="*/ 173831 h 1958188"/>
              <a:gd name="connsiteX66" fmla="*/ 2102555 w 4667161"/>
              <a:gd name="connsiteY66" fmla="*/ 147637 h 1958188"/>
              <a:gd name="connsiteX67" fmla="*/ 2157323 w 4667161"/>
              <a:gd name="connsiteY67" fmla="*/ 169068 h 1958188"/>
              <a:gd name="connsiteX68" fmla="*/ 2204948 w 4667161"/>
              <a:gd name="connsiteY68" fmla="*/ 173831 h 1958188"/>
              <a:gd name="connsiteX69" fmla="*/ 2240667 w 4667161"/>
              <a:gd name="connsiteY69" fmla="*/ 209550 h 1958188"/>
              <a:gd name="connsiteX70" fmla="*/ 2269242 w 4667161"/>
              <a:gd name="connsiteY70" fmla="*/ 223837 h 1958188"/>
              <a:gd name="connsiteX71" fmla="*/ 2288292 w 4667161"/>
              <a:gd name="connsiteY71" fmla="*/ 280987 h 1958188"/>
              <a:gd name="connsiteX72" fmla="*/ 2357348 w 4667161"/>
              <a:gd name="connsiteY72" fmla="*/ 316706 h 1958188"/>
              <a:gd name="connsiteX73" fmla="*/ 2426405 w 4667161"/>
              <a:gd name="connsiteY73" fmla="*/ 307181 h 1958188"/>
              <a:gd name="connsiteX74" fmla="*/ 2474030 w 4667161"/>
              <a:gd name="connsiteY74" fmla="*/ 295275 h 1958188"/>
              <a:gd name="connsiteX75" fmla="*/ 2512130 w 4667161"/>
              <a:gd name="connsiteY75" fmla="*/ 307181 h 1958188"/>
              <a:gd name="connsiteX76" fmla="*/ 2562136 w 4667161"/>
              <a:gd name="connsiteY76" fmla="*/ 304800 h 1958188"/>
              <a:gd name="connsiteX77" fmla="*/ 2607380 w 4667161"/>
              <a:gd name="connsiteY77" fmla="*/ 316706 h 1958188"/>
              <a:gd name="connsiteX78" fmla="*/ 2652623 w 4667161"/>
              <a:gd name="connsiteY78" fmla="*/ 302418 h 1958188"/>
              <a:gd name="connsiteX79" fmla="*/ 2674055 w 4667161"/>
              <a:gd name="connsiteY79" fmla="*/ 276225 h 1958188"/>
              <a:gd name="connsiteX80" fmla="*/ 2752636 w 4667161"/>
              <a:gd name="connsiteY80" fmla="*/ 297656 h 1958188"/>
              <a:gd name="connsiteX81" fmla="*/ 2793117 w 4667161"/>
              <a:gd name="connsiteY81" fmla="*/ 283368 h 1958188"/>
              <a:gd name="connsiteX82" fmla="*/ 2800261 w 4667161"/>
              <a:gd name="connsiteY82" fmla="*/ 242887 h 1958188"/>
              <a:gd name="connsiteX83" fmla="*/ 2771686 w 4667161"/>
              <a:gd name="connsiteY83" fmla="*/ 195262 h 1958188"/>
              <a:gd name="connsiteX84" fmla="*/ 2755017 w 4667161"/>
              <a:gd name="connsiteY84" fmla="*/ 135731 h 1958188"/>
              <a:gd name="connsiteX85" fmla="*/ 2721680 w 4667161"/>
              <a:gd name="connsiteY85" fmla="*/ 102393 h 1958188"/>
              <a:gd name="connsiteX86" fmla="*/ 2697867 w 4667161"/>
              <a:gd name="connsiteY86" fmla="*/ 59531 h 1958188"/>
              <a:gd name="connsiteX87" fmla="*/ 2707392 w 4667161"/>
              <a:gd name="connsiteY87" fmla="*/ 38100 h 1958188"/>
              <a:gd name="connsiteX88" fmla="*/ 2743111 w 4667161"/>
              <a:gd name="connsiteY88" fmla="*/ 0 h 1958188"/>
              <a:gd name="connsiteX89" fmla="*/ 2762161 w 4667161"/>
              <a:gd name="connsiteY89" fmla="*/ 16668 h 1958188"/>
              <a:gd name="connsiteX90" fmla="*/ 2843123 w 4667161"/>
              <a:gd name="connsiteY90" fmla="*/ 30956 h 1958188"/>
              <a:gd name="connsiteX91" fmla="*/ 2926467 w 4667161"/>
              <a:gd name="connsiteY91" fmla="*/ 47625 h 1958188"/>
              <a:gd name="connsiteX92" fmla="*/ 2976473 w 4667161"/>
              <a:gd name="connsiteY92" fmla="*/ 66675 h 1958188"/>
              <a:gd name="connsiteX93" fmla="*/ 3026480 w 4667161"/>
              <a:gd name="connsiteY93" fmla="*/ 61912 h 1958188"/>
              <a:gd name="connsiteX94" fmla="*/ 3074105 w 4667161"/>
              <a:gd name="connsiteY94" fmla="*/ 92868 h 1958188"/>
              <a:gd name="connsiteX95" fmla="*/ 3116967 w 4667161"/>
              <a:gd name="connsiteY95" fmla="*/ 119062 h 1958188"/>
              <a:gd name="connsiteX96" fmla="*/ 3138398 w 4667161"/>
              <a:gd name="connsiteY96" fmla="*/ 150018 h 1958188"/>
              <a:gd name="connsiteX97" fmla="*/ 3188405 w 4667161"/>
              <a:gd name="connsiteY97" fmla="*/ 157162 h 1958188"/>
              <a:gd name="connsiteX98" fmla="*/ 3214598 w 4667161"/>
              <a:gd name="connsiteY98" fmla="*/ 202406 h 1958188"/>
              <a:gd name="connsiteX99" fmla="*/ 3240792 w 4667161"/>
              <a:gd name="connsiteY99" fmla="*/ 233362 h 1958188"/>
              <a:gd name="connsiteX100" fmla="*/ 3257461 w 4667161"/>
              <a:gd name="connsiteY100" fmla="*/ 278606 h 1958188"/>
              <a:gd name="connsiteX101" fmla="*/ 3316992 w 4667161"/>
              <a:gd name="connsiteY101" fmla="*/ 295275 h 1958188"/>
              <a:gd name="connsiteX102" fmla="*/ 3345567 w 4667161"/>
              <a:gd name="connsiteY102" fmla="*/ 326231 h 1958188"/>
              <a:gd name="connsiteX103" fmla="*/ 3366998 w 4667161"/>
              <a:gd name="connsiteY103" fmla="*/ 335756 h 1958188"/>
              <a:gd name="connsiteX104" fmla="*/ 3378905 w 4667161"/>
              <a:gd name="connsiteY104" fmla="*/ 376237 h 1958188"/>
              <a:gd name="connsiteX105" fmla="*/ 3409861 w 4667161"/>
              <a:gd name="connsiteY105" fmla="*/ 383381 h 1958188"/>
              <a:gd name="connsiteX106" fmla="*/ 3447961 w 4667161"/>
              <a:gd name="connsiteY106" fmla="*/ 447675 h 1958188"/>
              <a:gd name="connsiteX107" fmla="*/ 3443198 w 4667161"/>
              <a:gd name="connsiteY107" fmla="*/ 502443 h 1958188"/>
              <a:gd name="connsiteX108" fmla="*/ 3431292 w 4667161"/>
              <a:gd name="connsiteY108" fmla="*/ 531018 h 1958188"/>
              <a:gd name="connsiteX109" fmla="*/ 3471773 w 4667161"/>
              <a:gd name="connsiteY109" fmla="*/ 564356 h 1958188"/>
              <a:gd name="connsiteX110" fmla="*/ 3469392 w 4667161"/>
              <a:gd name="connsiteY110" fmla="*/ 647700 h 1958188"/>
              <a:gd name="connsiteX111" fmla="*/ 3450342 w 4667161"/>
              <a:gd name="connsiteY111" fmla="*/ 664368 h 1958188"/>
              <a:gd name="connsiteX112" fmla="*/ 3433673 w 4667161"/>
              <a:gd name="connsiteY112" fmla="*/ 738187 h 1958188"/>
              <a:gd name="connsiteX113" fmla="*/ 3455105 w 4667161"/>
              <a:gd name="connsiteY113" fmla="*/ 773906 h 1958188"/>
              <a:gd name="connsiteX114" fmla="*/ 3509873 w 4667161"/>
              <a:gd name="connsiteY114" fmla="*/ 797718 h 1958188"/>
              <a:gd name="connsiteX115" fmla="*/ 3547973 w 4667161"/>
              <a:gd name="connsiteY115" fmla="*/ 778668 h 1958188"/>
              <a:gd name="connsiteX116" fmla="*/ 3590836 w 4667161"/>
              <a:gd name="connsiteY116" fmla="*/ 797718 h 1958188"/>
              <a:gd name="connsiteX117" fmla="*/ 3626555 w 4667161"/>
              <a:gd name="connsiteY117" fmla="*/ 783431 h 1958188"/>
              <a:gd name="connsiteX118" fmla="*/ 3664655 w 4667161"/>
              <a:gd name="connsiteY118" fmla="*/ 826293 h 1958188"/>
              <a:gd name="connsiteX119" fmla="*/ 3743236 w 4667161"/>
              <a:gd name="connsiteY119" fmla="*/ 902493 h 1958188"/>
              <a:gd name="connsiteX120" fmla="*/ 3812292 w 4667161"/>
              <a:gd name="connsiteY120" fmla="*/ 916781 h 1958188"/>
              <a:gd name="connsiteX121" fmla="*/ 3907542 w 4667161"/>
              <a:gd name="connsiteY121" fmla="*/ 959643 h 1958188"/>
              <a:gd name="connsiteX122" fmla="*/ 3974217 w 4667161"/>
              <a:gd name="connsiteY122" fmla="*/ 992981 h 1958188"/>
              <a:gd name="connsiteX123" fmla="*/ 3990886 w 4667161"/>
              <a:gd name="connsiteY123" fmla="*/ 1035843 h 1958188"/>
              <a:gd name="connsiteX124" fmla="*/ 4000411 w 4667161"/>
              <a:gd name="connsiteY124" fmla="*/ 1081087 h 1958188"/>
              <a:gd name="connsiteX125" fmla="*/ 4048036 w 4667161"/>
              <a:gd name="connsiteY125" fmla="*/ 1109662 h 1958188"/>
              <a:gd name="connsiteX126" fmla="*/ 4083755 w 4667161"/>
              <a:gd name="connsiteY126" fmla="*/ 1107281 h 1958188"/>
              <a:gd name="connsiteX127" fmla="*/ 4150430 w 4667161"/>
              <a:gd name="connsiteY127" fmla="*/ 1145381 h 1958188"/>
              <a:gd name="connsiteX128" fmla="*/ 4209961 w 4667161"/>
              <a:gd name="connsiteY128" fmla="*/ 1197768 h 1958188"/>
              <a:gd name="connsiteX129" fmla="*/ 4293305 w 4667161"/>
              <a:gd name="connsiteY129" fmla="*/ 1240631 h 1958188"/>
              <a:gd name="connsiteX130" fmla="*/ 4359980 w 4667161"/>
              <a:gd name="connsiteY130" fmla="*/ 1302543 h 1958188"/>
              <a:gd name="connsiteX131" fmla="*/ 4436180 w 4667161"/>
              <a:gd name="connsiteY131" fmla="*/ 1359693 h 1958188"/>
              <a:gd name="connsiteX132" fmla="*/ 4476661 w 4667161"/>
              <a:gd name="connsiteY132" fmla="*/ 1357312 h 1958188"/>
              <a:gd name="connsiteX133" fmla="*/ 4533811 w 4667161"/>
              <a:gd name="connsiteY133" fmla="*/ 1383506 h 1958188"/>
              <a:gd name="connsiteX134" fmla="*/ 4643348 w 4667161"/>
              <a:gd name="connsiteY134" fmla="*/ 1345406 h 1958188"/>
              <a:gd name="connsiteX135" fmla="*/ 4667161 w 4667161"/>
              <a:gd name="connsiteY135" fmla="*/ 1302543 h 1958188"/>
              <a:gd name="connsiteX136" fmla="*/ 4662398 w 4667161"/>
              <a:gd name="connsiteY136" fmla="*/ 1235868 h 1958188"/>
              <a:gd name="connsiteX137" fmla="*/ 4660017 w 4667161"/>
              <a:gd name="connsiteY137" fmla="*/ 1116806 h 1958188"/>
              <a:gd name="connsiteX138" fmla="*/ 4633823 w 4667161"/>
              <a:gd name="connsiteY138" fmla="*/ 1078706 h 1958188"/>
              <a:gd name="connsiteX139" fmla="*/ 4571911 w 4667161"/>
              <a:gd name="connsiteY139" fmla="*/ 1057275 h 1958188"/>
              <a:gd name="connsiteX140" fmla="*/ 4555242 w 4667161"/>
              <a:gd name="connsiteY140" fmla="*/ 1014412 h 1958188"/>
              <a:gd name="connsiteX141" fmla="*/ 4529048 w 4667161"/>
              <a:gd name="connsiteY141" fmla="*/ 931068 h 1958188"/>
              <a:gd name="connsiteX142" fmla="*/ 4500473 w 4667161"/>
              <a:gd name="connsiteY142" fmla="*/ 890587 h 1958188"/>
              <a:gd name="connsiteX143" fmla="*/ 4526667 w 4667161"/>
              <a:gd name="connsiteY143" fmla="*/ 862012 h 1958188"/>
              <a:gd name="connsiteX144" fmla="*/ 4595723 w 4667161"/>
              <a:gd name="connsiteY144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8453 w 4667161"/>
              <a:gd name="connsiteY7" fmla="*/ 1605130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907542 w 4667161"/>
              <a:gd name="connsiteY122" fmla="*/ 959643 h 1958188"/>
              <a:gd name="connsiteX123" fmla="*/ 3974217 w 4667161"/>
              <a:gd name="connsiteY123" fmla="*/ 992981 h 1958188"/>
              <a:gd name="connsiteX124" fmla="*/ 3990886 w 4667161"/>
              <a:gd name="connsiteY124" fmla="*/ 1035843 h 1958188"/>
              <a:gd name="connsiteX125" fmla="*/ 4000411 w 4667161"/>
              <a:gd name="connsiteY125" fmla="*/ 1081087 h 1958188"/>
              <a:gd name="connsiteX126" fmla="*/ 4048036 w 4667161"/>
              <a:gd name="connsiteY126" fmla="*/ 1109662 h 1958188"/>
              <a:gd name="connsiteX127" fmla="*/ 4083755 w 4667161"/>
              <a:gd name="connsiteY127" fmla="*/ 1107281 h 1958188"/>
              <a:gd name="connsiteX128" fmla="*/ 4150430 w 4667161"/>
              <a:gd name="connsiteY128" fmla="*/ 1145381 h 1958188"/>
              <a:gd name="connsiteX129" fmla="*/ 4209961 w 4667161"/>
              <a:gd name="connsiteY129" fmla="*/ 1197768 h 1958188"/>
              <a:gd name="connsiteX130" fmla="*/ 4293305 w 4667161"/>
              <a:gd name="connsiteY130" fmla="*/ 1240631 h 1958188"/>
              <a:gd name="connsiteX131" fmla="*/ 4359980 w 4667161"/>
              <a:gd name="connsiteY131" fmla="*/ 1302543 h 1958188"/>
              <a:gd name="connsiteX132" fmla="*/ 4436180 w 4667161"/>
              <a:gd name="connsiteY132" fmla="*/ 1359693 h 1958188"/>
              <a:gd name="connsiteX133" fmla="*/ 4476661 w 4667161"/>
              <a:gd name="connsiteY133" fmla="*/ 1357312 h 1958188"/>
              <a:gd name="connsiteX134" fmla="*/ 4533811 w 4667161"/>
              <a:gd name="connsiteY134" fmla="*/ 1383506 h 1958188"/>
              <a:gd name="connsiteX135" fmla="*/ 4643348 w 4667161"/>
              <a:gd name="connsiteY135" fmla="*/ 1345406 h 1958188"/>
              <a:gd name="connsiteX136" fmla="*/ 4667161 w 4667161"/>
              <a:gd name="connsiteY136" fmla="*/ 1302543 h 1958188"/>
              <a:gd name="connsiteX137" fmla="*/ 4662398 w 4667161"/>
              <a:gd name="connsiteY137" fmla="*/ 1235868 h 1958188"/>
              <a:gd name="connsiteX138" fmla="*/ 4660017 w 4667161"/>
              <a:gd name="connsiteY138" fmla="*/ 1116806 h 1958188"/>
              <a:gd name="connsiteX139" fmla="*/ 4633823 w 4667161"/>
              <a:gd name="connsiteY139" fmla="*/ 1078706 h 1958188"/>
              <a:gd name="connsiteX140" fmla="*/ 4571911 w 4667161"/>
              <a:gd name="connsiteY140" fmla="*/ 1057275 h 1958188"/>
              <a:gd name="connsiteX141" fmla="*/ 4555242 w 4667161"/>
              <a:gd name="connsiteY141" fmla="*/ 1014412 h 1958188"/>
              <a:gd name="connsiteX142" fmla="*/ 4529048 w 4667161"/>
              <a:gd name="connsiteY142" fmla="*/ 931068 h 1958188"/>
              <a:gd name="connsiteX143" fmla="*/ 4500473 w 4667161"/>
              <a:gd name="connsiteY143" fmla="*/ 890587 h 1958188"/>
              <a:gd name="connsiteX144" fmla="*/ 4526667 w 4667161"/>
              <a:gd name="connsiteY144" fmla="*/ 862012 h 1958188"/>
              <a:gd name="connsiteX145" fmla="*/ 4595723 w 4667161"/>
              <a:gd name="connsiteY145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907542 w 4667161"/>
              <a:gd name="connsiteY122" fmla="*/ 959643 h 1958188"/>
              <a:gd name="connsiteX123" fmla="*/ 3974217 w 4667161"/>
              <a:gd name="connsiteY123" fmla="*/ 992981 h 1958188"/>
              <a:gd name="connsiteX124" fmla="*/ 3990886 w 4667161"/>
              <a:gd name="connsiteY124" fmla="*/ 1035843 h 1958188"/>
              <a:gd name="connsiteX125" fmla="*/ 4000411 w 4667161"/>
              <a:gd name="connsiteY125" fmla="*/ 1081087 h 1958188"/>
              <a:gd name="connsiteX126" fmla="*/ 4048036 w 4667161"/>
              <a:gd name="connsiteY126" fmla="*/ 1109662 h 1958188"/>
              <a:gd name="connsiteX127" fmla="*/ 4083755 w 4667161"/>
              <a:gd name="connsiteY127" fmla="*/ 1107281 h 1958188"/>
              <a:gd name="connsiteX128" fmla="*/ 4150430 w 4667161"/>
              <a:gd name="connsiteY128" fmla="*/ 1145381 h 1958188"/>
              <a:gd name="connsiteX129" fmla="*/ 4209961 w 4667161"/>
              <a:gd name="connsiteY129" fmla="*/ 1197768 h 1958188"/>
              <a:gd name="connsiteX130" fmla="*/ 4293305 w 4667161"/>
              <a:gd name="connsiteY130" fmla="*/ 1240631 h 1958188"/>
              <a:gd name="connsiteX131" fmla="*/ 4359980 w 4667161"/>
              <a:gd name="connsiteY131" fmla="*/ 1302543 h 1958188"/>
              <a:gd name="connsiteX132" fmla="*/ 4436180 w 4667161"/>
              <a:gd name="connsiteY132" fmla="*/ 1359693 h 1958188"/>
              <a:gd name="connsiteX133" fmla="*/ 4476661 w 4667161"/>
              <a:gd name="connsiteY133" fmla="*/ 1357312 h 1958188"/>
              <a:gd name="connsiteX134" fmla="*/ 4533811 w 4667161"/>
              <a:gd name="connsiteY134" fmla="*/ 1383506 h 1958188"/>
              <a:gd name="connsiteX135" fmla="*/ 4643348 w 4667161"/>
              <a:gd name="connsiteY135" fmla="*/ 1345406 h 1958188"/>
              <a:gd name="connsiteX136" fmla="*/ 4667161 w 4667161"/>
              <a:gd name="connsiteY136" fmla="*/ 1302543 h 1958188"/>
              <a:gd name="connsiteX137" fmla="*/ 4662398 w 4667161"/>
              <a:gd name="connsiteY137" fmla="*/ 1235868 h 1958188"/>
              <a:gd name="connsiteX138" fmla="*/ 4660017 w 4667161"/>
              <a:gd name="connsiteY138" fmla="*/ 1116806 h 1958188"/>
              <a:gd name="connsiteX139" fmla="*/ 4633823 w 4667161"/>
              <a:gd name="connsiteY139" fmla="*/ 1078706 h 1958188"/>
              <a:gd name="connsiteX140" fmla="*/ 4571911 w 4667161"/>
              <a:gd name="connsiteY140" fmla="*/ 1057275 h 1958188"/>
              <a:gd name="connsiteX141" fmla="*/ 4555242 w 4667161"/>
              <a:gd name="connsiteY141" fmla="*/ 1014412 h 1958188"/>
              <a:gd name="connsiteX142" fmla="*/ 4529048 w 4667161"/>
              <a:gd name="connsiteY142" fmla="*/ 931068 h 1958188"/>
              <a:gd name="connsiteX143" fmla="*/ 4500473 w 4667161"/>
              <a:gd name="connsiteY143" fmla="*/ 890587 h 1958188"/>
              <a:gd name="connsiteX144" fmla="*/ 4526667 w 4667161"/>
              <a:gd name="connsiteY144" fmla="*/ 862012 h 1958188"/>
              <a:gd name="connsiteX145" fmla="*/ 4595723 w 4667161"/>
              <a:gd name="connsiteY145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3974217 w 4667161"/>
              <a:gd name="connsiteY123" fmla="*/ 992981 h 1958188"/>
              <a:gd name="connsiteX124" fmla="*/ 3990886 w 4667161"/>
              <a:gd name="connsiteY124" fmla="*/ 1035843 h 1958188"/>
              <a:gd name="connsiteX125" fmla="*/ 4000411 w 4667161"/>
              <a:gd name="connsiteY125" fmla="*/ 1081087 h 1958188"/>
              <a:gd name="connsiteX126" fmla="*/ 4048036 w 4667161"/>
              <a:gd name="connsiteY126" fmla="*/ 1109662 h 1958188"/>
              <a:gd name="connsiteX127" fmla="*/ 4083755 w 4667161"/>
              <a:gd name="connsiteY127" fmla="*/ 1107281 h 1958188"/>
              <a:gd name="connsiteX128" fmla="*/ 4150430 w 4667161"/>
              <a:gd name="connsiteY128" fmla="*/ 1145381 h 1958188"/>
              <a:gd name="connsiteX129" fmla="*/ 4209961 w 4667161"/>
              <a:gd name="connsiteY129" fmla="*/ 1197768 h 1958188"/>
              <a:gd name="connsiteX130" fmla="*/ 4293305 w 4667161"/>
              <a:gd name="connsiteY130" fmla="*/ 1240631 h 1958188"/>
              <a:gd name="connsiteX131" fmla="*/ 4359980 w 4667161"/>
              <a:gd name="connsiteY131" fmla="*/ 1302543 h 1958188"/>
              <a:gd name="connsiteX132" fmla="*/ 4436180 w 4667161"/>
              <a:gd name="connsiteY132" fmla="*/ 1359693 h 1958188"/>
              <a:gd name="connsiteX133" fmla="*/ 4476661 w 4667161"/>
              <a:gd name="connsiteY133" fmla="*/ 1357312 h 1958188"/>
              <a:gd name="connsiteX134" fmla="*/ 4533811 w 4667161"/>
              <a:gd name="connsiteY134" fmla="*/ 1383506 h 1958188"/>
              <a:gd name="connsiteX135" fmla="*/ 4643348 w 4667161"/>
              <a:gd name="connsiteY135" fmla="*/ 1345406 h 1958188"/>
              <a:gd name="connsiteX136" fmla="*/ 4667161 w 4667161"/>
              <a:gd name="connsiteY136" fmla="*/ 1302543 h 1958188"/>
              <a:gd name="connsiteX137" fmla="*/ 4662398 w 4667161"/>
              <a:gd name="connsiteY137" fmla="*/ 1235868 h 1958188"/>
              <a:gd name="connsiteX138" fmla="*/ 4660017 w 4667161"/>
              <a:gd name="connsiteY138" fmla="*/ 1116806 h 1958188"/>
              <a:gd name="connsiteX139" fmla="*/ 4633823 w 4667161"/>
              <a:gd name="connsiteY139" fmla="*/ 1078706 h 1958188"/>
              <a:gd name="connsiteX140" fmla="*/ 4571911 w 4667161"/>
              <a:gd name="connsiteY140" fmla="*/ 1057275 h 1958188"/>
              <a:gd name="connsiteX141" fmla="*/ 4555242 w 4667161"/>
              <a:gd name="connsiteY141" fmla="*/ 1014412 h 1958188"/>
              <a:gd name="connsiteX142" fmla="*/ 4529048 w 4667161"/>
              <a:gd name="connsiteY142" fmla="*/ 931068 h 1958188"/>
              <a:gd name="connsiteX143" fmla="*/ 4500473 w 4667161"/>
              <a:gd name="connsiteY143" fmla="*/ 890587 h 1958188"/>
              <a:gd name="connsiteX144" fmla="*/ 4526667 w 4667161"/>
              <a:gd name="connsiteY144" fmla="*/ 862012 h 1958188"/>
              <a:gd name="connsiteX145" fmla="*/ 4595723 w 4667161"/>
              <a:gd name="connsiteY145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3990886 w 4667161"/>
              <a:gd name="connsiteY123" fmla="*/ 1035843 h 1958188"/>
              <a:gd name="connsiteX124" fmla="*/ 4000411 w 4667161"/>
              <a:gd name="connsiteY124" fmla="*/ 1081087 h 1958188"/>
              <a:gd name="connsiteX125" fmla="*/ 4048036 w 4667161"/>
              <a:gd name="connsiteY125" fmla="*/ 1109662 h 1958188"/>
              <a:gd name="connsiteX126" fmla="*/ 4083755 w 4667161"/>
              <a:gd name="connsiteY126" fmla="*/ 1107281 h 1958188"/>
              <a:gd name="connsiteX127" fmla="*/ 4150430 w 4667161"/>
              <a:gd name="connsiteY127" fmla="*/ 1145381 h 1958188"/>
              <a:gd name="connsiteX128" fmla="*/ 4209961 w 4667161"/>
              <a:gd name="connsiteY128" fmla="*/ 1197768 h 1958188"/>
              <a:gd name="connsiteX129" fmla="*/ 4293305 w 4667161"/>
              <a:gd name="connsiteY129" fmla="*/ 1240631 h 1958188"/>
              <a:gd name="connsiteX130" fmla="*/ 4359980 w 4667161"/>
              <a:gd name="connsiteY130" fmla="*/ 1302543 h 1958188"/>
              <a:gd name="connsiteX131" fmla="*/ 4436180 w 4667161"/>
              <a:gd name="connsiteY131" fmla="*/ 1359693 h 1958188"/>
              <a:gd name="connsiteX132" fmla="*/ 4476661 w 4667161"/>
              <a:gd name="connsiteY132" fmla="*/ 1357312 h 1958188"/>
              <a:gd name="connsiteX133" fmla="*/ 4533811 w 4667161"/>
              <a:gd name="connsiteY133" fmla="*/ 1383506 h 1958188"/>
              <a:gd name="connsiteX134" fmla="*/ 4643348 w 4667161"/>
              <a:gd name="connsiteY134" fmla="*/ 1345406 h 1958188"/>
              <a:gd name="connsiteX135" fmla="*/ 4667161 w 4667161"/>
              <a:gd name="connsiteY135" fmla="*/ 1302543 h 1958188"/>
              <a:gd name="connsiteX136" fmla="*/ 4662398 w 4667161"/>
              <a:gd name="connsiteY136" fmla="*/ 1235868 h 1958188"/>
              <a:gd name="connsiteX137" fmla="*/ 4660017 w 4667161"/>
              <a:gd name="connsiteY137" fmla="*/ 1116806 h 1958188"/>
              <a:gd name="connsiteX138" fmla="*/ 4633823 w 4667161"/>
              <a:gd name="connsiteY138" fmla="*/ 1078706 h 1958188"/>
              <a:gd name="connsiteX139" fmla="*/ 4571911 w 4667161"/>
              <a:gd name="connsiteY139" fmla="*/ 1057275 h 1958188"/>
              <a:gd name="connsiteX140" fmla="*/ 4555242 w 4667161"/>
              <a:gd name="connsiteY140" fmla="*/ 1014412 h 1958188"/>
              <a:gd name="connsiteX141" fmla="*/ 4529048 w 4667161"/>
              <a:gd name="connsiteY141" fmla="*/ 931068 h 1958188"/>
              <a:gd name="connsiteX142" fmla="*/ 4500473 w 4667161"/>
              <a:gd name="connsiteY142" fmla="*/ 890587 h 1958188"/>
              <a:gd name="connsiteX143" fmla="*/ 4526667 w 4667161"/>
              <a:gd name="connsiteY143" fmla="*/ 862012 h 1958188"/>
              <a:gd name="connsiteX144" fmla="*/ 4595723 w 4667161"/>
              <a:gd name="connsiteY144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000411 w 4667161"/>
              <a:gd name="connsiteY123" fmla="*/ 1081087 h 1958188"/>
              <a:gd name="connsiteX124" fmla="*/ 4048036 w 4667161"/>
              <a:gd name="connsiteY124" fmla="*/ 1109662 h 1958188"/>
              <a:gd name="connsiteX125" fmla="*/ 4083755 w 4667161"/>
              <a:gd name="connsiteY125" fmla="*/ 1107281 h 1958188"/>
              <a:gd name="connsiteX126" fmla="*/ 4150430 w 4667161"/>
              <a:gd name="connsiteY126" fmla="*/ 1145381 h 1958188"/>
              <a:gd name="connsiteX127" fmla="*/ 4209961 w 4667161"/>
              <a:gd name="connsiteY127" fmla="*/ 1197768 h 1958188"/>
              <a:gd name="connsiteX128" fmla="*/ 4293305 w 4667161"/>
              <a:gd name="connsiteY128" fmla="*/ 1240631 h 1958188"/>
              <a:gd name="connsiteX129" fmla="*/ 4359980 w 4667161"/>
              <a:gd name="connsiteY129" fmla="*/ 1302543 h 1958188"/>
              <a:gd name="connsiteX130" fmla="*/ 4436180 w 4667161"/>
              <a:gd name="connsiteY130" fmla="*/ 1359693 h 1958188"/>
              <a:gd name="connsiteX131" fmla="*/ 4476661 w 4667161"/>
              <a:gd name="connsiteY131" fmla="*/ 1357312 h 1958188"/>
              <a:gd name="connsiteX132" fmla="*/ 4533811 w 4667161"/>
              <a:gd name="connsiteY132" fmla="*/ 1383506 h 1958188"/>
              <a:gd name="connsiteX133" fmla="*/ 4643348 w 4667161"/>
              <a:gd name="connsiteY133" fmla="*/ 1345406 h 1958188"/>
              <a:gd name="connsiteX134" fmla="*/ 4667161 w 4667161"/>
              <a:gd name="connsiteY134" fmla="*/ 1302543 h 1958188"/>
              <a:gd name="connsiteX135" fmla="*/ 4662398 w 4667161"/>
              <a:gd name="connsiteY135" fmla="*/ 1235868 h 1958188"/>
              <a:gd name="connsiteX136" fmla="*/ 4660017 w 4667161"/>
              <a:gd name="connsiteY136" fmla="*/ 1116806 h 1958188"/>
              <a:gd name="connsiteX137" fmla="*/ 4633823 w 4667161"/>
              <a:gd name="connsiteY137" fmla="*/ 1078706 h 1958188"/>
              <a:gd name="connsiteX138" fmla="*/ 4571911 w 4667161"/>
              <a:gd name="connsiteY138" fmla="*/ 1057275 h 1958188"/>
              <a:gd name="connsiteX139" fmla="*/ 4555242 w 4667161"/>
              <a:gd name="connsiteY139" fmla="*/ 1014412 h 1958188"/>
              <a:gd name="connsiteX140" fmla="*/ 4529048 w 4667161"/>
              <a:gd name="connsiteY140" fmla="*/ 931068 h 1958188"/>
              <a:gd name="connsiteX141" fmla="*/ 4500473 w 4667161"/>
              <a:gd name="connsiteY141" fmla="*/ 890587 h 1958188"/>
              <a:gd name="connsiteX142" fmla="*/ 4526667 w 4667161"/>
              <a:gd name="connsiteY142" fmla="*/ 862012 h 1958188"/>
              <a:gd name="connsiteX143" fmla="*/ 4595723 w 4667161"/>
              <a:gd name="connsiteY143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048036 w 4667161"/>
              <a:gd name="connsiteY123" fmla="*/ 1109662 h 1958188"/>
              <a:gd name="connsiteX124" fmla="*/ 4083755 w 4667161"/>
              <a:gd name="connsiteY124" fmla="*/ 1107281 h 1958188"/>
              <a:gd name="connsiteX125" fmla="*/ 4150430 w 4667161"/>
              <a:gd name="connsiteY125" fmla="*/ 1145381 h 1958188"/>
              <a:gd name="connsiteX126" fmla="*/ 4209961 w 4667161"/>
              <a:gd name="connsiteY126" fmla="*/ 1197768 h 1958188"/>
              <a:gd name="connsiteX127" fmla="*/ 4293305 w 4667161"/>
              <a:gd name="connsiteY127" fmla="*/ 1240631 h 1958188"/>
              <a:gd name="connsiteX128" fmla="*/ 4359980 w 4667161"/>
              <a:gd name="connsiteY128" fmla="*/ 1302543 h 1958188"/>
              <a:gd name="connsiteX129" fmla="*/ 4436180 w 4667161"/>
              <a:gd name="connsiteY129" fmla="*/ 1359693 h 1958188"/>
              <a:gd name="connsiteX130" fmla="*/ 4476661 w 4667161"/>
              <a:gd name="connsiteY130" fmla="*/ 1357312 h 1958188"/>
              <a:gd name="connsiteX131" fmla="*/ 4533811 w 4667161"/>
              <a:gd name="connsiteY131" fmla="*/ 1383506 h 1958188"/>
              <a:gd name="connsiteX132" fmla="*/ 4643348 w 4667161"/>
              <a:gd name="connsiteY132" fmla="*/ 1345406 h 1958188"/>
              <a:gd name="connsiteX133" fmla="*/ 4667161 w 4667161"/>
              <a:gd name="connsiteY133" fmla="*/ 1302543 h 1958188"/>
              <a:gd name="connsiteX134" fmla="*/ 4662398 w 4667161"/>
              <a:gd name="connsiteY134" fmla="*/ 1235868 h 1958188"/>
              <a:gd name="connsiteX135" fmla="*/ 4660017 w 4667161"/>
              <a:gd name="connsiteY135" fmla="*/ 1116806 h 1958188"/>
              <a:gd name="connsiteX136" fmla="*/ 4633823 w 4667161"/>
              <a:gd name="connsiteY136" fmla="*/ 1078706 h 1958188"/>
              <a:gd name="connsiteX137" fmla="*/ 4571911 w 4667161"/>
              <a:gd name="connsiteY137" fmla="*/ 1057275 h 1958188"/>
              <a:gd name="connsiteX138" fmla="*/ 4555242 w 4667161"/>
              <a:gd name="connsiteY138" fmla="*/ 1014412 h 1958188"/>
              <a:gd name="connsiteX139" fmla="*/ 4529048 w 4667161"/>
              <a:gd name="connsiteY139" fmla="*/ 931068 h 1958188"/>
              <a:gd name="connsiteX140" fmla="*/ 4500473 w 4667161"/>
              <a:gd name="connsiteY140" fmla="*/ 890587 h 1958188"/>
              <a:gd name="connsiteX141" fmla="*/ 4526667 w 4667161"/>
              <a:gd name="connsiteY141" fmla="*/ 862012 h 1958188"/>
              <a:gd name="connsiteX142" fmla="*/ 4595723 w 4667161"/>
              <a:gd name="connsiteY142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083755 w 4667161"/>
              <a:gd name="connsiteY123" fmla="*/ 1107281 h 1958188"/>
              <a:gd name="connsiteX124" fmla="*/ 4150430 w 4667161"/>
              <a:gd name="connsiteY124" fmla="*/ 1145381 h 1958188"/>
              <a:gd name="connsiteX125" fmla="*/ 4209961 w 4667161"/>
              <a:gd name="connsiteY125" fmla="*/ 1197768 h 1958188"/>
              <a:gd name="connsiteX126" fmla="*/ 4293305 w 4667161"/>
              <a:gd name="connsiteY126" fmla="*/ 1240631 h 1958188"/>
              <a:gd name="connsiteX127" fmla="*/ 4359980 w 4667161"/>
              <a:gd name="connsiteY127" fmla="*/ 1302543 h 1958188"/>
              <a:gd name="connsiteX128" fmla="*/ 4436180 w 4667161"/>
              <a:gd name="connsiteY128" fmla="*/ 1359693 h 1958188"/>
              <a:gd name="connsiteX129" fmla="*/ 4476661 w 4667161"/>
              <a:gd name="connsiteY129" fmla="*/ 1357312 h 1958188"/>
              <a:gd name="connsiteX130" fmla="*/ 4533811 w 4667161"/>
              <a:gd name="connsiteY130" fmla="*/ 1383506 h 1958188"/>
              <a:gd name="connsiteX131" fmla="*/ 4643348 w 4667161"/>
              <a:gd name="connsiteY131" fmla="*/ 1345406 h 1958188"/>
              <a:gd name="connsiteX132" fmla="*/ 4667161 w 4667161"/>
              <a:gd name="connsiteY132" fmla="*/ 1302543 h 1958188"/>
              <a:gd name="connsiteX133" fmla="*/ 4662398 w 4667161"/>
              <a:gd name="connsiteY133" fmla="*/ 1235868 h 1958188"/>
              <a:gd name="connsiteX134" fmla="*/ 4660017 w 4667161"/>
              <a:gd name="connsiteY134" fmla="*/ 1116806 h 1958188"/>
              <a:gd name="connsiteX135" fmla="*/ 4633823 w 4667161"/>
              <a:gd name="connsiteY135" fmla="*/ 1078706 h 1958188"/>
              <a:gd name="connsiteX136" fmla="*/ 4571911 w 4667161"/>
              <a:gd name="connsiteY136" fmla="*/ 1057275 h 1958188"/>
              <a:gd name="connsiteX137" fmla="*/ 4555242 w 4667161"/>
              <a:gd name="connsiteY137" fmla="*/ 1014412 h 1958188"/>
              <a:gd name="connsiteX138" fmla="*/ 4529048 w 4667161"/>
              <a:gd name="connsiteY138" fmla="*/ 931068 h 1958188"/>
              <a:gd name="connsiteX139" fmla="*/ 4500473 w 4667161"/>
              <a:gd name="connsiteY139" fmla="*/ 890587 h 1958188"/>
              <a:gd name="connsiteX140" fmla="*/ 4526667 w 4667161"/>
              <a:gd name="connsiteY140" fmla="*/ 862012 h 1958188"/>
              <a:gd name="connsiteX141" fmla="*/ 4595723 w 4667161"/>
              <a:gd name="connsiteY141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150430 w 4667161"/>
              <a:gd name="connsiteY123" fmla="*/ 1145381 h 1958188"/>
              <a:gd name="connsiteX124" fmla="*/ 4209961 w 4667161"/>
              <a:gd name="connsiteY124" fmla="*/ 1197768 h 1958188"/>
              <a:gd name="connsiteX125" fmla="*/ 4293305 w 4667161"/>
              <a:gd name="connsiteY125" fmla="*/ 1240631 h 1958188"/>
              <a:gd name="connsiteX126" fmla="*/ 4359980 w 4667161"/>
              <a:gd name="connsiteY126" fmla="*/ 1302543 h 1958188"/>
              <a:gd name="connsiteX127" fmla="*/ 4436180 w 4667161"/>
              <a:gd name="connsiteY127" fmla="*/ 1359693 h 1958188"/>
              <a:gd name="connsiteX128" fmla="*/ 4476661 w 4667161"/>
              <a:gd name="connsiteY128" fmla="*/ 1357312 h 1958188"/>
              <a:gd name="connsiteX129" fmla="*/ 4533811 w 4667161"/>
              <a:gd name="connsiteY129" fmla="*/ 1383506 h 1958188"/>
              <a:gd name="connsiteX130" fmla="*/ 4643348 w 4667161"/>
              <a:gd name="connsiteY130" fmla="*/ 1345406 h 1958188"/>
              <a:gd name="connsiteX131" fmla="*/ 4667161 w 4667161"/>
              <a:gd name="connsiteY131" fmla="*/ 1302543 h 1958188"/>
              <a:gd name="connsiteX132" fmla="*/ 4662398 w 4667161"/>
              <a:gd name="connsiteY132" fmla="*/ 1235868 h 1958188"/>
              <a:gd name="connsiteX133" fmla="*/ 4660017 w 4667161"/>
              <a:gd name="connsiteY133" fmla="*/ 1116806 h 1958188"/>
              <a:gd name="connsiteX134" fmla="*/ 4633823 w 4667161"/>
              <a:gd name="connsiteY134" fmla="*/ 1078706 h 1958188"/>
              <a:gd name="connsiteX135" fmla="*/ 4571911 w 4667161"/>
              <a:gd name="connsiteY135" fmla="*/ 1057275 h 1958188"/>
              <a:gd name="connsiteX136" fmla="*/ 4555242 w 4667161"/>
              <a:gd name="connsiteY136" fmla="*/ 1014412 h 1958188"/>
              <a:gd name="connsiteX137" fmla="*/ 4529048 w 4667161"/>
              <a:gd name="connsiteY137" fmla="*/ 931068 h 1958188"/>
              <a:gd name="connsiteX138" fmla="*/ 4500473 w 4667161"/>
              <a:gd name="connsiteY138" fmla="*/ 890587 h 1958188"/>
              <a:gd name="connsiteX139" fmla="*/ 4526667 w 4667161"/>
              <a:gd name="connsiteY139" fmla="*/ 862012 h 1958188"/>
              <a:gd name="connsiteX140" fmla="*/ 4595723 w 4667161"/>
              <a:gd name="connsiteY140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209961 w 4667161"/>
              <a:gd name="connsiteY123" fmla="*/ 1197768 h 1958188"/>
              <a:gd name="connsiteX124" fmla="*/ 4293305 w 4667161"/>
              <a:gd name="connsiteY124" fmla="*/ 1240631 h 1958188"/>
              <a:gd name="connsiteX125" fmla="*/ 4359980 w 4667161"/>
              <a:gd name="connsiteY125" fmla="*/ 1302543 h 1958188"/>
              <a:gd name="connsiteX126" fmla="*/ 4436180 w 4667161"/>
              <a:gd name="connsiteY126" fmla="*/ 1359693 h 1958188"/>
              <a:gd name="connsiteX127" fmla="*/ 4476661 w 4667161"/>
              <a:gd name="connsiteY127" fmla="*/ 1357312 h 1958188"/>
              <a:gd name="connsiteX128" fmla="*/ 4533811 w 4667161"/>
              <a:gd name="connsiteY128" fmla="*/ 1383506 h 1958188"/>
              <a:gd name="connsiteX129" fmla="*/ 4643348 w 4667161"/>
              <a:gd name="connsiteY129" fmla="*/ 1345406 h 1958188"/>
              <a:gd name="connsiteX130" fmla="*/ 4667161 w 4667161"/>
              <a:gd name="connsiteY130" fmla="*/ 1302543 h 1958188"/>
              <a:gd name="connsiteX131" fmla="*/ 4662398 w 4667161"/>
              <a:gd name="connsiteY131" fmla="*/ 1235868 h 1958188"/>
              <a:gd name="connsiteX132" fmla="*/ 4660017 w 4667161"/>
              <a:gd name="connsiteY132" fmla="*/ 1116806 h 1958188"/>
              <a:gd name="connsiteX133" fmla="*/ 4633823 w 4667161"/>
              <a:gd name="connsiteY133" fmla="*/ 1078706 h 1958188"/>
              <a:gd name="connsiteX134" fmla="*/ 4571911 w 4667161"/>
              <a:gd name="connsiteY134" fmla="*/ 1057275 h 1958188"/>
              <a:gd name="connsiteX135" fmla="*/ 4555242 w 4667161"/>
              <a:gd name="connsiteY135" fmla="*/ 1014412 h 1958188"/>
              <a:gd name="connsiteX136" fmla="*/ 4529048 w 4667161"/>
              <a:gd name="connsiteY136" fmla="*/ 931068 h 1958188"/>
              <a:gd name="connsiteX137" fmla="*/ 4500473 w 4667161"/>
              <a:gd name="connsiteY137" fmla="*/ 890587 h 1958188"/>
              <a:gd name="connsiteX138" fmla="*/ 4526667 w 4667161"/>
              <a:gd name="connsiteY138" fmla="*/ 862012 h 1958188"/>
              <a:gd name="connsiteX139" fmla="*/ 4595723 w 4667161"/>
              <a:gd name="connsiteY139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198892 w 4667161"/>
              <a:gd name="connsiteY123" fmla="*/ 1186691 h 1958188"/>
              <a:gd name="connsiteX124" fmla="*/ 4209961 w 4667161"/>
              <a:gd name="connsiteY124" fmla="*/ 1197768 h 1958188"/>
              <a:gd name="connsiteX125" fmla="*/ 4293305 w 4667161"/>
              <a:gd name="connsiteY125" fmla="*/ 1240631 h 1958188"/>
              <a:gd name="connsiteX126" fmla="*/ 4359980 w 4667161"/>
              <a:gd name="connsiteY126" fmla="*/ 1302543 h 1958188"/>
              <a:gd name="connsiteX127" fmla="*/ 4436180 w 4667161"/>
              <a:gd name="connsiteY127" fmla="*/ 1359693 h 1958188"/>
              <a:gd name="connsiteX128" fmla="*/ 4476661 w 4667161"/>
              <a:gd name="connsiteY128" fmla="*/ 1357312 h 1958188"/>
              <a:gd name="connsiteX129" fmla="*/ 4533811 w 4667161"/>
              <a:gd name="connsiteY129" fmla="*/ 1383506 h 1958188"/>
              <a:gd name="connsiteX130" fmla="*/ 4643348 w 4667161"/>
              <a:gd name="connsiteY130" fmla="*/ 1345406 h 1958188"/>
              <a:gd name="connsiteX131" fmla="*/ 4667161 w 4667161"/>
              <a:gd name="connsiteY131" fmla="*/ 1302543 h 1958188"/>
              <a:gd name="connsiteX132" fmla="*/ 4662398 w 4667161"/>
              <a:gd name="connsiteY132" fmla="*/ 1235868 h 1958188"/>
              <a:gd name="connsiteX133" fmla="*/ 4660017 w 4667161"/>
              <a:gd name="connsiteY133" fmla="*/ 1116806 h 1958188"/>
              <a:gd name="connsiteX134" fmla="*/ 4633823 w 4667161"/>
              <a:gd name="connsiteY134" fmla="*/ 1078706 h 1958188"/>
              <a:gd name="connsiteX135" fmla="*/ 4571911 w 4667161"/>
              <a:gd name="connsiteY135" fmla="*/ 1057275 h 1958188"/>
              <a:gd name="connsiteX136" fmla="*/ 4555242 w 4667161"/>
              <a:gd name="connsiteY136" fmla="*/ 1014412 h 1958188"/>
              <a:gd name="connsiteX137" fmla="*/ 4529048 w 4667161"/>
              <a:gd name="connsiteY137" fmla="*/ 931068 h 1958188"/>
              <a:gd name="connsiteX138" fmla="*/ 4500473 w 4667161"/>
              <a:gd name="connsiteY138" fmla="*/ 890587 h 1958188"/>
              <a:gd name="connsiteX139" fmla="*/ 4526667 w 4667161"/>
              <a:gd name="connsiteY139" fmla="*/ 862012 h 1958188"/>
              <a:gd name="connsiteX140" fmla="*/ 4595723 w 4667161"/>
              <a:gd name="connsiteY140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198892 w 4667161"/>
              <a:gd name="connsiteY123" fmla="*/ 1186691 h 1958188"/>
              <a:gd name="connsiteX124" fmla="*/ 4293305 w 4667161"/>
              <a:gd name="connsiteY124" fmla="*/ 1240631 h 1958188"/>
              <a:gd name="connsiteX125" fmla="*/ 4359980 w 4667161"/>
              <a:gd name="connsiteY125" fmla="*/ 1302543 h 1958188"/>
              <a:gd name="connsiteX126" fmla="*/ 4436180 w 4667161"/>
              <a:gd name="connsiteY126" fmla="*/ 1359693 h 1958188"/>
              <a:gd name="connsiteX127" fmla="*/ 4476661 w 4667161"/>
              <a:gd name="connsiteY127" fmla="*/ 1357312 h 1958188"/>
              <a:gd name="connsiteX128" fmla="*/ 4533811 w 4667161"/>
              <a:gd name="connsiteY128" fmla="*/ 1383506 h 1958188"/>
              <a:gd name="connsiteX129" fmla="*/ 4643348 w 4667161"/>
              <a:gd name="connsiteY129" fmla="*/ 1345406 h 1958188"/>
              <a:gd name="connsiteX130" fmla="*/ 4667161 w 4667161"/>
              <a:gd name="connsiteY130" fmla="*/ 1302543 h 1958188"/>
              <a:gd name="connsiteX131" fmla="*/ 4662398 w 4667161"/>
              <a:gd name="connsiteY131" fmla="*/ 1235868 h 1958188"/>
              <a:gd name="connsiteX132" fmla="*/ 4660017 w 4667161"/>
              <a:gd name="connsiteY132" fmla="*/ 1116806 h 1958188"/>
              <a:gd name="connsiteX133" fmla="*/ 4633823 w 4667161"/>
              <a:gd name="connsiteY133" fmla="*/ 1078706 h 1958188"/>
              <a:gd name="connsiteX134" fmla="*/ 4571911 w 4667161"/>
              <a:gd name="connsiteY134" fmla="*/ 1057275 h 1958188"/>
              <a:gd name="connsiteX135" fmla="*/ 4555242 w 4667161"/>
              <a:gd name="connsiteY135" fmla="*/ 1014412 h 1958188"/>
              <a:gd name="connsiteX136" fmla="*/ 4529048 w 4667161"/>
              <a:gd name="connsiteY136" fmla="*/ 931068 h 1958188"/>
              <a:gd name="connsiteX137" fmla="*/ 4500473 w 4667161"/>
              <a:gd name="connsiteY137" fmla="*/ 890587 h 1958188"/>
              <a:gd name="connsiteX138" fmla="*/ 4526667 w 4667161"/>
              <a:gd name="connsiteY138" fmla="*/ 862012 h 1958188"/>
              <a:gd name="connsiteX139" fmla="*/ 4595723 w 4667161"/>
              <a:gd name="connsiteY139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293305 w 4667161"/>
              <a:gd name="connsiteY123" fmla="*/ 1240631 h 1958188"/>
              <a:gd name="connsiteX124" fmla="*/ 4359980 w 4667161"/>
              <a:gd name="connsiteY124" fmla="*/ 1302543 h 1958188"/>
              <a:gd name="connsiteX125" fmla="*/ 4436180 w 4667161"/>
              <a:gd name="connsiteY125" fmla="*/ 1359693 h 1958188"/>
              <a:gd name="connsiteX126" fmla="*/ 4476661 w 4667161"/>
              <a:gd name="connsiteY126" fmla="*/ 1357312 h 1958188"/>
              <a:gd name="connsiteX127" fmla="*/ 4533811 w 4667161"/>
              <a:gd name="connsiteY127" fmla="*/ 1383506 h 1958188"/>
              <a:gd name="connsiteX128" fmla="*/ 4643348 w 4667161"/>
              <a:gd name="connsiteY128" fmla="*/ 1345406 h 1958188"/>
              <a:gd name="connsiteX129" fmla="*/ 4667161 w 4667161"/>
              <a:gd name="connsiteY129" fmla="*/ 1302543 h 1958188"/>
              <a:gd name="connsiteX130" fmla="*/ 4662398 w 4667161"/>
              <a:gd name="connsiteY130" fmla="*/ 1235868 h 1958188"/>
              <a:gd name="connsiteX131" fmla="*/ 4660017 w 4667161"/>
              <a:gd name="connsiteY131" fmla="*/ 1116806 h 1958188"/>
              <a:gd name="connsiteX132" fmla="*/ 4633823 w 4667161"/>
              <a:gd name="connsiteY132" fmla="*/ 1078706 h 1958188"/>
              <a:gd name="connsiteX133" fmla="*/ 4571911 w 4667161"/>
              <a:gd name="connsiteY133" fmla="*/ 1057275 h 1958188"/>
              <a:gd name="connsiteX134" fmla="*/ 4555242 w 4667161"/>
              <a:gd name="connsiteY134" fmla="*/ 1014412 h 1958188"/>
              <a:gd name="connsiteX135" fmla="*/ 4529048 w 4667161"/>
              <a:gd name="connsiteY135" fmla="*/ 931068 h 1958188"/>
              <a:gd name="connsiteX136" fmla="*/ 4500473 w 4667161"/>
              <a:gd name="connsiteY136" fmla="*/ 890587 h 1958188"/>
              <a:gd name="connsiteX137" fmla="*/ 4526667 w 4667161"/>
              <a:gd name="connsiteY137" fmla="*/ 862012 h 1958188"/>
              <a:gd name="connsiteX138" fmla="*/ 4595723 w 4667161"/>
              <a:gd name="connsiteY138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359980 w 4667161"/>
              <a:gd name="connsiteY123" fmla="*/ 1302543 h 1958188"/>
              <a:gd name="connsiteX124" fmla="*/ 4436180 w 4667161"/>
              <a:gd name="connsiteY124" fmla="*/ 1359693 h 1958188"/>
              <a:gd name="connsiteX125" fmla="*/ 4476661 w 4667161"/>
              <a:gd name="connsiteY125" fmla="*/ 1357312 h 1958188"/>
              <a:gd name="connsiteX126" fmla="*/ 4533811 w 4667161"/>
              <a:gd name="connsiteY126" fmla="*/ 1383506 h 1958188"/>
              <a:gd name="connsiteX127" fmla="*/ 4643348 w 4667161"/>
              <a:gd name="connsiteY127" fmla="*/ 1345406 h 1958188"/>
              <a:gd name="connsiteX128" fmla="*/ 4667161 w 4667161"/>
              <a:gd name="connsiteY128" fmla="*/ 1302543 h 1958188"/>
              <a:gd name="connsiteX129" fmla="*/ 4662398 w 4667161"/>
              <a:gd name="connsiteY129" fmla="*/ 1235868 h 1958188"/>
              <a:gd name="connsiteX130" fmla="*/ 4660017 w 4667161"/>
              <a:gd name="connsiteY130" fmla="*/ 1116806 h 1958188"/>
              <a:gd name="connsiteX131" fmla="*/ 4633823 w 4667161"/>
              <a:gd name="connsiteY131" fmla="*/ 1078706 h 1958188"/>
              <a:gd name="connsiteX132" fmla="*/ 4571911 w 4667161"/>
              <a:gd name="connsiteY132" fmla="*/ 1057275 h 1958188"/>
              <a:gd name="connsiteX133" fmla="*/ 4555242 w 4667161"/>
              <a:gd name="connsiteY133" fmla="*/ 1014412 h 1958188"/>
              <a:gd name="connsiteX134" fmla="*/ 4529048 w 4667161"/>
              <a:gd name="connsiteY134" fmla="*/ 931068 h 1958188"/>
              <a:gd name="connsiteX135" fmla="*/ 4500473 w 4667161"/>
              <a:gd name="connsiteY135" fmla="*/ 890587 h 1958188"/>
              <a:gd name="connsiteX136" fmla="*/ 4526667 w 4667161"/>
              <a:gd name="connsiteY136" fmla="*/ 862012 h 1958188"/>
              <a:gd name="connsiteX137" fmla="*/ 4595723 w 4667161"/>
              <a:gd name="connsiteY137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436180 w 4667161"/>
              <a:gd name="connsiteY123" fmla="*/ 1359693 h 1958188"/>
              <a:gd name="connsiteX124" fmla="*/ 4476661 w 4667161"/>
              <a:gd name="connsiteY124" fmla="*/ 1357312 h 1958188"/>
              <a:gd name="connsiteX125" fmla="*/ 4533811 w 4667161"/>
              <a:gd name="connsiteY125" fmla="*/ 1383506 h 1958188"/>
              <a:gd name="connsiteX126" fmla="*/ 4643348 w 4667161"/>
              <a:gd name="connsiteY126" fmla="*/ 1345406 h 1958188"/>
              <a:gd name="connsiteX127" fmla="*/ 4667161 w 4667161"/>
              <a:gd name="connsiteY127" fmla="*/ 1302543 h 1958188"/>
              <a:gd name="connsiteX128" fmla="*/ 4662398 w 4667161"/>
              <a:gd name="connsiteY128" fmla="*/ 1235868 h 1958188"/>
              <a:gd name="connsiteX129" fmla="*/ 4660017 w 4667161"/>
              <a:gd name="connsiteY129" fmla="*/ 1116806 h 1958188"/>
              <a:gd name="connsiteX130" fmla="*/ 4633823 w 4667161"/>
              <a:gd name="connsiteY130" fmla="*/ 1078706 h 1958188"/>
              <a:gd name="connsiteX131" fmla="*/ 4571911 w 4667161"/>
              <a:gd name="connsiteY131" fmla="*/ 1057275 h 1958188"/>
              <a:gd name="connsiteX132" fmla="*/ 4555242 w 4667161"/>
              <a:gd name="connsiteY132" fmla="*/ 1014412 h 1958188"/>
              <a:gd name="connsiteX133" fmla="*/ 4529048 w 4667161"/>
              <a:gd name="connsiteY133" fmla="*/ 931068 h 1958188"/>
              <a:gd name="connsiteX134" fmla="*/ 4500473 w 4667161"/>
              <a:gd name="connsiteY134" fmla="*/ 890587 h 1958188"/>
              <a:gd name="connsiteX135" fmla="*/ 4526667 w 4667161"/>
              <a:gd name="connsiteY135" fmla="*/ 862012 h 1958188"/>
              <a:gd name="connsiteX136" fmla="*/ 4595723 w 4667161"/>
              <a:gd name="connsiteY136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476661 w 4667161"/>
              <a:gd name="connsiteY123" fmla="*/ 1357312 h 1958188"/>
              <a:gd name="connsiteX124" fmla="*/ 4533811 w 4667161"/>
              <a:gd name="connsiteY124" fmla="*/ 1383506 h 1958188"/>
              <a:gd name="connsiteX125" fmla="*/ 4643348 w 4667161"/>
              <a:gd name="connsiteY125" fmla="*/ 1345406 h 1958188"/>
              <a:gd name="connsiteX126" fmla="*/ 4667161 w 4667161"/>
              <a:gd name="connsiteY126" fmla="*/ 1302543 h 1958188"/>
              <a:gd name="connsiteX127" fmla="*/ 4662398 w 4667161"/>
              <a:gd name="connsiteY127" fmla="*/ 1235868 h 1958188"/>
              <a:gd name="connsiteX128" fmla="*/ 4660017 w 4667161"/>
              <a:gd name="connsiteY128" fmla="*/ 1116806 h 1958188"/>
              <a:gd name="connsiteX129" fmla="*/ 4633823 w 4667161"/>
              <a:gd name="connsiteY129" fmla="*/ 1078706 h 1958188"/>
              <a:gd name="connsiteX130" fmla="*/ 4571911 w 4667161"/>
              <a:gd name="connsiteY130" fmla="*/ 1057275 h 1958188"/>
              <a:gd name="connsiteX131" fmla="*/ 4555242 w 4667161"/>
              <a:gd name="connsiteY131" fmla="*/ 1014412 h 1958188"/>
              <a:gd name="connsiteX132" fmla="*/ 4529048 w 4667161"/>
              <a:gd name="connsiteY132" fmla="*/ 931068 h 1958188"/>
              <a:gd name="connsiteX133" fmla="*/ 4500473 w 4667161"/>
              <a:gd name="connsiteY133" fmla="*/ 890587 h 1958188"/>
              <a:gd name="connsiteX134" fmla="*/ 4526667 w 4667161"/>
              <a:gd name="connsiteY134" fmla="*/ 862012 h 1958188"/>
              <a:gd name="connsiteX135" fmla="*/ 4595723 w 4667161"/>
              <a:gd name="connsiteY135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533811 w 4667161"/>
              <a:gd name="connsiteY123" fmla="*/ 1383506 h 1958188"/>
              <a:gd name="connsiteX124" fmla="*/ 4643348 w 4667161"/>
              <a:gd name="connsiteY124" fmla="*/ 1345406 h 1958188"/>
              <a:gd name="connsiteX125" fmla="*/ 4667161 w 4667161"/>
              <a:gd name="connsiteY125" fmla="*/ 1302543 h 1958188"/>
              <a:gd name="connsiteX126" fmla="*/ 4662398 w 4667161"/>
              <a:gd name="connsiteY126" fmla="*/ 1235868 h 1958188"/>
              <a:gd name="connsiteX127" fmla="*/ 4660017 w 4667161"/>
              <a:gd name="connsiteY127" fmla="*/ 1116806 h 1958188"/>
              <a:gd name="connsiteX128" fmla="*/ 4633823 w 4667161"/>
              <a:gd name="connsiteY128" fmla="*/ 1078706 h 1958188"/>
              <a:gd name="connsiteX129" fmla="*/ 4571911 w 4667161"/>
              <a:gd name="connsiteY129" fmla="*/ 1057275 h 1958188"/>
              <a:gd name="connsiteX130" fmla="*/ 4555242 w 4667161"/>
              <a:gd name="connsiteY130" fmla="*/ 1014412 h 1958188"/>
              <a:gd name="connsiteX131" fmla="*/ 4529048 w 4667161"/>
              <a:gd name="connsiteY131" fmla="*/ 931068 h 1958188"/>
              <a:gd name="connsiteX132" fmla="*/ 4500473 w 4667161"/>
              <a:gd name="connsiteY132" fmla="*/ 890587 h 1958188"/>
              <a:gd name="connsiteX133" fmla="*/ 4526667 w 4667161"/>
              <a:gd name="connsiteY133" fmla="*/ 862012 h 1958188"/>
              <a:gd name="connsiteX134" fmla="*/ 4595723 w 4667161"/>
              <a:gd name="connsiteY134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643348 w 4667161"/>
              <a:gd name="connsiteY123" fmla="*/ 1345406 h 1958188"/>
              <a:gd name="connsiteX124" fmla="*/ 4667161 w 4667161"/>
              <a:gd name="connsiteY124" fmla="*/ 1302543 h 1958188"/>
              <a:gd name="connsiteX125" fmla="*/ 4662398 w 4667161"/>
              <a:gd name="connsiteY125" fmla="*/ 1235868 h 1958188"/>
              <a:gd name="connsiteX126" fmla="*/ 4660017 w 4667161"/>
              <a:gd name="connsiteY126" fmla="*/ 1116806 h 1958188"/>
              <a:gd name="connsiteX127" fmla="*/ 4633823 w 4667161"/>
              <a:gd name="connsiteY127" fmla="*/ 1078706 h 1958188"/>
              <a:gd name="connsiteX128" fmla="*/ 4571911 w 4667161"/>
              <a:gd name="connsiteY128" fmla="*/ 1057275 h 1958188"/>
              <a:gd name="connsiteX129" fmla="*/ 4555242 w 4667161"/>
              <a:gd name="connsiteY129" fmla="*/ 1014412 h 1958188"/>
              <a:gd name="connsiteX130" fmla="*/ 4529048 w 4667161"/>
              <a:gd name="connsiteY130" fmla="*/ 931068 h 1958188"/>
              <a:gd name="connsiteX131" fmla="*/ 4500473 w 4667161"/>
              <a:gd name="connsiteY131" fmla="*/ 890587 h 1958188"/>
              <a:gd name="connsiteX132" fmla="*/ 4526667 w 4667161"/>
              <a:gd name="connsiteY132" fmla="*/ 862012 h 1958188"/>
              <a:gd name="connsiteX133" fmla="*/ 4595723 w 4667161"/>
              <a:gd name="connsiteY133" fmla="*/ 840581 h 1958188"/>
              <a:gd name="connsiteX0" fmla="*/ 0 w 4667161"/>
              <a:gd name="connsiteY0" fmla="*/ 1958188 h 1958188"/>
              <a:gd name="connsiteX1" fmla="*/ 27040 w 4667161"/>
              <a:gd name="connsiteY1" fmla="*/ 1853413 h 1958188"/>
              <a:gd name="connsiteX2" fmla="*/ 81163 w 4667161"/>
              <a:gd name="connsiteY2" fmla="*/ 1804987 h 1958188"/>
              <a:gd name="connsiteX3" fmla="*/ 92557 w 4667161"/>
              <a:gd name="connsiteY3" fmla="*/ 1728075 h 1958188"/>
              <a:gd name="connsiteX4" fmla="*/ 132437 w 4667161"/>
              <a:gd name="connsiteY4" fmla="*/ 1676800 h 1958188"/>
              <a:gd name="connsiteX5" fmla="*/ 173742 w 4667161"/>
              <a:gd name="connsiteY5" fmla="*/ 1661552 h 1958188"/>
              <a:gd name="connsiteX6" fmla="*/ 172430 w 4667161"/>
              <a:gd name="connsiteY6" fmla="*/ 1631153 h 1958188"/>
              <a:gd name="connsiteX7" fmla="*/ 192877 w 4667161"/>
              <a:gd name="connsiteY7" fmla="*/ 1603271 h 1958188"/>
              <a:gd name="connsiteX8" fmla="*/ 215306 w 4667161"/>
              <a:gd name="connsiteY8" fmla="*/ 1583314 h 1958188"/>
              <a:gd name="connsiteX9" fmla="*/ 239755 w 4667161"/>
              <a:gd name="connsiteY9" fmla="*/ 1563755 h 1958188"/>
              <a:gd name="connsiteX10" fmla="*/ 281318 w 4667161"/>
              <a:gd name="connsiteY10" fmla="*/ 1507522 h 1958188"/>
              <a:gd name="connsiteX11" fmla="*/ 308213 w 4667161"/>
              <a:gd name="connsiteY11" fmla="*/ 1443954 h 1958188"/>
              <a:gd name="connsiteX12" fmla="*/ 362001 w 4667161"/>
              <a:gd name="connsiteY12" fmla="*/ 1434174 h 1958188"/>
              <a:gd name="connsiteX13" fmla="*/ 423124 w 4667161"/>
              <a:gd name="connsiteY13" fmla="*/ 1436619 h 1958188"/>
              <a:gd name="connsiteX14" fmla="*/ 459798 w 4667161"/>
              <a:gd name="connsiteY14" fmla="*/ 1412170 h 1958188"/>
              <a:gd name="connsiteX15" fmla="*/ 489137 w 4667161"/>
              <a:gd name="connsiteY15" fmla="*/ 1373051 h 1958188"/>
              <a:gd name="connsiteX16" fmla="*/ 533145 w 4667161"/>
              <a:gd name="connsiteY16" fmla="*/ 1365716 h 1958188"/>
              <a:gd name="connsiteX17" fmla="*/ 557594 w 4667161"/>
              <a:gd name="connsiteY17" fmla="*/ 1346157 h 1958188"/>
              <a:gd name="connsiteX18" fmla="*/ 577154 w 4667161"/>
              <a:gd name="connsiteY18" fmla="*/ 1309483 h 1958188"/>
              <a:gd name="connsiteX19" fmla="*/ 626052 w 4667161"/>
              <a:gd name="connsiteY19" fmla="*/ 1299704 h 1958188"/>
              <a:gd name="connsiteX20" fmla="*/ 673805 w 4667161"/>
              <a:gd name="connsiteY20" fmla="*/ 1304925 h 1958188"/>
              <a:gd name="connsiteX21" fmla="*/ 714286 w 4667161"/>
              <a:gd name="connsiteY21" fmla="*/ 1259681 h 1958188"/>
              <a:gd name="connsiteX22" fmla="*/ 745242 w 4667161"/>
              <a:gd name="connsiteY22" fmla="*/ 1247775 h 1958188"/>
              <a:gd name="connsiteX23" fmla="*/ 795248 w 4667161"/>
              <a:gd name="connsiteY23" fmla="*/ 1257300 h 1958188"/>
              <a:gd name="connsiteX24" fmla="*/ 842873 w 4667161"/>
              <a:gd name="connsiteY24" fmla="*/ 1207293 h 1958188"/>
              <a:gd name="connsiteX25" fmla="*/ 890498 w 4667161"/>
              <a:gd name="connsiteY25" fmla="*/ 1214437 h 1958188"/>
              <a:gd name="connsiteX26" fmla="*/ 911930 w 4667161"/>
              <a:gd name="connsiteY26" fmla="*/ 1214437 h 1958188"/>
              <a:gd name="connsiteX27" fmla="*/ 947648 w 4667161"/>
              <a:gd name="connsiteY27" fmla="*/ 1195387 h 1958188"/>
              <a:gd name="connsiteX28" fmla="*/ 971461 w 4667161"/>
              <a:gd name="connsiteY28" fmla="*/ 1157287 h 1958188"/>
              <a:gd name="connsiteX29" fmla="*/ 1016705 w 4667161"/>
              <a:gd name="connsiteY29" fmla="*/ 1157287 h 1958188"/>
              <a:gd name="connsiteX30" fmla="*/ 1042898 w 4667161"/>
              <a:gd name="connsiteY30" fmla="*/ 1119187 h 1958188"/>
              <a:gd name="connsiteX31" fmla="*/ 1069092 w 4667161"/>
              <a:gd name="connsiteY31" fmla="*/ 1100137 h 1958188"/>
              <a:gd name="connsiteX32" fmla="*/ 1088142 w 4667161"/>
              <a:gd name="connsiteY32" fmla="*/ 1071562 h 1958188"/>
              <a:gd name="connsiteX33" fmla="*/ 1133386 w 4667161"/>
              <a:gd name="connsiteY33" fmla="*/ 1064418 h 1958188"/>
              <a:gd name="connsiteX34" fmla="*/ 1145292 w 4667161"/>
              <a:gd name="connsiteY34" fmla="*/ 1031081 h 1958188"/>
              <a:gd name="connsiteX35" fmla="*/ 1181011 w 4667161"/>
              <a:gd name="connsiteY35" fmla="*/ 1012031 h 1958188"/>
              <a:gd name="connsiteX36" fmla="*/ 1202442 w 4667161"/>
              <a:gd name="connsiteY36" fmla="*/ 988218 h 1958188"/>
              <a:gd name="connsiteX37" fmla="*/ 1283405 w 4667161"/>
              <a:gd name="connsiteY37" fmla="*/ 966787 h 1958188"/>
              <a:gd name="connsiteX38" fmla="*/ 1297692 w 4667161"/>
              <a:gd name="connsiteY38" fmla="*/ 952500 h 1958188"/>
              <a:gd name="connsiteX39" fmla="*/ 1307217 w 4667161"/>
              <a:gd name="connsiteY39" fmla="*/ 919162 h 1958188"/>
              <a:gd name="connsiteX40" fmla="*/ 1388180 w 4667161"/>
              <a:gd name="connsiteY40" fmla="*/ 878681 h 1958188"/>
              <a:gd name="connsiteX41" fmla="*/ 1407230 w 4667161"/>
              <a:gd name="connsiteY41" fmla="*/ 873918 h 1958188"/>
              <a:gd name="connsiteX42" fmla="*/ 1466761 w 4667161"/>
              <a:gd name="connsiteY42" fmla="*/ 809625 h 1958188"/>
              <a:gd name="connsiteX43" fmla="*/ 1471523 w 4667161"/>
              <a:gd name="connsiteY43" fmla="*/ 759618 h 1958188"/>
              <a:gd name="connsiteX44" fmla="*/ 1497717 w 4667161"/>
              <a:gd name="connsiteY44" fmla="*/ 733425 h 1958188"/>
              <a:gd name="connsiteX45" fmla="*/ 1523911 w 4667161"/>
              <a:gd name="connsiteY45" fmla="*/ 728662 h 1958188"/>
              <a:gd name="connsiteX46" fmla="*/ 1585823 w 4667161"/>
              <a:gd name="connsiteY46" fmla="*/ 683418 h 1958188"/>
              <a:gd name="connsiteX47" fmla="*/ 1671548 w 4667161"/>
              <a:gd name="connsiteY47" fmla="*/ 640556 h 1958188"/>
              <a:gd name="connsiteX48" fmla="*/ 1707267 w 4667161"/>
              <a:gd name="connsiteY48" fmla="*/ 600075 h 1958188"/>
              <a:gd name="connsiteX49" fmla="*/ 1735842 w 4667161"/>
              <a:gd name="connsiteY49" fmla="*/ 585787 h 1958188"/>
              <a:gd name="connsiteX50" fmla="*/ 1742986 w 4667161"/>
              <a:gd name="connsiteY50" fmla="*/ 519112 h 1958188"/>
              <a:gd name="connsiteX51" fmla="*/ 1759655 w 4667161"/>
              <a:gd name="connsiteY51" fmla="*/ 473868 h 1958188"/>
              <a:gd name="connsiteX52" fmla="*/ 1745367 w 4667161"/>
              <a:gd name="connsiteY52" fmla="*/ 433387 h 1958188"/>
              <a:gd name="connsiteX53" fmla="*/ 1750130 w 4667161"/>
              <a:gd name="connsiteY53" fmla="*/ 347662 h 1958188"/>
              <a:gd name="connsiteX54" fmla="*/ 1745367 w 4667161"/>
              <a:gd name="connsiteY54" fmla="*/ 307181 h 1958188"/>
              <a:gd name="connsiteX55" fmla="*/ 1745367 w 4667161"/>
              <a:gd name="connsiteY55" fmla="*/ 264318 h 1958188"/>
              <a:gd name="connsiteX56" fmla="*/ 1771561 w 4667161"/>
              <a:gd name="connsiteY56" fmla="*/ 254793 h 1958188"/>
              <a:gd name="connsiteX57" fmla="*/ 1792992 w 4667161"/>
              <a:gd name="connsiteY57" fmla="*/ 271462 h 1958188"/>
              <a:gd name="connsiteX58" fmla="*/ 1807280 w 4667161"/>
              <a:gd name="connsiteY58" fmla="*/ 297656 h 1958188"/>
              <a:gd name="connsiteX59" fmla="*/ 1835855 w 4667161"/>
              <a:gd name="connsiteY59" fmla="*/ 300037 h 1958188"/>
              <a:gd name="connsiteX60" fmla="*/ 1857286 w 4667161"/>
              <a:gd name="connsiteY60" fmla="*/ 278606 h 1958188"/>
              <a:gd name="connsiteX61" fmla="*/ 1943011 w 4667161"/>
              <a:gd name="connsiteY61" fmla="*/ 280987 h 1958188"/>
              <a:gd name="connsiteX62" fmla="*/ 1995398 w 4667161"/>
              <a:gd name="connsiteY62" fmla="*/ 290512 h 1958188"/>
              <a:gd name="connsiteX63" fmla="*/ 2043023 w 4667161"/>
              <a:gd name="connsiteY63" fmla="*/ 266700 h 1958188"/>
              <a:gd name="connsiteX64" fmla="*/ 2054930 w 4667161"/>
              <a:gd name="connsiteY64" fmla="*/ 233362 h 1958188"/>
              <a:gd name="connsiteX65" fmla="*/ 2095411 w 4667161"/>
              <a:gd name="connsiteY65" fmla="*/ 200025 h 1958188"/>
              <a:gd name="connsiteX66" fmla="*/ 2085886 w 4667161"/>
              <a:gd name="connsiteY66" fmla="*/ 173831 h 1958188"/>
              <a:gd name="connsiteX67" fmla="*/ 2102555 w 4667161"/>
              <a:gd name="connsiteY67" fmla="*/ 147637 h 1958188"/>
              <a:gd name="connsiteX68" fmla="*/ 2157323 w 4667161"/>
              <a:gd name="connsiteY68" fmla="*/ 169068 h 1958188"/>
              <a:gd name="connsiteX69" fmla="*/ 2204948 w 4667161"/>
              <a:gd name="connsiteY69" fmla="*/ 173831 h 1958188"/>
              <a:gd name="connsiteX70" fmla="*/ 2240667 w 4667161"/>
              <a:gd name="connsiteY70" fmla="*/ 209550 h 1958188"/>
              <a:gd name="connsiteX71" fmla="*/ 2269242 w 4667161"/>
              <a:gd name="connsiteY71" fmla="*/ 223837 h 1958188"/>
              <a:gd name="connsiteX72" fmla="*/ 2288292 w 4667161"/>
              <a:gd name="connsiteY72" fmla="*/ 280987 h 1958188"/>
              <a:gd name="connsiteX73" fmla="*/ 2357348 w 4667161"/>
              <a:gd name="connsiteY73" fmla="*/ 316706 h 1958188"/>
              <a:gd name="connsiteX74" fmla="*/ 2426405 w 4667161"/>
              <a:gd name="connsiteY74" fmla="*/ 307181 h 1958188"/>
              <a:gd name="connsiteX75" fmla="*/ 2474030 w 4667161"/>
              <a:gd name="connsiteY75" fmla="*/ 295275 h 1958188"/>
              <a:gd name="connsiteX76" fmla="*/ 2512130 w 4667161"/>
              <a:gd name="connsiteY76" fmla="*/ 307181 h 1958188"/>
              <a:gd name="connsiteX77" fmla="*/ 2562136 w 4667161"/>
              <a:gd name="connsiteY77" fmla="*/ 304800 h 1958188"/>
              <a:gd name="connsiteX78" fmla="*/ 2607380 w 4667161"/>
              <a:gd name="connsiteY78" fmla="*/ 316706 h 1958188"/>
              <a:gd name="connsiteX79" fmla="*/ 2652623 w 4667161"/>
              <a:gd name="connsiteY79" fmla="*/ 302418 h 1958188"/>
              <a:gd name="connsiteX80" fmla="*/ 2674055 w 4667161"/>
              <a:gd name="connsiteY80" fmla="*/ 276225 h 1958188"/>
              <a:gd name="connsiteX81" fmla="*/ 2752636 w 4667161"/>
              <a:gd name="connsiteY81" fmla="*/ 297656 h 1958188"/>
              <a:gd name="connsiteX82" fmla="*/ 2793117 w 4667161"/>
              <a:gd name="connsiteY82" fmla="*/ 283368 h 1958188"/>
              <a:gd name="connsiteX83" fmla="*/ 2800261 w 4667161"/>
              <a:gd name="connsiteY83" fmla="*/ 242887 h 1958188"/>
              <a:gd name="connsiteX84" fmla="*/ 2771686 w 4667161"/>
              <a:gd name="connsiteY84" fmla="*/ 195262 h 1958188"/>
              <a:gd name="connsiteX85" fmla="*/ 2755017 w 4667161"/>
              <a:gd name="connsiteY85" fmla="*/ 135731 h 1958188"/>
              <a:gd name="connsiteX86" fmla="*/ 2721680 w 4667161"/>
              <a:gd name="connsiteY86" fmla="*/ 102393 h 1958188"/>
              <a:gd name="connsiteX87" fmla="*/ 2697867 w 4667161"/>
              <a:gd name="connsiteY87" fmla="*/ 59531 h 1958188"/>
              <a:gd name="connsiteX88" fmla="*/ 2707392 w 4667161"/>
              <a:gd name="connsiteY88" fmla="*/ 38100 h 1958188"/>
              <a:gd name="connsiteX89" fmla="*/ 2743111 w 4667161"/>
              <a:gd name="connsiteY89" fmla="*/ 0 h 1958188"/>
              <a:gd name="connsiteX90" fmla="*/ 2762161 w 4667161"/>
              <a:gd name="connsiteY90" fmla="*/ 16668 h 1958188"/>
              <a:gd name="connsiteX91" fmla="*/ 2843123 w 4667161"/>
              <a:gd name="connsiteY91" fmla="*/ 30956 h 1958188"/>
              <a:gd name="connsiteX92" fmla="*/ 2926467 w 4667161"/>
              <a:gd name="connsiteY92" fmla="*/ 47625 h 1958188"/>
              <a:gd name="connsiteX93" fmla="*/ 2976473 w 4667161"/>
              <a:gd name="connsiteY93" fmla="*/ 66675 h 1958188"/>
              <a:gd name="connsiteX94" fmla="*/ 3026480 w 4667161"/>
              <a:gd name="connsiteY94" fmla="*/ 61912 h 1958188"/>
              <a:gd name="connsiteX95" fmla="*/ 3074105 w 4667161"/>
              <a:gd name="connsiteY95" fmla="*/ 92868 h 1958188"/>
              <a:gd name="connsiteX96" fmla="*/ 3116967 w 4667161"/>
              <a:gd name="connsiteY96" fmla="*/ 119062 h 1958188"/>
              <a:gd name="connsiteX97" fmla="*/ 3138398 w 4667161"/>
              <a:gd name="connsiteY97" fmla="*/ 150018 h 1958188"/>
              <a:gd name="connsiteX98" fmla="*/ 3188405 w 4667161"/>
              <a:gd name="connsiteY98" fmla="*/ 157162 h 1958188"/>
              <a:gd name="connsiteX99" fmla="*/ 3214598 w 4667161"/>
              <a:gd name="connsiteY99" fmla="*/ 202406 h 1958188"/>
              <a:gd name="connsiteX100" fmla="*/ 3240792 w 4667161"/>
              <a:gd name="connsiteY100" fmla="*/ 233362 h 1958188"/>
              <a:gd name="connsiteX101" fmla="*/ 3257461 w 4667161"/>
              <a:gd name="connsiteY101" fmla="*/ 278606 h 1958188"/>
              <a:gd name="connsiteX102" fmla="*/ 3316992 w 4667161"/>
              <a:gd name="connsiteY102" fmla="*/ 295275 h 1958188"/>
              <a:gd name="connsiteX103" fmla="*/ 3345567 w 4667161"/>
              <a:gd name="connsiteY103" fmla="*/ 326231 h 1958188"/>
              <a:gd name="connsiteX104" fmla="*/ 3366998 w 4667161"/>
              <a:gd name="connsiteY104" fmla="*/ 335756 h 1958188"/>
              <a:gd name="connsiteX105" fmla="*/ 3378905 w 4667161"/>
              <a:gd name="connsiteY105" fmla="*/ 376237 h 1958188"/>
              <a:gd name="connsiteX106" fmla="*/ 3409861 w 4667161"/>
              <a:gd name="connsiteY106" fmla="*/ 383381 h 1958188"/>
              <a:gd name="connsiteX107" fmla="*/ 3447961 w 4667161"/>
              <a:gd name="connsiteY107" fmla="*/ 447675 h 1958188"/>
              <a:gd name="connsiteX108" fmla="*/ 3443198 w 4667161"/>
              <a:gd name="connsiteY108" fmla="*/ 502443 h 1958188"/>
              <a:gd name="connsiteX109" fmla="*/ 3431292 w 4667161"/>
              <a:gd name="connsiteY109" fmla="*/ 531018 h 1958188"/>
              <a:gd name="connsiteX110" fmla="*/ 3471773 w 4667161"/>
              <a:gd name="connsiteY110" fmla="*/ 564356 h 1958188"/>
              <a:gd name="connsiteX111" fmla="*/ 3469392 w 4667161"/>
              <a:gd name="connsiteY111" fmla="*/ 647700 h 1958188"/>
              <a:gd name="connsiteX112" fmla="*/ 3450342 w 4667161"/>
              <a:gd name="connsiteY112" fmla="*/ 664368 h 1958188"/>
              <a:gd name="connsiteX113" fmla="*/ 3433673 w 4667161"/>
              <a:gd name="connsiteY113" fmla="*/ 738187 h 1958188"/>
              <a:gd name="connsiteX114" fmla="*/ 3455105 w 4667161"/>
              <a:gd name="connsiteY114" fmla="*/ 773906 h 1958188"/>
              <a:gd name="connsiteX115" fmla="*/ 3509873 w 4667161"/>
              <a:gd name="connsiteY115" fmla="*/ 797718 h 1958188"/>
              <a:gd name="connsiteX116" fmla="*/ 3547973 w 4667161"/>
              <a:gd name="connsiteY116" fmla="*/ 778668 h 1958188"/>
              <a:gd name="connsiteX117" fmla="*/ 3590836 w 4667161"/>
              <a:gd name="connsiteY117" fmla="*/ 797718 h 1958188"/>
              <a:gd name="connsiteX118" fmla="*/ 3626555 w 4667161"/>
              <a:gd name="connsiteY118" fmla="*/ 783431 h 1958188"/>
              <a:gd name="connsiteX119" fmla="*/ 3664655 w 4667161"/>
              <a:gd name="connsiteY119" fmla="*/ 826293 h 1958188"/>
              <a:gd name="connsiteX120" fmla="*/ 3743236 w 4667161"/>
              <a:gd name="connsiteY120" fmla="*/ 902493 h 1958188"/>
              <a:gd name="connsiteX121" fmla="*/ 3812292 w 4667161"/>
              <a:gd name="connsiteY121" fmla="*/ 916781 h 1958188"/>
              <a:gd name="connsiteX122" fmla="*/ 3858789 w 4667161"/>
              <a:gd name="connsiteY122" fmla="*/ 944470 h 1958188"/>
              <a:gd name="connsiteX123" fmla="*/ 4667161 w 4667161"/>
              <a:gd name="connsiteY123" fmla="*/ 1302543 h 1958188"/>
              <a:gd name="connsiteX124" fmla="*/ 4662398 w 4667161"/>
              <a:gd name="connsiteY124" fmla="*/ 1235868 h 1958188"/>
              <a:gd name="connsiteX125" fmla="*/ 4660017 w 4667161"/>
              <a:gd name="connsiteY125" fmla="*/ 1116806 h 1958188"/>
              <a:gd name="connsiteX126" fmla="*/ 4633823 w 4667161"/>
              <a:gd name="connsiteY126" fmla="*/ 1078706 h 1958188"/>
              <a:gd name="connsiteX127" fmla="*/ 4571911 w 4667161"/>
              <a:gd name="connsiteY127" fmla="*/ 1057275 h 1958188"/>
              <a:gd name="connsiteX128" fmla="*/ 4555242 w 4667161"/>
              <a:gd name="connsiteY128" fmla="*/ 1014412 h 1958188"/>
              <a:gd name="connsiteX129" fmla="*/ 4529048 w 4667161"/>
              <a:gd name="connsiteY129" fmla="*/ 931068 h 1958188"/>
              <a:gd name="connsiteX130" fmla="*/ 4500473 w 4667161"/>
              <a:gd name="connsiteY130" fmla="*/ 890587 h 1958188"/>
              <a:gd name="connsiteX131" fmla="*/ 4526667 w 4667161"/>
              <a:gd name="connsiteY131" fmla="*/ 862012 h 1958188"/>
              <a:gd name="connsiteX132" fmla="*/ 4595723 w 4667161"/>
              <a:gd name="connsiteY132" fmla="*/ 840581 h 1958188"/>
              <a:gd name="connsiteX0" fmla="*/ 0 w 4662398"/>
              <a:gd name="connsiteY0" fmla="*/ 1958188 h 1958188"/>
              <a:gd name="connsiteX1" fmla="*/ 27040 w 4662398"/>
              <a:gd name="connsiteY1" fmla="*/ 1853413 h 1958188"/>
              <a:gd name="connsiteX2" fmla="*/ 81163 w 4662398"/>
              <a:gd name="connsiteY2" fmla="*/ 1804987 h 1958188"/>
              <a:gd name="connsiteX3" fmla="*/ 92557 w 4662398"/>
              <a:gd name="connsiteY3" fmla="*/ 1728075 h 1958188"/>
              <a:gd name="connsiteX4" fmla="*/ 132437 w 4662398"/>
              <a:gd name="connsiteY4" fmla="*/ 1676800 h 1958188"/>
              <a:gd name="connsiteX5" fmla="*/ 173742 w 4662398"/>
              <a:gd name="connsiteY5" fmla="*/ 1661552 h 1958188"/>
              <a:gd name="connsiteX6" fmla="*/ 172430 w 4662398"/>
              <a:gd name="connsiteY6" fmla="*/ 1631153 h 1958188"/>
              <a:gd name="connsiteX7" fmla="*/ 192877 w 4662398"/>
              <a:gd name="connsiteY7" fmla="*/ 1603271 h 1958188"/>
              <a:gd name="connsiteX8" fmla="*/ 215306 w 4662398"/>
              <a:gd name="connsiteY8" fmla="*/ 1583314 h 1958188"/>
              <a:gd name="connsiteX9" fmla="*/ 239755 w 4662398"/>
              <a:gd name="connsiteY9" fmla="*/ 1563755 h 1958188"/>
              <a:gd name="connsiteX10" fmla="*/ 281318 w 4662398"/>
              <a:gd name="connsiteY10" fmla="*/ 1507522 h 1958188"/>
              <a:gd name="connsiteX11" fmla="*/ 308213 w 4662398"/>
              <a:gd name="connsiteY11" fmla="*/ 1443954 h 1958188"/>
              <a:gd name="connsiteX12" fmla="*/ 362001 w 4662398"/>
              <a:gd name="connsiteY12" fmla="*/ 1434174 h 1958188"/>
              <a:gd name="connsiteX13" fmla="*/ 423124 w 4662398"/>
              <a:gd name="connsiteY13" fmla="*/ 1436619 h 1958188"/>
              <a:gd name="connsiteX14" fmla="*/ 459798 w 4662398"/>
              <a:gd name="connsiteY14" fmla="*/ 1412170 h 1958188"/>
              <a:gd name="connsiteX15" fmla="*/ 489137 w 4662398"/>
              <a:gd name="connsiteY15" fmla="*/ 1373051 h 1958188"/>
              <a:gd name="connsiteX16" fmla="*/ 533145 w 4662398"/>
              <a:gd name="connsiteY16" fmla="*/ 1365716 h 1958188"/>
              <a:gd name="connsiteX17" fmla="*/ 557594 w 4662398"/>
              <a:gd name="connsiteY17" fmla="*/ 1346157 h 1958188"/>
              <a:gd name="connsiteX18" fmla="*/ 577154 w 4662398"/>
              <a:gd name="connsiteY18" fmla="*/ 1309483 h 1958188"/>
              <a:gd name="connsiteX19" fmla="*/ 626052 w 4662398"/>
              <a:gd name="connsiteY19" fmla="*/ 1299704 h 1958188"/>
              <a:gd name="connsiteX20" fmla="*/ 673805 w 4662398"/>
              <a:gd name="connsiteY20" fmla="*/ 1304925 h 1958188"/>
              <a:gd name="connsiteX21" fmla="*/ 714286 w 4662398"/>
              <a:gd name="connsiteY21" fmla="*/ 1259681 h 1958188"/>
              <a:gd name="connsiteX22" fmla="*/ 745242 w 4662398"/>
              <a:gd name="connsiteY22" fmla="*/ 1247775 h 1958188"/>
              <a:gd name="connsiteX23" fmla="*/ 795248 w 4662398"/>
              <a:gd name="connsiteY23" fmla="*/ 1257300 h 1958188"/>
              <a:gd name="connsiteX24" fmla="*/ 842873 w 4662398"/>
              <a:gd name="connsiteY24" fmla="*/ 1207293 h 1958188"/>
              <a:gd name="connsiteX25" fmla="*/ 890498 w 4662398"/>
              <a:gd name="connsiteY25" fmla="*/ 1214437 h 1958188"/>
              <a:gd name="connsiteX26" fmla="*/ 911930 w 4662398"/>
              <a:gd name="connsiteY26" fmla="*/ 1214437 h 1958188"/>
              <a:gd name="connsiteX27" fmla="*/ 947648 w 4662398"/>
              <a:gd name="connsiteY27" fmla="*/ 1195387 h 1958188"/>
              <a:gd name="connsiteX28" fmla="*/ 971461 w 4662398"/>
              <a:gd name="connsiteY28" fmla="*/ 1157287 h 1958188"/>
              <a:gd name="connsiteX29" fmla="*/ 1016705 w 4662398"/>
              <a:gd name="connsiteY29" fmla="*/ 1157287 h 1958188"/>
              <a:gd name="connsiteX30" fmla="*/ 1042898 w 4662398"/>
              <a:gd name="connsiteY30" fmla="*/ 1119187 h 1958188"/>
              <a:gd name="connsiteX31" fmla="*/ 1069092 w 4662398"/>
              <a:gd name="connsiteY31" fmla="*/ 1100137 h 1958188"/>
              <a:gd name="connsiteX32" fmla="*/ 1088142 w 4662398"/>
              <a:gd name="connsiteY32" fmla="*/ 1071562 h 1958188"/>
              <a:gd name="connsiteX33" fmla="*/ 1133386 w 4662398"/>
              <a:gd name="connsiteY33" fmla="*/ 1064418 h 1958188"/>
              <a:gd name="connsiteX34" fmla="*/ 1145292 w 4662398"/>
              <a:gd name="connsiteY34" fmla="*/ 1031081 h 1958188"/>
              <a:gd name="connsiteX35" fmla="*/ 1181011 w 4662398"/>
              <a:gd name="connsiteY35" fmla="*/ 1012031 h 1958188"/>
              <a:gd name="connsiteX36" fmla="*/ 1202442 w 4662398"/>
              <a:gd name="connsiteY36" fmla="*/ 988218 h 1958188"/>
              <a:gd name="connsiteX37" fmla="*/ 1283405 w 4662398"/>
              <a:gd name="connsiteY37" fmla="*/ 966787 h 1958188"/>
              <a:gd name="connsiteX38" fmla="*/ 1297692 w 4662398"/>
              <a:gd name="connsiteY38" fmla="*/ 952500 h 1958188"/>
              <a:gd name="connsiteX39" fmla="*/ 1307217 w 4662398"/>
              <a:gd name="connsiteY39" fmla="*/ 919162 h 1958188"/>
              <a:gd name="connsiteX40" fmla="*/ 1388180 w 4662398"/>
              <a:gd name="connsiteY40" fmla="*/ 878681 h 1958188"/>
              <a:gd name="connsiteX41" fmla="*/ 1407230 w 4662398"/>
              <a:gd name="connsiteY41" fmla="*/ 873918 h 1958188"/>
              <a:gd name="connsiteX42" fmla="*/ 1466761 w 4662398"/>
              <a:gd name="connsiteY42" fmla="*/ 809625 h 1958188"/>
              <a:gd name="connsiteX43" fmla="*/ 1471523 w 4662398"/>
              <a:gd name="connsiteY43" fmla="*/ 759618 h 1958188"/>
              <a:gd name="connsiteX44" fmla="*/ 1497717 w 4662398"/>
              <a:gd name="connsiteY44" fmla="*/ 733425 h 1958188"/>
              <a:gd name="connsiteX45" fmla="*/ 1523911 w 4662398"/>
              <a:gd name="connsiteY45" fmla="*/ 728662 h 1958188"/>
              <a:gd name="connsiteX46" fmla="*/ 1585823 w 4662398"/>
              <a:gd name="connsiteY46" fmla="*/ 683418 h 1958188"/>
              <a:gd name="connsiteX47" fmla="*/ 1671548 w 4662398"/>
              <a:gd name="connsiteY47" fmla="*/ 640556 h 1958188"/>
              <a:gd name="connsiteX48" fmla="*/ 1707267 w 4662398"/>
              <a:gd name="connsiteY48" fmla="*/ 600075 h 1958188"/>
              <a:gd name="connsiteX49" fmla="*/ 1735842 w 4662398"/>
              <a:gd name="connsiteY49" fmla="*/ 585787 h 1958188"/>
              <a:gd name="connsiteX50" fmla="*/ 1742986 w 4662398"/>
              <a:gd name="connsiteY50" fmla="*/ 519112 h 1958188"/>
              <a:gd name="connsiteX51" fmla="*/ 1759655 w 4662398"/>
              <a:gd name="connsiteY51" fmla="*/ 473868 h 1958188"/>
              <a:gd name="connsiteX52" fmla="*/ 1745367 w 4662398"/>
              <a:gd name="connsiteY52" fmla="*/ 433387 h 1958188"/>
              <a:gd name="connsiteX53" fmla="*/ 1750130 w 4662398"/>
              <a:gd name="connsiteY53" fmla="*/ 347662 h 1958188"/>
              <a:gd name="connsiteX54" fmla="*/ 1745367 w 4662398"/>
              <a:gd name="connsiteY54" fmla="*/ 307181 h 1958188"/>
              <a:gd name="connsiteX55" fmla="*/ 1745367 w 4662398"/>
              <a:gd name="connsiteY55" fmla="*/ 264318 h 1958188"/>
              <a:gd name="connsiteX56" fmla="*/ 1771561 w 4662398"/>
              <a:gd name="connsiteY56" fmla="*/ 254793 h 1958188"/>
              <a:gd name="connsiteX57" fmla="*/ 1792992 w 4662398"/>
              <a:gd name="connsiteY57" fmla="*/ 271462 h 1958188"/>
              <a:gd name="connsiteX58" fmla="*/ 1807280 w 4662398"/>
              <a:gd name="connsiteY58" fmla="*/ 297656 h 1958188"/>
              <a:gd name="connsiteX59" fmla="*/ 1835855 w 4662398"/>
              <a:gd name="connsiteY59" fmla="*/ 300037 h 1958188"/>
              <a:gd name="connsiteX60" fmla="*/ 1857286 w 4662398"/>
              <a:gd name="connsiteY60" fmla="*/ 278606 h 1958188"/>
              <a:gd name="connsiteX61" fmla="*/ 1943011 w 4662398"/>
              <a:gd name="connsiteY61" fmla="*/ 280987 h 1958188"/>
              <a:gd name="connsiteX62" fmla="*/ 1995398 w 4662398"/>
              <a:gd name="connsiteY62" fmla="*/ 290512 h 1958188"/>
              <a:gd name="connsiteX63" fmla="*/ 2043023 w 4662398"/>
              <a:gd name="connsiteY63" fmla="*/ 266700 h 1958188"/>
              <a:gd name="connsiteX64" fmla="*/ 2054930 w 4662398"/>
              <a:gd name="connsiteY64" fmla="*/ 233362 h 1958188"/>
              <a:gd name="connsiteX65" fmla="*/ 2095411 w 4662398"/>
              <a:gd name="connsiteY65" fmla="*/ 200025 h 1958188"/>
              <a:gd name="connsiteX66" fmla="*/ 2085886 w 4662398"/>
              <a:gd name="connsiteY66" fmla="*/ 173831 h 1958188"/>
              <a:gd name="connsiteX67" fmla="*/ 2102555 w 4662398"/>
              <a:gd name="connsiteY67" fmla="*/ 147637 h 1958188"/>
              <a:gd name="connsiteX68" fmla="*/ 2157323 w 4662398"/>
              <a:gd name="connsiteY68" fmla="*/ 169068 h 1958188"/>
              <a:gd name="connsiteX69" fmla="*/ 2204948 w 4662398"/>
              <a:gd name="connsiteY69" fmla="*/ 173831 h 1958188"/>
              <a:gd name="connsiteX70" fmla="*/ 2240667 w 4662398"/>
              <a:gd name="connsiteY70" fmla="*/ 209550 h 1958188"/>
              <a:gd name="connsiteX71" fmla="*/ 2269242 w 4662398"/>
              <a:gd name="connsiteY71" fmla="*/ 223837 h 1958188"/>
              <a:gd name="connsiteX72" fmla="*/ 2288292 w 4662398"/>
              <a:gd name="connsiteY72" fmla="*/ 280987 h 1958188"/>
              <a:gd name="connsiteX73" fmla="*/ 2357348 w 4662398"/>
              <a:gd name="connsiteY73" fmla="*/ 316706 h 1958188"/>
              <a:gd name="connsiteX74" fmla="*/ 2426405 w 4662398"/>
              <a:gd name="connsiteY74" fmla="*/ 307181 h 1958188"/>
              <a:gd name="connsiteX75" fmla="*/ 2474030 w 4662398"/>
              <a:gd name="connsiteY75" fmla="*/ 295275 h 1958188"/>
              <a:gd name="connsiteX76" fmla="*/ 2512130 w 4662398"/>
              <a:gd name="connsiteY76" fmla="*/ 307181 h 1958188"/>
              <a:gd name="connsiteX77" fmla="*/ 2562136 w 4662398"/>
              <a:gd name="connsiteY77" fmla="*/ 304800 h 1958188"/>
              <a:gd name="connsiteX78" fmla="*/ 2607380 w 4662398"/>
              <a:gd name="connsiteY78" fmla="*/ 316706 h 1958188"/>
              <a:gd name="connsiteX79" fmla="*/ 2652623 w 4662398"/>
              <a:gd name="connsiteY79" fmla="*/ 302418 h 1958188"/>
              <a:gd name="connsiteX80" fmla="*/ 2674055 w 4662398"/>
              <a:gd name="connsiteY80" fmla="*/ 276225 h 1958188"/>
              <a:gd name="connsiteX81" fmla="*/ 2752636 w 4662398"/>
              <a:gd name="connsiteY81" fmla="*/ 297656 h 1958188"/>
              <a:gd name="connsiteX82" fmla="*/ 2793117 w 4662398"/>
              <a:gd name="connsiteY82" fmla="*/ 283368 h 1958188"/>
              <a:gd name="connsiteX83" fmla="*/ 2800261 w 4662398"/>
              <a:gd name="connsiteY83" fmla="*/ 242887 h 1958188"/>
              <a:gd name="connsiteX84" fmla="*/ 2771686 w 4662398"/>
              <a:gd name="connsiteY84" fmla="*/ 195262 h 1958188"/>
              <a:gd name="connsiteX85" fmla="*/ 2755017 w 4662398"/>
              <a:gd name="connsiteY85" fmla="*/ 135731 h 1958188"/>
              <a:gd name="connsiteX86" fmla="*/ 2721680 w 4662398"/>
              <a:gd name="connsiteY86" fmla="*/ 102393 h 1958188"/>
              <a:gd name="connsiteX87" fmla="*/ 2697867 w 4662398"/>
              <a:gd name="connsiteY87" fmla="*/ 59531 h 1958188"/>
              <a:gd name="connsiteX88" fmla="*/ 2707392 w 4662398"/>
              <a:gd name="connsiteY88" fmla="*/ 38100 h 1958188"/>
              <a:gd name="connsiteX89" fmla="*/ 2743111 w 4662398"/>
              <a:gd name="connsiteY89" fmla="*/ 0 h 1958188"/>
              <a:gd name="connsiteX90" fmla="*/ 2762161 w 4662398"/>
              <a:gd name="connsiteY90" fmla="*/ 16668 h 1958188"/>
              <a:gd name="connsiteX91" fmla="*/ 2843123 w 4662398"/>
              <a:gd name="connsiteY91" fmla="*/ 30956 h 1958188"/>
              <a:gd name="connsiteX92" fmla="*/ 2926467 w 4662398"/>
              <a:gd name="connsiteY92" fmla="*/ 47625 h 1958188"/>
              <a:gd name="connsiteX93" fmla="*/ 2976473 w 4662398"/>
              <a:gd name="connsiteY93" fmla="*/ 66675 h 1958188"/>
              <a:gd name="connsiteX94" fmla="*/ 3026480 w 4662398"/>
              <a:gd name="connsiteY94" fmla="*/ 61912 h 1958188"/>
              <a:gd name="connsiteX95" fmla="*/ 3074105 w 4662398"/>
              <a:gd name="connsiteY95" fmla="*/ 92868 h 1958188"/>
              <a:gd name="connsiteX96" fmla="*/ 3116967 w 4662398"/>
              <a:gd name="connsiteY96" fmla="*/ 119062 h 1958188"/>
              <a:gd name="connsiteX97" fmla="*/ 3138398 w 4662398"/>
              <a:gd name="connsiteY97" fmla="*/ 150018 h 1958188"/>
              <a:gd name="connsiteX98" fmla="*/ 3188405 w 4662398"/>
              <a:gd name="connsiteY98" fmla="*/ 157162 h 1958188"/>
              <a:gd name="connsiteX99" fmla="*/ 3214598 w 4662398"/>
              <a:gd name="connsiteY99" fmla="*/ 202406 h 1958188"/>
              <a:gd name="connsiteX100" fmla="*/ 3240792 w 4662398"/>
              <a:gd name="connsiteY100" fmla="*/ 233362 h 1958188"/>
              <a:gd name="connsiteX101" fmla="*/ 3257461 w 4662398"/>
              <a:gd name="connsiteY101" fmla="*/ 278606 h 1958188"/>
              <a:gd name="connsiteX102" fmla="*/ 3316992 w 4662398"/>
              <a:gd name="connsiteY102" fmla="*/ 295275 h 1958188"/>
              <a:gd name="connsiteX103" fmla="*/ 3345567 w 4662398"/>
              <a:gd name="connsiteY103" fmla="*/ 326231 h 1958188"/>
              <a:gd name="connsiteX104" fmla="*/ 3366998 w 4662398"/>
              <a:gd name="connsiteY104" fmla="*/ 335756 h 1958188"/>
              <a:gd name="connsiteX105" fmla="*/ 3378905 w 4662398"/>
              <a:gd name="connsiteY105" fmla="*/ 376237 h 1958188"/>
              <a:gd name="connsiteX106" fmla="*/ 3409861 w 4662398"/>
              <a:gd name="connsiteY106" fmla="*/ 383381 h 1958188"/>
              <a:gd name="connsiteX107" fmla="*/ 3447961 w 4662398"/>
              <a:gd name="connsiteY107" fmla="*/ 447675 h 1958188"/>
              <a:gd name="connsiteX108" fmla="*/ 3443198 w 4662398"/>
              <a:gd name="connsiteY108" fmla="*/ 502443 h 1958188"/>
              <a:gd name="connsiteX109" fmla="*/ 3431292 w 4662398"/>
              <a:gd name="connsiteY109" fmla="*/ 531018 h 1958188"/>
              <a:gd name="connsiteX110" fmla="*/ 3471773 w 4662398"/>
              <a:gd name="connsiteY110" fmla="*/ 564356 h 1958188"/>
              <a:gd name="connsiteX111" fmla="*/ 3469392 w 4662398"/>
              <a:gd name="connsiteY111" fmla="*/ 647700 h 1958188"/>
              <a:gd name="connsiteX112" fmla="*/ 3450342 w 4662398"/>
              <a:gd name="connsiteY112" fmla="*/ 664368 h 1958188"/>
              <a:gd name="connsiteX113" fmla="*/ 3433673 w 4662398"/>
              <a:gd name="connsiteY113" fmla="*/ 738187 h 1958188"/>
              <a:gd name="connsiteX114" fmla="*/ 3455105 w 4662398"/>
              <a:gd name="connsiteY114" fmla="*/ 773906 h 1958188"/>
              <a:gd name="connsiteX115" fmla="*/ 3509873 w 4662398"/>
              <a:gd name="connsiteY115" fmla="*/ 797718 h 1958188"/>
              <a:gd name="connsiteX116" fmla="*/ 3547973 w 4662398"/>
              <a:gd name="connsiteY116" fmla="*/ 778668 h 1958188"/>
              <a:gd name="connsiteX117" fmla="*/ 3590836 w 4662398"/>
              <a:gd name="connsiteY117" fmla="*/ 797718 h 1958188"/>
              <a:gd name="connsiteX118" fmla="*/ 3626555 w 4662398"/>
              <a:gd name="connsiteY118" fmla="*/ 783431 h 1958188"/>
              <a:gd name="connsiteX119" fmla="*/ 3664655 w 4662398"/>
              <a:gd name="connsiteY119" fmla="*/ 826293 h 1958188"/>
              <a:gd name="connsiteX120" fmla="*/ 3743236 w 4662398"/>
              <a:gd name="connsiteY120" fmla="*/ 902493 h 1958188"/>
              <a:gd name="connsiteX121" fmla="*/ 3812292 w 4662398"/>
              <a:gd name="connsiteY121" fmla="*/ 916781 h 1958188"/>
              <a:gd name="connsiteX122" fmla="*/ 3858789 w 4662398"/>
              <a:gd name="connsiteY122" fmla="*/ 944470 h 1958188"/>
              <a:gd name="connsiteX123" fmla="*/ 4662398 w 4662398"/>
              <a:gd name="connsiteY123" fmla="*/ 1235868 h 1958188"/>
              <a:gd name="connsiteX124" fmla="*/ 4660017 w 4662398"/>
              <a:gd name="connsiteY124" fmla="*/ 1116806 h 1958188"/>
              <a:gd name="connsiteX125" fmla="*/ 4633823 w 4662398"/>
              <a:gd name="connsiteY125" fmla="*/ 1078706 h 1958188"/>
              <a:gd name="connsiteX126" fmla="*/ 4571911 w 4662398"/>
              <a:gd name="connsiteY126" fmla="*/ 1057275 h 1958188"/>
              <a:gd name="connsiteX127" fmla="*/ 4555242 w 4662398"/>
              <a:gd name="connsiteY127" fmla="*/ 1014412 h 1958188"/>
              <a:gd name="connsiteX128" fmla="*/ 4529048 w 4662398"/>
              <a:gd name="connsiteY128" fmla="*/ 931068 h 1958188"/>
              <a:gd name="connsiteX129" fmla="*/ 4500473 w 4662398"/>
              <a:gd name="connsiteY129" fmla="*/ 890587 h 1958188"/>
              <a:gd name="connsiteX130" fmla="*/ 4526667 w 4662398"/>
              <a:gd name="connsiteY130" fmla="*/ 862012 h 1958188"/>
              <a:gd name="connsiteX131" fmla="*/ 4595723 w 4662398"/>
              <a:gd name="connsiteY131" fmla="*/ 840581 h 1958188"/>
              <a:gd name="connsiteX0" fmla="*/ 0 w 4660017"/>
              <a:gd name="connsiteY0" fmla="*/ 1958188 h 1958188"/>
              <a:gd name="connsiteX1" fmla="*/ 27040 w 4660017"/>
              <a:gd name="connsiteY1" fmla="*/ 1853413 h 1958188"/>
              <a:gd name="connsiteX2" fmla="*/ 81163 w 4660017"/>
              <a:gd name="connsiteY2" fmla="*/ 1804987 h 1958188"/>
              <a:gd name="connsiteX3" fmla="*/ 92557 w 4660017"/>
              <a:gd name="connsiteY3" fmla="*/ 1728075 h 1958188"/>
              <a:gd name="connsiteX4" fmla="*/ 132437 w 4660017"/>
              <a:gd name="connsiteY4" fmla="*/ 1676800 h 1958188"/>
              <a:gd name="connsiteX5" fmla="*/ 173742 w 4660017"/>
              <a:gd name="connsiteY5" fmla="*/ 1661552 h 1958188"/>
              <a:gd name="connsiteX6" fmla="*/ 172430 w 4660017"/>
              <a:gd name="connsiteY6" fmla="*/ 1631153 h 1958188"/>
              <a:gd name="connsiteX7" fmla="*/ 192877 w 4660017"/>
              <a:gd name="connsiteY7" fmla="*/ 1603271 h 1958188"/>
              <a:gd name="connsiteX8" fmla="*/ 215306 w 4660017"/>
              <a:gd name="connsiteY8" fmla="*/ 1583314 h 1958188"/>
              <a:gd name="connsiteX9" fmla="*/ 239755 w 4660017"/>
              <a:gd name="connsiteY9" fmla="*/ 1563755 h 1958188"/>
              <a:gd name="connsiteX10" fmla="*/ 281318 w 4660017"/>
              <a:gd name="connsiteY10" fmla="*/ 1507522 h 1958188"/>
              <a:gd name="connsiteX11" fmla="*/ 308213 w 4660017"/>
              <a:gd name="connsiteY11" fmla="*/ 1443954 h 1958188"/>
              <a:gd name="connsiteX12" fmla="*/ 362001 w 4660017"/>
              <a:gd name="connsiteY12" fmla="*/ 1434174 h 1958188"/>
              <a:gd name="connsiteX13" fmla="*/ 423124 w 4660017"/>
              <a:gd name="connsiteY13" fmla="*/ 1436619 h 1958188"/>
              <a:gd name="connsiteX14" fmla="*/ 459798 w 4660017"/>
              <a:gd name="connsiteY14" fmla="*/ 1412170 h 1958188"/>
              <a:gd name="connsiteX15" fmla="*/ 489137 w 4660017"/>
              <a:gd name="connsiteY15" fmla="*/ 1373051 h 1958188"/>
              <a:gd name="connsiteX16" fmla="*/ 533145 w 4660017"/>
              <a:gd name="connsiteY16" fmla="*/ 1365716 h 1958188"/>
              <a:gd name="connsiteX17" fmla="*/ 557594 w 4660017"/>
              <a:gd name="connsiteY17" fmla="*/ 1346157 h 1958188"/>
              <a:gd name="connsiteX18" fmla="*/ 577154 w 4660017"/>
              <a:gd name="connsiteY18" fmla="*/ 1309483 h 1958188"/>
              <a:gd name="connsiteX19" fmla="*/ 626052 w 4660017"/>
              <a:gd name="connsiteY19" fmla="*/ 1299704 h 1958188"/>
              <a:gd name="connsiteX20" fmla="*/ 673805 w 4660017"/>
              <a:gd name="connsiteY20" fmla="*/ 1304925 h 1958188"/>
              <a:gd name="connsiteX21" fmla="*/ 714286 w 4660017"/>
              <a:gd name="connsiteY21" fmla="*/ 1259681 h 1958188"/>
              <a:gd name="connsiteX22" fmla="*/ 745242 w 4660017"/>
              <a:gd name="connsiteY22" fmla="*/ 1247775 h 1958188"/>
              <a:gd name="connsiteX23" fmla="*/ 795248 w 4660017"/>
              <a:gd name="connsiteY23" fmla="*/ 1257300 h 1958188"/>
              <a:gd name="connsiteX24" fmla="*/ 842873 w 4660017"/>
              <a:gd name="connsiteY24" fmla="*/ 1207293 h 1958188"/>
              <a:gd name="connsiteX25" fmla="*/ 890498 w 4660017"/>
              <a:gd name="connsiteY25" fmla="*/ 1214437 h 1958188"/>
              <a:gd name="connsiteX26" fmla="*/ 911930 w 4660017"/>
              <a:gd name="connsiteY26" fmla="*/ 1214437 h 1958188"/>
              <a:gd name="connsiteX27" fmla="*/ 947648 w 4660017"/>
              <a:gd name="connsiteY27" fmla="*/ 1195387 h 1958188"/>
              <a:gd name="connsiteX28" fmla="*/ 971461 w 4660017"/>
              <a:gd name="connsiteY28" fmla="*/ 1157287 h 1958188"/>
              <a:gd name="connsiteX29" fmla="*/ 1016705 w 4660017"/>
              <a:gd name="connsiteY29" fmla="*/ 1157287 h 1958188"/>
              <a:gd name="connsiteX30" fmla="*/ 1042898 w 4660017"/>
              <a:gd name="connsiteY30" fmla="*/ 1119187 h 1958188"/>
              <a:gd name="connsiteX31" fmla="*/ 1069092 w 4660017"/>
              <a:gd name="connsiteY31" fmla="*/ 1100137 h 1958188"/>
              <a:gd name="connsiteX32" fmla="*/ 1088142 w 4660017"/>
              <a:gd name="connsiteY32" fmla="*/ 1071562 h 1958188"/>
              <a:gd name="connsiteX33" fmla="*/ 1133386 w 4660017"/>
              <a:gd name="connsiteY33" fmla="*/ 1064418 h 1958188"/>
              <a:gd name="connsiteX34" fmla="*/ 1145292 w 4660017"/>
              <a:gd name="connsiteY34" fmla="*/ 1031081 h 1958188"/>
              <a:gd name="connsiteX35" fmla="*/ 1181011 w 4660017"/>
              <a:gd name="connsiteY35" fmla="*/ 1012031 h 1958188"/>
              <a:gd name="connsiteX36" fmla="*/ 1202442 w 4660017"/>
              <a:gd name="connsiteY36" fmla="*/ 988218 h 1958188"/>
              <a:gd name="connsiteX37" fmla="*/ 1283405 w 4660017"/>
              <a:gd name="connsiteY37" fmla="*/ 966787 h 1958188"/>
              <a:gd name="connsiteX38" fmla="*/ 1297692 w 4660017"/>
              <a:gd name="connsiteY38" fmla="*/ 952500 h 1958188"/>
              <a:gd name="connsiteX39" fmla="*/ 1307217 w 4660017"/>
              <a:gd name="connsiteY39" fmla="*/ 919162 h 1958188"/>
              <a:gd name="connsiteX40" fmla="*/ 1388180 w 4660017"/>
              <a:gd name="connsiteY40" fmla="*/ 878681 h 1958188"/>
              <a:gd name="connsiteX41" fmla="*/ 1407230 w 4660017"/>
              <a:gd name="connsiteY41" fmla="*/ 873918 h 1958188"/>
              <a:gd name="connsiteX42" fmla="*/ 1466761 w 4660017"/>
              <a:gd name="connsiteY42" fmla="*/ 809625 h 1958188"/>
              <a:gd name="connsiteX43" fmla="*/ 1471523 w 4660017"/>
              <a:gd name="connsiteY43" fmla="*/ 759618 h 1958188"/>
              <a:gd name="connsiteX44" fmla="*/ 1497717 w 4660017"/>
              <a:gd name="connsiteY44" fmla="*/ 733425 h 1958188"/>
              <a:gd name="connsiteX45" fmla="*/ 1523911 w 4660017"/>
              <a:gd name="connsiteY45" fmla="*/ 728662 h 1958188"/>
              <a:gd name="connsiteX46" fmla="*/ 1585823 w 4660017"/>
              <a:gd name="connsiteY46" fmla="*/ 683418 h 1958188"/>
              <a:gd name="connsiteX47" fmla="*/ 1671548 w 4660017"/>
              <a:gd name="connsiteY47" fmla="*/ 640556 h 1958188"/>
              <a:gd name="connsiteX48" fmla="*/ 1707267 w 4660017"/>
              <a:gd name="connsiteY48" fmla="*/ 600075 h 1958188"/>
              <a:gd name="connsiteX49" fmla="*/ 1735842 w 4660017"/>
              <a:gd name="connsiteY49" fmla="*/ 585787 h 1958188"/>
              <a:gd name="connsiteX50" fmla="*/ 1742986 w 4660017"/>
              <a:gd name="connsiteY50" fmla="*/ 519112 h 1958188"/>
              <a:gd name="connsiteX51" fmla="*/ 1759655 w 4660017"/>
              <a:gd name="connsiteY51" fmla="*/ 473868 h 1958188"/>
              <a:gd name="connsiteX52" fmla="*/ 1745367 w 4660017"/>
              <a:gd name="connsiteY52" fmla="*/ 433387 h 1958188"/>
              <a:gd name="connsiteX53" fmla="*/ 1750130 w 4660017"/>
              <a:gd name="connsiteY53" fmla="*/ 347662 h 1958188"/>
              <a:gd name="connsiteX54" fmla="*/ 1745367 w 4660017"/>
              <a:gd name="connsiteY54" fmla="*/ 307181 h 1958188"/>
              <a:gd name="connsiteX55" fmla="*/ 1745367 w 4660017"/>
              <a:gd name="connsiteY55" fmla="*/ 264318 h 1958188"/>
              <a:gd name="connsiteX56" fmla="*/ 1771561 w 4660017"/>
              <a:gd name="connsiteY56" fmla="*/ 254793 h 1958188"/>
              <a:gd name="connsiteX57" fmla="*/ 1792992 w 4660017"/>
              <a:gd name="connsiteY57" fmla="*/ 271462 h 1958188"/>
              <a:gd name="connsiteX58" fmla="*/ 1807280 w 4660017"/>
              <a:gd name="connsiteY58" fmla="*/ 297656 h 1958188"/>
              <a:gd name="connsiteX59" fmla="*/ 1835855 w 4660017"/>
              <a:gd name="connsiteY59" fmla="*/ 300037 h 1958188"/>
              <a:gd name="connsiteX60" fmla="*/ 1857286 w 4660017"/>
              <a:gd name="connsiteY60" fmla="*/ 278606 h 1958188"/>
              <a:gd name="connsiteX61" fmla="*/ 1943011 w 4660017"/>
              <a:gd name="connsiteY61" fmla="*/ 280987 h 1958188"/>
              <a:gd name="connsiteX62" fmla="*/ 1995398 w 4660017"/>
              <a:gd name="connsiteY62" fmla="*/ 290512 h 1958188"/>
              <a:gd name="connsiteX63" fmla="*/ 2043023 w 4660017"/>
              <a:gd name="connsiteY63" fmla="*/ 266700 h 1958188"/>
              <a:gd name="connsiteX64" fmla="*/ 2054930 w 4660017"/>
              <a:gd name="connsiteY64" fmla="*/ 233362 h 1958188"/>
              <a:gd name="connsiteX65" fmla="*/ 2095411 w 4660017"/>
              <a:gd name="connsiteY65" fmla="*/ 200025 h 1958188"/>
              <a:gd name="connsiteX66" fmla="*/ 2085886 w 4660017"/>
              <a:gd name="connsiteY66" fmla="*/ 173831 h 1958188"/>
              <a:gd name="connsiteX67" fmla="*/ 2102555 w 4660017"/>
              <a:gd name="connsiteY67" fmla="*/ 147637 h 1958188"/>
              <a:gd name="connsiteX68" fmla="*/ 2157323 w 4660017"/>
              <a:gd name="connsiteY68" fmla="*/ 169068 h 1958188"/>
              <a:gd name="connsiteX69" fmla="*/ 2204948 w 4660017"/>
              <a:gd name="connsiteY69" fmla="*/ 173831 h 1958188"/>
              <a:gd name="connsiteX70" fmla="*/ 2240667 w 4660017"/>
              <a:gd name="connsiteY70" fmla="*/ 209550 h 1958188"/>
              <a:gd name="connsiteX71" fmla="*/ 2269242 w 4660017"/>
              <a:gd name="connsiteY71" fmla="*/ 223837 h 1958188"/>
              <a:gd name="connsiteX72" fmla="*/ 2288292 w 4660017"/>
              <a:gd name="connsiteY72" fmla="*/ 280987 h 1958188"/>
              <a:gd name="connsiteX73" fmla="*/ 2357348 w 4660017"/>
              <a:gd name="connsiteY73" fmla="*/ 316706 h 1958188"/>
              <a:gd name="connsiteX74" fmla="*/ 2426405 w 4660017"/>
              <a:gd name="connsiteY74" fmla="*/ 307181 h 1958188"/>
              <a:gd name="connsiteX75" fmla="*/ 2474030 w 4660017"/>
              <a:gd name="connsiteY75" fmla="*/ 295275 h 1958188"/>
              <a:gd name="connsiteX76" fmla="*/ 2512130 w 4660017"/>
              <a:gd name="connsiteY76" fmla="*/ 307181 h 1958188"/>
              <a:gd name="connsiteX77" fmla="*/ 2562136 w 4660017"/>
              <a:gd name="connsiteY77" fmla="*/ 304800 h 1958188"/>
              <a:gd name="connsiteX78" fmla="*/ 2607380 w 4660017"/>
              <a:gd name="connsiteY78" fmla="*/ 316706 h 1958188"/>
              <a:gd name="connsiteX79" fmla="*/ 2652623 w 4660017"/>
              <a:gd name="connsiteY79" fmla="*/ 302418 h 1958188"/>
              <a:gd name="connsiteX80" fmla="*/ 2674055 w 4660017"/>
              <a:gd name="connsiteY80" fmla="*/ 276225 h 1958188"/>
              <a:gd name="connsiteX81" fmla="*/ 2752636 w 4660017"/>
              <a:gd name="connsiteY81" fmla="*/ 297656 h 1958188"/>
              <a:gd name="connsiteX82" fmla="*/ 2793117 w 4660017"/>
              <a:gd name="connsiteY82" fmla="*/ 283368 h 1958188"/>
              <a:gd name="connsiteX83" fmla="*/ 2800261 w 4660017"/>
              <a:gd name="connsiteY83" fmla="*/ 242887 h 1958188"/>
              <a:gd name="connsiteX84" fmla="*/ 2771686 w 4660017"/>
              <a:gd name="connsiteY84" fmla="*/ 195262 h 1958188"/>
              <a:gd name="connsiteX85" fmla="*/ 2755017 w 4660017"/>
              <a:gd name="connsiteY85" fmla="*/ 135731 h 1958188"/>
              <a:gd name="connsiteX86" fmla="*/ 2721680 w 4660017"/>
              <a:gd name="connsiteY86" fmla="*/ 102393 h 1958188"/>
              <a:gd name="connsiteX87" fmla="*/ 2697867 w 4660017"/>
              <a:gd name="connsiteY87" fmla="*/ 59531 h 1958188"/>
              <a:gd name="connsiteX88" fmla="*/ 2707392 w 4660017"/>
              <a:gd name="connsiteY88" fmla="*/ 38100 h 1958188"/>
              <a:gd name="connsiteX89" fmla="*/ 2743111 w 4660017"/>
              <a:gd name="connsiteY89" fmla="*/ 0 h 1958188"/>
              <a:gd name="connsiteX90" fmla="*/ 2762161 w 4660017"/>
              <a:gd name="connsiteY90" fmla="*/ 16668 h 1958188"/>
              <a:gd name="connsiteX91" fmla="*/ 2843123 w 4660017"/>
              <a:gd name="connsiteY91" fmla="*/ 30956 h 1958188"/>
              <a:gd name="connsiteX92" fmla="*/ 2926467 w 4660017"/>
              <a:gd name="connsiteY92" fmla="*/ 47625 h 1958188"/>
              <a:gd name="connsiteX93" fmla="*/ 2976473 w 4660017"/>
              <a:gd name="connsiteY93" fmla="*/ 66675 h 1958188"/>
              <a:gd name="connsiteX94" fmla="*/ 3026480 w 4660017"/>
              <a:gd name="connsiteY94" fmla="*/ 61912 h 1958188"/>
              <a:gd name="connsiteX95" fmla="*/ 3074105 w 4660017"/>
              <a:gd name="connsiteY95" fmla="*/ 92868 h 1958188"/>
              <a:gd name="connsiteX96" fmla="*/ 3116967 w 4660017"/>
              <a:gd name="connsiteY96" fmla="*/ 119062 h 1958188"/>
              <a:gd name="connsiteX97" fmla="*/ 3138398 w 4660017"/>
              <a:gd name="connsiteY97" fmla="*/ 150018 h 1958188"/>
              <a:gd name="connsiteX98" fmla="*/ 3188405 w 4660017"/>
              <a:gd name="connsiteY98" fmla="*/ 157162 h 1958188"/>
              <a:gd name="connsiteX99" fmla="*/ 3214598 w 4660017"/>
              <a:gd name="connsiteY99" fmla="*/ 202406 h 1958188"/>
              <a:gd name="connsiteX100" fmla="*/ 3240792 w 4660017"/>
              <a:gd name="connsiteY100" fmla="*/ 233362 h 1958188"/>
              <a:gd name="connsiteX101" fmla="*/ 3257461 w 4660017"/>
              <a:gd name="connsiteY101" fmla="*/ 278606 h 1958188"/>
              <a:gd name="connsiteX102" fmla="*/ 3316992 w 4660017"/>
              <a:gd name="connsiteY102" fmla="*/ 295275 h 1958188"/>
              <a:gd name="connsiteX103" fmla="*/ 3345567 w 4660017"/>
              <a:gd name="connsiteY103" fmla="*/ 326231 h 1958188"/>
              <a:gd name="connsiteX104" fmla="*/ 3366998 w 4660017"/>
              <a:gd name="connsiteY104" fmla="*/ 335756 h 1958188"/>
              <a:gd name="connsiteX105" fmla="*/ 3378905 w 4660017"/>
              <a:gd name="connsiteY105" fmla="*/ 376237 h 1958188"/>
              <a:gd name="connsiteX106" fmla="*/ 3409861 w 4660017"/>
              <a:gd name="connsiteY106" fmla="*/ 383381 h 1958188"/>
              <a:gd name="connsiteX107" fmla="*/ 3447961 w 4660017"/>
              <a:gd name="connsiteY107" fmla="*/ 447675 h 1958188"/>
              <a:gd name="connsiteX108" fmla="*/ 3443198 w 4660017"/>
              <a:gd name="connsiteY108" fmla="*/ 502443 h 1958188"/>
              <a:gd name="connsiteX109" fmla="*/ 3431292 w 4660017"/>
              <a:gd name="connsiteY109" fmla="*/ 531018 h 1958188"/>
              <a:gd name="connsiteX110" fmla="*/ 3471773 w 4660017"/>
              <a:gd name="connsiteY110" fmla="*/ 564356 h 1958188"/>
              <a:gd name="connsiteX111" fmla="*/ 3469392 w 4660017"/>
              <a:gd name="connsiteY111" fmla="*/ 647700 h 1958188"/>
              <a:gd name="connsiteX112" fmla="*/ 3450342 w 4660017"/>
              <a:gd name="connsiteY112" fmla="*/ 664368 h 1958188"/>
              <a:gd name="connsiteX113" fmla="*/ 3433673 w 4660017"/>
              <a:gd name="connsiteY113" fmla="*/ 738187 h 1958188"/>
              <a:gd name="connsiteX114" fmla="*/ 3455105 w 4660017"/>
              <a:gd name="connsiteY114" fmla="*/ 773906 h 1958188"/>
              <a:gd name="connsiteX115" fmla="*/ 3509873 w 4660017"/>
              <a:gd name="connsiteY115" fmla="*/ 797718 h 1958188"/>
              <a:gd name="connsiteX116" fmla="*/ 3547973 w 4660017"/>
              <a:gd name="connsiteY116" fmla="*/ 778668 h 1958188"/>
              <a:gd name="connsiteX117" fmla="*/ 3590836 w 4660017"/>
              <a:gd name="connsiteY117" fmla="*/ 797718 h 1958188"/>
              <a:gd name="connsiteX118" fmla="*/ 3626555 w 4660017"/>
              <a:gd name="connsiteY118" fmla="*/ 783431 h 1958188"/>
              <a:gd name="connsiteX119" fmla="*/ 3664655 w 4660017"/>
              <a:gd name="connsiteY119" fmla="*/ 826293 h 1958188"/>
              <a:gd name="connsiteX120" fmla="*/ 3743236 w 4660017"/>
              <a:gd name="connsiteY120" fmla="*/ 902493 h 1958188"/>
              <a:gd name="connsiteX121" fmla="*/ 3812292 w 4660017"/>
              <a:gd name="connsiteY121" fmla="*/ 916781 h 1958188"/>
              <a:gd name="connsiteX122" fmla="*/ 3858789 w 4660017"/>
              <a:gd name="connsiteY122" fmla="*/ 944470 h 1958188"/>
              <a:gd name="connsiteX123" fmla="*/ 4660017 w 4660017"/>
              <a:gd name="connsiteY123" fmla="*/ 1116806 h 1958188"/>
              <a:gd name="connsiteX124" fmla="*/ 4633823 w 4660017"/>
              <a:gd name="connsiteY124" fmla="*/ 1078706 h 1958188"/>
              <a:gd name="connsiteX125" fmla="*/ 4571911 w 4660017"/>
              <a:gd name="connsiteY125" fmla="*/ 1057275 h 1958188"/>
              <a:gd name="connsiteX126" fmla="*/ 4555242 w 4660017"/>
              <a:gd name="connsiteY126" fmla="*/ 1014412 h 1958188"/>
              <a:gd name="connsiteX127" fmla="*/ 4529048 w 4660017"/>
              <a:gd name="connsiteY127" fmla="*/ 931068 h 1958188"/>
              <a:gd name="connsiteX128" fmla="*/ 4500473 w 4660017"/>
              <a:gd name="connsiteY128" fmla="*/ 890587 h 1958188"/>
              <a:gd name="connsiteX129" fmla="*/ 4526667 w 4660017"/>
              <a:gd name="connsiteY129" fmla="*/ 862012 h 1958188"/>
              <a:gd name="connsiteX130" fmla="*/ 4595723 w 4660017"/>
              <a:gd name="connsiteY130" fmla="*/ 840581 h 1958188"/>
              <a:gd name="connsiteX0" fmla="*/ 0 w 4633823"/>
              <a:gd name="connsiteY0" fmla="*/ 1958188 h 1958188"/>
              <a:gd name="connsiteX1" fmla="*/ 27040 w 4633823"/>
              <a:gd name="connsiteY1" fmla="*/ 1853413 h 1958188"/>
              <a:gd name="connsiteX2" fmla="*/ 81163 w 4633823"/>
              <a:gd name="connsiteY2" fmla="*/ 1804987 h 1958188"/>
              <a:gd name="connsiteX3" fmla="*/ 92557 w 4633823"/>
              <a:gd name="connsiteY3" fmla="*/ 1728075 h 1958188"/>
              <a:gd name="connsiteX4" fmla="*/ 132437 w 4633823"/>
              <a:gd name="connsiteY4" fmla="*/ 1676800 h 1958188"/>
              <a:gd name="connsiteX5" fmla="*/ 173742 w 4633823"/>
              <a:gd name="connsiteY5" fmla="*/ 1661552 h 1958188"/>
              <a:gd name="connsiteX6" fmla="*/ 172430 w 4633823"/>
              <a:gd name="connsiteY6" fmla="*/ 1631153 h 1958188"/>
              <a:gd name="connsiteX7" fmla="*/ 192877 w 4633823"/>
              <a:gd name="connsiteY7" fmla="*/ 1603271 h 1958188"/>
              <a:gd name="connsiteX8" fmla="*/ 215306 w 4633823"/>
              <a:gd name="connsiteY8" fmla="*/ 1583314 h 1958188"/>
              <a:gd name="connsiteX9" fmla="*/ 239755 w 4633823"/>
              <a:gd name="connsiteY9" fmla="*/ 1563755 h 1958188"/>
              <a:gd name="connsiteX10" fmla="*/ 281318 w 4633823"/>
              <a:gd name="connsiteY10" fmla="*/ 1507522 h 1958188"/>
              <a:gd name="connsiteX11" fmla="*/ 308213 w 4633823"/>
              <a:gd name="connsiteY11" fmla="*/ 1443954 h 1958188"/>
              <a:gd name="connsiteX12" fmla="*/ 362001 w 4633823"/>
              <a:gd name="connsiteY12" fmla="*/ 1434174 h 1958188"/>
              <a:gd name="connsiteX13" fmla="*/ 423124 w 4633823"/>
              <a:gd name="connsiteY13" fmla="*/ 1436619 h 1958188"/>
              <a:gd name="connsiteX14" fmla="*/ 459798 w 4633823"/>
              <a:gd name="connsiteY14" fmla="*/ 1412170 h 1958188"/>
              <a:gd name="connsiteX15" fmla="*/ 489137 w 4633823"/>
              <a:gd name="connsiteY15" fmla="*/ 1373051 h 1958188"/>
              <a:gd name="connsiteX16" fmla="*/ 533145 w 4633823"/>
              <a:gd name="connsiteY16" fmla="*/ 1365716 h 1958188"/>
              <a:gd name="connsiteX17" fmla="*/ 557594 w 4633823"/>
              <a:gd name="connsiteY17" fmla="*/ 1346157 h 1958188"/>
              <a:gd name="connsiteX18" fmla="*/ 577154 w 4633823"/>
              <a:gd name="connsiteY18" fmla="*/ 1309483 h 1958188"/>
              <a:gd name="connsiteX19" fmla="*/ 626052 w 4633823"/>
              <a:gd name="connsiteY19" fmla="*/ 1299704 h 1958188"/>
              <a:gd name="connsiteX20" fmla="*/ 673805 w 4633823"/>
              <a:gd name="connsiteY20" fmla="*/ 1304925 h 1958188"/>
              <a:gd name="connsiteX21" fmla="*/ 714286 w 4633823"/>
              <a:gd name="connsiteY21" fmla="*/ 1259681 h 1958188"/>
              <a:gd name="connsiteX22" fmla="*/ 745242 w 4633823"/>
              <a:gd name="connsiteY22" fmla="*/ 1247775 h 1958188"/>
              <a:gd name="connsiteX23" fmla="*/ 795248 w 4633823"/>
              <a:gd name="connsiteY23" fmla="*/ 1257300 h 1958188"/>
              <a:gd name="connsiteX24" fmla="*/ 842873 w 4633823"/>
              <a:gd name="connsiteY24" fmla="*/ 1207293 h 1958188"/>
              <a:gd name="connsiteX25" fmla="*/ 890498 w 4633823"/>
              <a:gd name="connsiteY25" fmla="*/ 1214437 h 1958188"/>
              <a:gd name="connsiteX26" fmla="*/ 911930 w 4633823"/>
              <a:gd name="connsiteY26" fmla="*/ 1214437 h 1958188"/>
              <a:gd name="connsiteX27" fmla="*/ 947648 w 4633823"/>
              <a:gd name="connsiteY27" fmla="*/ 1195387 h 1958188"/>
              <a:gd name="connsiteX28" fmla="*/ 971461 w 4633823"/>
              <a:gd name="connsiteY28" fmla="*/ 1157287 h 1958188"/>
              <a:gd name="connsiteX29" fmla="*/ 1016705 w 4633823"/>
              <a:gd name="connsiteY29" fmla="*/ 1157287 h 1958188"/>
              <a:gd name="connsiteX30" fmla="*/ 1042898 w 4633823"/>
              <a:gd name="connsiteY30" fmla="*/ 1119187 h 1958188"/>
              <a:gd name="connsiteX31" fmla="*/ 1069092 w 4633823"/>
              <a:gd name="connsiteY31" fmla="*/ 1100137 h 1958188"/>
              <a:gd name="connsiteX32" fmla="*/ 1088142 w 4633823"/>
              <a:gd name="connsiteY32" fmla="*/ 1071562 h 1958188"/>
              <a:gd name="connsiteX33" fmla="*/ 1133386 w 4633823"/>
              <a:gd name="connsiteY33" fmla="*/ 1064418 h 1958188"/>
              <a:gd name="connsiteX34" fmla="*/ 1145292 w 4633823"/>
              <a:gd name="connsiteY34" fmla="*/ 1031081 h 1958188"/>
              <a:gd name="connsiteX35" fmla="*/ 1181011 w 4633823"/>
              <a:gd name="connsiteY35" fmla="*/ 1012031 h 1958188"/>
              <a:gd name="connsiteX36" fmla="*/ 1202442 w 4633823"/>
              <a:gd name="connsiteY36" fmla="*/ 988218 h 1958188"/>
              <a:gd name="connsiteX37" fmla="*/ 1283405 w 4633823"/>
              <a:gd name="connsiteY37" fmla="*/ 966787 h 1958188"/>
              <a:gd name="connsiteX38" fmla="*/ 1297692 w 4633823"/>
              <a:gd name="connsiteY38" fmla="*/ 952500 h 1958188"/>
              <a:gd name="connsiteX39" fmla="*/ 1307217 w 4633823"/>
              <a:gd name="connsiteY39" fmla="*/ 919162 h 1958188"/>
              <a:gd name="connsiteX40" fmla="*/ 1388180 w 4633823"/>
              <a:gd name="connsiteY40" fmla="*/ 878681 h 1958188"/>
              <a:gd name="connsiteX41" fmla="*/ 1407230 w 4633823"/>
              <a:gd name="connsiteY41" fmla="*/ 873918 h 1958188"/>
              <a:gd name="connsiteX42" fmla="*/ 1466761 w 4633823"/>
              <a:gd name="connsiteY42" fmla="*/ 809625 h 1958188"/>
              <a:gd name="connsiteX43" fmla="*/ 1471523 w 4633823"/>
              <a:gd name="connsiteY43" fmla="*/ 759618 h 1958188"/>
              <a:gd name="connsiteX44" fmla="*/ 1497717 w 4633823"/>
              <a:gd name="connsiteY44" fmla="*/ 733425 h 1958188"/>
              <a:gd name="connsiteX45" fmla="*/ 1523911 w 4633823"/>
              <a:gd name="connsiteY45" fmla="*/ 728662 h 1958188"/>
              <a:gd name="connsiteX46" fmla="*/ 1585823 w 4633823"/>
              <a:gd name="connsiteY46" fmla="*/ 683418 h 1958188"/>
              <a:gd name="connsiteX47" fmla="*/ 1671548 w 4633823"/>
              <a:gd name="connsiteY47" fmla="*/ 640556 h 1958188"/>
              <a:gd name="connsiteX48" fmla="*/ 1707267 w 4633823"/>
              <a:gd name="connsiteY48" fmla="*/ 600075 h 1958188"/>
              <a:gd name="connsiteX49" fmla="*/ 1735842 w 4633823"/>
              <a:gd name="connsiteY49" fmla="*/ 585787 h 1958188"/>
              <a:gd name="connsiteX50" fmla="*/ 1742986 w 4633823"/>
              <a:gd name="connsiteY50" fmla="*/ 519112 h 1958188"/>
              <a:gd name="connsiteX51" fmla="*/ 1759655 w 4633823"/>
              <a:gd name="connsiteY51" fmla="*/ 473868 h 1958188"/>
              <a:gd name="connsiteX52" fmla="*/ 1745367 w 4633823"/>
              <a:gd name="connsiteY52" fmla="*/ 433387 h 1958188"/>
              <a:gd name="connsiteX53" fmla="*/ 1750130 w 4633823"/>
              <a:gd name="connsiteY53" fmla="*/ 347662 h 1958188"/>
              <a:gd name="connsiteX54" fmla="*/ 1745367 w 4633823"/>
              <a:gd name="connsiteY54" fmla="*/ 307181 h 1958188"/>
              <a:gd name="connsiteX55" fmla="*/ 1745367 w 4633823"/>
              <a:gd name="connsiteY55" fmla="*/ 264318 h 1958188"/>
              <a:gd name="connsiteX56" fmla="*/ 1771561 w 4633823"/>
              <a:gd name="connsiteY56" fmla="*/ 254793 h 1958188"/>
              <a:gd name="connsiteX57" fmla="*/ 1792992 w 4633823"/>
              <a:gd name="connsiteY57" fmla="*/ 271462 h 1958188"/>
              <a:gd name="connsiteX58" fmla="*/ 1807280 w 4633823"/>
              <a:gd name="connsiteY58" fmla="*/ 297656 h 1958188"/>
              <a:gd name="connsiteX59" fmla="*/ 1835855 w 4633823"/>
              <a:gd name="connsiteY59" fmla="*/ 300037 h 1958188"/>
              <a:gd name="connsiteX60" fmla="*/ 1857286 w 4633823"/>
              <a:gd name="connsiteY60" fmla="*/ 278606 h 1958188"/>
              <a:gd name="connsiteX61" fmla="*/ 1943011 w 4633823"/>
              <a:gd name="connsiteY61" fmla="*/ 280987 h 1958188"/>
              <a:gd name="connsiteX62" fmla="*/ 1995398 w 4633823"/>
              <a:gd name="connsiteY62" fmla="*/ 290512 h 1958188"/>
              <a:gd name="connsiteX63" fmla="*/ 2043023 w 4633823"/>
              <a:gd name="connsiteY63" fmla="*/ 266700 h 1958188"/>
              <a:gd name="connsiteX64" fmla="*/ 2054930 w 4633823"/>
              <a:gd name="connsiteY64" fmla="*/ 233362 h 1958188"/>
              <a:gd name="connsiteX65" fmla="*/ 2095411 w 4633823"/>
              <a:gd name="connsiteY65" fmla="*/ 200025 h 1958188"/>
              <a:gd name="connsiteX66" fmla="*/ 2085886 w 4633823"/>
              <a:gd name="connsiteY66" fmla="*/ 173831 h 1958188"/>
              <a:gd name="connsiteX67" fmla="*/ 2102555 w 4633823"/>
              <a:gd name="connsiteY67" fmla="*/ 147637 h 1958188"/>
              <a:gd name="connsiteX68" fmla="*/ 2157323 w 4633823"/>
              <a:gd name="connsiteY68" fmla="*/ 169068 h 1958188"/>
              <a:gd name="connsiteX69" fmla="*/ 2204948 w 4633823"/>
              <a:gd name="connsiteY69" fmla="*/ 173831 h 1958188"/>
              <a:gd name="connsiteX70" fmla="*/ 2240667 w 4633823"/>
              <a:gd name="connsiteY70" fmla="*/ 209550 h 1958188"/>
              <a:gd name="connsiteX71" fmla="*/ 2269242 w 4633823"/>
              <a:gd name="connsiteY71" fmla="*/ 223837 h 1958188"/>
              <a:gd name="connsiteX72" fmla="*/ 2288292 w 4633823"/>
              <a:gd name="connsiteY72" fmla="*/ 280987 h 1958188"/>
              <a:gd name="connsiteX73" fmla="*/ 2357348 w 4633823"/>
              <a:gd name="connsiteY73" fmla="*/ 316706 h 1958188"/>
              <a:gd name="connsiteX74" fmla="*/ 2426405 w 4633823"/>
              <a:gd name="connsiteY74" fmla="*/ 307181 h 1958188"/>
              <a:gd name="connsiteX75" fmla="*/ 2474030 w 4633823"/>
              <a:gd name="connsiteY75" fmla="*/ 295275 h 1958188"/>
              <a:gd name="connsiteX76" fmla="*/ 2512130 w 4633823"/>
              <a:gd name="connsiteY76" fmla="*/ 307181 h 1958188"/>
              <a:gd name="connsiteX77" fmla="*/ 2562136 w 4633823"/>
              <a:gd name="connsiteY77" fmla="*/ 304800 h 1958188"/>
              <a:gd name="connsiteX78" fmla="*/ 2607380 w 4633823"/>
              <a:gd name="connsiteY78" fmla="*/ 316706 h 1958188"/>
              <a:gd name="connsiteX79" fmla="*/ 2652623 w 4633823"/>
              <a:gd name="connsiteY79" fmla="*/ 302418 h 1958188"/>
              <a:gd name="connsiteX80" fmla="*/ 2674055 w 4633823"/>
              <a:gd name="connsiteY80" fmla="*/ 276225 h 1958188"/>
              <a:gd name="connsiteX81" fmla="*/ 2752636 w 4633823"/>
              <a:gd name="connsiteY81" fmla="*/ 297656 h 1958188"/>
              <a:gd name="connsiteX82" fmla="*/ 2793117 w 4633823"/>
              <a:gd name="connsiteY82" fmla="*/ 283368 h 1958188"/>
              <a:gd name="connsiteX83" fmla="*/ 2800261 w 4633823"/>
              <a:gd name="connsiteY83" fmla="*/ 242887 h 1958188"/>
              <a:gd name="connsiteX84" fmla="*/ 2771686 w 4633823"/>
              <a:gd name="connsiteY84" fmla="*/ 195262 h 1958188"/>
              <a:gd name="connsiteX85" fmla="*/ 2755017 w 4633823"/>
              <a:gd name="connsiteY85" fmla="*/ 135731 h 1958188"/>
              <a:gd name="connsiteX86" fmla="*/ 2721680 w 4633823"/>
              <a:gd name="connsiteY86" fmla="*/ 102393 h 1958188"/>
              <a:gd name="connsiteX87" fmla="*/ 2697867 w 4633823"/>
              <a:gd name="connsiteY87" fmla="*/ 59531 h 1958188"/>
              <a:gd name="connsiteX88" fmla="*/ 2707392 w 4633823"/>
              <a:gd name="connsiteY88" fmla="*/ 38100 h 1958188"/>
              <a:gd name="connsiteX89" fmla="*/ 2743111 w 4633823"/>
              <a:gd name="connsiteY89" fmla="*/ 0 h 1958188"/>
              <a:gd name="connsiteX90" fmla="*/ 2762161 w 4633823"/>
              <a:gd name="connsiteY90" fmla="*/ 16668 h 1958188"/>
              <a:gd name="connsiteX91" fmla="*/ 2843123 w 4633823"/>
              <a:gd name="connsiteY91" fmla="*/ 30956 h 1958188"/>
              <a:gd name="connsiteX92" fmla="*/ 2926467 w 4633823"/>
              <a:gd name="connsiteY92" fmla="*/ 47625 h 1958188"/>
              <a:gd name="connsiteX93" fmla="*/ 2976473 w 4633823"/>
              <a:gd name="connsiteY93" fmla="*/ 66675 h 1958188"/>
              <a:gd name="connsiteX94" fmla="*/ 3026480 w 4633823"/>
              <a:gd name="connsiteY94" fmla="*/ 61912 h 1958188"/>
              <a:gd name="connsiteX95" fmla="*/ 3074105 w 4633823"/>
              <a:gd name="connsiteY95" fmla="*/ 92868 h 1958188"/>
              <a:gd name="connsiteX96" fmla="*/ 3116967 w 4633823"/>
              <a:gd name="connsiteY96" fmla="*/ 119062 h 1958188"/>
              <a:gd name="connsiteX97" fmla="*/ 3138398 w 4633823"/>
              <a:gd name="connsiteY97" fmla="*/ 150018 h 1958188"/>
              <a:gd name="connsiteX98" fmla="*/ 3188405 w 4633823"/>
              <a:gd name="connsiteY98" fmla="*/ 157162 h 1958188"/>
              <a:gd name="connsiteX99" fmla="*/ 3214598 w 4633823"/>
              <a:gd name="connsiteY99" fmla="*/ 202406 h 1958188"/>
              <a:gd name="connsiteX100" fmla="*/ 3240792 w 4633823"/>
              <a:gd name="connsiteY100" fmla="*/ 233362 h 1958188"/>
              <a:gd name="connsiteX101" fmla="*/ 3257461 w 4633823"/>
              <a:gd name="connsiteY101" fmla="*/ 278606 h 1958188"/>
              <a:gd name="connsiteX102" fmla="*/ 3316992 w 4633823"/>
              <a:gd name="connsiteY102" fmla="*/ 295275 h 1958188"/>
              <a:gd name="connsiteX103" fmla="*/ 3345567 w 4633823"/>
              <a:gd name="connsiteY103" fmla="*/ 326231 h 1958188"/>
              <a:gd name="connsiteX104" fmla="*/ 3366998 w 4633823"/>
              <a:gd name="connsiteY104" fmla="*/ 335756 h 1958188"/>
              <a:gd name="connsiteX105" fmla="*/ 3378905 w 4633823"/>
              <a:gd name="connsiteY105" fmla="*/ 376237 h 1958188"/>
              <a:gd name="connsiteX106" fmla="*/ 3409861 w 4633823"/>
              <a:gd name="connsiteY106" fmla="*/ 383381 h 1958188"/>
              <a:gd name="connsiteX107" fmla="*/ 3447961 w 4633823"/>
              <a:gd name="connsiteY107" fmla="*/ 447675 h 1958188"/>
              <a:gd name="connsiteX108" fmla="*/ 3443198 w 4633823"/>
              <a:gd name="connsiteY108" fmla="*/ 502443 h 1958188"/>
              <a:gd name="connsiteX109" fmla="*/ 3431292 w 4633823"/>
              <a:gd name="connsiteY109" fmla="*/ 531018 h 1958188"/>
              <a:gd name="connsiteX110" fmla="*/ 3471773 w 4633823"/>
              <a:gd name="connsiteY110" fmla="*/ 564356 h 1958188"/>
              <a:gd name="connsiteX111" fmla="*/ 3469392 w 4633823"/>
              <a:gd name="connsiteY111" fmla="*/ 647700 h 1958188"/>
              <a:gd name="connsiteX112" fmla="*/ 3450342 w 4633823"/>
              <a:gd name="connsiteY112" fmla="*/ 664368 h 1958188"/>
              <a:gd name="connsiteX113" fmla="*/ 3433673 w 4633823"/>
              <a:gd name="connsiteY113" fmla="*/ 738187 h 1958188"/>
              <a:gd name="connsiteX114" fmla="*/ 3455105 w 4633823"/>
              <a:gd name="connsiteY114" fmla="*/ 773906 h 1958188"/>
              <a:gd name="connsiteX115" fmla="*/ 3509873 w 4633823"/>
              <a:gd name="connsiteY115" fmla="*/ 797718 h 1958188"/>
              <a:gd name="connsiteX116" fmla="*/ 3547973 w 4633823"/>
              <a:gd name="connsiteY116" fmla="*/ 778668 h 1958188"/>
              <a:gd name="connsiteX117" fmla="*/ 3590836 w 4633823"/>
              <a:gd name="connsiteY117" fmla="*/ 797718 h 1958188"/>
              <a:gd name="connsiteX118" fmla="*/ 3626555 w 4633823"/>
              <a:gd name="connsiteY118" fmla="*/ 783431 h 1958188"/>
              <a:gd name="connsiteX119" fmla="*/ 3664655 w 4633823"/>
              <a:gd name="connsiteY119" fmla="*/ 826293 h 1958188"/>
              <a:gd name="connsiteX120" fmla="*/ 3743236 w 4633823"/>
              <a:gd name="connsiteY120" fmla="*/ 902493 h 1958188"/>
              <a:gd name="connsiteX121" fmla="*/ 3812292 w 4633823"/>
              <a:gd name="connsiteY121" fmla="*/ 916781 h 1958188"/>
              <a:gd name="connsiteX122" fmla="*/ 3858789 w 4633823"/>
              <a:gd name="connsiteY122" fmla="*/ 944470 h 1958188"/>
              <a:gd name="connsiteX123" fmla="*/ 4633823 w 4633823"/>
              <a:gd name="connsiteY123" fmla="*/ 1078706 h 1958188"/>
              <a:gd name="connsiteX124" fmla="*/ 4571911 w 4633823"/>
              <a:gd name="connsiteY124" fmla="*/ 1057275 h 1958188"/>
              <a:gd name="connsiteX125" fmla="*/ 4555242 w 4633823"/>
              <a:gd name="connsiteY125" fmla="*/ 1014412 h 1958188"/>
              <a:gd name="connsiteX126" fmla="*/ 4529048 w 4633823"/>
              <a:gd name="connsiteY126" fmla="*/ 931068 h 1958188"/>
              <a:gd name="connsiteX127" fmla="*/ 4500473 w 4633823"/>
              <a:gd name="connsiteY127" fmla="*/ 890587 h 1958188"/>
              <a:gd name="connsiteX128" fmla="*/ 4526667 w 4633823"/>
              <a:gd name="connsiteY128" fmla="*/ 862012 h 1958188"/>
              <a:gd name="connsiteX129" fmla="*/ 4595723 w 4633823"/>
              <a:gd name="connsiteY129" fmla="*/ 840581 h 1958188"/>
              <a:gd name="connsiteX0" fmla="*/ 0 w 4595723"/>
              <a:gd name="connsiteY0" fmla="*/ 1958188 h 1958188"/>
              <a:gd name="connsiteX1" fmla="*/ 27040 w 4595723"/>
              <a:gd name="connsiteY1" fmla="*/ 1853413 h 1958188"/>
              <a:gd name="connsiteX2" fmla="*/ 81163 w 4595723"/>
              <a:gd name="connsiteY2" fmla="*/ 1804987 h 1958188"/>
              <a:gd name="connsiteX3" fmla="*/ 92557 w 4595723"/>
              <a:gd name="connsiteY3" fmla="*/ 1728075 h 1958188"/>
              <a:gd name="connsiteX4" fmla="*/ 132437 w 4595723"/>
              <a:gd name="connsiteY4" fmla="*/ 1676800 h 1958188"/>
              <a:gd name="connsiteX5" fmla="*/ 173742 w 4595723"/>
              <a:gd name="connsiteY5" fmla="*/ 1661552 h 1958188"/>
              <a:gd name="connsiteX6" fmla="*/ 172430 w 4595723"/>
              <a:gd name="connsiteY6" fmla="*/ 1631153 h 1958188"/>
              <a:gd name="connsiteX7" fmla="*/ 192877 w 4595723"/>
              <a:gd name="connsiteY7" fmla="*/ 1603271 h 1958188"/>
              <a:gd name="connsiteX8" fmla="*/ 215306 w 4595723"/>
              <a:gd name="connsiteY8" fmla="*/ 1583314 h 1958188"/>
              <a:gd name="connsiteX9" fmla="*/ 239755 w 4595723"/>
              <a:gd name="connsiteY9" fmla="*/ 1563755 h 1958188"/>
              <a:gd name="connsiteX10" fmla="*/ 281318 w 4595723"/>
              <a:gd name="connsiteY10" fmla="*/ 1507522 h 1958188"/>
              <a:gd name="connsiteX11" fmla="*/ 308213 w 4595723"/>
              <a:gd name="connsiteY11" fmla="*/ 1443954 h 1958188"/>
              <a:gd name="connsiteX12" fmla="*/ 362001 w 4595723"/>
              <a:gd name="connsiteY12" fmla="*/ 1434174 h 1958188"/>
              <a:gd name="connsiteX13" fmla="*/ 423124 w 4595723"/>
              <a:gd name="connsiteY13" fmla="*/ 1436619 h 1958188"/>
              <a:gd name="connsiteX14" fmla="*/ 459798 w 4595723"/>
              <a:gd name="connsiteY14" fmla="*/ 1412170 h 1958188"/>
              <a:gd name="connsiteX15" fmla="*/ 489137 w 4595723"/>
              <a:gd name="connsiteY15" fmla="*/ 1373051 h 1958188"/>
              <a:gd name="connsiteX16" fmla="*/ 533145 w 4595723"/>
              <a:gd name="connsiteY16" fmla="*/ 1365716 h 1958188"/>
              <a:gd name="connsiteX17" fmla="*/ 557594 w 4595723"/>
              <a:gd name="connsiteY17" fmla="*/ 1346157 h 1958188"/>
              <a:gd name="connsiteX18" fmla="*/ 577154 w 4595723"/>
              <a:gd name="connsiteY18" fmla="*/ 1309483 h 1958188"/>
              <a:gd name="connsiteX19" fmla="*/ 626052 w 4595723"/>
              <a:gd name="connsiteY19" fmla="*/ 1299704 h 1958188"/>
              <a:gd name="connsiteX20" fmla="*/ 673805 w 4595723"/>
              <a:gd name="connsiteY20" fmla="*/ 1304925 h 1958188"/>
              <a:gd name="connsiteX21" fmla="*/ 714286 w 4595723"/>
              <a:gd name="connsiteY21" fmla="*/ 1259681 h 1958188"/>
              <a:gd name="connsiteX22" fmla="*/ 745242 w 4595723"/>
              <a:gd name="connsiteY22" fmla="*/ 1247775 h 1958188"/>
              <a:gd name="connsiteX23" fmla="*/ 795248 w 4595723"/>
              <a:gd name="connsiteY23" fmla="*/ 1257300 h 1958188"/>
              <a:gd name="connsiteX24" fmla="*/ 842873 w 4595723"/>
              <a:gd name="connsiteY24" fmla="*/ 1207293 h 1958188"/>
              <a:gd name="connsiteX25" fmla="*/ 890498 w 4595723"/>
              <a:gd name="connsiteY25" fmla="*/ 1214437 h 1958188"/>
              <a:gd name="connsiteX26" fmla="*/ 911930 w 4595723"/>
              <a:gd name="connsiteY26" fmla="*/ 1214437 h 1958188"/>
              <a:gd name="connsiteX27" fmla="*/ 947648 w 4595723"/>
              <a:gd name="connsiteY27" fmla="*/ 1195387 h 1958188"/>
              <a:gd name="connsiteX28" fmla="*/ 971461 w 4595723"/>
              <a:gd name="connsiteY28" fmla="*/ 1157287 h 1958188"/>
              <a:gd name="connsiteX29" fmla="*/ 1016705 w 4595723"/>
              <a:gd name="connsiteY29" fmla="*/ 1157287 h 1958188"/>
              <a:gd name="connsiteX30" fmla="*/ 1042898 w 4595723"/>
              <a:gd name="connsiteY30" fmla="*/ 1119187 h 1958188"/>
              <a:gd name="connsiteX31" fmla="*/ 1069092 w 4595723"/>
              <a:gd name="connsiteY31" fmla="*/ 1100137 h 1958188"/>
              <a:gd name="connsiteX32" fmla="*/ 1088142 w 4595723"/>
              <a:gd name="connsiteY32" fmla="*/ 1071562 h 1958188"/>
              <a:gd name="connsiteX33" fmla="*/ 1133386 w 4595723"/>
              <a:gd name="connsiteY33" fmla="*/ 1064418 h 1958188"/>
              <a:gd name="connsiteX34" fmla="*/ 1145292 w 4595723"/>
              <a:gd name="connsiteY34" fmla="*/ 1031081 h 1958188"/>
              <a:gd name="connsiteX35" fmla="*/ 1181011 w 4595723"/>
              <a:gd name="connsiteY35" fmla="*/ 1012031 h 1958188"/>
              <a:gd name="connsiteX36" fmla="*/ 1202442 w 4595723"/>
              <a:gd name="connsiteY36" fmla="*/ 988218 h 1958188"/>
              <a:gd name="connsiteX37" fmla="*/ 1283405 w 4595723"/>
              <a:gd name="connsiteY37" fmla="*/ 966787 h 1958188"/>
              <a:gd name="connsiteX38" fmla="*/ 1297692 w 4595723"/>
              <a:gd name="connsiteY38" fmla="*/ 952500 h 1958188"/>
              <a:gd name="connsiteX39" fmla="*/ 1307217 w 4595723"/>
              <a:gd name="connsiteY39" fmla="*/ 919162 h 1958188"/>
              <a:gd name="connsiteX40" fmla="*/ 1388180 w 4595723"/>
              <a:gd name="connsiteY40" fmla="*/ 878681 h 1958188"/>
              <a:gd name="connsiteX41" fmla="*/ 1407230 w 4595723"/>
              <a:gd name="connsiteY41" fmla="*/ 873918 h 1958188"/>
              <a:gd name="connsiteX42" fmla="*/ 1466761 w 4595723"/>
              <a:gd name="connsiteY42" fmla="*/ 809625 h 1958188"/>
              <a:gd name="connsiteX43" fmla="*/ 1471523 w 4595723"/>
              <a:gd name="connsiteY43" fmla="*/ 759618 h 1958188"/>
              <a:gd name="connsiteX44" fmla="*/ 1497717 w 4595723"/>
              <a:gd name="connsiteY44" fmla="*/ 733425 h 1958188"/>
              <a:gd name="connsiteX45" fmla="*/ 1523911 w 4595723"/>
              <a:gd name="connsiteY45" fmla="*/ 728662 h 1958188"/>
              <a:gd name="connsiteX46" fmla="*/ 1585823 w 4595723"/>
              <a:gd name="connsiteY46" fmla="*/ 683418 h 1958188"/>
              <a:gd name="connsiteX47" fmla="*/ 1671548 w 4595723"/>
              <a:gd name="connsiteY47" fmla="*/ 640556 h 1958188"/>
              <a:gd name="connsiteX48" fmla="*/ 1707267 w 4595723"/>
              <a:gd name="connsiteY48" fmla="*/ 600075 h 1958188"/>
              <a:gd name="connsiteX49" fmla="*/ 1735842 w 4595723"/>
              <a:gd name="connsiteY49" fmla="*/ 585787 h 1958188"/>
              <a:gd name="connsiteX50" fmla="*/ 1742986 w 4595723"/>
              <a:gd name="connsiteY50" fmla="*/ 519112 h 1958188"/>
              <a:gd name="connsiteX51" fmla="*/ 1759655 w 4595723"/>
              <a:gd name="connsiteY51" fmla="*/ 473868 h 1958188"/>
              <a:gd name="connsiteX52" fmla="*/ 1745367 w 4595723"/>
              <a:gd name="connsiteY52" fmla="*/ 433387 h 1958188"/>
              <a:gd name="connsiteX53" fmla="*/ 1750130 w 4595723"/>
              <a:gd name="connsiteY53" fmla="*/ 347662 h 1958188"/>
              <a:gd name="connsiteX54" fmla="*/ 1745367 w 4595723"/>
              <a:gd name="connsiteY54" fmla="*/ 307181 h 1958188"/>
              <a:gd name="connsiteX55" fmla="*/ 1745367 w 4595723"/>
              <a:gd name="connsiteY55" fmla="*/ 264318 h 1958188"/>
              <a:gd name="connsiteX56" fmla="*/ 1771561 w 4595723"/>
              <a:gd name="connsiteY56" fmla="*/ 254793 h 1958188"/>
              <a:gd name="connsiteX57" fmla="*/ 1792992 w 4595723"/>
              <a:gd name="connsiteY57" fmla="*/ 271462 h 1958188"/>
              <a:gd name="connsiteX58" fmla="*/ 1807280 w 4595723"/>
              <a:gd name="connsiteY58" fmla="*/ 297656 h 1958188"/>
              <a:gd name="connsiteX59" fmla="*/ 1835855 w 4595723"/>
              <a:gd name="connsiteY59" fmla="*/ 300037 h 1958188"/>
              <a:gd name="connsiteX60" fmla="*/ 1857286 w 4595723"/>
              <a:gd name="connsiteY60" fmla="*/ 278606 h 1958188"/>
              <a:gd name="connsiteX61" fmla="*/ 1943011 w 4595723"/>
              <a:gd name="connsiteY61" fmla="*/ 280987 h 1958188"/>
              <a:gd name="connsiteX62" fmla="*/ 1995398 w 4595723"/>
              <a:gd name="connsiteY62" fmla="*/ 290512 h 1958188"/>
              <a:gd name="connsiteX63" fmla="*/ 2043023 w 4595723"/>
              <a:gd name="connsiteY63" fmla="*/ 266700 h 1958188"/>
              <a:gd name="connsiteX64" fmla="*/ 2054930 w 4595723"/>
              <a:gd name="connsiteY64" fmla="*/ 233362 h 1958188"/>
              <a:gd name="connsiteX65" fmla="*/ 2095411 w 4595723"/>
              <a:gd name="connsiteY65" fmla="*/ 200025 h 1958188"/>
              <a:gd name="connsiteX66" fmla="*/ 2085886 w 4595723"/>
              <a:gd name="connsiteY66" fmla="*/ 173831 h 1958188"/>
              <a:gd name="connsiteX67" fmla="*/ 2102555 w 4595723"/>
              <a:gd name="connsiteY67" fmla="*/ 147637 h 1958188"/>
              <a:gd name="connsiteX68" fmla="*/ 2157323 w 4595723"/>
              <a:gd name="connsiteY68" fmla="*/ 169068 h 1958188"/>
              <a:gd name="connsiteX69" fmla="*/ 2204948 w 4595723"/>
              <a:gd name="connsiteY69" fmla="*/ 173831 h 1958188"/>
              <a:gd name="connsiteX70" fmla="*/ 2240667 w 4595723"/>
              <a:gd name="connsiteY70" fmla="*/ 209550 h 1958188"/>
              <a:gd name="connsiteX71" fmla="*/ 2269242 w 4595723"/>
              <a:gd name="connsiteY71" fmla="*/ 223837 h 1958188"/>
              <a:gd name="connsiteX72" fmla="*/ 2288292 w 4595723"/>
              <a:gd name="connsiteY72" fmla="*/ 280987 h 1958188"/>
              <a:gd name="connsiteX73" fmla="*/ 2357348 w 4595723"/>
              <a:gd name="connsiteY73" fmla="*/ 316706 h 1958188"/>
              <a:gd name="connsiteX74" fmla="*/ 2426405 w 4595723"/>
              <a:gd name="connsiteY74" fmla="*/ 307181 h 1958188"/>
              <a:gd name="connsiteX75" fmla="*/ 2474030 w 4595723"/>
              <a:gd name="connsiteY75" fmla="*/ 295275 h 1958188"/>
              <a:gd name="connsiteX76" fmla="*/ 2512130 w 4595723"/>
              <a:gd name="connsiteY76" fmla="*/ 307181 h 1958188"/>
              <a:gd name="connsiteX77" fmla="*/ 2562136 w 4595723"/>
              <a:gd name="connsiteY77" fmla="*/ 304800 h 1958188"/>
              <a:gd name="connsiteX78" fmla="*/ 2607380 w 4595723"/>
              <a:gd name="connsiteY78" fmla="*/ 316706 h 1958188"/>
              <a:gd name="connsiteX79" fmla="*/ 2652623 w 4595723"/>
              <a:gd name="connsiteY79" fmla="*/ 302418 h 1958188"/>
              <a:gd name="connsiteX80" fmla="*/ 2674055 w 4595723"/>
              <a:gd name="connsiteY80" fmla="*/ 276225 h 1958188"/>
              <a:gd name="connsiteX81" fmla="*/ 2752636 w 4595723"/>
              <a:gd name="connsiteY81" fmla="*/ 297656 h 1958188"/>
              <a:gd name="connsiteX82" fmla="*/ 2793117 w 4595723"/>
              <a:gd name="connsiteY82" fmla="*/ 283368 h 1958188"/>
              <a:gd name="connsiteX83" fmla="*/ 2800261 w 4595723"/>
              <a:gd name="connsiteY83" fmla="*/ 242887 h 1958188"/>
              <a:gd name="connsiteX84" fmla="*/ 2771686 w 4595723"/>
              <a:gd name="connsiteY84" fmla="*/ 195262 h 1958188"/>
              <a:gd name="connsiteX85" fmla="*/ 2755017 w 4595723"/>
              <a:gd name="connsiteY85" fmla="*/ 135731 h 1958188"/>
              <a:gd name="connsiteX86" fmla="*/ 2721680 w 4595723"/>
              <a:gd name="connsiteY86" fmla="*/ 102393 h 1958188"/>
              <a:gd name="connsiteX87" fmla="*/ 2697867 w 4595723"/>
              <a:gd name="connsiteY87" fmla="*/ 59531 h 1958188"/>
              <a:gd name="connsiteX88" fmla="*/ 2707392 w 4595723"/>
              <a:gd name="connsiteY88" fmla="*/ 38100 h 1958188"/>
              <a:gd name="connsiteX89" fmla="*/ 2743111 w 4595723"/>
              <a:gd name="connsiteY89" fmla="*/ 0 h 1958188"/>
              <a:gd name="connsiteX90" fmla="*/ 2762161 w 4595723"/>
              <a:gd name="connsiteY90" fmla="*/ 16668 h 1958188"/>
              <a:gd name="connsiteX91" fmla="*/ 2843123 w 4595723"/>
              <a:gd name="connsiteY91" fmla="*/ 30956 h 1958188"/>
              <a:gd name="connsiteX92" fmla="*/ 2926467 w 4595723"/>
              <a:gd name="connsiteY92" fmla="*/ 47625 h 1958188"/>
              <a:gd name="connsiteX93" fmla="*/ 2976473 w 4595723"/>
              <a:gd name="connsiteY93" fmla="*/ 66675 h 1958188"/>
              <a:gd name="connsiteX94" fmla="*/ 3026480 w 4595723"/>
              <a:gd name="connsiteY94" fmla="*/ 61912 h 1958188"/>
              <a:gd name="connsiteX95" fmla="*/ 3074105 w 4595723"/>
              <a:gd name="connsiteY95" fmla="*/ 92868 h 1958188"/>
              <a:gd name="connsiteX96" fmla="*/ 3116967 w 4595723"/>
              <a:gd name="connsiteY96" fmla="*/ 119062 h 1958188"/>
              <a:gd name="connsiteX97" fmla="*/ 3138398 w 4595723"/>
              <a:gd name="connsiteY97" fmla="*/ 150018 h 1958188"/>
              <a:gd name="connsiteX98" fmla="*/ 3188405 w 4595723"/>
              <a:gd name="connsiteY98" fmla="*/ 157162 h 1958188"/>
              <a:gd name="connsiteX99" fmla="*/ 3214598 w 4595723"/>
              <a:gd name="connsiteY99" fmla="*/ 202406 h 1958188"/>
              <a:gd name="connsiteX100" fmla="*/ 3240792 w 4595723"/>
              <a:gd name="connsiteY100" fmla="*/ 233362 h 1958188"/>
              <a:gd name="connsiteX101" fmla="*/ 3257461 w 4595723"/>
              <a:gd name="connsiteY101" fmla="*/ 278606 h 1958188"/>
              <a:gd name="connsiteX102" fmla="*/ 3316992 w 4595723"/>
              <a:gd name="connsiteY102" fmla="*/ 295275 h 1958188"/>
              <a:gd name="connsiteX103" fmla="*/ 3345567 w 4595723"/>
              <a:gd name="connsiteY103" fmla="*/ 326231 h 1958188"/>
              <a:gd name="connsiteX104" fmla="*/ 3366998 w 4595723"/>
              <a:gd name="connsiteY104" fmla="*/ 335756 h 1958188"/>
              <a:gd name="connsiteX105" fmla="*/ 3378905 w 4595723"/>
              <a:gd name="connsiteY105" fmla="*/ 376237 h 1958188"/>
              <a:gd name="connsiteX106" fmla="*/ 3409861 w 4595723"/>
              <a:gd name="connsiteY106" fmla="*/ 383381 h 1958188"/>
              <a:gd name="connsiteX107" fmla="*/ 3447961 w 4595723"/>
              <a:gd name="connsiteY107" fmla="*/ 447675 h 1958188"/>
              <a:gd name="connsiteX108" fmla="*/ 3443198 w 4595723"/>
              <a:gd name="connsiteY108" fmla="*/ 502443 h 1958188"/>
              <a:gd name="connsiteX109" fmla="*/ 3431292 w 4595723"/>
              <a:gd name="connsiteY109" fmla="*/ 531018 h 1958188"/>
              <a:gd name="connsiteX110" fmla="*/ 3471773 w 4595723"/>
              <a:gd name="connsiteY110" fmla="*/ 564356 h 1958188"/>
              <a:gd name="connsiteX111" fmla="*/ 3469392 w 4595723"/>
              <a:gd name="connsiteY111" fmla="*/ 647700 h 1958188"/>
              <a:gd name="connsiteX112" fmla="*/ 3450342 w 4595723"/>
              <a:gd name="connsiteY112" fmla="*/ 664368 h 1958188"/>
              <a:gd name="connsiteX113" fmla="*/ 3433673 w 4595723"/>
              <a:gd name="connsiteY113" fmla="*/ 738187 h 1958188"/>
              <a:gd name="connsiteX114" fmla="*/ 3455105 w 4595723"/>
              <a:gd name="connsiteY114" fmla="*/ 773906 h 1958188"/>
              <a:gd name="connsiteX115" fmla="*/ 3509873 w 4595723"/>
              <a:gd name="connsiteY115" fmla="*/ 797718 h 1958188"/>
              <a:gd name="connsiteX116" fmla="*/ 3547973 w 4595723"/>
              <a:gd name="connsiteY116" fmla="*/ 778668 h 1958188"/>
              <a:gd name="connsiteX117" fmla="*/ 3590836 w 4595723"/>
              <a:gd name="connsiteY117" fmla="*/ 797718 h 1958188"/>
              <a:gd name="connsiteX118" fmla="*/ 3626555 w 4595723"/>
              <a:gd name="connsiteY118" fmla="*/ 783431 h 1958188"/>
              <a:gd name="connsiteX119" fmla="*/ 3664655 w 4595723"/>
              <a:gd name="connsiteY119" fmla="*/ 826293 h 1958188"/>
              <a:gd name="connsiteX120" fmla="*/ 3743236 w 4595723"/>
              <a:gd name="connsiteY120" fmla="*/ 902493 h 1958188"/>
              <a:gd name="connsiteX121" fmla="*/ 3812292 w 4595723"/>
              <a:gd name="connsiteY121" fmla="*/ 916781 h 1958188"/>
              <a:gd name="connsiteX122" fmla="*/ 3858789 w 4595723"/>
              <a:gd name="connsiteY122" fmla="*/ 944470 h 1958188"/>
              <a:gd name="connsiteX123" fmla="*/ 4571911 w 4595723"/>
              <a:gd name="connsiteY123" fmla="*/ 1057275 h 1958188"/>
              <a:gd name="connsiteX124" fmla="*/ 4555242 w 4595723"/>
              <a:gd name="connsiteY124" fmla="*/ 1014412 h 1958188"/>
              <a:gd name="connsiteX125" fmla="*/ 4529048 w 4595723"/>
              <a:gd name="connsiteY125" fmla="*/ 931068 h 1958188"/>
              <a:gd name="connsiteX126" fmla="*/ 4500473 w 4595723"/>
              <a:gd name="connsiteY126" fmla="*/ 890587 h 1958188"/>
              <a:gd name="connsiteX127" fmla="*/ 4526667 w 4595723"/>
              <a:gd name="connsiteY127" fmla="*/ 862012 h 1958188"/>
              <a:gd name="connsiteX128" fmla="*/ 4595723 w 4595723"/>
              <a:gd name="connsiteY128" fmla="*/ 840581 h 1958188"/>
              <a:gd name="connsiteX0" fmla="*/ 0 w 4595723"/>
              <a:gd name="connsiteY0" fmla="*/ 1958188 h 1958188"/>
              <a:gd name="connsiteX1" fmla="*/ 27040 w 4595723"/>
              <a:gd name="connsiteY1" fmla="*/ 1853413 h 1958188"/>
              <a:gd name="connsiteX2" fmla="*/ 81163 w 4595723"/>
              <a:gd name="connsiteY2" fmla="*/ 1804987 h 1958188"/>
              <a:gd name="connsiteX3" fmla="*/ 92557 w 4595723"/>
              <a:gd name="connsiteY3" fmla="*/ 1728075 h 1958188"/>
              <a:gd name="connsiteX4" fmla="*/ 132437 w 4595723"/>
              <a:gd name="connsiteY4" fmla="*/ 1676800 h 1958188"/>
              <a:gd name="connsiteX5" fmla="*/ 173742 w 4595723"/>
              <a:gd name="connsiteY5" fmla="*/ 1661552 h 1958188"/>
              <a:gd name="connsiteX6" fmla="*/ 172430 w 4595723"/>
              <a:gd name="connsiteY6" fmla="*/ 1631153 h 1958188"/>
              <a:gd name="connsiteX7" fmla="*/ 192877 w 4595723"/>
              <a:gd name="connsiteY7" fmla="*/ 1603271 h 1958188"/>
              <a:gd name="connsiteX8" fmla="*/ 215306 w 4595723"/>
              <a:gd name="connsiteY8" fmla="*/ 1583314 h 1958188"/>
              <a:gd name="connsiteX9" fmla="*/ 239755 w 4595723"/>
              <a:gd name="connsiteY9" fmla="*/ 1563755 h 1958188"/>
              <a:gd name="connsiteX10" fmla="*/ 281318 w 4595723"/>
              <a:gd name="connsiteY10" fmla="*/ 1507522 h 1958188"/>
              <a:gd name="connsiteX11" fmla="*/ 308213 w 4595723"/>
              <a:gd name="connsiteY11" fmla="*/ 1443954 h 1958188"/>
              <a:gd name="connsiteX12" fmla="*/ 362001 w 4595723"/>
              <a:gd name="connsiteY12" fmla="*/ 1434174 h 1958188"/>
              <a:gd name="connsiteX13" fmla="*/ 423124 w 4595723"/>
              <a:gd name="connsiteY13" fmla="*/ 1436619 h 1958188"/>
              <a:gd name="connsiteX14" fmla="*/ 459798 w 4595723"/>
              <a:gd name="connsiteY14" fmla="*/ 1412170 h 1958188"/>
              <a:gd name="connsiteX15" fmla="*/ 489137 w 4595723"/>
              <a:gd name="connsiteY15" fmla="*/ 1373051 h 1958188"/>
              <a:gd name="connsiteX16" fmla="*/ 533145 w 4595723"/>
              <a:gd name="connsiteY16" fmla="*/ 1365716 h 1958188"/>
              <a:gd name="connsiteX17" fmla="*/ 557594 w 4595723"/>
              <a:gd name="connsiteY17" fmla="*/ 1346157 h 1958188"/>
              <a:gd name="connsiteX18" fmla="*/ 577154 w 4595723"/>
              <a:gd name="connsiteY18" fmla="*/ 1309483 h 1958188"/>
              <a:gd name="connsiteX19" fmla="*/ 626052 w 4595723"/>
              <a:gd name="connsiteY19" fmla="*/ 1299704 h 1958188"/>
              <a:gd name="connsiteX20" fmla="*/ 673805 w 4595723"/>
              <a:gd name="connsiteY20" fmla="*/ 1304925 h 1958188"/>
              <a:gd name="connsiteX21" fmla="*/ 714286 w 4595723"/>
              <a:gd name="connsiteY21" fmla="*/ 1259681 h 1958188"/>
              <a:gd name="connsiteX22" fmla="*/ 745242 w 4595723"/>
              <a:gd name="connsiteY22" fmla="*/ 1247775 h 1958188"/>
              <a:gd name="connsiteX23" fmla="*/ 795248 w 4595723"/>
              <a:gd name="connsiteY23" fmla="*/ 1257300 h 1958188"/>
              <a:gd name="connsiteX24" fmla="*/ 842873 w 4595723"/>
              <a:gd name="connsiteY24" fmla="*/ 1207293 h 1958188"/>
              <a:gd name="connsiteX25" fmla="*/ 890498 w 4595723"/>
              <a:gd name="connsiteY25" fmla="*/ 1214437 h 1958188"/>
              <a:gd name="connsiteX26" fmla="*/ 911930 w 4595723"/>
              <a:gd name="connsiteY26" fmla="*/ 1214437 h 1958188"/>
              <a:gd name="connsiteX27" fmla="*/ 947648 w 4595723"/>
              <a:gd name="connsiteY27" fmla="*/ 1195387 h 1958188"/>
              <a:gd name="connsiteX28" fmla="*/ 971461 w 4595723"/>
              <a:gd name="connsiteY28" fmla="*/ 1157287 h 1958188"/>
              <a:gd name="connsiteX29" fmla="*/ 1016705 w 4595723"/>
              <a:gd name="connsiteY29" fmla="*/ 1157287 h 1958188"/>
              <a:gd name="connsiteX30" fmla="*/ 1042898 w 4595723"/>
              <a:gd name="connsiteY30" fmla="*/ 1119187 h 1958188"/>
              <a:gd name="connsiteX31" fmla="*/ 1069092 w 4595723"/>
              <a:gd name="connsiteY31" fmla="*/ 1100137 h 1958188"/>
              <a:gd name="connsiteX32" fmla="*/ 1088142 w 4595723"/>
              <a:gd name="connsiteY32" fmla="*/ 1071562 h 1958188"/>
              <a:gd name="connsiteX33" fmla="*/ 1133386 w 4595723"/>
              <a:gd name="connsiteY33" fmla="*/ 1064418 h 1958188"/>
              <a:gd name="connsiteX34" fmla="*/ 1145292 w 4595723"/>
              <a:gd name="connsiteY34" fmla="*/ 1031081 h 1958188"/>
              <a:gd name="connsiteX35" fmla="*/ 1181011 w 4595723"/>
              <a:gd name="connsiteY35" fmla="*/ 1012031 h 1958188"/>
              <a:gd name="connsiteX36" fmla="*/ 1202442 w 4595723"/>
              <a:gd name="connsiteY36" fmla="*/ 988218 h 1958188"/>
              <a:gd name="connsiteX37" fmla="*/ 1283405 w 4595723"/>
              <a:gd name="connsiteY37" fmla="*/ 966787 h 1958188"/>
              <a:gd name="connsiteX38" fmla="*/ 1297692 w 4595723"/>
              <a:gd name="connsiteY38" fmla="*/ 952500 h 1958188"/>
              <a:gd name="connsiteX39" fmla="*/ 1307217 w 4595723"/>
              <a:gd name="connsiteY39" fmla="*/ 919162 h 1958188"/>
              <a:gd name="connsiteX40" fmla="*/ 1388180 w 4595723"/>
              <a:gd name="connsiteY40" fmla="*/ 878681 h 1958188"/>
              <a:gd name="connsiteX41" fmla="*/ 1407230 w 4595723"/>
              <a:gd name="connsiteY41" fmla="*/ 873918 h 1958188"/>
              <a:gd name="connsiteX42" fmla="*/ 1466761 w 4595723"/>
              <a:gd name="connsiteY42" fmla="*/ 809625 h 1958188"/>
              <a:gd name="connsiteX43" fmla="*/ 1471523 w 4595723"/>
              <a:gd name="connsiteY43" fmla="*/ 759618 h 1958188"/>
              <a:gd name="connsiteX44" fmla="*/ 1497717 w 4595723"/>
              <a:gd name="connsiteY44" fmla="*/ 733425 h 1958188"/>
              <a:gd name="connsiteX45" fmla="*/ 1523911 w 4595723"/>
              <a:gd name="connsiteY45" fmla="*/ 728662 h 1958188"/>
              <a:gd name="connsiteX46" fmla="*/ 1585823 w 4595723"/>
              <a:gd name="connsiteY46" fmla="*/ 683418 h 1958188"/>
              <a:gd name="connsiteX47" fmla="*/ 1671548 w 4595723"/>
              <a:gd name="connsiteY47" fmla="*/ 640556 h 1958188"/>
              <a:gd name="connsiteX48" fmla="*/ 1707267 w 4595723"/>
              <a:gd name="connsiteY48" fmla="*/ 600075 h 1958188"/>
              <a:gd name="connsiteX49" fmla="*/ 1735842 w 4595723"/>
              <a:gd name="connsiteY49" fmla="*/ 585787 h 1958188"/>
              <a:gd name="connsiteX50" fmla="*/ 1742986 w 4595723"/>
              <a:gd name="connsiteY50" fmla="*/ 519112 h 1958188"/>
              <a:gd name="connsiteX51" fmla="*/ 1759655 w 4595723"/>
              <a:gd name="connsiteY51" fmla="*/ 473868 h 1958188"/>
              <a:gd name="connsiteX52" fmla="*/ 1745367 w 4595723"/>
              <a:gd name="connsiteY52" fmla="*/ 433387 h 1958188"/>
              <a:gd name="connsiteX53" fmla="*/ 1750130 w 4595723"/>
              <a:gd name="connsiteY53" fmla="*/ 347662 h 1958188"/>
              <a:gd name="connsiteX54" fmla="*/ 1745367 w 4595723"/>
              <a:gd name="connsiteY54" fmla="*/ 307181 h 1958188"/>
              <a:gd name="connsiteX55" fmla="*/ 1745367 w 4595723"/>
              <a:gd name="connsiteY55" fmla="*/ 264318 h 1958188"/>
              <a:gd name="connsiteX56" fmla="*/ 1771561 w 4595723"/>
              <a:gd name="connsiteY56" fmla="*/ 254793 h 1958188"/>
              <a:gd name="connsiteX57" fmla="*/ 1792992 w 4595723"/>
              <a:gd name="connsiteY57" fmla="*/ 271462 h 1958188"/>
              <a:gd name="connsiteX58" fmla="*/ 1807280 w 4595723"/>
              <a:gd name="connsiteY58" fmla="*/ 297656 h 1958188"/>
              <a:gd name="connsiteX59" fmla="*/ 1835855 w 4595723"/>
              <a:gd name="connsiteY59" fmla="*/ 300037 h 1958188"/>
              <a:gd name="connsiteX60" fmla="*/ 1857286 w 4595723"/>
              <a:gd name="connsiteY60" fmla="*/ 278606 h 1958188"/>
              <a:gd name="connsiteX61" fmla="*/ 1943011 w 4595723"/>
              <a:gd name="connsiteY61" fmla="*/ 280987 h 1958188"/>
              <a:gd name="connsiteX62" fmla="*/ 1995398 w 4595723"/>
              <a:gd name="connsiteY62" fmla="*/ 290512 h 1958188"/>
              <a:gd name="connsiteX63" fmla="*/ 2043023 w 4595723"/>
              <a:gd name="connsiteY63" fmla="*/ 266700 h 1958188"/>
              <a:gd name="connsiteX64" fmla="*/ 2054930 w 4595723"/>
              <a:gd name="connsiteY64" fmla="*/ 233362 h 1958188"/>
              <a:gd name="connsiteX65" fmla="*/ 2095411 w 4595723"/>
              <a:gd name="connsiteY65" fmla="*/ 200025 h 1958188"/>
              <a:gd name="connsiteX66" fmla="*/ 2085886 w 4595723"/>
              <a:gd name="connsiteY66" fmla="*/ 173831 h 1958188"/>
              <a:gd name="connsiteX67" fmla="*/ 2102555 w 4595723"/>
              <a:gd name="connsiteY67" fmla="*/ 147637 h 1958188"/>
              <a:gd name="connsiteX68" fmla="*/ 2157323 w 4595723"/>
              <a:gd name="connsiteY68" fmla="*/ 169068 h 1958188"/>
              <a:gd name="connsiteX69" fmla="*/ 2204948 w 4595723"/>
              <a:gd name="connsiteY69" fmla="*/ 173831 h 1958188"/>
              <a:gd name="connsiteX70" fmla="*/ 2240667 w 4595723"/>
              <a:gd name="connsiteY70" fmla="*/ 209550 h 1958188"/>
              <a:gd name="connsiteX71" fmla="*/ 2269242 w 4595723"/>
              <a:gd name="connsiteY71" fmla="*/ 223837 h 1958188"/>
              <a:gd name="connsiteX72" fmla="*/ 2288292 w 4595723"/>
              <a:gd name="connsiteY72" fmla="*/ 280987 h 1958188"/>
              <a:gd name="connsiteX73" fmla="*/ 2357348 w 4595723"/>
              <a:gd name="connsiteY73" fmla="*/ 316706 h 1958188"/>
              <a:gd name="connsiteX74" fmla="*/ 2426405 w 4595723"/>
              <a:gd name="connsiteY74" fmla="*/ 307181 h 1958188"/>
              <a:gd name="connsiteX75" fmla="*/ 2474030 w 4595723"/>
              <a:gd name="connsiteY75" fmla="*/ 295275 h 1958188"/>
              <a:gd name="connsiteX76" fmla="*/ 2512130 w 4595723"/>
              <a:gd name="connsiteY76" fmla="*/ 307181 h 1958188"/>
              <a:gd name="connsiteX77" fmla="*/ 2562136 w 4595723"/>
              <a:gd name="connsiteY77" fmla="*/ 304800 h 1958188"/>
              <a:gd name="connsiteX78" fmla="*/ 2607380 w 4595723"/>
              <a:gd name="connsiteY78" fmla="*/ 316706 h 1958188"/>
              <a:gd name="connsiteX79" fmla="*/ 2652623 w 4595723"/>
              <a:gd name="connsiteY79" fmla="*/ 302418 h 1958188"/>
              <a:gd name="connsiteX80" fmla="*/ 2674055 w 4595723"/>
              <a:gd name="connsiteY80" fmla="*/ 276225 h 1958188"/>
              <a:gd name="connsiteX81" fmla="*/ 2752636 w 4595723"/>
              <a:gd name="connsiteY81" fmla="*/ 297656 h 1958188"/>
              <a:gd name="connsiteX82" fmla="*/ 2793117 w 4595723"/>
              <a:gd name="connsiteY82" fmla="*/ 283368 h 1958188"/>
              <a:gd name="connsiteX83" fmla="*/ 2800261 w 4595723"/>
              <a:gd name="connsiteY83" fmla="*/ 242887 h 1958188"/>
              <a:gd name="connsiteX84" fmla="*/ 2771686 w 4595723"/>
              <a:gd name="connsiteY84" fmla="*/ 195262 h 1958188"/>
              <a:gd name="connsiteX85" fmla="*/ 2755017 w 4595723"/>
              <a:gd name="connsiteY85" fmla="*/ 135731 h 1958188"/>
              <a:gd name="connsiteX86" fmla="*/ 2721680 w 4595723"/>
              <a:gd name="connsiteY86" fmla="*/ 102393 h 1958188"/>
              <a:gd name="connsiteX87" fmla="*/ 2697867 w 4595723"/>
              <a:gd name="connsiteY87" fmla="*/ 59531 h 1958188"/>
              <a:gd name="connsiteX88" fmla="*/ 2707392 w 4595723"/>
              <a:gd name="connsiteY88" fmla="*/ 38100 h 1958188"/>
              <a:gd name="connsiteX89" fmla="*/ 2743111 w 4595723"/>
              <a:gd name="connsiteY89" fmla="*/ 0 h 1958188"/>
              <a:gd name="connsiteX90" fmla="*/ 2762161 w 4595723"/>
              <a:gd name="connsiteY90" fmla="*/ 16668 h 1958188"/>
              <a:gd name="connsiteX91" fmla="*/ 2843123 w 4595723"/>
              <a:gd name="connsiteY91" fmla="*/ 30956 h 1958188"/>
              <a:gd name="connsiteX92" fmla="*/ 2926467 w 4595723"/>
              <a:gd name="connsiteY92" fmla="*/ 47625 h 1958188"/>
              <a:gd name="connsiteX93" fmla="*/ 2976473 w 4595723"/>
              <a:gd name="connsiteY93" fmla="*/ 66675 h 1958188"/>
              <a:gd name="connsiteX94" fmla="*/ 3026480 w 4595723"/>
              <a:gd name="connsiteY94" fmla="*/ 61912 h 1958188"/>
              <a:gd name="connsiteX95" fmla="*/ 3074105 w 4595723"/>
              <a:gd name="connsiteY95" fmla="*/ 92868 h 1958188"/>
              <a:gd name="connsiteX96" fmla="*/ 3116967 w 4595723"/>
              <a:gd name="connsiteY96" fmla="*/ 119062 h 1958188"/>
              <a:gd name="connsiteX97" fmla="*/ 3138398 w 4595723"/>
              <a:gd name="connsiteY97" fmla="*/ 150018 h 1958188"/>
              <a:gd name="connsiteX98" fmla="*/ 3188405 w 4595723"/>
              <a:gd name="connsiteY98" fmla="*/ 157162 h 1958188"/>
              <a:gd name="connsiteX99" fmla="*/ 3214598 w 4595723"/>
              <a:gd name="connsiteY99" fmla="*/ 202406 h 1958188"/>
              <a:gd name="connsiteX100" fmla="*/ 3240792 w 4595723"/>
              <a:gd name="connsiteY100" fmla="*/ 233362 h 1958188"/>
              <a:gd name="connsiteX101" fmla="*/ 3257461 w 4595723"/>
              <a:gd name="connsiteY101" fmla="*/ 278606 h 1958188"/>
              <a:gd name="connsiteX102" fmla="*/ 3316992 w 4595723"/>
              <a:gd name="connsiteY102" fmla="*/ 295275 h 1958188"/>
              <a:gd name="connsiteX103" fmla="*/ 3345567 w 4595723"/>
              <a:gd name="connsiteY103" fmla="*/ 326231 h 1958188"/>
              <a:gd name="connsiteX104" fmla="*/ 3366998 w 4595723"/>
              <a:gd name="connsiteY104" fmla="*/ 335756 h 1958188"/>
              <a:gd name="connsiteX105" fmla="*/ 3378905 w 4595723"/>
              <a:gd name="connsiteY105" fmla="*/ 376237 h 1958188"/>
              <a:gd name="connsiteX106" fmla="*/ 3409861 w 4595723"/>
              <a:gd name="connsiteY106" fmla="*/ 383381 h 1958188"/>
              <a:gd name="connsiteX107" fmla="*/ 3447961 w 4595723"/>
              <a:gd name="connsiteY107" fmla="*/ 447675 h 1958188"/>
              <a:gd name="connsiteX108" fmla="*/ 3443198 w 4595723"/>
              <a:gd name="connsiteY108" fmla="*/ 502443 h 1958188"/>
              <a:gd name="connsiteX109" fmla="*/ 3431292 w 4595723"/>
              <a:gd name="connsiteY109" fmla="*/ 531018 h 1958188"/>
              <a:gd name="connsiteX110" fmla="*/ 3471773 w 4595723"/>
              <a:gd name="connsiteY110" fmla="*/ 564356 h 1958188"/>
              <a:gd name="connsiteX111" fmla="*/ 3469392 w 4595723"/>
              <a:gd name="connsiteY111" fmla="*/ 647700 h 1958188"/>
              <a:gd name="connsiteX112" fmla="*/ 3450342 w 4595723"/>
              <a:gd name="connsiteY112" fmla="*/ 664368 h 1958188"/>
              <a:gd name="connsiteX113" fmla="*/ 3433673 w 4595723"/>
              <a:gd name="connsiteY113" fmla="*/ 738187 h 1958188"/>
              <a:gd name="connsiteX114" fmla="*/ 3455105 w 4595723"/>
              <a:gd name="connsiteY114" fmla="*/ 773906 h 1958188"/>
              <a:gd name="connsiteX115" fmla="*/ 3509873 w 4595723"/>
              <a:gd name="connsiteY115" fmla="*/ 797718 h 1958188"/>
              <a:gd name="connsiteX116" fmla="*/ 3547973 w 4595723"/>
              <a:gd name="connsiteY116" fmla="*/ 778668 h 1958188"/>
              <a:gd name="connsiteX117" fmla="*/ 3590836 w 4595723"/>
              <a:gd name="connsiteY117" fmla="*/ 797718 h 1958188"/>
              <a:gd name="connsiteX118" fmla="*/ 3626555 w 4595723"/>
              <a:gd name="connsiteY118" fmla="*/ 783431 h 1958188"/>
              <a:gd name="connsiteX119" fmla="*/ 3664655 w 4595723"/>
              <a:gd name="connsiteY119" fmla="*/ 826293 h 1958188"/>
              <a:gd name="connsiteX120" fmla="*/ 3743236 w 4595723"/>
              <a:gd name="connsiteY120" fmla="*/ 902493 h 1958188"/>
              <a:gd name="connsiteX121" fmla="*/ 3812292 w 4595723"/>
              <a:gd name="connsiteY121" fmla="*/ 916781 h 1958188"/>
              <a:gd name="connsiteX122" fmla="*/ 3858789 w 4595723"/>
              <a:gd name="connsiteY122" fmla="*/ 944470 h 1958188"/>
              <a:gd name="connsiteX123" fmla="*/ 4555242 w 4595723"/>
              <a:gd name="connsiteY123" fmla="*/ 1014412 h 1958188"/>
              <a:gd name="connsiteX124" fmla="*/ 4529048 w 4595723"/>
              <a:gd name="connsiteY124" fmla="*/ 931068 h 1958188"/>
              <a:gd name="connsiteX125" fmla="*/ 4500473 w 4595723"/>
              <a:gd name="connsiteY125" fmla="*/ 890587 h 1958188"/>
              <a:gd name="connsiteX126" fmla="*/ 4526667 w 4595723"/>
              <a:gd name="connsiteY126" fmla="*/ 862012 h 1958188"/>
              <a:gd name="connsiteX127" fmla="*/ 4595723 w 4595723"/>
              <a:gd name="connsiteY127" fmla="*/ 840581 h 1958188"/>
              <a:gd name="connsiteX0" fmla="*/ 0 w 4595723"/>
              <a:gd name="connsiteY0" fmla="*/ 1958188 h 1958188"/>
              <a:gd name="connsiteX1" fmla="*/ 27040 w 4595723"/>
              <a:gd name="connsiteY1" fmla="*/ 1853413 h 1958188"/>
              <a:gd name="connsiteX2" fmla="*/ 81163 w 4595723"/>
              <a:gd name="connsiteY2" fmla="*/ 1804987 h 1958188"/>
              <a:gd name="connsiteX3" fmla="*/ 92557 w 4595723"/>
              <a:gd name="connsiteY3" fmla="*/ 1728075 h 1958188"/>
              <a:gd name="connsiteX4" fmla="*/ 132437 w 4595723"/>
              <a:gd name="connsiteY4" fmla="*/ 1676800 h 1958188"/>
              <a:gd name="connsiteX5" fmla="*/ 173742 w 4595723"/>
              <a:gd name="connsiteY5" fmla="*/ 1661552 h 1958188"/>
              <a:gd name="connsiteX6" fmla="*/ 172430 w 4595723"/>
              <a:gd name="connsiteY6" fmla="*/ 1631153 h 1958188"/>
              <a:gd name="connsiteX7" fmla="*/ 192877 w 4595723"/>
              <a:gd name="connsiteY7" fmla="*/ 1603271 h 1958188"/>
              <a:gd name="connsiteX8" fmla="*/ 215306 w 4595723"/>
              <a:gd name="connsiteY8" fmla="*/ 1583314 h 1958188"/>
              <a:gd name="connsiteX9" fmla="*/ 239755 w 4595723"/>
              <a:gd name="connsiteY9" fmla="*/ 1563755 h 1958188"/>
              <a:gd name="connsiteX10" fmla="*/ 281318 w 4595723"/>
              <a:gd name="connsiteY10" fmla="*/ 1507522 h 1958188"/>
              <a:gd name="connsiteX11" fmla="*/ 308213 w 4595723"/>
              <a:gd name="connsiteY11" fmla="*/ 1443954 h 1958188"/>
              <a:gd name="connsiteX12" fmla="*/ 362001 w 4595723"/>
              <a:gd name="connsiteY12" fmla="*/ 1434174 h 1958188"/>
              <a:gd name="connsiteX13" fmla="*/ 423124 w 4595723"/>
              <a:gd name="connsiteY13" fmla="*/ 1436619 h 1958188"/>
              <a:gd name="connsiteX14" fmla="*/ 459798 w 4595723"/>
              <a:gd name="connsiteY14" fmla="*/ 1412170 h 1958188"/>
              <a:gd name="connsiteX15" fmla="*/ 489137 w 4595723"/>
              <a:gd name="connsiteY15" fmla="*/ 1373051 h 1958188"/>
              <a:gd name="connsiteX16" fmla="*/ 533145 w 4595723"/>
              <a:gd name="connsiteY16" fmla="*/ 1365716 h 1958188"/>
              <a:gd name="connsiteX17" fmla="*/ 557594 w 4595723"/>
              <a:gd name="connsiteY17" fmla="*/ 1346157 h 1958188"/>
              <a:gd name="connsiteX18" fmla="*/ 577154 w 4595723"/>
              <a:gd name="connsiteY18" fmla="*/ 1309483 h 1958188"/>
              <a:gd name="connsiteX19" fmla="*/ 626052 w 4595723"/>
              <a:gd name="connsiteY19" fmla="*/ 1299704 h 1958188"/>
              <a:gd name="connsiteX20" fmla="*/ 673805 w 4595723"/>
              <a:gd name="connsiteY20" fmla="*/ 1304925 h 1958188"/>
              <a:gd name="connsiteX21" fmla="*/ 714286 w 4595723"/>
              <a:gd name="connsiteY21" fmla="*/ 1259681 h 1958188"/>
              <a:gd name="connsiteX22" fmla="*/ 745242 w 4595723"/>
              <a:gd name="connsiteY22" fmla="*/ 1247775 h 1958188"/>
              <a:gd name="connsiteX23" fmla="*/ 795248 w 4595723"/>
              <a:gd name="connsiteY23" fmla="*/ 1257300 h 1958188"/>
              <a:gd name="connsiteX24" fmla="*/ 842873 w 4595723"/>
              <a:gd name="connsiteY24" fmla="*/ 1207293 h 1958188"/>
              <a:gd name="connsiteX25" fmla="*/ 890498 w 4595723"/>
              <a:gd name="connsiteY25" fmla="*/ 1214437 h 1958188"/>
              <a:gd name="connsiteX26" fmla="*/ 911930 w 4595723"/>
              <a:gd name="connsiteY26" fmla="*/ 1214437 h 1958188"/>
              <a:gd name="connsiteX27" fmla="*/ 947648 w 4595723"/>
              <a:gd name="connsiteY27" fmla="*/ 1195387 h 1958188"/>
              <a:gd name="connsiteX28" fmla="*/ 971461 w 4595723"/>
              <a:gd name="connsiteY28" fmla="*/ 1157287 h 1958188"/>
              <a:gd name="connsiteX29" fmla="*/ 1016705 w 4595723"/>
              <a:gd name="connsiteY29" fmla="*/ 1157287 h 1958188"/>
              <a:gd name="connsiteX30" fmla="*/ 1042898 w 4595723"/>
              <a:gd name="connsiteY30" fmla="*/ 1119187 h 1958188"/>
              <a:gd name="connsiteX31" fmla="*/ 1069092 w 4595723"/>
              <a:gd name="connsiteY31" fmla="*/ 1100137 h 1958188"/>
              <a:gd name="connsiteX32" fmla="*/ 1088142 w 4595723"/>
              <a:gd name="connsiteY32" fmla="*/ 1071562 h 1958188"/>
              <a:gd name="connsiteX33" fmla="*/ 1133386 w 4595723"/>
              <a:gd name="connsiteY33" fmla="*/ 1064418 h 1958188"/>
              <a:gd name="connsiteX34" fmla="*/ 1145292 w 4595723"/>
              <a:gd name="connsiteY34" fmla="*/ 1031081 h 1958188"/>
              <a:gd name="connsiteX35" fmla="*/ 1181011 w 4595723"/>
              <a:gd name="connsiteY35" fmla="*/ 1012031 h 1958188"/>
              <a:gd name="connsiteX36" fmla="*/ 1202442 w 4595723"/>
              <a:gd name="connsiteY36" fmla="*/ 988218 h 1958188"/>
              <a:gd name="connsiteX37" fmla="*/ 1283405 w 4595723"/>
              <a:gd name="connsiteY37" fmla="*/ 966787 h 1958188"/>
              <a:gd name="connsiteX38" fmla="*/ 1297692 w 4595723"/>
              <a:gd name="connsiteY38" fmla="*/ 952500 h 1958188"/>
              <a:gd name="connsiteX39" fmla="*/ 1307217 w 4595723"/>
              <a:gd name="connsiteY39" fmla="*/ 919162 h 1958188"/>
              <a:gd name="connsiteX40" fmla="*/ 1388180 w 4595723"/>
              <a:gd name="connsiteY40" fmla="*/ 878681 h 1958188"/>
              <a:gd name="connsiteX41" fmla="*/ 1407230 w 4595723"/>
              <a:gd name="connsiteY41" fmla="*/ 873918 h 1958188"/>
              <a:gd name="connsiteX42" fmla="*/ 1466761 w 4595723"/>
              <a:gd name="connsiteY42" fmla="*/ 809625 h 1958188"/>
              <a:gd name="connsiteX43" fmla="*/ 1471523 w 4595723"/>
              <a:gd name="connsiteY43" fmla="*/ 759618 h 1958188"/>
              <a:gd name="connsiteX44" fmla="*/ 1497717 w 4595723"/>
              <a:gd name="connsiteY44" fmla="*/ 733425 h 1958188"/>
              <a:gd name="connsiteX45" fmla="*/ 1523911 w 4595723"/>
              <a:gd name="connsiteY45" fmla="*/ 728662 h 1958188"/>
              <a:gd name="connsiteX46" fmla="*/ 1585823 w 4595723"/>
              <a:gd name="connsiteY46" fmla="*/ 683418 h 1958188"/>
              <a:gd name="connsiteX47" fmla="*/ 1671548 w 4595723"/>
              <a:gd name="connsiteY47" fmla="*/ 640556 h 1958188"/>
              <a:gd name="connsiteX48" fmla="*/ 1707267 w 4595723"/>
              <a:gd name="connsiteY48" fmla="*/ 600075 h 1958188"/>
              <a:gd name="connsiteX49" fmla="*/ 1735842 w 4595723"/>
              <a:gd name="connsiteY49" fmla="*/ 585787 h 1958188"/>
              <a:gd name="connsiteX50" fmla="*/ 1742986 w 4595723"/>
              <a:gd name="connsiteY50" fmla="*/ 519112 h 1958188"/>
              <a:gd name="connsiteX51" fmla="*/ 1759655 w 4595723"/>
              <a:gd name="connsiteY51" fmla="*/ 473868 h 1958188"/>
              <a:gd name="connsiteX52" fmla="*/ 1745367 w 4595723"/>
              <a:gd name="connsiteY52" fmla="*/ 433387 h 1958188"/>
              <a:gd name="connsiteX53" fmla="*/ 1750130 w 4595723"/>
              <a:gd name="connsiteY53" fmla="*/ 347662 h 1958188"/>
              <a:gd name="connsiteX54" fmla="*/ 1745367 w 4595723"/>
              <a:gd name="connsiteY54" fmla="*/ 307181 h 1958188"/>
              <a:gd name="connsiteX55" fmla="*/ 1745367 w 4595723"/>
              <a:gd name="connsiteY55" fmla="*/ 264318 h 1958188"/>
              <a:gd name="connsiteX56" fmla="*/ 1771561 w 4595723"/>
              <a:gd name="connsiteY56" fmla="*/ 254793 h 1958188"/>
              <a:gd name="connsiteX57" fmla="*/ 1792992 w 4595723"/>
              <a:gd name="connsiteY57" fmla="*/ 271462 h 1958188"/>
              <a:gd name="connsiteX58" fmla="*/ 1807280 w 4595723"/>
              <a:gd name="connsiteY58" fmla="*/ 297656 h 1958188"/>
              <a:gd name="connsiteX59" fmla="*/ 1835855 w 4595723"/>
              <a:gd name="connsiteY59" fmla="*/ 300037 h 1958188"/>
              <a:gd name="connsiteX60" fmla="*/ 1857286 w 4595723"/>
              <a:gd name="connsiteY60" fmla="*/ 278606 h 1958188"/>
              <a:gd name="connsiteX61" fmla="*/ 1943011 w 4595723"/>
              <a:gd name="connsiteY61" fmla="*/ 280987 h 1958188"/>
              <a:gd name="connsiteX62" fmla="*/ 1995398 w 4595723"/>
              <a:gd name="connsiteY62" fmla="*/ 290512 h 1958188"/>
              <a:gd name="connsiteX63" fmla="*/ 2043023 w 4595723"/>
              <a:gd name="connsiteY63" fmla="*/ 266700 h 1958188"/>
              <a:gd name="connsiteX64" fmla="*/ 2054930 w 4595723"/>
              <a:gd name="connsiteY64" fmla="*/ 233362 h 1958188"/>
              <a:gd name="connsiteX65" fmla="*/ 2095411 w 4595723"/>
              <a:gd name="connsiteY65" fmla="*/ 200025 h 1958188"/>
              <a:gd name="connsiteX66" fmla="*/ 2085886 w 4595723"/>
              <a:gd name="connsiteY66" fmla="*/ 173831 h 1958188"/>
              <a:gd name="connsiteX67" fmla="*/ 2102555 w 4595723"/>
              <a:gd name="connsiteY67" fmla="*/ 147637 h 1958188"/>
              <a:gd name="connsiteX68" fmla="*/ 2157323 w 4595723"/>
              <a:gd name="connsiteY68" fmla="*/ 169068 h 1958188"/>
              <a:gd name="connsiteX69" fmla="*/ 2204948 w 4595723"/>
              <a:gd name="connsiteY69" fmla="*/ 173831 h 1958188"/>
              <a:gd name="connsiteX70" fmla="*/ 2240667 w 4595723"/>
              <a:gd name="connsiteY70" fmla="*/ 209550 h 1958188"/>
              <a:gd name="connsiteX71" fmla="*/ 2269242 w 4595723"/>
              <a:gd name="connsiteY71" fmla="*/ 223837 h 1958188"/>
              <a:gd name="connsiteX72" fmla="*/ 2288292 w 4595723"/>
              <a:gd name="connsiteY72" fmla="*/ 280987 h 1958188"/>
              <a:gd name="connsiteX73" fmla="*/ 2357348 w 4595723"/>
              <a:gd name="connsiteY73" fmla="*/ 316706 h 1958188"/>
              <a:gd name="connsiteX74" fmla="*/ 2426405 w 4595723"/>
              <a:gd name="connsiteY74" fmla="*/ 307181 h 1958188"/>
              <a:gd name="connsiteX75" fmla="*/ 2474030 w 4595723"/>
              <a:gd name="connsiteY75" fmla="*/ 295275 h 1958188"/>
              <a:gd name="connsiteX76" fmla="*/ 2512130 w 4595723"/>
              <a:gd name="connsiteY76" fmla="*/ 307181 h 1958188"/>
              <a:gd name="connsiteX77" fmla="*/ 2562136 w 4595723"/>
              <a:gd name="connsiteY77" fmla="*/ 304800 h 1958188"/>
              <a:gd name="connsiteX78" fmla="*/ 2607380 w 4595723"/>
              <a:gd name="connsiteY78" fmla="*/ 316706 h 1958188"/>
              <a:gd name="connsiteX79" fmla="*/ 2652623 w 4595723"/>
              <a:gd name="connsiteY79" fmla="*/ 302418 h 1958188"/>
              <a:gd name="connsiteX80" fmla="*/ 2674055 w 4595723"/>
              <a:gd name="connsiteY80" fmla="*/ 276225 h 1958188"/>
              <a:gd name="connsiteX81" fmla="*/ 2752636 w 4595723"/>
              <a:gd name="connsiteY81" fmla="*/ 297656 h 1958188"/>
              <a:gd name="connsiteX82" fmla="*/ 2793117 w 4595723"/>
              <a:gd name="connsiteY82" fmla="*/ 283368 h 1958188"/>
              <a:gd name="connsiteX83" fmla="*/ 2800261 w 4595723"/>
              <a:gd name="connsiteY83" fmla="*/ 242887 h 1958188"/>
              <a:gd name="connsiteX84" fmla="*/ 2771686 w 4595723"/>
              <a:gd name="connsiteY84" fmla="*/ 195262 h 1958188"/>
              <a:gd name="connsiteX85" fmla="*/ 2755017 w 4595723"/>
              <a:gd name="connsiteY85" fmla="*/ 135731 h 1958188"/>
              <a:gd name="connsiteX86" fmla="*/ 2721680 w 4595723"/>
              <a:gd name="connsiteY86" fmla="*/ 102393 h 1958188"/>
              <a:gd name="connsiteX87" fmla="*/ 2697867 w 4595723"/>
              <a:gd name="connsiteY87" fmla="*/ 59531 h 1958188"/>
              <a:gd name="connsiteX88" fmla="*/ 2707392 w 4595723"/>
              <a:gd name="connsiteY88" fmla="*/ 38100 h 1958188"/>
              <a:gd name="connsiteX89" fmla="*/ 2743111 w 4595723"/>
              <a:gd name="connsiteY89" fmla="*/ 0 h 1958188"/>
              <a:gd name="connsiteX90" fmla="*/ 2762161 w 4595723"/>
              <a:gd name="connsiteY90" fmla="*/ 16668 h 1958188"/>
              <a:gd name="connsiteX91" fmla="*/ 2843123 w 4595723"/>
              <a:gd name="connsiteY91" fmla="*/ 30956 h 1958188"/>
              <a:gd name="connsiteX92" fmla="*/ 2926467 w 4595723"/>
              <a:gd name="connsiteY92" fmla="*/ 47625 h 1958188"/>
              <a:gd name="connsiteX93" fmla="*/ 2976473 w 4595723"/>
              <a:gd name="connsiteY93" fmla="*/ 66675 h 1958188"/>
              <a:gd name="connsiteX94" fmla="*/ 3026480 w 4595723"/>
              <a:gd name="connsiteY94" fmla="*/ 61912 h 1958188"/>
              <a:gd name="connsiteX95" fmla="*/ 3074105 w 4595723"/>
              <a:gd name="connsiteY95" fmla="*/ 92868 h 1958188"/>
              <a:gd name="connsiteX96" fmla="*/ 3116967 w 4595723"/>
              <a:gd name="connsiteY96" fmla="*/ 119062 h 1958188"/>
              <a:gd name="connsiteX97" fmla="*/ 3138398 w 4595723"/>
              <a:gd name="connsiteY97" fmla="*/ 150018 h 1958188"/>
              <a:gd name="connsiteX98" fmla="*/ 3188405 w 4595723"/>
              <a:gd name="connsiteY98" fmla="*/ 157162 h 1958188"/>
              <a:gd name="connsiteX99" fmla="*/ 3214598 w 4595723"/>
              <a:gd name="connsiteY99" fmla="*/ 202406 h 1958188"/>
              <a:gd name="connsiteX100" fmla="*/ 3240792 w 4595723"/>
              <a:gd name="connsiteY100" fmla="*/ 233362 h 1958188"/>
              <a:gd name="connsiteX101" fmla="*/ 3257461 w 4595723"/>
              <a:gd name="connsiteY101" fmla="*/ 278606 h 1958188"/>
              <a:gd name="connsiteX102" fmla="*/ 3316992 w 4595723"/>
              <a:gd name="connsiteY102" fmla="*/ 295275 h 1958188"/>
              <a:gd name="connsiteX103" fmla="*/ 3345567 w 4595723"/>
              <a:gd name="connsiteY103" fmla="*/ 326231 h 1958188"/>
              <a:gd name="connsiteX104" fmla="*/ 3366998 w 4595723"/>
              <a:gd name="connsiteY104" fmla="*/ 335756 h 1958188"/>
              <a:gd name="connsiteX105" fmla="*/ 3378905 w 4595723"/>
              <a:gd name="connsiteY105" fmla="*/ 376237 h 1958188"/>
              <a:gd name="connsiteX106" fmla="*/ 3409861 w 4595723"/>
              <a:gd name="connsiteY106" fmla="*/ 383381 h 1958188"/>
              <a:gd name="connsiteX107" fmla="*/ 3447961 w 4595723"/>
              <a:gd name="connsiteY107" fmla="*/ 447675 h 1958188"/>
              <a:gd name="connsiteX108" fmla="*/ 3443198 w 4595723"/>
              <a:gd name="connsiteY108" fmla="*/ 502443 h 1958188"/>
              <a:gd name="connsiteX109" fmla="*/ 3431292 w 4595723"/>
              <a:gd name="connsiteY109" fmla="*/ 531018 h 1958188"/>
              <a:gd name="connsiteX110" fmla="*/ 3471773 w 4595723"/>
              <a:gd name="connsiteY110" fmla="*/ 564356 h 1958188"/>
              <a:gd name="connsiteX111" fmla="*/ 3469392 w 4595723"/>
              <a:gd name="connsiteY111" fmla="*/ 647700 h 1958188"/>
              <a:gd name="connsiteX112" fmla="*/ 3450342 w 4595723"/>
              <a:gd name="connsiteY112" fmla="*/ 664368 h 1958188"/>
              <a:gd name="connsiteX113" fmla="*/ 3433673 w 4595723"/>
              <a:gd name="connsiteY113" fmla="*/ 738187 h 1958188"/>
              <a:gd name="connsiteX114" fmla="*/ 3455105 w 4595723"/>
              <a:gd name="connsiteY114" fmla="*/ 773906 h 1958188"/>
              <a:gd name="connsiteX115" fmla="*/ 3509873 w 4595723"/>
              <a:gd name="connsiteY115" fmla="*/ 797718 h 1958188"/>
              <a:gd name="connsiteX116" fmla="*/ 3547973 w 4595723"/>
              <a:gd name="connsiteY116" fmla="*/ 778668 h 1958188"/>
              <a:gd name="connsiteX117" fmla="*/ 3590836 w 4595723"/>
              <a:gd name="connsiteY117" fmla="*/ 797718 h 1958188"/>
              <a:gd name="connsiteX118" fmla="*/ 3626555 w 4595723"/>
              <a:gd name="connsiteY118" fmla="*/ 783431 h 1958188"/>
              <a:gd name="connsiteX119" fmla="*/ 3664655 w 4595723"/>
              <a:gd name="connsiteY119" fmla="*/ 826293 h 1958188"/>
              <a:gd name="connsiteX120" fmla="*/ 3743236 w 4595723"/>
              <a:gd name="connsiteY120" fmla="*/ 902493 h 1958188"/>
              <a:gd name="connsiteX121" fmla="*/ 3812292 w 4595723"/>
              <a:gd name="connsiteY121" fmla="*/ 916781 h 1958188"/>
              <a:gd name="connsiteX122" fmla="*/ 3858789 w 4595723"/>
              <a:gd name="connsiteY122" fmla="*/ 944470 h 1958188"/>
              <a:gd name="connsiteX123" fmla="*/ 4529048 w 4595723"/>
              <a:gd name="connsiteY123" fmla="*/ 931068 h 1958188"/>
              <a:gd name="connsiteX124" fmla="*/ 4500473 w 4595723"/>
              <a:gd name="connsiteY124" fmla="*/ 890587 h 1958188"/>
              <a:gd name="connsiteX125" fmla="*/ 4526667 w 4595723"/>
              <a:gd name="connsiteY125" fmla="*/ 862012 h 1958188"/>
              <a:gd name="connsiteX126" fmla="*/ 4595723 w 4595723"/>
              <a:gd name="connsiteY126" fmla="*/ 840581 h 1958188"/>
              <a:gd name="connsiteX0" fmla="*/ 0 w 4595723"/>
              <a:gd name="connsiteY0" fmla="*/ 1958188 h 1958188"/>
              <a:gd name="connsiteX1" fmla="*/ 27040 w 4595723"/>
              <a:gd name="connsiteY1" fmla="*/ 1853413 h 1958188"/>
              <a:gd name="connsiteX2" fmla="*/ 81163 w 4595723"/>
              <a:gd name="connsiteY2" fmla="*/ 1804987 h 1958188"/>
              <a:gd name="connsiteX3" fmla="*/ 92557 w 4595723"/>
              <a:gd name="connsiteY3" fmla="*/ 1728075 h 1958188"/>
              <a:gd name="connsiteX4" fmla="*/ 132437 w 4595723"/>
              <a:gd name="connsiteY4" fmla="*/ 1676800 h 1958188"/>
              <a:gd name="connsiteX5" fmla="*/ 173742 w 4595723"/>
              <a:gd name="connsiteY5" fmla="*/ 1661552 h 1958188"/>
              <a:gd name="connsiteX6" fmla="*/ 172430 w 4595723"/>
              <a:gd name="connsiteY6" fmla="*/ 1631153 h 1958188"/>
              <a:gd name="connsiteX7" fmla="*/ 192877 w 4595723"/>
              <a:gd name="connsiteY7" fmla="*/ 1603271 h 1958188"/>
              <a:gd name="connsiteX8" fmla="*/ 215306 w 4595723"/>
              <a:gd name="connsiteY8" fmla="*/ 1583314 h 1958188"/>
              <a:gd name="connsiteX9" fmla="*/ 239755 w 4595723"/>
              <a:gd name="connsiteY9" fmla="*/ 1563755 h 1958188"/>
              <a:gd name="connsiteX10" fmla="*/ 281318 w 4595723"/>
              <a:gd name="connsiteY10" fmla="*/ 1507522 h 1958188"/>
              <a:gd name="connsiteX11" fmla="*/ 308213 w 4595723"/>
              <a:gd name="connsiteY11" fmla="*/ 1443954 h 1958188"/>
              <a:gd name="connsiteX12" fmla="*/ 362001 w 4595723"/>
              <a:gd name="connsiteY12" fmla="*/ 1434174 h 1958188"/>
              <a:gd name="connsiteX13" fmla="*/ 423124 w 4595723"/>
              <a:gd name="connsiteY13" fmla="*/ 1436619 h 1958188"/>
              <a:gd name="connsiteX14" fmla="*/ 459798 w 4595723"/>
              <a:gd name="connsiteY14" fmla="*/ 1412170 h 1958188"/>
              <a:gd name="connsiteX15" fmla="*/ 489137 w 4595723"/>
              <a:gd name="connsiteY15" fmla="*/ 1373051 h 1958188"/>
              <a:gd name="connsiteX16" fmla="*/ 533145 w 4595723"/>
              <a:gd name="connsiteY16" fmla="*/ 1365716 h 1958188"/>
              <a:gd name="connsiteX17" fmla="*/ 557594 w 4595723"/>
              <a:gd name="connsiteY17" fmla="*/ 1346157 h 1958188"/>
              <a:gd name="connsiteX18" fmla="*/ 577154 w 4595723"/>
              <a:gd name="connsiteY18" fmla="*/ 1309483 h 1958188"/>
              <a:gd name="connsiteX19" fmla="*/ 626052 w 4595723"/>
              <a:gd name="connsiteY19" fmla="*/ 1299704 h 1958188"/>
              <a:gd name="connsiteX20" fmla="*/ 673805 w 4595723"/>
              <a:gd name="connsiteY20" fmla="*/ 1304925 h 1958188"/>
              <a:gd name="connsiteX21" fmla="*/ 714286 w 4595723"/>
              <a:gd name="connsiteY21" fmla="*/ 1259681 h 1958188"/>
              <a:gd name="connsiteX22" fmla="*/ 745242 w 4595723"/>
              <a:gd name="connsiteY22" fmla="*/ 1247775 h 1958188"/>
              <a:gd name="connsiteX23" fmla="*/ 795248 w 4595723"/>
              <a:gd name="connsiteY23" fmla="*/ 1257300 h 1958188"/>
              <a:gd name="connsiteX24" fmla="*/ 842873 w 4595723"/>
              <a:gd name="connsiteY24" fmla="*/ 1207293 h 1958188"/>
              <a:gd name="connsiteX25" fmla="*/ 890498 w 4595723"/>
              <a:gd name="connsiteY25" fmla="*/ 1214437 h 1958188"/>
              <a:gd name="connsiteX26" fmla="*/ 911930 w 4595723"/>
              <a:gd name="connsiteY26" fmla="*/ 1214437 h 1958188"/>
              <a:gd name="connsiteX27" fmla="*/ 947648 w 4595723"/>
              <a:gd name="connsiteY27" fmla="*/ 1195387 h 1958188"/>
              <a:gd name="connsiteX28" fmla="*/ 971461 w 4595723"/>
              <a:gd name="connsiteY28" fmla="*/ 1157287 h 1958188"/>
              <a:gd name="connsiteX29" fmla="*/ 1016705 w 4595723"/>
              <a:gd name="connsiteY29" fmla="*/ 1157287 h 1958188"/>
              <a:gd name="connsiteX30" fmla="*/ 1042898 w 4595723"/>
              <a:gd name="connsiteY30" fmla="*/ 1119187 h 1958188"/>
              <a:gd name="connsiteX31" fmla="*/ 1069092 w 4595723"/>
              <a:gd name="connsiteY31" fmla="*/ 1100137 h 1958188"/>
              <a:gd name="connsiteX32" fmla="*/ 1088142 w 4595723"/>
              <a:gd name="connsiteY32" fmla="*/ 1071562 h 1958188"/>
              <a:gd name="connsiteX33" fmla="*/ 1133386 w 4595723"/>
              <a:gd name="connsiteY33" fmla="*/ 1064418 h 1958188"/>
              <a:gd name="connsiteX34" fmla="*/ 1145292 w 4595723"/>
              <a:gd name="connsiteY34" fmla="*/ 1031081 h 1958188"/>
              <a:gd name="connsiteX35" fmla="*/ 1181011 w 4595723"/>
              <a:gd name="connsiteY35" fmla="*/ 1012031 h 1958188"/>
              <a:gd name="connsiteX36" fmla="*/ 1202442 w 4595723"/>
              <a:gd name="connsiteY36" fmla="*/ 988218 h 1958188"/>
              <a:gd name="connsiteX37" fmla="*/ 1283405 w 4595723"/>
              <a:gd name="connsiteY37" fmla="*/ 966787 h 1958188"/>
              <a:gd name="connsiteX38" fmla="*/ 1297692 w 4595723"/>
              <a:gd name="connsiteY38" fmla="*/ 952500 h 1958188"/>
              <a:gd name="connsiteX39" fmla="*/ 1307217 w 4595723"/>
              <a:gd name="connsiteY39" fmla="*/ 919162 h 1958188"/>
              <a:gd name="connsiteX40" fmla="*/ 1388180 w 4595723"/>
              <a:gd name="connsiteY40" fmla="*/ 878681 h 1958188"/>
              <a:gd name="connsiteX41" fmla="*/ 1407230 w 4595723"/>
              <a:gd name="connsiteY41" fmla="*/ 873918 h 1958188"/>
              <a:gd name="connsiteX42" fmla="*/ 1466761 w 4595723"/>
              <a:gd name="connsiteY42" fmla="*/ 809625 h 1958188"/>
              <a:gd name="connsiteX43" fmla="*/ 1471523 w 4595723"/>
              <a:gd name="connsiteY43" fmla="*/ 759618 h 1958188"/>
              <a:gd name="connsiteX44" fmla="*/ 1497717 w 4595723"/>
              <a:gd name="connsiteY44" fmla="*/ 733425 h 1958188"/>
              <a:gd name="connsiteX45" fmla="*/ 1523911 w 4595723"/>
              <a:gd name="connsiteY45" fmla="*/ 728662 h 1958188"/>
              <a:gd name="connsiteX46" fmla="*/ 1585823 w 4595723"/>
              <a:gd name="connsiteY46" fmla="*/ 683418 h 1958188"/>
              <a:gd name="connsiteX47" fmla="*/ 1671548 w 4595723"/>
              <a:gd name="connsiteY47" fmla="*/ 640556 h 1958188"/>
              <a:gd name="connsiteX48" fmla="*/ 1707267 w 4595723"/>
              <a:gd name="connsiteY48" fmla="*/ 600075 h 1958188"/>
              <a:gd name="connsiteX49" fmla="*/ 1735842 w 4595723"/>
              <a:gd name="connsiteY49" fmla="*/ 585787 h 1958188"/>
              <a:gd name="connsiteX50" fmla="*/ 1742986 w 4595723"/>
              <a:gd name="connsiteY50" fmla="*/ 519112 h 1958188"/>
              <a:gd name="connsiteX51" fmla="*/ 1759655 w 4595723"/>
              <a:gd name="connsiteY51" fmla="*/ 473868 h 1958188"/>
              <a:gd name="connsiteX52" fmla="*/ 1745367 w 4595723"/>
              <a:gd name="connsiteY52" fmla="*/ 433387 h 1958188"/>
              <a:gd name="connsiteX53" fmla="*/ 1750130 w 4595723"/>
              <a:gd name="connsiteY53" fmla="*/ 347662 h 1958188"/>
              <a:gd name="connsiteX54" fmla="*/ 1745367 w 4595723"/>
              <a:gd name="connsiteY54" fmla="*/ 307181 h 1958188"/>
              <a:gd name="connsiteX55" fmla="*/ 1745367 w 4595723"/>
              <a:gd name="connsiteY55" fmla="*/ 264318 h 1958188"/>
              <a:gd name="connsiteX56" fmla="*/ 1771561 w 4595723"/>
              <a:gd name="connsiteY56" fmla="*/ 254793 h 1958188"/>
              <a:gd name="connsiteX57" fmla="*/ 1792992 w 4595723"/>
              <a:gd name="connsiteY57" fmla="*/ 271462 h 1958188"/>
              <a:gd name="connsiteX58" fmla="*/ 1807280 w 4595723"/>
              <a:gd name="connsiteY58" fmla="*/ 297656 h 1958188"/>
              <a:gd name="connsiteX59" fmla="*/ 1835855 w 4595723"/>
              <a:gd name="connsiteY59" fmla="*/ 300037 h 1958188"/>
              <a:gd name="connsiteX60" fmla="*/ 1857286 w 4595723"/>
              <a:gd name="connsiteY60" fmla="*/ 278606 h 1958188"/>
              <a:gd name="connsiteX61" fmla="*/ 1943011 w 4595723"/>
              <a:gd name="connsiteY61" fmla="*/ 280987 h 1958188"/>
              <a:gd name="connsiteX62" fmla="*/ 1995398 w 4595723"/>
              <a:gd name="connsiteY62" fmla="*/ 290512 h 1958188"/>
              <a:gd name="connsiteX63" fmla="*/ 2043023 w 4595723"/>
              <a:gd name="connsiteY63" fmla="*/ 266700 h 1958188"/>
              <a:gd name="connsiteX64" fmla="*/ 2054930 w 4595723"/>
              <a:gd name="connsiteY64" fmla="*/ 233362 h 1958188"/>
              <a:gd name="connsiteX65" fmla="*/ 2095411 w 4595723"/>
              <a:gd name="connsiteY65" fmla="*/ 200025 h 1958188"/>
              <a:gd name="connsiteX66" fmla="*/ 2085886 w 4595723"/>
              <a:gd name="connsiteY66" fmla="*/ 173831 h 1958188"/>
              <a:gd name="connsiteX67" fmla="*/ 2102555 w 4595723"/>
              <a:gd name="connsiteY67" fmla="*/ 147637 h 1958188"/>
              <a:gd name="connsiteX68" fmla="*/ 2157323 w 4595723"/>
              <a:gd name="connsiteY68" fmla="*/ 169068 h 1958188"/>
              <a:gd name="connsiteX69" fmla="*/ 2204948 w 4595723"/>
              <a:gd name="connsiteY69" fmla="*/ 173831 h 1958188"/>
              <a:gd name="connsiteX70" fmla="*/ 2240667 w 4595723"/>
              <a:gd name="connsiteY70" fmla="*/ 209550 h 1958188"/>
              <a:gd name="connsiteX71" fmla="*/ 2269242 w 4595723"/>
              <a:gd name="connsiteY71" fmla="*/ 223837 h 1958188"/>
              <a:gd name="connsiteX72" fmla="*/ 2288292 w 4595723"/>
              <a:gd name="connsiteY72" fmla="*/ 280987 h 1958188"/>
              <a:gd name="connsiteX73" fmla="*/ 2357348 w 4595723"/>
              <a:gd name="connsiteY73" fmla="*/ 316706 h 1958188"/>
              <a:gd name="connsiteX74" fmla="*/ 2426405 w 4595723"/>
              <a:gd name="connsiteY74" fmla="*/ 307181 h 1958188"/>
              <a:gd name="connsiteX75" fmla="*/ 2474030 w 4595723"/>
              <a:gd name="connsiteY75" fmla="*/ 295275 h 1958188"/>
              <a:gd name="connsiteX76" fmla="*/ 2512130 w 4595723"/>
              <a:gd name="connsiteY76" fmla="*/ 307181 h 1958188"/>
              <a:gd name="connsiteX77" fmla="*/ 2562136 w 4595723"/>
              <a:gd name="connsiteY77" fmla="*/ 304800 h 1958188"/>
              <a:gd name="connsiteX78" fmla="*/ 2607380 w 4595723"/>
              <a:gd name="connsiteY78" fmla="*/ 316706 h 1958188"/>
              <a:gd name="connsiteX79" fmla="*/ 2652623 w 4595723"/>
              <a:gd name="connsiteY79" fmla="*/ 302418 h 1958188"/>
              <a:gd name="connsiteX80" fmla="*/ 2674055 w 4595723"/>
              <a:gd name="connsiteY80" fmla="*/ 276225 h 1958188"/>
              <a:gd name="connsiteX81" fmla="*/ 2752636 w 4595723"/>
              <a:gd name="connsiteY81" fmla="*/ 297656 h 1958188"/>
              <a:gd name="connsiteX82" fmla="*/ 2793117 w 4595723"/>
              <a:gd name="connsiteY82" fmla="*/ 283368 h 1958188"/>
              <a:gd name="connsiteX83" fmla="*/ 2800261 w 4595723"/>
              <a:gd name="connsiteY83" fmla="*/ 242887 h 1958188"/>
              <a:gd name="connsiteX84" fmla="*/ 2771686 w 4595723"/>
              <a:gd name="connsiteY84" fmla="*/ 195262 h 1958188"/>
              <a:gd name="connsiteX85" fmla="*/ 2755017 w 4595723"/>
              <a:gd name="connsiteY85" fmla="*/ 135731 h 1958188"/>
              <a:gd name="connsiteX86" fmla="*/ 2721680 w 4595723"/>
              <a:gd name="connsiteY86" fmla="*/ 102393 h 1958188"/>
              <a:gd name="connsiteX87" fmla="*/ 2697867 w 4595723"/>
              <a:gd name="connsiteY87" fmla="*/ 59531 h 1958188"/>
              <a:gd name="connsiteX88" fmla="*/ 2707392 w 4595723"/>
              <a:gd name="connsiteY88" fmla="*/ 38100 h 1958188"/>
              <a:gd name="connsiteX89" fmla="*/ 2743111 w 4595723"/>
              <a:gd name="connsiteY89" fmla="*/ 0 h 1958188"/>
              <a:gd name="connsiteX90" fmla="*/ 2762161 w 4595723"/>
              <a:gd name="connsiteY90" fmla="*/ 16668 h 1958188"/>
              <a:gd name="connsiteX91" fmla="*/ 2843123 w 4595723"/>
              <a:gd name="connsiteY91" fmla="*/ 30956 h 1958188"/>
              <a:gd name="connsiteX92" fmla="*/ 2926467 w 4595723"/>
              <a:gd name="connsiteY92" fmla="*/ 47625 h 1958188"/>
              <a:gd name="connsiteX93" fmla="*/ 2976473 w 4595723"/>
              <a:gd name="connsiteY93" fmla="*/ 66675 h 1958188"/>
              <a:gd name="connsiteX94" fmla="*/ 3026480 w 4595723"/>
              <a:gd name="connsiteY94" fmla="*/ 61912 h 1958188"/>
              <a:gd name="connsiteX95" fmla="*/ 3074105 w 4595723"/>
              <a:gd name="connsiteY95" fmla="*/ 92868 h 1958188"/>
              <a:gd name="connsiteX96" fmla="*/ 3116967 w 4595723"/>
              <a:gd name="connsiteY96" fmla="*/ 119062 h 1958188"/>
              <a:gd name="connsiteX97" fmla="*/ 3138398 w 4595723"/>
              <a:gd name="connsiteY97" fmla="*/ 150018 h 1958188"/>
              <a:gd name="connsiteX98" fmla="*/ 3188405 w 4595723"/>
              <a:gd name="connsiteY98" fmla="*/ 157162 h 1958188"/>
              <a:gd name="connsiteX99" fmla="*/ 3214598 w 4595723"/>
              <a:gd name="connsiteY99" fmla="*/ 202406 h 1958188"/>
              <a:gd name="connsiteX100" fmla="*/ 3240792 w 4595723"/>
              <a:gd name="connsiteY100" fmla="*/ 233362 h 1958188"/>
              <a:gd name="connsiteX101" fmla="*/ 3257461 w 4595723"/>
              <a:gd name="connsiteY101" fmla="*/ 278606 h 1958188"/>
              <a:gd name="connsiteX102" fmla="*/ 3316992 w 4595723"/>
              <a:gd name="connsiteY102" fmla="*/ 295275 h 1958188"/>
              <a:gd name="connsiteX103" fmla="*/ 3345567 w 4595723"/>
              <a:gd name="connsiteY103" fmla="*/ 326231 h 1958188"/>
              <a:gd name="connsiteX104" fmla="*/ 3366998 w 4595723"/>
              <a:gd name="connsiteY104" fmla="*/ 335756 h 1958188"/>
              <a:gd name="connsiteX105" fmla="*/ 3378905 w 4595723"/>
              <a:gd name="connsiteY105" fmla="*/ 376237 h 1958188"/>
              <a:gd name="connsiteX106" fmla="*/ 3409861 w 4595723"/>
              <a:gd name="connsiteY106" fmla="*/ 383381 h 1958188"/>
              <a:gd name="connsiteX107" fmla="*/ 3447961 w 4595723"/>
              <a:gd name="connsiteY107" fmla="*/ 447675 h 1958188"/>
              <a:gd name="connsiteX108" fmla="*/ 3443198 w 4595723"/>
              <a:gd name="connsiteY108" fmla="*/ 502443 h 1958188"/>
              <a:gd name="connsiteX109" fmla="*/ 3431292 w 4595723"/>
              <a:gd name="connsiteY109" fmla="*/ 531018 h 1958188"/>
              <a:gd name="connsiteX110" fmla="*/ 3471773 w 4595723"/>
              <a:gd name="connsiteY110" fmla="*/ 564356 h 1958188"/>
              <a:gd name="connsiteX111" fmla="*/ 3469392 w 4595723"/>
              <a:gd name="connsiteY111" fmla="*/ 647700 h 1958188"/>
              <a:gd name="connsiteX112" fmla="*/ 3450342 w 4595723"/>
              <a:gd name="connsiteY112" fmla="*/ 664368 h 1958188"/>
              <a:gd name="connsiteX113" fmla="*/ 3433673 w 4595723"/>
              <a:gd name="connsiteY113" fmla="*/ 738187 h 1958188"/>
              <a:gd name="connsiteX114" fmla="*/ 3455105 w 4595723"/>
              <a:gd name="connsiteY114" fmla="*/ 773906 h 1958188"/>
              <a:gd name="connsiteX115" fmla="*/ 3509873 w 4595723"/>
              <a:gd name="connsiteY115" fmla="*/ 797718 h 1958188"/>
              <a:gd name="connsiteX116" fmla="*/ 3547973 w 4595723"/>
              <a:gd name="connsiteY116" fmla="*/ 778668 h 1958188"/>
              <a:gd name="connsiteX117" fmla="*/ 3590836 w 4595723"/>
              <a:gd name="connsiteY117" fmla="*/ 797718 h 1958188"/>
              <a:gd name="connsiteX118" fmla="*/ 3626555 w 4595723"/>
              <a:gd name="connsiteY118" fmla="*/ 783431 h 1958188"/>
              <a:gd name="connsiteX119" fmla="*/ 3664655 w 4595723"/>
              <a:gd name="connsiteY119" fmla="*/ 826293 h 1958188"/>
              <a:gd name="connsiteX120" fmla="*/ 3743236 w 4595723"/>
              <a:gd name="connsiteY120" fmla="*/ 902493 h 1958188"/>
              <a:gd name="connsiteX121" fmla="*/ 3812292 w 4595723"/>
              <a:gd name="connsiteY121" fmla="*/ 916781 h 1958188"/>
              <a:gd name="connsiteX122" fmla="*/ 3858789 w 4595723"/>
              <a:gd name="connsiteY122" fmla="*/ 944470 h 1958188"/>
              <a:gd name="connsiteX123" fmla="*/ 4500473 w 4595723"/>
              <a:gd name="connsiteY123" fmla="*/ 890587 h 1958188"/>
              <a:gd name="connsiteX124" fmla="*/ 4526667 w 4595723"/>
              <a:gd name="connsiteY124" fmla="*/ 862012 h 1958188"/>
              <a:gd name="connsiteX125" fmla="*/ 4595723 w 4595723"/>
              <a:gd name="connsiteY125" fmla="*/ 840581 h 1958188"/>
              <a:gd name="connsiteX0" fmla="*/ 0 w 4595723"/>
              <a:gd name="connsiteY0" fmla="*/ 1958188 h 1958188"/>
              <a:gd name="connsiteX1" fmla="*/ 27040 w 4595723"/>
              <a:gd name="connsiteY1" fmla="*/ 1853413 h 1958188"/>
              <a:gd name="connsiteX2" fmla="*/ 81163 w 4595723"/>
              <a:gd name="connsiteY2" fmla="*/ 1804987 h 1958188"/>
              <a:gd name="connsiteX3" fmla="*/ 92557 w 4595723"/>
              <a:gd name="connsiteY3" fmla="*/ 1728075 h 1958188"/>
              <a:gd name="connsiteX4" fmla="*/ 132437 w 4595723"/>
              <a:gd name="connsiteY4" fmla="*/ 1676800 h 1958188"/>
              <a:gd name="connsiteX5" fmla="*/ 173742 w 4595723"/>
              <a:gd name="connsiteY5" fmla="*/ 1661552 h 1958188"/>
              <a:gd name="connsiteX6" fmla="*/ 172430 w 4595723"/>
              <a:gd name="connsiteY6" fmla="*/ 1631153 h 1958188"/>
              <a:gd name="connsiteX7" fmla="*/ 192877 w 4595723"/>
              <a:gd name="connsiteY7" fmla="*/ 1603271 h 1958188"/>
              <a:gd name="connsiteX8" fmla="*/ 215306 w 4595723"/>
              <a:gd name="connsiteY8" fmla="*/ 1583314 h 1958188"/>
              <a:gd name="connsiteX9" fmla="*/ 239755 w 4595723"/>
              <a:gd name="connsiteY9" fmla="*/ 1563755 h 1958188"/>
              <a:gd name="connsiteX10" fmla="*/ 281318 w 4595723"/>
              <a:gd name="connsiteY10" fmla="*/ 1507522 h 1958188"/>
              <a:gd name="connsiteX11" fmla="*/ 308213 w 4595723"/>
              <a:gd name="connsiteY11" fmla="*/ 1443954 h 1958188"/>
              <a:gd name="connsiteX12" fmla="*/ 362001 w 4595723"/>
              <a:gd name="connsiteY12" fmla="*/ 1434174 h 1958188"/>
              <a:gd name="connsiteX13" fmla="*/ 423124 w 4595723"/>
              <a:gd name="connsiteY13" fmla="*/ 1436619 h 1958188"/>
              <a:gd name="connsiteX14" fmla="*/ 459798 w 4595723"/>
              <a:gd name="connsiteY14" fmla="*/ 1412170 h 1958188"/>
              <a:gd name="connsiteX15" fmla="*/ 489137 w 4595723"/>
              <a:gd name="connsiteY15" fmla="*/ 1373051 h 1958188"/>
              <a:gd name="connsiteX16" fmla="*/ 533145 w 4595723"/>
              <a:gd name="connsiteY16" fmla="*/ 1365716 h 1958188"/>
              <a:gd name="connsiteX17" fmla="*/ 557594 w 4595723"/>
              <a:gd name="connsiteY17" fmla="*/ 1346157 h 1958188"/>
              <a:gd name="connsiteX18" fmla="*/ 577154 w 4595723"/>
              <a:gd name="connsiteY18" fmla="*/ 1309483 h 1958188"/>
              <a:gd name="connsiteX19" fmla="*/ 626052 w 4595723"/>
              <a:gd name="connsiteY19" fmla="*/ 1299704 h 1958188"/>
              <a:gd name="connsiteX20" fmla="*/ 673805 w 4595723"/>
              <a:gd name="connsiteY20" fmla="*/ 1304925 h 1958188"/>
              <a:gd name="connsiteX21" fmla="*/ 714286 w 4595723"/>
              <a:gd name="connsiteY21" fmla="*/ 1259681 h 1958188"/>
              <a:gd name="connsiteX22" fmla="*/ 745242 w 4595723"/>
              <a:gd name="connsiteY22" fmla="*/ 1247775 h 1958188"/>
              <a:gd name="connsiteX23" fmla="*/ 795248 w 4595723"/>
              <a:gd name="connsiteY23" fmla="*/ 1257300 h 1958188"/>
              <a:gd name="connsiteX24" fmla="*/ 842873 w 4595723"/>
              <a:gd name="connsiteY24" fmla="*/ 1207293 h 1958188"/>
              <a:gd name="connsiteX25" fmla="*/ 890498 w 4595723"/>
              <a:gd name="connsiteY25" fmla="*/ 1214437 h 1958188"/>
              <a:gd name="connsiteX26" fmla="*/ 911930 w 4595723"/>
              <a:gd name="connsiteY26" fmla="*/ 1214437 h 1958188"/>
              <a:gd name="connsiteX27" fmla="*/ 947648 w 4595723"/>
              <a:gd name="connsiteY27" fmla="*/ 1195387 h 1958188"/>
              <a:gd name="connsiteX28" fmla="*/ 971461 w 4595723"/>
              <a:gd name="connsiteY28" fmla="*/ 1157287 h 1958188"/>
              <a:gd name="connsiteX29" fmla="*/ 1016705 w 4595723"/>
              <a:gd name="connsiteY29" fmla="*/ 1157287 h 1958188"/>
              <a:gd name="connsiteX30" fmla="*/ 1042898 w 4595723"/>
              <a:gd name="connsiteY30" fmla="*/ 1119187 h 1958188"/>
              <a:gd name="connsiteX31" fmla="*/ 1069092 w 4595723"/>
              <a:gd name="connsiteY31" fmla="*/ 1100137 h 1958188"/>
              <a:gd name="connsiteX32" fmla="*/ 1088142 w 4595723"/>
              <a:gd name="connsiteY32" fmla="*/ 1071562 h 1958188"/>
              <a:gd name="connsiteX33" fmla="*/ 1133386 w 4595723"/>
              <a:gd name="connsiteY33" fmla="*/ 1064418 h 1958188"/>
              <a:gd name="connsiteX34" fmla="*/ 1145292 w 4595723"/>
              <a:gd name="connsiteY34" fmla="*/ 1031081 h 1958188"/>
              <a:gd name="connsiteX35" fmla="*/ 1181011 w 4595723"/>
              <a:gd name="connsiteY35" fmla="*/ 1012031 h 1958188"/>
              <a:gd name="connsiteX36" fmla="*/ 1202442 w 4595723"/>
              <a:gd name="connsiteY36" fmla="*/ 988218 h 1958188"/>
              <a:gd name="connsiteX37" fmla="*/ 1283405 w 4595723"/>
              <a:gd name="connsiteY37" fmla="*/ 966787 h 1958188"/>
              <a:gd name="connsiteX38" fmla="*/ 1297692 w 4595723"/>
              <a:gd name="connsiteY38" fmla="*/ 952500 h 1958188"/>
              <a:gd name="connsiteX39" fmla="*/ 1307217 w 4595723"/>
              <a:gd name="connsiteY39" fmla="*/ 919162 h 1958188"/>
              <a:gd name="connsiteX40" fmla="*/ 1388180 w 4595723"/>
              <a:gd name="connsiteY40" fmla="*/ 878681 h 1958188"/>
              <a:gd name="connsiteX41" fmla="*/ 1407230 w 4595723"/>
              <a:gd name="connsiteY41" fmla="*/ 873918 h 1958188"/>
              <a:gd name="connsiteX42" fmla="*/ 1466761 w 4595723"/>
              <a:gd name="connsiteY42" fmla="*/ 809625 h 1958188"/>
              <a:gd name="connsiteX43" fmla="*/ 1471523 w 4595723"/>
              <a:gd name="connsiteY43" fmla="*/ 759618 h 1958188"/>
              <a:gd name="connsiteX44" fmla="*/ 1497717 w 4595723"/>
              <a:gd name="connsiteY44" fmla="*/ 733425 h 1958188"/>
              <a:gd name="connsiteX45" fmla="*/ 1523911 w 4595723"/>
              <a:gd name="connsiteY45" fmla="*/ 728662 h 1958188"/>
              <a:gd name="connsiteX46" fmla="*/ 1585823 w 4595723"/>
              <a:gd name="connsiteY46" fmla="*/ 683418 h 1958188"/>
              <a:gd name="connsiteX47" fmla="*/ 1671548 w 4595723"/>
              <a:gd name="connsiteY47" fmla="*/ 640556 h 1958188"/>
              <a:gd name="connsiteX48" fmla="*/ 1707267 w 4595723"/>
              <a:gd name="connsiteY48" fmla="*/ 600075 h 1958188"/>
              <a:gd name="connsiteX49" fmla="*/ 1735842 w 4595723"/>
              <a:gd name="connsiteY49" fmla="*/ 585787 h 1958188"/>
              <a:gd name="connsiteX50" fmla="*/ 1742986 w 4595723"/>
              <a:gd name="connsiteY50" fmla="*/ 519112 h 1958188"/>
              <a:gd name="connsiteX51" fmla="*/ 1759655 w 4595723"/>
              <a:gd name="connsiteY51" fmla="*/ 473868 h 1958188"/>
              <a:gd name="connsiteX52" fmla="*/ 1745367 w 4595723"/>
              <a:gd name="connsiteY52" fmla="*/ 433387 h 1958188"/>
              <a:gd name="connsiteX53" fmla="*/ 1750130 w 4595723"/>
              <a:gd name="connsiteY53" fmla="*/ 347662 h 1958188"/>
              <a:gd name="connsiteX54" fmla="*/ 1745367 w 4595723"/>
              <a:gd name="connsiteY54" fmla="*/ 307181 h 1958188"/>
              <a:gd name="connsiteX55" fmla="*/ 1745367 w 4595723"/>
              <a:gd name="connsiteY55" fmla="*/ 264318 h 1958188"/>
              <a:gd name="connsiteX56" fmla="*/ 1771561 w 4595723"/>
              <a:gd name="connsiteY56" fmla="*/ 254793 h 1958188"/>
              <a:gd name="connsiteX57" fmla="*/ 1792992 w 4595723"/>
              <a:gd name="connsiteY57" fmla="*/ 271462 h 1958188"/>
              <a:gd name="connsiteX58" fmla="*/ 1807280 w 4595723"/>
              <a:gd name="connsiteY58" fmla="*/ 297656 h 1958188"/>
              <a:gd name="connsiteX59" fmla="*/ 1835855 w 4595723"/>
              <a:gd name="connsiteY59" fmla="*/ 300037 h 1958188"/>
              <a:gd name="connsiteX60" fmla="*/ 1857286 w 4595723"/>
              <a:gd name="connsiteY60" fmla="*/ 278606 h 1958188"/>
              <a:gd name="connsiteX61" fmla="*/ 1943011 w 4595723"/>
              <a:gd name="connsiteY61" fmla="*/ 280987 h 1958188"/>
              <a:gd name="connsiteX62" fmla="*/ 1995398 w 4595723"/>
              <a:gd name="connsiteY62" fmla="*/ 290512 h 1958188"/>
              <a:gd name="connsiteX63" fmla="*/ 2043023 w 4595723"/>
              <a:gd name="connsiteY63" fmla="*/ 266700 h 1958188"/>
              <a:gd name="connsiteX64" fmla="*/ 2054930 w 4595723"/>
              <a:gd name="connsiteY64" fmla="*/ 233362 h 1958188"/>
              <a:gd name="connsiteX65" fmla="*/ 2095411 w 4595723"/>
              <a:gd name="connsiteY65" fmla="*/ 200025 h 1958188"/>
              <a:gd name="connsiteX66" fmla="*/ 2085886 w 4595723"/>
              <a:gd name="connsiteY66" fmla="*/ 173831 h 1958188"/>
              <a:gd name="connsiteX67" fmla="*/ 2102555 w 4595723"/>
              <a:gd name="connsiteY67" fmla="*/ 147637 h 1958188"/>
              <a:gd name="connsiteX68" fmla="*/ 2157323 w 4595723"/>
              <a:gd name="connsiteY68" fmla="*/ 169068 h 1958188"/>
              <a:gd name="connsiteX69" fmla="*/ 2204948 w 4595723"/>
              <a:gd name="connsiteY69" fmla="*/ 173831 h 1958188"/>
              <a:gd name="connsiteX70" fmla="*/ 2240667 w 4595723"/>
              <a:gd name="connsiteY70" fmla="*/ 209550 h 1958188"/>
              <a:gd name="connsiteX71" fmla="*/ 2269242 w 4595723"/>
              <a:gd name="connsiteY71" fmla="*/ 223837 h 1958188"/>
              <a:gd name="connsiteX72" fmla="*/ 2288292 w 4595723"/>
              <a:gd name="connsiteY72" fmla="*/ 280987 h 1958188"/>
              <a:gd name="connsiteX73" fmla="*/ 2357348 w 4595723"/>
              <a:gd name="connsiteY73" fmla="*/ 316706 h 1958188"/>
              <a:gd name="connsiteX74" fmla="*/ 2426405 w 4595723"/>
              <a:gd name="connsiteY74" fmla="*/ 307181 h 1958188"/>
              <a:gd name="connsiteX75" fmla="*/ 2474030 w 4595723"/>
              <a:gd name="connsiteY75" fmla="*/ 295275 h 1958188"/>
              <a:gd name="connsiteX76" fmla="*/ 2512130 w 4595723"/>
              <a:gd name="connsiteY76" fmla="*/ 307181 h 1958188"/>
              <a:gd name="connsiteX77" fmla="*/ 2562136 w 4595723"/>
              <a:gd name="connsiteY77" fmla="*/ 304800 h 1958188"/>
              <a:gd name="connsiteX78" fmla="*/ 2607380 w 4595723"/>
              <a:gd name="connsiteY78" fmla="*/ 316706 h 1958188"/>
              <a:gd name="connsiteX79" fmla="*/ 2652623 w 4595723"/>
              <a:gd name="connsiteY79" fmla="*/ 302418 h 1958188"/>
              <a:gd name="connsiteX80" fmla="*/ 2674055 w 4595723"/>
              <a:gd name="connsiteY80" fmla="*/ 276225 h 1958188"/>
              <a:gd name="connsiteX81" fmla="*/ 2752636 w 4595723"/>
              <a:gd name="connsiteY81" fmla="*/ 297656 h 1958188"/>
              <a:gd name="connsiteX82" fmla="*/ 2793117 w 4595723"/>
              <a:gd name="connsiteY82" fmla="*/ 283368 h 1958188"/>
              <a:gd name="connsiteX83" fmla="*/ 2800261 w 4595723"/>
              <a:gd name="connsiteY83" fmla="*/ 242887 h 1958188"/>
              <a:gd name="connsiteX84" fmla="*/ 2771686 w 4595723"/>
              <a:gd name="connsiteY84" fmla="*/ 195262 h 1958188"/>
              <a:gd name="connsiteX85" fmla="*/ 2755017 w 4595723"/>
              <a:gd name="connsiteY85" fmla="*/ 135731 h 1958188"/>
              <a:gd name="connsiteX86" fmla="*/ 2721680 w 4595723"/>
              <a:gd name="connsiteY86" fmla="*/ 102393 h 1958188"/>
              <a:gd name="connsiteX87" fmla="*/ 2697867 w 4595723"/>
              <a:gd name="connsiteY87" fmla="*/ 59531 h 1958188"/>
              <a:gd name="connsiteX88" fmla="*/ 2707392 w 4595723"/>
              <a:gd name="connsiteY88" fmla="*/ 38100 h 1958188"/>
              <a:gd name="connsiteX89" fmla="*/ 2743111 w 4595723"/>
              <a:gd name="connsiteY89" fmla="*/ 0 h 1958188"/>
              <a:gd name="connsiteX90" fmla="*/ 2762161 w 4595723"/>
              <a:gd name="connsiteY90" fmla="*/ 16668 h 1958188"/>
              <a:gd name="connsiteX91" fmla="*/ 2843123 w 4595723"/>
              <a:gd name="connsiteY91" fmla="*/ 30956 h 1958188"/>
              <a:gd name="connsiteX92" fmla="*/ 2926467 w 4595723"/>
              <a:gd name="connsiteY92" fmla="*/ 47625 h 1958188"/>
              <a:gd name="connsiteX93" fmla="*/ 2976473 w 4595723"/>
              <a:gd name="connsiteY93" fmla="*/ 66675 h 1958188"/>
              <a:gd name="connsiteX94" fmla="*/ 3026480 w 4595723"/>
              <a:gd name="connsiteY94" fmla="*/ 61912 h 1958188"/>
              <a:gd name="connsiteX95" fmla="*/ 3074105 w 4595723"/>
              <a:gd name="connsiteY95" fmla="*/ 92868 h 1958188"/>
              <a:gd name="connsiteX96" fmla="*/ 3116967 w 4595723"/>
              <a:gd name="connsiteY96" fmla="*/ 119062 h 1958188"/>
              <a:gd name="connsiteX97" fmla="*/ 3138398 w 4595723"/>
              <a:gd name="connsiteY97" fmla="*/ 150018 h 1958188"/>
              <a:gd name="connsiteX98" fmla="*/ 3188405 w 4595723"/>
              <a:gd name="connsiteY98" fmla="*/ 157162 h 1958188"/>
              <a:gd name="connsiteX99" fmla="*/ 3214598 w 4595723"/>
              <a:gd name="connsiteY99" fmla="*/ 202406 h 1958188"/>
              <a:gd name="connsiteX100" fmla="*/ 3240792 w 4595723"/>
              <a:gd name="connsiteY100" fmla="*/ 233362 h 1958188"/>
              <a:gd name="connsiteX101" fmla="*/ 3257461 w 4595723"/>
              <a:gd name="connsiteY101" fmla="*/ 278606 h 1958188"/>
              <a:gd name="connsiteX102" fmla="*/ 3316992 w 4595723"/>
              <a:gd name="connsiteY102" fmla="*/ 295275 h 1958188"/>
              <a:gd name="connsiteX103" fmla="*/ 3345567 w 4595723"/>
              <a:gd name="connsiteY103" fmla="*/ 326231 h 1958188"/>
              <a:gd name="connsiteX104" fmla="*/ 3366998 w 4595723"/>
              <a:gd name="connsiteY104" fmla="*/ 335756 h 1958188"/>
              <a:gd name="connsiteX105" fmla="*/ 3378905 w 4595723"/>
              <a:gd name="connsiteY105" fmla="*/ 376237 h 1958188"/>
              <a:gd name="connsiteX106" fmla="*/ 3409861 w 4595723"/>
              <a:gd name="connsiteY106" fmla="*/ 383381 h 1958188"/>
              <a:gd name="connsiteX107" fmla="*/ 3447961 w 4595723"/>
              <a:gd name="connsiteY107" fmla="*/ 447675 h 1958188"/>
              <a:gd name="connsiteX108" fmla="*/ 3443198 w 4595723"/>
              <a:gd name="connsiteY108" fmla="*/ 502443 h 1958188"/>
              <a:gd name="connsiteX109" fmla="*/ 3431292 w 4595723"/>
              <a:gd name="connsiteY109" fmla="*/ 531018 h 1958188"/>
              <a:gd name="connsiteX110" fmla="*/ 3471773 w 4595723"/>
              <a:gd name="connsiteY110" fmla="*/ 564356 h 1958188"/>
              <a:gd name="connsiteX111" fmla="*/ 3469392 w 4595723"/>
              <a:gd name="connsiteY111" fmla="*/ 647700 h 1958188"/>
              <a:gd name="connsiteX112" fmla="*/ 3450342 w 4595723"/>
              <a:gd name="connsiteY112" fmla="*/ 664368 h 1958188"/>
              <a:gd name="connsiteX113" fmla="*/ 3433673 w 4595723"/>
              <a:gd name="connsiteY113" fmla="*/ 738187 h 1958188"/>
              <a:gd name="connsiteX114" fmla="*/ 3455105 w 4595723"/>
              <a:gd name="connsiteY114" fmla="*/ 773906 h 1958188"/>
              <a:gd name="connsiteX115" fmla="*/ 3509873 w 4595723"/>
              <a:gd name="connsiteY115" fmla="*/ 797718 h 1958188"/>
              <a:gd name="connsiteX116" fmla="*/ 3547973 w 4595723"/>
              <a:gd name="connsiteY116" fmla="*/ 778668 h 1958188"/>
              <a:gd name="connsiteX117" fmla="*/ 3590836 w 4595723"/>
              <a:gd name="connsiteY117" fmla="*/ 797718 h 1958188"/>
              <a:gd name="connsiteX118" fmla="*/ 3626555 w 4595723"/>
              <a:gd name="connsiteY118" fmla="*/ 783431 h 1958188"/>
              <a:gd name="connsiteX119" fmla="*/ 3664655 w 4595723"/>
              <a:gd name="connsiteY119" fmla="*/ 826293 h 1958188"/>
              <a:gd name="connsiteX120" fmla="*/ 3743236 w 4595723"/>
              <a:gd name="connsiteY120" fmla="*/ 902493 h 1958188"/>
              <a:gd name="connsiteX121" fmla="*/ 3812292 w 4595723"/>
              <a:gd name="connsiteY121" fmla="*/ 916781 h 1958188"/>
              <a:gd name="connsiteX122" fmla="*/ 3858789 w 4595723"/>
              <a:gd name="connsiteY122" fmla="*/ 944470 h 1958188"/>
              <a:gd name="connsiteX123" fmla="*/ 4526667 w 4595723"/>
              <a:gd name="connsiteY123" fmla="*/ 862012 h 1958188"/>
              <a:gd name="connsiteX124" fmla="*/ 4595723 w 4595723"/>
              <a:gd name="connsiteY124" fmla="*/ 840581 h 1958188"/>
              <a:gd name="connsiteX0" fmla="*/ 0 w 4595723"/>
              <a:gd name="connsiteY0" fmla="*/ 1958188 h 1958188"/>
              <a:gd name="connsiteX1" fmla="*/ 27040 w 4595723"/>
              <a:gd name="connsiteY1" fmla="*/ 1853413 h 1958188"/>
              <a:gd name="connsiteX2" fmla="*/ 81163 w 4595723"/>
              <a:gd name="connsiteY2" fmla="*/ 1804987 h 1958188"/>
              <a:gd name="connsiteX3" fmla="*/ 92557 w 4595723"/>
              <a:gd name="connsiteY3" fmla="*/ 1728075 h 1958188"/>
              <a:gd name="connsiteX4" fmla="*/ 132437 w 4595723"/>
              <a:gd name="connsiteY4" fmla="*/ 1676800 h 1958188"/>
              <a:gd name="connsiteX5" fmla="*/ 173742 w 4595723"/>
              <a:gd name="connsiteY5" fmla="*/ 1661552 h 1958188"/>
              <a:gd name="connsiteX6" fmla="*/ 172430 w 4595723"/>
              <a:gd name="connsiteY6" fmla="*/ 1631153 h 1958188"/>
              <a:gd name="connsiteX7" fmla="*/ 192877 w 4595723"/>
              <a:gd name="connsiteY7" fmla="*/ 1603271 h 1958188"/>
              <a:gd name="connsiteX8" fmla="*/ 215306 w 4595723"/>
              <a:gd name="connsiteY8" fmla="*/ 1583314 h 1958188"/>
              <a:gd name="connsiteX9" fmla="*/ 239755 w 4595723"/>
              <a:gd name="connsiteY9" fmla="*/ 1563755 h 1958188"/>
              <a:gd name="connsiteX10" fmla="*/ 281318 w 4595723"/>
              <a:gd name="connsiteY10" fmla="*/ 1507522 h 1958188"/>
              <a:gd name="connsiteX11" fmla="*/ 308213 w 4595723"/>
              <a:gd name="connsiteY11" fmla="*/ 1443954 h 1958188"/>
              <a:gd name="connsiteX12" fmla="*/ 362001 w 4595723"/>
              <a:gd name="connsiteY12" fmla="*/ 1434174 h 1958188"/>
              <a:gd name="connsiteX13" fmla="*/ 423124 w 4595723"/>
              <a:gd name="connsiteY13" fmla="*/ 1436619 h 1958188"/>
              <a:gd name="connsiteX14" fmla="*/ 459798 w 4595723"/>
              <a:gd name="connsiteY14" fmla="*/ 1412170 h 1958188"/>
              <a:gd name="connsiteX15" fmla="*/ 489137 w 4595723"/>
              <a:gd name="connsiteY15" fmla="*/ 1373051 h 1958188"/>
              <a:gd name="connsiteX16" fmla="*/ 533145 w 4595723"/>
              <a:gd name="connsiteY16" fmla="*/ 1365716 h 1958188"/>
              <a:gd name="connsiteX17" fmla="*/ 557594 w 4595723"/>
              <a:gd name="connsiteY17" fmla="*/ 1346157 h 1958188"/>
              <a:gd name="connsiteX18" fmla="*/ 577154 w 4595723"/>
              <a:gd name="connsiteY18" fmla="*/ 1309483 h 1958188"/>
              <a:gd name="connsiteX19" fmla="*/ 626052 w 4595723"/>
              <a:gd name="connsiteY19" fmla="*/ 1299704 h 1958188"/>
              <a:gd name="connsiteX20" fmla="*/ 673805 w 4595723"/>
              <a:gd name="connsiteY20" fmla="*/ 1304925 h 1958188"/>
              <a:gd name="connsiteX21" fmla="*/ 714286 w 4595723"/>
              <a:gd name="connsiteY21" fmla="*/ 1259681 h 1958188"/>
              <a:gd name="connsiteX22" fmla="*/ 745242 w 4595723"/>
              <a:gd name="connsiteY22" fmla="*/ 1247775 h 1958188"/>
              <a:gd name="connsiteX23" fmla="*/ 795248 w 4595723"/>
              <a:gd name="connsiteY23" fmla="*/ 1257300 h 1958188"/>
              <a:gd name="connsiteX24" fmla="*/ 842873 w 4595723"/>
              <a:gd name="connsiteY24" fmla="*/ 1207293 h 1958188"/>
              <a:gd name="connsiteX25" fmla="*/ 890498 w 4595723"/>
              <a:gd name="connsiteY25" fmla="*/ 1214437 h 1958188"/>
              <a:gd name="connsiteX26" fmla="*/ 911930 w 4595723"/>
              <a:gd name="connsiteY26" fmla="*/ 1214437 h 1958188"/>
              <a:gd name="connsiteX27" fmla="*/ 947648 w 4595723"/>
              <a:gd name="connsiteY27" fmla="*/ 1195387 h 1958188"/>
              <a:gd name="connsiteX28" fmla="*/ 971461 w 4595723"/>
              <a:gd name="connsiteY28" fmla="*/ 1157287 h 1958188"/>
              <a:gd name="connsiteX29" fmla="*/ 1016705 w 4595723"/>
              <a:gd name="connsiteY29" fmla="*/ 1157287 h 1958188"/>
              <a:gd name="connsiteX30" fmla="*/ 1042898 w 4595723"/>
              <a:gd name="connsiteY30" fmla="*/ 1119187 h 1958188"/>
              <a:gd name="connsiteX31" fmla="*/ 1069092 w 4595723"/>
              <a:gd name="connsiteY31" fmla="*/ 1100137 h 1958188"/>
              <a:gd name="connsiteX32" fmla="*/ 1088142 w 4595723"/>
              <a:gd name="connsiteY32" fmla="*/ 1071562 h 1958188"/>
              <a:gd name="connsiteX33" fmla="*/ 1133386 w 4595723"/>
              <a:gd name="connsiteY33" fmla="*/ 1064418 h 1958188"/>
              <a:gd name="connsiteX34" fmla="*/ 1145292 w 4595723"/>
              <a:gd name="connsiteY34" fmla="*/ 1031081 h 1958188"/>
              <a:gd name="connsiteX35" fmla="*/ 1181011 w 4595723"/>
              <a:gd name="connsiteY35" fmla="*/ 1012031 h 1958188"/>
              <a:gd name="connsiteX36" fmla="*/ 1202442 w 4595723"/>
              <a:gd name="connsiteY36" fmla="*/ 988218 h 1958188"/>
              <a:gd name="connsiteX37" fmla="*/ 1283405 w 4595723"/>
              <a:gd name="connsiteY37" fmla="*/ 966787 h 1958188"/>
              <a:gd name="connsiteX38" fmla="*/ 1297692 w 4595723"/>
              <a:gd name="connsiteY38" fmla="*/ 952500 h 1958188"/>
              <a:gd name="connsiteX39" fmla="*/ 1307217 w 4595723"/>
              <a:gd name="connsiteY39" fmla="*/ 919162 h 1958188"/>
              <a:gd name="connsiteX40" fmla="*/ 1388180 w 4595723"/>
              <a:gd name="connsiteY40" fmla="*/ 878681 h 1958188"/>
              <a:gd name="connsiteX41" fmla="*/ 1407230 w 4595723"/>
              <a:gd name="connsiteY41" fmla="*/ 873918 h 1958188"/>
              <a:gd name="connsiteX42" fmla="*/ 1466761 w 4595723"/>
              <a:gd name="connsiteY42" fmla="*/ 809625 h 1958188"/>
              <a:gd name="connsiteX43" fmla="*/ 1471523 w 4595723"/>
              <a:gd name="connsiteY43" fmla="*/ 759618 h 1958188"/>
              <a:gd name="connsiteX44" fmla="*/ 1497717 w 4595723"/>
              <a:gd name="connsiteY44" fmla="*/ 733425 h 1958188"/>
              <a:gd name="connsiteX45" fmla="*/ 1523911 w 4595723"/>
              <a:gd name="connsiteY45" fmla="*/ 728662 h 1958188"/>
              <a:gd name="connsiteX46" fmla="*/ 1585823 w 4595723"/>
              <a:gd name="connsiteY46" fmla="*/ 683418 h 1958188"/>
              <a:gd name="connsiteX47" fmla="*/ 1671548 w 4595723"/>
              <a:gd name="connsiteY47" fmla="*/ 640556 h 1958188"/>
              <a:gd name="connsiteX48" fmla="*/ 1707267 w 4595723"/>
              <a:gd name="connsiteY48" fmla="*/ 600075 h 1958188"/>
              <a:gd name="connsiteX49" fmla="*/ 1735842 w 4595723"/>
              <a:gd name="connsiteY49" fmla="*/ 585787 h 1958188"/>
              <a:gd name="connsiteX50" fmla="*/ 1742986 w 4595723"/>
              <a:gd name="connsiteY50" fmla="*/ 519112 h 1958188"/>
              <a:gd name="connsiteX51" fmla="*/ 1759655 w 4595723"/>
              <a:gd name="connsiteY51" fmla="*/ 473868 h 1958188"/>
              <a:gd name="connsiteX52" fmla="*/ 1745367 w 4595723"/>
              <a:gd name="connsiteY52" fmla="*/ 433387 h 1958188"/>
              <a:gd name="connsiteX53" fmla="*/ 1750130 w 4595723"/>
              <a:gd name="connsiteY53" fmla="*/ 347662 h 1958188"/>
              <a:gd name="connsiteX54" fmla="*/ 1745367 w 4595723"/>
              <a:gd name="connsiteY54" fmla="*/ 307181 h 1958188"/>
              <a:gd name="connsiteX55" fmla="*/ 1745367 w 4595723"/>
              <a:gd name="connsiteY55" fmla="*/ 264318 h 1958188"/>
              <a:gd name="connsiteX56" fmla="*/ 1771561 w 4595723"/>
              <a:gd name="connsiteY56" fmla="*/ 254793 h 1958188"/>
              <a:gd name="connsiteX57" fmla="*/ 1792992 w 4595723"/>
              <a:gd name="connsiteY57" fmla="*/ 271462 h 1958188"/>
              <a:gd name="connsiteX58" fmla="*/ 1807280 w 4595723"/>
              <a:gd name="connsiteY58" fmla="*/ 297656 h 1958188"/>
              <a:gd name="connsiteX59" fmla="*/ 1835855 w 4595723"/>
              <a:gd name="connsiteY59" fmla="*/ 300037 h 1958188"/>
              <a:gd name="connsiteX60" fmla="*/ 1857286 w 4595723"/>
              <a:gd name="connsiteY60" fmla="*/ 278606 h 1958188"/>
              <a:gd name="connsiteX61" fmla="*/ 1943011 w 4595723"/>
              <a:gd name="connsiteY61" fmla="*/ 280987 h 1958188"/>
              <a:gd name="connsiteX62" fmla="*/ 1995398 w 4595723"/>
              <a:gd name="connsiteY62" fmla="*/ 290512 h 1958188"/>
              <a:gd name="connsiteX63" fmla="*/ 2043023 w 4595723"/>
              <a:gd name="connsiteY63" fmla="*/ 266700 h 1958188"/>
              <a:gd name="connsiteX64" fmla="*/ 2054930 w 4595723"/>
              <a:gd name="connsiteY64" fmla="*/ 233362 h 1958188"/>
              <a:gd name="connsiteX65" fmla="*/ 2095411 w 4595723"/>
              <a:gd name="connsiteY65" fmla="*/ 200025 h 1958188"/>
              <a:gd name="connsiteX66" fmla="*/ 2085886 w 4595723"/>
              <a:gd name="connsiteY66" fmla="*/ 173831 h 1958188"/>
              <a:gd name="connsiteX67" fmla="*/ 2102555 w 4595723"/>
              <a:gd name="connsiteY67" fmla="*/ 147637 h 1958188"/>
              <a:gd name="connsiteX68" fmla="*/ 2157323 w 4595723"/>
              <a:gd name="connsiteY68" fmla="*/ 169068 h 1958188"/>
              <a:gd name="connsiteX69" fmla="*/ 2204948 w 4595723"/>
              <a:gd name="connsiteY69" fmla="*/ 173831 h 1958188"/>
              <a:gd name="connsiteX70" fmla="*/ 2240667 w 4595723"/>
              <a:gd name="connsiteY70" fmla="*/ 209550 h 1958188"/>
              <a:gd name="connsiteX71" fmla="*/ 2269242 w 4595723"/>
              <a:gd name="connsiteY71" fmla="*/ 223837 h 1958188"/>
              <a:gd name="connsiteX72" fmla="*/ 2288292 w 4595723"/>
              <a:gd name="connsiteY72" fmla="*/ 280987 h 1958188"/>
              <a:gd name="connsiteX73" fmla="*/ 2357348 w 4595723"/>
              <a:gd name="connsiteY73" fmla="*/ 316706 h 1958188"/>
              <a:gd name="connsiteX74" fmla="*/ 2426405 w 4595723"/>
              <a:gd name="connsiteY74" fmla="*/ 307181 h 1958188"/>
              <a:gd name="connsiteX75" fmla="*/ 2474030 w 4595723"/>
              <a:gd name="connsiteY75" fmla="*/ 295275 h 1958188"/>
              <a:gd name="connsiteX76" fmla="*/ 2512130 w 4595723"/>
              <a:gd name="connsiteY76" fmla="*/ 307181 h 1958188"/>
              <a:gd name="connsiteX77" fmla="*/ 2562136 w 4595723"/>
              <a:gd name="connsiteY77" fmla="*/ 304800 h 1958188"/>
              <a:gd name="connsiteX78" fmla="*/ 2607380 w 4595723"/>
              <a:gd name="connsiteY78" fmla="*/ 316706 h 1958188"/>
              <a:gd name="connsiteX79" fmla="*/ 2652623 w 4595723"/>
              <a:gd name="connsiteY79" fmla="*/ 302418 h 1958188"/>
              <a:gd name="connsiteX80" fmla="*/ 2674055 w 4595723"/>
              <a:gd name="connsiteY80" fmla="*/ 276225 h 1958188"/>
              <a:gd name="connsiteX81" fmla="*/ 2752636 w 4595723"/>
              <a:gd name="connsiteY81" fmla="*/ 297656 h 1958188"/>
              <a:gd name="connsiteX82" fmla="*/ 2793117 w 4595723"/>
              <a:gd name="connsiteY82" fmla="*/ 283368 h 1958188"/>
              <a:gd name="connsiteX83" fmla="*/ 2800261 w 4595723"/>
              <a:gd name="connsiteY83" fmla="*/ 242887 h 1958188"/>
              <a:gd name="connsiteX84" fmla="*/ 2771686 w 4595723"/>
              <a:gd name="connsiteY84" fmla="*/ 195262 h 1958188"/>
              <a:gd name="connsiteX85" fmla="*/ 2755017 w 4595723"/>
              <a:gd name="connsiteY85" fmla="*/ 135731 h 1958188"/>
              <a:gd name="connsiteX86" fmla="*/ 2721680 w 4595723"/>
              <a:gd name="connsiteY86" fmla="*/ 102393 h 1958188"/>
              <a:gd name="connsiteX87" fmla="*/ 2697867 w 4595723"/>
              <a:gd name="connsiteY87" fmla="*/ 59531 h 1958188"/>
              <a:gd name="connsiteX88" fmla="*/ 2707392 w 4595723"/>
              <a:gd name="connsiteY88" fmla="*/ 38100 h 1958188"/>
              <a:gd name="connsiteX89" fmla="*/ 2743111 w 4595723"/>
              <a:gd name="connsiteY89" fmla="*/ 0 h 1958188"/>
              <a:gd name="connsiteX90" fmla="*/ 2762161 w 4595723"/>
              <a:gd name="connsiteY90" fmla="*/ 16668 h 1958188"/>
              <a:gd name="connsiteX91" fmla="*/ 2843123 w 4595723"/>
              <a:gd name="connsiteY91" fmla="*/ 30956 h 1958188"/>
              <a:gd name="connsiteX92" fmla="*/ 2926467 w 4595723"/>
              <a:gd name="connsiteY92" fmla="*/ 47625 h 1958188"/>
              <a:gd name="connsiteX93" fmla="*/ 2976473 w 4595723"/>
              <a:gd name="connsiteY93" fmla="*/ 66675 h 1958188"/>
              <a:gd name="connsiteX94" fmla="*/ 3026480 w 4595723"/>
              <a:gd name="connsiteY94" fmla="*/ 61912 h 1958188"/>
              <a:gd name="connsiteX95" fmla="*/ 3074105 w 4595723"/>
              <a:gd name="connsiteY95" fmla="*/ 92868 h 1958188"/>
              <a:gd name="connsiteX96" fmla="*/ 3116967 w 4595723"/>
              <a:gd name="connsiteY96" fmla="*/ 119062 h 1958188"/>
              <a:gd name="connsiteX97" fmla="*/ 3138398 w 4595723"/>
              <a:gd name="connsiteY97" fmla="*/ 150018 h 1958188"/>
              <a:gd name="connsiteX98" fmla="*/ 3188405 w 4595723"/>
              <a:gd name="connsiteY98" fmla="*/ 157162 h 1958188"/>
              <a:gd name="connsiteX99" fmla="*/ 3214598 w 4595723"/>
              <a:gd name="connsiteY99" fmla="*/ 202406 h 1958188"/>
              <a:gd name="connsiteX100" fmla="*/ 3240792 w 4595723"/>
              <a:gd name="connsiteY100" fmla="*/ 233362 h 1958188"/>
              <a:gd name="connsiteX101" fmla="*/ 3257461 w 4595723"/>
              <a:gd name="connsiteY101" fmla="*/ 278606 h 1958188"/>
              <a:gd name="connsiteX102" fmla="*/ 3316992 w 4595723"/>
              <a:gd name="connsiteY102" fmla="*/ 295275 h 1958188"/>
              <a:gd name="connsiteX103" fmla="*/ 3345567 w 4595723"/>
              <a:gd name="connsiteY103" fmla="*/ 326231 h 1958188"/>
              <a:gd name="connsiteX104" fmla="*/ 3366998 w 4595723"/>
              <a:gd name="connsiteY104" fmla="*/ 335756 h 1958188"/>
              <a:gd name="connsiteX105" fmla="*/ 3378905 w 4595723"/>
              <a:gd name="connsiteY105" fmla="*/ 376237 h 1958188"/>
              <a:gd name="connsiteX106" fmla="*/ 3409861 w 4595723"/>
              <a:gd name="connsiteY106" fmla="*/ 383381 h 1958188"/>
              <a:gd name="connsiteX107" fmla="*/ 3447961 w 4595723"/>
              <a:gd name="connsiteY107" fmla="*/ 447675 h 1958188"/>
              <a:gd name="connsiteX108" fmla="*/ 3443198 w 4595723"/>
              <a:gd name="connsiteY108" fmla="*/ 502443 h 1958188"/>
              <a:gd name="connsiteX109" fmla="*/ 3431292 w 4595723"/>
              <a:gd name="connsiteY109" fmla="*/ 531018 h 1958188"/>
              <a:gd name="connsiteX110" fmla="*/ 3471773 w 4595723"/>
              <a:gd name="connsiteY110" fmla="*/ 564356 h 1958188"/>
              <a:gd name="connsiteX111" fmla="*/ 3469392 w 4595723"/>
              <a:gd name="connsiteY111" fmla="*/ 647700 h 1958188"/>
              <a:gd name="connsiteX112" fmla="*/ 3450342 w 4595723"/>
              <a:gd name="connsiteY112" fmla="*/ 664368 h 1958188"/>
              <a:gd name="connsiteX113" fmla="*/ 3433673 w 4595723"/>
              <a:gd name="connsiteY113" fmla="*/ 738187 h 1958188"/>
              <a:gd name="connsiteX114" fmla="*/ 3455105 w 4595723"/>
              <a:gd name="connsiteY114" fmla="*/ 773906 h 1958188"/>
              <a:gd name="connsiteX115" fmla="*/ 3509873 w 4595723"/>
              <a:gd name="connsiteY115" fmla="*/ 797718 h 1958188"/>
              <a:gd name="connsiteX116" fmla="*/ 3547973 w 4595723"/>
              <a:gd name="connsiteY116" fmla="*/ 778668 h 1958188"/>
              <a:gd name="connsiteX117" fmla="*/ 3590836 w 4595723"/>
              <a:gd name="connsiteY117" fmla="*/ 797718 h 1958188"/>
              <a:gd name="connsiteX118" fmla="*/ 3626555 w 4595723"/>
              <a:gd name="connsiteY118" fmla="*/ 783431 h 1958188"/>
              <a:gd name="connsiteX119" fmla="*/ 3664655 w 4595723"/>
              <a:gd name="connsiteY119" fmla="*/ 826293 h 1958188"/>
              <a:gd name="connsiteX120" fmla="*/ 3743236 w 4595723"/>
              <a:gd name="connsiteY120" fmla="*/ 902493 h 1958188"/>
              <a:gd name="connsiteX121" fmla="*/ 3812292 w 4595723"/>
              <a:gd name="connsiteY121" fmla="*/ 916781 h 1958188"/>
              <a:gd name="connsiteX122" fmla="*/ 3858789 w 4595723"/>
              <a:gd name="connsiteY122" fmla="*/ 944470 h 1958188"/>
              <a:gd name="connsiteX123" fmla="*/ 4595723 w 4595723"/>
              <a:gd name="connsiteY123" fmla="*/ 840581 h 1958188"/>
              <a:gd name="connsiteX0" fmla="*/ 0 w 3858789"/>
              <a:gd name="connsiteY0" fmla="*/ 1958188 h 1958188"/>
              <a:gd name="connsiteX1" fmla="*/ 27040 w 3858789"/>
              <a:gd name="connsiteY1" fmla="*/ 1853413 h 1958188"/>
              <a:gd name="connsiteX2" fmla="*/ 81163 w 3858789"/>
              <a:gd name="connsiteY2" fmla="*/ 1804987 h 1958188"/>
              <a:gd name="connsiteX3" fmla="*/ 92557 w 3858789"/>
              <a:gd name="connsiteY3" fmla="*/ 1728075 h 1958188"/>
              <a:gd name="connsiteX4" fmla="*/ 132437 w 3858789"/>
              <a:gd name="connsiteY4" fmla="*/ 1676800 h 1958188"/>
              <a:gd name="connsiteX5" fmla="*/ 173742 w 3858789"/>
              <a:gd name="connsiteY5" fmla="*/ 1661552 h 1958188"/>
              <a:gd name="connsiteX6" fmla="*/ 172430 w 3858789"/>
              <a:gd name="connsiteY6" fmla="*/ 1631153 h 1958188"/>
              <a:gd name="connsiteX7" fmla="*/ 192877 w 3858789"/>
              <a:gd name="connsiteY7" fmla="*/ 1603271 h 1958188"/>
              <a:gd name="connsiteX8" fmla="*/ 215306 w 3858789"/>
              <a:gd name="connsiteY8" fmla="*/ 1583314 h 1958188"/>
              <a:gd name="connsiteX9" fmla="*/ 239755 w 3858789"/>
              <a:gd name="connsiteY9" fmla="*/ 1563755 h 1958188"/>
              <a:gd name="connsiteX10" fmla="*/ 281318 w 3858789"/>
              <a:gd name="connsiteY10" fmla="*/ 1507522 h 1958188"/>
              <a:gd name="connsiteX11" fmla="*/ 308213 w 3858789"/>
              <a:gd name="connsiteY11" fmla="*/ 1443954 h 1958188"/>
              <a:gd name="connsiteX12" fmla="*/ 362001 w 3858789"/>
              <a:gd name="connsiteY12" fmla="*/ 1434174 h 1958188"/>
              <a:gd name="connsiteX13" fmla="*/ 423124 w 3858789"/>
              <a:gd name="connsiteY13" fmla="*/ 1436619 h 1958188"/>
              <a:gd name="connsiteX14" fmla="*/ 459798 w 3858789"/>
              <a:gd name="connsiteY14" fmla="*/ 1412170 h 1958188"/>
              <a:gd name="connsiteX15" fmla="*/ 489137 w 3858789"/>
              <a:gd name="connsiteY15" fmla="*/ 1373051 h 1958188"/>
              <a:gd name="connsiteX16" fmla="*/ 533145 w 3858789"/>
              <a:gd name="connsiteY16" fmla="*/ 1365716 h 1958188"/>
              <a:gd name="connsiteX17" fmla="*/ 557594 w 3858789"/>
              <a:gd name="connsiteY17" fmla="*/ 1346157 h 1958188"/>
              <a:gd name="connsiteX18" fmla="*/ 577154 w 3858789"/>
              <a:gd name="connsiteY18" fmla="*/ 1309483 h 1958188"/>
              <a:gd name="connsiteX19" fmla="*/ 626052 w 3858789"/>
              <a:gd name="connsiteY19" fmla="*/ 1299704 h 1958188"/>
              <a:gd name="connsiteX20" fmla="*/ 673805 w 3858789"/>
              <a:gd name="connsiteY20" fmla="*/ 1304925 h 1958188"/>
              <a:gd name="connsiteX21" fmla="*/ 714286 w 3858789"/>
              <a:gd name="connsiteY21" fmla="*/ 1259681 h 1958188"/>
              <a:gd name="connsiteX22" fmla="*/ 745242 w 3858789"/>
              <a:gd name="connsiteY22" fmla="*/ 1247775 h 1958188"/>
              <a:gd name="connsiteX23" fmla="*/ 795248 w 3858789"/>
              <a:gd name="connsiteY23" fmla="*/ 1257300 h 1958188"/>
              <a:gd name="connsiteX24" fmla="*/ 842873 w 3858789"/>
              <a:gd name="connsiteY24" fmla="*/ 1207293 h 1958188"/>
              <a:gd name="connsiteX25" fmla="*/ 890498 w 3858789"/>
              <a:gd name="connsiteY25" fmla="*/ 1214437 h 1958188"/>
              <a:gd name="connsiteX26" fmla="*/ 911930 w 3858789"/>
              <a:gd name="connsiteY26" fmla="*/ 1214437 h 1958188"/>
              <a:gd name="connsiteX27" fmla="*/ 947648 w 3858789"/>
              <a:gd name="connsiteY27" fmla="*/ 1195387 h 1958188"/>
              <a:gd name="connsiteX28" fmla="*/ 971461 w 3858789"/>
              <a:gd name="connsiteY28" fmla="*/ 1157287 h 1958188"/>
              <a:gd name="connsiteX29" fmla="*/ 1016705 w 3858789"/>
              <a:gd name="connsiteY29" fmla="*/ 1157287 h 1958188"/>
              <a:gd name="connsiteX30" fmla="*/ 1042898 w 3858789"/>
              <a:gd name="connsiteY30" fmla="*/ 1119187 h 1958188"/>
              <a:gd name="connsiteX31" fmla="*/ 1069092 w 3858789"/>
              <a:gd name="connsiteY31" fmla="*/ 1100137 h 1958188"/>
              <a:gd name="connsiteX32" fmla="*/ 1088142 w 3858789"/>
              <a:gd name="connsiteY32" fmla="*/ 1071562 h 1958188"/>
              <a:gd name="connsiteX33" fmla="*/ 1133386 w 3858789"/>
              <a:gd name="connsiteY33" fmla="*/ 1064418 h 1958188"/>
              <a:gd name="connsiteX34" fmla="*/ 1145292 w 3858789"/>
              <a:gd name="connsiteY34" fmla="*/ 1031081 h 1958188"/>
              <a:gd name="connsiteX35" fmla="*/ 1181011 w 3858789"/>
              <a:gd name="connsiteY35" fmla="*/ 1012031 h 1958188"/>
              <a:gd name="connsiteX36" fmla="*/ 1202442 w 3858789"/>
              <a:gd name="connsiteY36" fmla="*/ 988218 h 1958188"/>
              <a:gd name="connsiteX37" fmla="*/ 1283405 w 3858789"/>
              <a:gd name="connsiteY37" fmla="*/ 966787 h 1958188"/>
              <a:gd name="connsiteX38" fmla="*/ 1297692 w 3858789"/>
              <a:gd name="connsiteY38" fmla="*/ 952500 h 1958188"/>
              <a:gd name="connsiteX39" fmla="*/ 1307217 w 3858789"/>
              <a:gd name="connsiteY39" fmla="*/ 919162 h 1958188"/>
              <a:gd name="connsiteX40" fmla="*/ 1388180 w 3858789"/>
              <a:gd name="connsiteY40" fmla="*/ 878681 h 1958188"/>
              <a:gd name="connsiteX41" fmla="*/ 1407230 w 3858789"/>
              <a:gd name="connsiteY41" fmla="*/ 873918 h 1958188"/>
              <a:gd name="connsiteX42" fmla="*/ 1466761 w 3858789"/>
              <a:gd name="connsiteY42" fmla="*/ 809625 h 1958188"/>
              <a:gd name="connsiteX43" fmla="*/ 1471523 w 3858789"/>
              <a:gd name="connsiteY43" fmla="*/ 759618 h 1958188"/>
              <a:gd name="connsiteX44" fmla="*/ 1497717 w 3858789"/>
              <a:gd name="connsiteY44" fmla="*/ 733425 h 1958188"/>
              <a:gd name="connsiteX45" fmla="*/ 1523911 w 3858789"/>
              <a:gd name="connsiteY45" fmla="*/ 728662 h 1958188"/>
              <a:gd name="connsiteX46" fmla="*/ 1585823 w 3858789"/>
              <a:gd name="connsiteY46" fmla="*/ 683418 h 1958188"/>
              <a:gd name="connsiteX47" fmla="*/ 1671548 w 3858789"/>
              <a:gd name="connsiteY47" fmla="*/ 640556 h 1958188"/>
              <a:gd name="connsiteX48" fmla="*/ 1707267 w 3858789"/>
              <a:gd name="connsiteY48" fmla="*/ 600075 h 1958188"/>
              <a:gd name="connsiteX49" fmla="*/ 1735842 w 3858789"/>
              <a:gd name="connsiteY49" fmla="*/ 585787 h 1958188"/>
              <a:gd name="connsiteX50" fmla="*/ 1742986 w 3858789"/>
              <a:gd name="connsiteY50" fmla="*/ 519112 h 1958188"/>
              <a:gd name="connsiteX51" fmla="*/ 1759655 w 3858789"/>
              <a:gd name="connsiteY51" fmla="*/ 473868 h 1958188"/>
              <a:gd name="connsiteX52" fmla="*/ 1745367 w 3858789"/>
              <a:gd name="connsiteY52" fmla="*/ 433387 h 1958188"/>
              <a:gd name="connsiteX53" fmla="*/ 1750130 w 3858789"/>
              <a:gd name="connsiteY53" fmla="*/ 347662 h 1958188"/>
              <a:gd name="connsiteX54" fmla="*/ 1745367 w 3858789"/>
              <a:gd name="connsiteY54" fmla="*/ 307181 h 1958188"/>
              <a:gd name="connsiteX55" fmla="*/ 1745367 w 3858789"/>
              <a:gd name="connsiteY55" fmla="*/ 264318 h 1958188"/>
              <a:gd name="connsiteX56" fmla="*/ 1771561 w 3858789"/>
              <a:gd name="connsiteY56" fmla="*/ 254793 h 1958188"/>
              <a:gd name="connsiteX57" fmla="*/ 1792992 w 3858789"/>
              <a:gd name="connsiteY57" fmla="*/ 271462 h 1958188"/>
              <a:gd name="connsiteX58" fmla="*/ 1807280 w 3858789"/>
              <a:gd name="connsiteY58" fmla="*/ 297656 h 1958188"/>
              <a:gd name="connsiteX59" fmla="*/ 1835855 w 3858789"/>
              <a:gd name="connsiteY59" fmla="*/ 300037 h 1958188"/>
              <a:gd name="connsiteX60" fmla="*/ 1857286 w 3858789"/>
              <a:gd name="connsiteY60" fmla="*/ 278606 h 1958188"/>
              <a:gd name="connsiteX61" fmla="*/ 1943011 w 3858789"/>
              <a:gd name="connsiteY61" fmla="*/ 280987 h 1958188"/>
              <a:gd name="connsiteX62" fmla="*/ 1995398 w 3858789"/>
              <a:gd name="connsiteY62" fmla="*/ 290512 h 1958188"/>
              <a:gd name="connsiteX63" fmla="*/ 2043023 w 3858789"/>
              <a:gd name="connsiteY63" fmla="*/ 266700 h 1958188"/>
              <a:gd name="connsiteX64" fmla="*/ 2054930 w 3858789"/>
              <a:gd name="connsiteY64" fmla="*/ 233362 h 1958188"/>
              <a:gd name="connsiteX65" fmla="*/ 2095411 w 3858789"/>
              <a:gd name="connsiteY65" fmla="*/ 200025 h 1958188"/>
              <a:gd name="connsiteX66" fmla="*/ 2085886 w 3858789"/>
              <a:gd name="connsiteY66" fmla="*/ 173831 h 1958188"/>
              <a:gd name="connsiteX67" fmla="*/ 2102555 w 3858789"/>
              <a:gd name="connsiteY67" fmla="*/ 147637 h 1958188"/>
              <a:gd name="connsiteX68" fmla="*/ 2157323 w 3858789"/>
              <a:gd name="connsiteY68" fmla="*/ 169068 h 1958188"/>
              <a:gd name="connsiteX69" fmla="*/ 2204948 w 3858789"/>
              <a:gd name="connsiteY69" fmla="*/ 173831 h 1958188"/>
              <a:gd name="connsiteX70" fmla="*/ 2240667 w 3858789"/>
              <a:gd name="connsiteY70" fmla="*/ 209550 h 1958188"/>
              <a:gd name="connsiteX71" fmla="*/ 2269242 w 3858789"/>
              <a:gd name="connsiteY71" fmla="*/ 223837 h 1958188"/>
              <a:gd name="connsiteX72" fmla="*/ 2288292 w 3858789"/>
              <a:gd name="connsiteY72" fmla="*/ 280987 h 1958188"/>
              <a:gd name="connsiteX73" fmla="*/ 2357348 w 3858789"/>
              <a:gd name="connsiteY73" fmla="*/ 316706 h 1958188"/>
              <a:gd name="connsiteX74" fmla="*/ 2426405 w 3858789"/>
              <a:gd name="connsiteY74" fmla="*/ 307181 h 1958188"/>
              <a:gd name="connsiteX75" fmla="*/ 2474030 w 3858789"/>
              <a:gd name="connsiteY75" fmla="*/ 295275 h 1958188"/>
              <a:gd name="connsiteX76" fmla="*/ 2512130 w 3858789"/>
              <a:gd name="connsiteY76" fmla="*/ 307181 h 1958188"/>
              <a:gd name="connsiteX77" fmla="*/ 2562136 w 3858789"/>
              <a:gd name="connsiteY77" fmla="*/ 304800 h 1958188"/>
              <a:gd name="connsiteX78" fmla="*/ 2607380 w 3858789"/>
              <a:gd name="connsiteY78" fmla="*/ 316706 h 1958188"/>
              <a:gd name="connsiteX79" fmla="*/ 2652623 w 3858789"/>
              <a:gd name="connsiteY79" fmla="*/ 302418 h 1958188"/>
              <a:gd name="connsiteX80" fmla="*/ 2674055 w 3858789"/>
              <a:gd name="connsiteY80" fmla="*/ 276225 h 1958188"/>
              <a:gd name="connsiteX81" fmla="*/ 2752636 w 3858789"/>
              <a:gd name="connsiteY81" fmla="*/ 297656 h 1958188"/>
              <a:gd name="connsiteX82" fmla="*/ 2793117 w 3858789"/>
              <a:gd name="connsiteY82" fmla="*/ 283368 h 1958188"/>
              <a:gd name="connsiteX83" fmla="*/ 2800261 w 3858789"/>
              <a:gd name="connsiteY83" fmla="*/ 242887 h 1958188"/>
              <a:gd name="connsiteX84" fmla="*/ 2771686 w 3858789"/>
              <a:gd name="connsiteY84" fmla="*/ 195262 h 1958188"/>
              <a:gd name="connsiteX85" fmla="*/ 2755017 w 3858789"/>
              <a:gd name="connsiteY85" fmla="*/ 135731 h 1958188"/>
              <a:gd name="connsiteX86" fmla="*/ 2721680 w 3858789"/>
              <a:gd name="connsiteY86" fmla="*/ 102393 h 1958188"/>
              <a:gd name="connsiteX87" fmla="*/ 2697867 w 3858789"/>
              <a:gd name="connsiteY87" fmla="*/ 59531 h 1958188"/>
              <a:gd name="connsiteX88" fmla="*/ 2707392 w 3858789"/>
              <a:gd name="connsiteY88" fmla="*/ 38100 h 1958188"/>
              <a:gd name="connsiteX89" fmla="*/ 2743111 w 3858789"/>
              <a:gd name="connsiteY89" fmla="*/ 0 h 1958188"/>
              <a:gd name="connsiteX90" fmla="*/ 2762161 w 3858789"/>
              <a:gd name="connsiteY90" fmla="*/ 16668 h 1958188"/>
              <a:gd name="connsiteX91" fmla="*/ 2843123 w 3858789"/>
              <a:gd name="connsiteY91" fmla="*/ 30956 h 1958188"/>
              <a:gd name="connsiteX92" fmla="*/ 2926467 w 3858789"/>
              <a:gd name="connsiteY92" fmla="*/ 47625 h 1958188"/>
              <a:gd name="connsiteX93" fmla="*/ 2976473 w 3858789"/>
              <a:gd name="connsiteY93" fmla="*/ 66675 h 1958188"/>
              <a:gd name="connsiteX94" fmla="*/ 3026480 w 3858789"/>
              <a:gd name="connsiteY94" fmla="*/ 61912 h 1958188"/>
              <a:gd name="connsiteX95" fmla="*/ 3074105 w 3858789"/>
              <a:gd name="connsiteY95" fmla="*/ 92868 h 1958188"/>
              <a:gd name="connsiteX96" fmla="*/ 3116967 w 3858789"/>
              <a:gd name="connsiteY96" fmla="*/ 119062 h 1958188"/>
              <a:gd name="connsiteX97" fmla="*/ 3138398 w 3858789"/>
              <a:gd name="connsiteY97" fmla="*/ 150018 h 1958188"/>
              <a:gd name="connsiteX98" fmla="*/ 3188405 w 3858789"/>
              <a:gd name="connsiteY98" fmla="*/ 157162 h 1958188"/>
              <a:gd name="connsiteX99" fmla="*/ 3214598 w 3858789"/>
              <a:gd name="connsiteY99" fmla="*/ 202406 h 1958188"/>
              <a:gd name="connsiteX100" fmla="*/ 3240792 w 3858789"/>
              <a:gd name="connsiteY100" fmla="*/ 233362 h 1958188"/>
              <a:gd name="connsiteX101" fmla="*/ 3257461 w 3858789"/>
              <a:gd name="connsiteY101" fmla="*/ 278606 h 1958188"/>
              <a:gd name="connsiteX102" fmla="*/ 3316992 w 3858789"/>
              <a:gd name="connsiteY102" fmla="*/ 295275 h 1958188"/>
              <a:gd name="connsiteX103" fmla="*/ 3345567 w 3858789"/>
              <a:gd name="connsiteY103" fmla="*/ 326231 h 1958188"/>
              <a:gd name="connsiteX104" fmla="*/ 3366998 w 3858789"/>
              <a:gd name="connsiteY104" fmla="*/ 335756 h 1958188"/>
              <a:gd name="connsiteX105" fmla="*/ 3378905 w 3858789"/>
              <a:gd name="connsiteY105" fmla="*/ 376237 h 1958188"/>
              <a:gd name="connsiteX106" fmla="*/ 3409861 w 3858789"/>
              <a:gd name="connsiteY106" fmla="*/ 383381 h 1958188"/>
              <a:gd name="connsiteX107" fmla="*/ 3447961 w 3858789"/>
              <a:gd name="connsiteY107" fmla="*/ 447675 h 1958188"/>
              <a:gd name="connsiteX108" fmla="*/ 3443198 w 3858789"/>
              <a:gd name="connsiteY108" fmla="*/ 502443 h 1958188"/>
              <a:gd name="connsiteX109" fmla="*/ 3431292 w 3858789"/>
              <a:gd name="connsiteY109" fmla="*/ 531018 h 1958188"/>
              <a:gd name="connsiteX110" fmla="*/ 3471773 w 3858789"/>
              <a:gd name="connsiteY110" fmla="*/ 564356 h 1958188"/>
              <a:gd name="connsiteX111" fmla="*/ 3469392 w 3858789"/>
              <a:gd name="connsiteY111" fmla="*/ 647700 h 1958188"/>
              <a:gd name="connsiteX112" fmla="*/ 3450342 w 3858789"/>
              <a:gd name="connsiteY112" fmla="*/ 664368 h 1958188"/>
              <a:gd name="connsiteX113" fmla="*/ 3433673 w 3858789"/>
              <a:gd name="connsiteY113" fmla="*/ 738187 h 1958188"/>
              <a:gd name="connsiteX114" fmla="*/ 3455105 w 3858789"/>
              <a:gd name="connsiteY114" fmla="*/ 773906 h 1958188"/>
              <a:gd name="connsiteX115" fmla="*/ 3509873 w 3858789"/>
              <a:gd name="connsiteY115" fmla="*/ 797718 h 1958188"/>
              <a:gd name="connsiteX116" fmla="*/ 3547973 w 3858789"/>
              <a:gd name="connsiteY116" fmla="*/ 778668 h 1958188"/>
              <a:gd name="connsiteX117" fmla="*/ 3590836 w 3858789"/>
              <a:gd name="connsiteY117" fmla="*/ 797718 h 1958188"/>
              <a:gd name="connsiteX118" fmla="*/ 3626555 w 3858789"/>
              <a:gd name="connsiteY118" fmla="*/ 783431 h 1958188"/>
              <a:gd name="connsiteX119" fmla="*/ 3664655 w 3858789"/>
              <a:gd name="connsiteY119" fmla="*/ 826293 h 1958188"/>
              <a:gd name="connsiteX120" fmla="*/ 3743236 w 3858789"/>
              <a:gd name="connsiteY120" fmla="*/ 902493 h 1958188"/>
              <a:gd name="connsiteX121" fmla="*/ 3812292 w 3858789"/>
              <a:gd name="connsiteY121" fmla="*/ 916781 h 1958188"/>
              <a:gd name="connsiteX122" fmla="*/ 3858789 w 3858789"/>
              <a:gd name="connsiteY122" fmla="*/ 944470 h 1958188"/>
              <a:gd name="connsiteX0" fmla="*/ 0 w 3831749"/>
              <a:gd name="connsiteY0" fmla="*/ 1853413 h 1853413"/>
              <a:gd name="connsiteX1" fmla="*/ 54123 w 3831749"/>
              <a:gd name="connsiteY1" fmla="*/ 1804987 h 1853413"/>
              <a:gd name="connsiteX2" fmla="*/ 65517 w 3831749"/>
              <a:gd name="connsiteY2" fmla="*/ 1728075 h 1853413"/>
              <a:gd name="connsiteX3" fmla="*/ 105397 w 3831749"/>
              <a:gd name="connsiteY3" fmla="*/ 1676800 h 1853413"/>
              <a:gd name="connsiteX4" fmla="*/ 146702 w 3831749"/>
              <a:gd name="connsiteY4" fmla="*/ 1661552 h 1853413"/>
              <a:gd name="connsiteX5" fmla="*/ 145390 w 3831749"/>
              <a:gd name="connsiteY5" fmla="*/ 1631153 h 1853413"/>
              <a:gd name="connsiteX6" fmla="*/ 165837 w 3831749"/>
              <a:gd name="connsiteY6" fmla="*/ 1603271 h 1853413"/>
              <a:gd name="connsiteX7" fmla="*/ 188266 w 3831749"/>
              <a:gd name="connsiteY7" fmla="*/ 1583314 h 1853413"/>
              <a:gd name="connsiteX8" fmla="*/ 212715 w 3831749"/>
              <a:gd name="connsiteY8" fmla="*/ 1563755 h 1853413"/>
              <a:gd name="connsiteX9" fmla="*/ 254278 w 3831749"/>
              <a:gd name="connsiteY9" fmla="*/ 1507522 h 1853413"/>
              <a:gd name="connsiteX10" fmla="*/ 281173 w 3831749"/>
              <a:gd name="connsiteY10" fmla="*/ 1443954 h 1853413"/>
              <a:gd name="connsiteX11" fmla="*/ 334961 w 3831749"/>
              <a:gd name="connsiteY11" fmla="*/ 1434174 h 1853413"/>
              <a:gd name="connsiteX12" fmla="*/ 396084 w 3831749"/>
              <a:gd name="connsiteY12" fmla="*/ 1436619 h 1853413"/>
              <a:gd name="connsiteX13" fmla="*/ 432758 w 3831749"/>
              <a:gd name="connsiteY13" fmla="*/ 1412170 h 1853413"/>
              <a:gd name="connsiteX14" fmla="*/ 462097 w 3831749"/>
              <a:gd name="connsiteY14" fmla="*/ 1373051 h 1853413"/>
              <a:gd name="connsiteX15" fmla="*/ 506105 w 3831749"/>
              <a:gd name="connsiteY15" fmla="*/ 1365716 h 1853413"/>
              <a:gd name="connsiteX16" fmla="*/ 530554 w 3831749"/>
              <a:gd name="connsiteY16" fmla="*/ 1346157 h 1853413"/>
              <a:gd name="connsiteX17" fmla="*/ 550114 w 3831749"/>
              <a:gd name="connsiteY17" fmla="*/ 1309483 h 1853413"/>
              <a:gd name="connsiteX18" fmla="*/ 599012 w 3831749"/>
              <a:gd name="connsiteY18" fmla="*/ 1299704 h 1853413"/>
              <a:gd name="connsiteX19" fmla="*/ 646765 w 3831749"/>
              <a:gd name="connsiteY19" fmla="*/ 1304925 h 1853413"/>
              <a:gd name="connsiteX20" fmla="*/ 687246 w 3831749"/>
              <a:gd name="connsiteY20" fmla="*/ 1259681 h 1853413"/>
              <a:gd name="connsiteX21" fmla="*/ 718202 w 3831749"/>
              <a:gd name="connsiteY21" fmla="*/ 1247775 h 1853413"/>
              <a:gd name="connsiteX22" fmla="*/ 768208 w 3831749"/>
              <a:gd name="connsiteY22" fmla="*/ 1257300 h 1853413"/>
              <a:gd name="connsiteX23" fmla="*/ 815833 w 3831749"/>
              <a:gd name="connsiteY23" fmla="*/ 1207293 h 1853413"/>
              <a:gd name="connsiteX24" fmla="*/ 863458 w 3831749"/>
              <a:gd name="connsiteY24" fmla="*/ 1214437 h 1853413"/>
              <a:gd name="connsiteX25" fmla="*/ 884890 w 3831749"/>
              <a:gd name="connsiteY25" fmla="*/ 1214437 h 1853413"/>
              <a:gd name="connsiteX26" fmla="*/ 920608 w 3831749"/>
              <a:gd name="connsiteY26" fmla="*/ 1195387 h 1853413"/>
              <a:gd name="connsiteX27" fmla="*/ 944421 w 3831749"/>
              <a:gd name="connsiteY27" fmla="*/ 1157287 h 1853413"/>
              <a:gd name="connsiteX28" fmla="*/ 989665 w 3831749"/>
              <a:gd name="connsiteY28" fmla="*/ 1157287 h 1853413"/>
              <a:gd name="connsiteX29" fmla="*/ 1015858 w 3831749"/>
              <a:gd name="connsiteY29" fmla="*/ 1119187 h 1853413"/>
              <a:gd name="connsiteX30" fmla="*/ 1042052 w 3831749"/>
              <a:gd name="connsiteY30" fmla="*/ 1100137 h 1853413"/>
              <a:gd name="connsiteX31" fmla="*/ 1061102 w 3831749"/>
              <a:gd name="connsiteY31" fmla="*/ 1071562 h 1853413"/>
              <a:gd name="connsiteX32" fmla="*/ 1106346 w 3831749"/>
              <a:gd name="connsiteY32" fmla="*/ 1064418 h 1853413"/>
              <a:gd name="connsiteX33" fmla="*/ 1118252 w 3831749"/>
              <a:gd name="connsiteY33" fmla="*/ 1031081 h 1853413"/>
              <a:gd name="connsiteX34" fmla="*/ 1153971 w 3831749"/>
              <a:gd name="connsiteY34" fmla="*/ 1012031 h 1853413"/>
              <a:gd name="connsiteX35" fmla="*/ 1175402 w 3831749"/>
              <a:gd name="connsiteY35" fmla="*/ 988218 h 1853413"/>
              <a:gd name="connsiteX36" fmla="*/ 1256365 w 3831749"/>
              <a:gd name="connsiteY36" fmla="*/ 966787 h 1853413"/>
              <a:gd name="connsiteX37" fmla="*/ 1270652 w 3831749"/>
              <a:gd name="connsiteY37" fmla="*/ 952500 h 1853413"/>
              <a:gd name="connsiteX38" fmla="*/ 1280177 w 3831749"/>
              <a:gd name="connsiteY38" fmla="*/ 919162 h 1853413"/>
              <a:gd name="connsiteX39" fmla="*/ 1361140 w 3831749"/>
              <a:gd name="connsiteY39" fmla="*/ 878681 h 1853413"/>
              <a:gd name="connsiteX40" fmla="*/ 1380190 w 3831749"/>
              <a:gd name="connsiteY40" fmla="*/ 873918 h 1853413"/>
              <a:gd name="connsiteX41" fmla="*/ 1439721 w 3831749"/>
              <a:gd name="connsiteY41" fmla="*/ 809625 h 1853413"/>
              <a:gd name="connsiteX42" fmla="*/ 1444483 w 3831749"/>
              <a:gd name="connsiteY42" fmla="*/ 759618 h 1853413"/>
              <a:gd name="connsiteX43" fmla="*/ 1470677 w 3831749"/>
              <a:gd name="connsiteY43" fmla="*/ 733425 h 1853413"/>
              <a:gd name="connsiteX44" fmla="*/ 1496871 w 3831749"/>
              <a:gd name="connsiteY44" fmla="*/ 728662 h 1853413"/>
              <a:gd name="connsiteX45" fmla="*/ 1558783 w 3831749"/>
              <a:gd name="connsiteY45" fmla="*/ 683418 h 1853413"/>
              <a:gd name="connsiteX46" fmla="*/ 1644508 w 3831749"/>
              <a:gd name="connsiteY46" fmla="*/ 640556 h 1853413"/>
              <a:gd name="connsiteX47" fmla="*/ 1680227 w 3831749"/>
              <a:gd name="connsiteY47" fmla="*/ 600075 h 1853413"/>
              <a:gd name="connsiteX48" fmla="*/ 1708802 w 3831749"/>
              <a:gd name="connsiteY48" fmla="*/ 585787 h 1853413"/>
              <a:gd name="connsiteX49" fmla="*/ 1715946 w 3831749"/>
              <a:gd name="connsiteY49" fmla="*/ 519112 h 1853413"/>
              <a:gd name="connsiteX50" fmla="*/ 1732615 w 3831749"/>
              <a:gd name="connsiteY50" fmla="*/ 473868 h 1853413"/>
              <a:gd name="connsiteX51" fmla="*/ 1718327 w 3831749"/>
              <a:gd name="connsiteY51" fmla="*/ 433387 h 1853413"/>
              <a:gd name="connsiteX52" fmla="*/ 1723090 w 3831749"/>
              <a:gd name="connsiteY52" fmla="*/ 347662 h 1853413"/>
              <a:gd name="connsiteX53" fmla="*/ 1718327 w 3831749"/>
              <a:gd name="connsiteY53" fmla="*/ 307181 h 1853413"/>
              <a:gd name="connsiteX54" fmla="*/ 1718327 w 3831749"/>
              <a:gd name="connsiteY54" fmla="*/ 264318 h 1853413"/>
              <a:gd name="connsiteX55" fmla="*/ 1744521 w 3831749"/>
              <a:gd name="connsiteY55" fmla="*/ 254793 h 1853413"/>
              <a:gd name="connsiteX56" fmla="*/ 1765952 w 3831749"/>
              <a:gd name="connsiteY56" fmla="*/ 271462 h 1853413"/>
              <a:gd name="connsiteX57" fmla="*/ 1780240 w 3831749"/>
              <a:gd name="connsiteY57" fmla="*/ 297656 h 1853413"/>
              <a:gd name="connsiteX58" fmla="*/ 1808815 w 3831749"/>
              <a:gd name="connsiteY58" fmla="*/ 300037 h 1853413"/>
              <a:gd name="connsiteX59" fmla="*/ 1830246 w 3831749"/>
              <a:gd name="connsiteY59" fmla="*/ 278606 h 1853413"/>
              <a:gd name="connsiteX60" fmla="*/ 1915971 w 3831749"/>
              <a:gd name="connsiteY60" fmla="*/ 280987 h 1853413"/>
              <a:gd name="connsiteX61" fmla="*/ 1968358 w 3831749"/>
              <a:gd name="connsiteY61" fmla="*/ 290512 h 1853413"/>
              <a:gd name="connsiteX62" fmla="*/ 2015983 w 3831749"/>
              <a:gd name="connsiteY62" fmla="*/ 266700 h 1853413"/>
              <a:gd name="connsiteX63" fmla="*/ 2027890 w 3831749"/>
              <a:gd name="connsiteY63" fmla="*/ 233362 h 1853413"/>
              <a:gd name="connsiteX64" fmla="*/ 2068371 w 3831749"/>
              <a:gd name="connsiteY64" fmla="*/ 200025 h 1853413"/>
              <a:gd name="connsiteX65" fmla="*/ 2058846 w 3831749"/>
              <a:gd name="connsiteY65" fmla="*/ 173831 h 1853413"/>
              <a:gd name="connsiteX66" fmla="*/ 2075515 w 3831749"/>
              <a:gd name="connsiteY66" fmla="*/ 147637 h 1853413"/>
              <a:gd name="connsiteX67" fmla="*/ 2130283 w 3831749"/>
              <a:gd name="connsiteY67" fmla="*/ 169068 h 1853413"/>
              <a:gd name="connsiteX68" fmla="*/ 2177908 w 3831749"/>
              <a:gd name="connsiteY68" fmla="*/ 173831 h 1853413"/>
              <a:gd name="connsiteX69" fmla="*/ 2213627 w 3831749"/>
              <a:gd name="connsiteY69" fmla="*/ 209550 h 1853413"/>
              <a:gd name="connsiteX70" fmla="*/ 2242202 w 3831749"/>
              <a:gd name="connsiteY70" fmla="*/ 223837 h 1853413"/>
              <a:gd name="connsiteX71" fmla="*/ 2261252 w 3831749"/>
              <a:gd name="connsiteY71" fmla="*/ 280987 h 1853413"/>
              <a:gd name="connsiteX72" fmla="*/ 2330308 w 3831749"/>
              <a:gd name="connsiteY72" fmla="*/ 316706 h 1853413"/>
              <a:gd name="connsiteX73" fmla="*/ 2399365 w 3831749"/>
              <a:gd name="connsiteY73" fmla="*/ 307181 h 1853413"/>
              <a:gd name="connsiteX74" fmla="*/ 2446990 w 3831749"/>
              <a:gd name="connsiteY74" fmla="*/ 295275 h 1853413"/>
              <a:gd name="connsiteX75" fmla="*/ 2485090 w 3831749"/>
              <a:gd name="connsiteY75" fmla="*/ 307181 h 1853413"/>
              <a:gd name="connsiteX76" fmla="*/ 2535096 w 3831749"/>
              <a:gd name="connsiteY76" fmla="*/ 304800 h 1853413"/>
              <a:gd name="connsiteX77" fmla="*/ 2580340 w 3831749"/>
              <a:gd name="connsiteY77" fmla="*/ 316706 h 1853413"/>
              <a:gd name="connsiteX78" fmla="*/ 2625583 w 3831749"/>
              <a:gd name="connsiteY78" fmla="*/ 302418 h 1853413"/>
              <a:gd name="connsiteX79" fmla="*/ 2647015 w 3831749"/>
              <a:gd name="connsiteY79" fmla="*/ 276225 h 1853413"/>
              <a:gd name="connsiteX80" fmla="*/ 2725596 w 3831749"/>
              <a:gd name="connsiteY80" fmla="*/ 297656 h 1853413"/>
              <a:gd name="connsiteX81" fmla="*/ 2766077 w 3831749"/>
              <a:gd name="connsiteY81" fmla="*/ 283368 h 1853413"/>
              <a:gd name="connsiteX82" fmla="*/ 2773221 w 3831749"/>
              <a:gd name="connsiteY82" fmla="*/ 242887 h 1853413"/>
              <a:gd name="connsiteX83" fmla="*/ 2744646 w 3831749"/>
              <a:gd name="connsiteY83" fmla="*/ 195262 h 1853413"/>
              <a:gd name="connsiteX84" fmla="*/ 2727977 w 3831749"/>
              <a:gd name="connsiteY84" fmla="*/ 135731 h 1853413"/>
              <a:gd name="connsiteX85" fmla="*/ 2694640 w 3831749"/>
              <a:gd name="connsiteY85" fmla="*/ 102393 h 1853413"/>
              <a:gd name="connsiteX86" fmla="*/ 2670827 w 3831749"/>
              <a:gd name="connsiteY86" fmla="*/ 59531 h 1853413"/>
              <a:gd name="connsiteX87" fmla="*/ 2680352 w 3831749"/>
              <a:gd name="connsiteY87" fmla="*/ 38100 h 1853413"/>
              <a:gd name="connsiteX88" fmla="*/ 2716071 w 3831749"/>
              <a:gd name="connsiteY88" fmla="*/ 0 h 1853413"/>
              <a:gd name="connsiteX89" fmla="*/ 2735121 w 3831749"/>
              <a:gd name="connsiteY89" fmla="*/ 16668 h 1853413"/>
              <a:gd name="connsiteX90" fmla="*/ 2816083 w 3831749"/>
              <a:gd name="connsiteY90" fmla="*/ 30956 h 1853413"/>
              <a:gd name="connsiteX91" fmla="*/ 2899427 w 3831749"/>
              <a:gd name="connsiteY91" fmla="*/ 47625 h 1853413"/>
              <a:gd name="connsiteX92" fmla="*/ 2949433 w 3831749"/>
              <a:gd name="connsiteY92" fmla="*/ 66675 h 1853413"/>
              <a:gd name="connsiteX93" fmla="*/ 2999440 w 3831749"/>
              <a:gd name="connsiteY93" fmla="*/ 61912 h 1853413"/>
              <a:gd name="connsiteX94" fmla="*/ 3047065 w 3831749"/>
              <a:gd name="connsiteY94" fmla="*/ 92868 h 1853413"/>
              <a:gd name="connsiteX95" fmla="*/ 3089927 w 3831749"/>
              <a:gd name="connsiteY95" fmla="*/ 119062 h 1853413"/>
              <a:gd name="connsiteX96" fmla="*/ 3111358 w 3831749"/>
              <a:gd name="connsiteY96" fmla="*/ 150018 h 1853413"/>
              <a:gd name="connsiteX97" fmla="*/ 3161365 w 3831749"/>
              <a:gd name="connsiteY97" fmla="*/ 157162 h 1853413"/>
              <a:gd name="connsiteX98" fmla="*/ 3187558 w 3831749"/>
              <a:gd name="connsiteY98" fmla="*/ 202406 h 1853413"/>
              <a:gd name="connsiteX99" fmla="*/ 3213752 w 3831749"/>
              <a:gd name="connsiteY99" fmla="*/ 233362 h 1853413"/>
              <a:gd name="connsiteX100" fmla="*/ 3230421 w 3831749"/>
              <a:gd name="connsiteY100" fmla="*/ 278606 h 1853413"/>
              <a:gd name="connsiteX101" fmla="*/ 3289952 w 3831749"/>
              <a:gd name="connsiteY101" fmla="*/ 295275 h 1853413"/>
              <a:gd name="connsiteX102" fmla="*/ 3318527 w 3831749"/>
              <a:gd name="connsiteY102" fmla="*/ 326231 h 1853413"/>
              <a:gd name="connsiteX103" fmla="*/ 3339958 w 3831749"/>
              <a:gd name="connsiteY103" fmla="*/ 335756 h 1853413"/>
              <a:gd name="connsiteX104" fmla="*/ 3351865 w 3831749"/>
              <a:gd name="connsiteY104" fmla="*/ 376237 h 1853413"/>
              <a:gd name="connsiteX105" fmla="*/ 3382821 w 3831749"/>
              <a:gd name="connsiteY105" fmla="*/ 383381 h 1853413"/>
              <a:gd name="connsiteX106" fmla="*/ 3420921 w 3831749"/>
              <a:gd name="connsiteY106" fmla="*/ 447675 h 1853413"/>
              <a:gd name="connsiteX107" fmla="*/ 3416158 w 3831749"/>
              <a:gd name="connsiteY107" fmla="*/ 502443 h 1853413"/>
              <a:gd name="connsiteX108" fmla="*/ 3404252 w 3831749"/>
              <a:gd name="connsiteY108" fmla="*/ 531018 h 1853413"/>
              <a:gd name="connsiteX109" fmla="*/ 3444733 w 3831749"/>
              <a:gd name="connsiteY109" fmla="*/ 564356 h 1853413"/>
              <a:gd name="connsiteX110" fmla="*/ 3442352 w 3831749"/>
              <a:gd name="connsiteY110" fmla="*/ 647700 h 1853413"/>
              <a:gd name="connsiteX111" fmla="*/ 3423302 w 3831749"/>
              <a:gd name="connsiteY111" fmla="*/ 664368 h 1853413"/>
              <a:gd name="connsiteX112" fmla="*/ 3406633 w 3831749"/>
              <a:gd name="connsiteY112" fmla="*/ 738187 h 1853413"/>
              <a:gd name="connsiteX113" fmla="*/ 3428065 w 3831749"/>
              <a:gd name="connsiteY113" fmla="*/ 773906 h 1853413"/>
              <a:gd name="connsiteX114" fmla="*/ 3482833 w 3831749"/>
              <a:gd name="connsiteY114" fmla="*/ 797718 h 1853413"/>
              <a:gd name="connsiteX115" fmla="*/ 3520933 w 3831749"/>
              <a:gd name="connsiteY115" fmla="*/ 778668 h 1853413"/>
              <a:gd name="connsiteX116" fmla="*/ 3563796 w 3831749"/>
              <a:gd name="connsiteY116" fmla="*/ 797718 h 1853413"/>
              <a:gd name="connsiteX117" fmla="*/ 3599515 w 3831749"/>
              <a:gd name="connsiteY117" fmla="*/ 783431 h 1853413"/>
              <a:gd name="connsiteX118" fmla="*/ 3637615 w 3831749"/>
              <a:gd name="connsiteY118" fmla="*/ 826293 h 1853413"/>
              <a:gd name="connsiteX119" fmla="*/ 3716196 w 3831749"/>
              <a:gd name="connsiteY119" fmla="*/ 902493 h 1853413"/>
              <a:gd name="connsiteX120" fmla="*/ 3785252 w 3831749"/>
              <a:gd name="connsiteY120" fmla="*/ 916781 h 1853413"/>
              <a:gd name="connsiteX121" fmla="*/ 3831749 w 3831749"/>
              <a:gd name="connsiteY121" fmla="*/ 944470 h 1853413"/>
              <a:gd name="connsiteX0" fmla="*/ 0 w 3777626"/>
              <a:gd name="connsiteY0" fmla="*/ 1804987 h 1804987"/>
              <a:gd name="connsiteX1" fmla="*/ 11394 w 3777626"/>
              <a:gd name="connsiteY1" fmla="*/ 1728075 h 1804987"/>
              <a:gd name="connsiteX2" fmla="*/ 51274 w 3777626"/>
              <a:gd name="connsiteY2" fmla="*/ 1676800 h 1804987"/>
              <a:gd name="connsiteX3" fmla="*/ 92579 w 3777626"/>
              <a:gd name="connsiteY3" fmla="*/ 1661552 h 1804987"/>
              <a:gd name="connsiteX4" fmla="*/ 91267 w 3777626"/>
              <a:gd name="connsiteY4" fmla="*/ 1631153 h 1804987"/>
              <a:gd name="connsiteX5" fmla="*/ 111714 w 3777626"/>
              <a:gd name="connsiteY5" fmla="*/ 1603271 h 1804987"/>
              <a:gd name="connsiteX6" fmla="*/ 134143 w 3777626"/>
              <a:gd name="connsiteY6" fmla="*/ 1583314 h 1804987"/>
              <a:gd name="connsiteX7" fmla="*/ 158592 w 3777626"/>
              <a:gd name="connsiteY7" fmla="*/ 1563755 h 1804987"/>
              <a:gd name="connsiteX8" fmla="*/ 200155 w 3777626"/>
              <a:gd name="connsiteY8" fmla="*/ 1507522 h 1804987"/>
              <a:gd name="connsiteX9" fmla="*/ 227050 w 3777626"/>
              <a:gd name="connsiteY9" fmla="*/ 1443954 h 1804987"/>
              <a:gd name="connsiteX10" fmla="*/ 280838 w 3777626"/>
              <a:gd name="connsiteY10" fmla="*/ 1434174 h 1804987"/>
              <a:gd name="connsiteX11" fmla="*/ 341961 w 3777626"/>
              <a:gd name="connsiteY11" fmla="*/ 1436619 h 1804987"/>
              <a:gd name="connsiteX12" fmla="*/ 378635 w 3777626"/>
              <a:gd name="connsiteY12" fmla="*/ 1412170 h 1804987"/>
              <a:gd name="connsiteX13" fmla="*/ 407974 w 3777626"/>
              <a:gd name="connsiteY13" fmla="*/ 1373051 h 1804987"/>
              <a:gd name="connsiteX14" fmla="*/ 451982 w 3777626"/>
              <a:gd name="connsiteY14" fmla="*/ 1365716 h 1804987"/>
              <a:gd name="connsiteX15" fmla="*/ 476431 w 3777626"/>
              <a:gd name="connsiteY15" fmla="*/ 1346157 h 1804987"/>
              <a:gd name="connsiteX16" fmla="*/ 495991 w 3777626"/>
              <a:gd name="connsiteY16" fmla="*/ 1309483 h 1804987"/>
              <a:gd name="connsiteX17" fmla="*/ 544889 w 3777626"/>
              <a:gd name="connsiteY17" fmla="*/ 1299704 h 1804987"/>
              <a:gd name="connsiteX18" fmla="*/ 592642 w 3777626"/>
              <a:gd name="connsiteY18" fmla="*/ 1304925 h 1804987"/>
              <a:gd name="connsiteX19" fmla="*/ 633123 w 3777626"/>
              <a:gd name="connsiteY19" fmla="*/ 1259681 h 1804987"/>
              <a:gd name="connsiteX20" fmla="*/ 664079 w 3777626"/>
              <a:gd name="connsiteY20" fmla="*/ 1247775 h 1804987"/>
              <a:gd name="connsiteX21" fmla="*/ 714085 w 3777626"/>
              <a:gd name="connsiteY21" fmla="*/ 1257300 h 1804987"/>
              <a:gd name="connsiteX22" fmla="*/ 761710 w 3777626"/>
              <a:gd name="connsiteY22" fmla="*/ 1207293 h 1804987"/>
              <a:gd name="connsiteX23" fmla="*/ 809335 w 3777626"/>
              <a:gd name="connsiteY23" fmla="*/ 1214437 h 1804987"/>
              <a:gd name="connsiteX24" fmla="*/ 830767 w 3777626"/>
              <a:gd name="connsiteY24" fmla="*/ 1214437 h 1804987"/>
              <a:gd name="connsiteX25" fmla="*/ 866485 w 3777626"/>
              <a:gd name="connsiteY25" fmla="*/ 1195387 h 1804987"/>
              <a:gd name="connsiteX26" fmla="*/ 890298 w 3777626"/>
              <a:gd name="connsiteY26" fmla="*/ 1157287 h 1804987"/>
              <a:gd name="connsiteX27" fmla="*/ 935542 w 3777626"/>
              <a:gd name="connsiteY27" fmla="*/ 1157287 h 1804987"/>
              <a:gd name="connsiteX28" fmla="*/ 961735 w 3777626"/>
              <a:gd name="connsiteY28" fmla="*/ 1119187 h 1804987"/>
              <a:gd name="connsiteX29" fmla="*/ 987929 w 3777626"/>
              <a:gd name="connsiteY29" fmla="*/ 1100137 h 1804987"/>
              <a:gd name="connsiteX30" fmla="*/ 1006979 w 3777626"/>
              <a:gd name="connsiteY30" fmla="*/ 1071562 h 1804987"/>
              <a:gd name="connsiteX31" fmla="*/ 1052223 w 3777626"/>
              <a:gd name="connsiteY31" fmla="*/ 1064418 h 1804987"/>
              <a:gd name="connsiteX32" fmla="*/ 1064129 w 3777626"/>
              <a:gd name="connsiteY32" fmla="*/ 1031081 h 1804987"/>
              <a:gd name="connsiteX33" fmla="*/ 1099848 w 3777626"/>
              <a:gd name="connsiteY33" fmla="*/ 1012031 h 1804987"/>
              <a:gd name="connsiteX34" fmla="*/ 1121279 w 3777626"/>
              <a:gd name="connsiteY34" fmla="*/ 988218 h 1804987"/>
              <a:gd name="connsiteX35" fmla="*/ 1202242 w 3777626"/>
              <a:gd name="connsiteY35" fmla="*/ 966787 h 1804987"/>
              <a:gd name="connsiteX36" fmla="*/ 1216529 w 3777626"/>
              <a:gd name="connsiteY36" fmla="*/ 952500 h 1804987"/>
              <a:gd name="connsiteX37" fmla="*/ 1226054 w 3777626"/>
              <a:gd name="connsiteY37" fmla="*/ 919162 h 1804987"/>
              <a:gd name="connsiteX38" fmla="*/ 1307017 w 3777626"/>
              <a:gd name="connsiteY38" fmla="*/ 878681 h 1804987"/>
              <a:gd name="connsiteX39" fmla="*/ 1326067 w 3777626"/>
              <a:gd name="connsiteY39" fmla="*/ 873918 h 1804987"/>
              <a:gd name="connsiteX40" fmla="*/ 1385598 w 3777626"/>
              <a:gd name="connsiteY40" fmla="*/ 809625 h 1804987"/>
              <a:gd name="connsiteX41" fmla="*/ 1390360 w 3777626"/>
              <a:gd name="connsiteY41" fmla="*/ 759618 h 1804987"/>
              <a:gd name="connsiteX42" fmla="*/ 1416554 w 3777626"/>
              <a:gd name="connsiteY42" fmla="*/ 733425 h 1804987"/>
              <a:gd name="connsiteX43" fmla="*/ 1442748 w 3777626"/>
              <a:gd name="connsiteY43" fmla="*/ 728662 h 1804987"/>
              <a:gd name="connsiteX44" fmla="*/ 1504660 w 3777626"/>
              <a:gd name="connsiteY44" fmla="*/ 683418 h 1804987"/>
              <a:gd name="connsiteX45" fmla="*/ 1590385 w 3777626"/>
              <a:gd name="connsiteY45" fmla="*/ 640556 h 1804987"/>
              <a:gd name="connsiteX46" fmla="*/ 1626104 w 3777626"/>
              <a:gd name="connsiteY46" fmla="*/ 600075 h 1804987"/>
              <a:gd name="connsiteX47" fmla="*/ 1654679 w 3777626"/>
              <a:gd name="connsiteY47" fmla="*/ 585787 h 1804987"/>
              <a:gd name="connsiteX48" fmla="*/ 1661823 w 3777626"/>
              <a:gd name="connsiteY48" fmla="*/ 519112 h 1804987"/>
              <a:gd name="connsiteX49" fmla="*/ 1678492 w 3777626"/>
              <a:gd name="connsiteY49" fmla="*/ 473868 h 1804987"/>
              <a:gd name="connsiteX50" fmla="*/ 1664204 w 3777626"/>
              <a:gd name="connsiteY50" fmla="*/ 433387 h 1804987"/>
              <a:gd name="connsiteX51" fmla="*/ 1668967 w 3777626"/>
              <a:gd name="connsiteY51" fmla="*/ 347662 h 1804987"/>
              <a:gd name="connsiteX52" fmla="*/ 1664204 w 3777626"/>
              <a:gd name="connsiteY52" fmla="*/ 307181 h 1804987"/>
              <a:gd name="connsiteX53" fmla="*/ 1664204 w 3777626"/>
              <a:gd name="connsiteY53" fmla="*/ 264318 h 1804987"/>
              <a:gd name="connsiteX54" fmla="*/ 1690398 w 3777626"/>
              <a:gd name="connsiteY54" fmla="*/ 254793 h 1804987"/>
              <a:gd name="connsiteX55" fmla="*/ 1711829 w 3777626"/>
              <a:gd name="connsiteY55" fmla="*/ 271462 h 1804987"/>
              <a:gd name="connsiteX56" fmla="*/ 1726117 w 3777626"/>
              <a:gd name="connsiteY56" fmla="*/ 297656 h 1804987"/>
              <a:gd name="connsiteX57" fmla="*/ 1754692 w 3777626"/>
              <a:gd name="connsiteY57" fmla="*/ 300037 h 1804987"/>
              <a:gd name="connsiteX58" fmla="*/ 1776123 w 3777626"/>
              <a:gd name="connsiteY58" fmla="*/ 278606 h 1804987"/>
              <a:gd name="connsiteX59" fmla="*/ 1861848 w 3777626"/>
              <a:gd name="connsiteY59" fmla="*/ 280987 h 1804987"/>
              <a:gd name="connsiteX60" fmla="*/ 1914235 w 3777626"/>
              <a:gd name="connsiteY60" fmla="*/ 290512 h 1804987"/>
              <a:gd name="connsiteX61" fmla="*/ 1961860 w 3777626"/>
              <a:gd name="connsiteY61" fmla="*/ 266700 h 1804987"/>
              <a:gd name="connsiteX62" fmla="*/ 1973767 w 3777626"/>
              <a:gd name="connsiteY62" fmla="*/ 233362 h 1804987"/>
              <a:gd name="connsiteX63" fmla="*/ 2014248 w 3777626"/>
              <a:gd name="connsiteY63" fmla="*/ 200025 h 1804987"/>
              <a:gd name="connsiteX64" fmla="*/ 2004723 w 3777626"/>
              <a:gd name="connsiteY64" fmla="*/ 173831 h 1804987"/>
              <a:gd name="connsiteX65" fmla="*/ 2021392 w 3777626"/>
              <a:gd name="connsiteY65" fmla="*/ 147637 h 1804987"/>
              <a:gd name="connsiteX66" fmla="*/ 2076160 w 3777626"/>
              <a:gd name="connsiteY66" fmla="*/ 169068 h 1804987"/>
              <a:gd name="connsiteX67" fmla="*/ 2123785 w 3777626"/>
              <a:gd name="connsiteY67" fmla="*/ 173831 h 1804987"/>
              <a:gd name="connsiteX68" fmla="*/ 2159504 w 3777626"/>
              <a:gd name="connsiteY68" fmla="*/ 209550 h 1804987"/>
              <a:gd name="connsiteX69" fmla="*/ 2188079 w 3777626"/>
              <a:gd name="connsiteY69" fmla="*/ 223837 h 1804987"/>
              <a:gd name="connsiteX70" fmla="*/ 2207129 w 3777626"/>
              <a:gd name="connsiteY70" fmla="*/ 280987 h 1804987"/>
              <a:gd name="connsiteX71" fmla="*/ 2276185 w 3777626"/>
              <a:gd name="connsiteY71" fmla="*/ 316706 h 1804987"/>
              <a:gd name="connsiteX72" fmla="*/ 2345242 w 3777626"/>
              <a:gd name="connsiteY72" fmla="*/ 307181 h 1804987"/>
              <a:gd name="connsiteX73" fmla="*/ 2392867 w 3777626"/>
              <a:gd name="connsiteY73" fmla="*/ 295275 h 1804987"/>
              <a:gd name="connsiteX74" fmla="*/ 2430967 w 3777626"/>
              <a:gd name="connsiteY74" fmla="*/ 307181 h 1804987"/>
              <a:gd name="connsiteX75" fmla="*/ 2480973 w 3777626"/>
              <a:gd name="connsiteY75" fmla="*/ 304800 h 1804987"/>
              <a:gd name="connsiteX76" fmla="*/ 2526217 w 3777626"/>
              <a:gd name="connsiteY76" fmla="*/ 316706 h 1804987"/>
              <a:gd name="connsiteX77" fmla="*/ 2571460 w 3777626"/>
              <a:gd name="connsiteY77" fmla="*/ 302418 h 1804987"/>
              <a:gd name="connsiteX78" fmla="*/ 2592892 w 3777626"/>
              <a:gd name="connsiteY78" fmla="*/ 276225 h 1804987"/>
              <a:gd name="connsiteX79" fmla="*/ 2671473 w 3777626"/>
              <a:gd name="connsiteY79" fmla="*/ 297656 h 1804987"/>
              <a:gd name="connsiteX80" fmla="*/ 2711954 w 3777626"/>
              <a:gd name="connsiteY80" fmla="*/ 283368 h 1804987"/>
              <a:gd name="connsiteX81" fmla="*/ 2719098 w 3777626"/>
              <a:gd name="connsiteY81" fmla="*/ 242887 h 1804987"/>
              <a:gd name="connsiteX82" fmla="*/ 2690523 w 3777626"/>
              <a:gd name="connsiteY82" fmla="*/ 195262 h 1804987"/>
              <a:gd name="connsiteX83" fmla="*/ 2673854 w 3777626"/>
              <a:gd name="connsiteY83" fmla="*/ 135731 h 1804987"/>
              <a:gd name="connsiteX84" fmla="*/ 2640517 w 3777626"/>
              <a:gd name="connsiteY84" fmla="*/ 102393 h 1804987"/>
              <a:gd name="connsiteX85" fmla="*/ 2616704 w 3777626"/>
              <a:gd name="connsiteY85" fmla="*/ 59531 h 1804987"/>
              <a:gd name="connsiteX86" fmla="*/ 2626229 w 3777626"/>
              <a:gd name="connsiteY86" fmla="*/ 38100 h 1804987"/>
              <a:gd name="connsiteX87" fmla="*/ 2661948 w 3777626"/>
              <a:gd name="connsiteY87" fmla="*/ 0 h 1804987"/>
              <a:gd name="connsiteX88" fmla="*/ 2680998 w 3777626"/>
              <a:gd name="connsiteY88" fmla="*/ 16668 h 1804987"/>
              <a:gd name="connsiteX89" fmla="*/ 2761960 w 3777626"/>
              <a:gd name="connsiteY89" fmla="*/ 30956 h 1804987"/>
              <a:gd name="connsiteX90" fmla="*/ 2845304 w 3777626"/>
              <a:gd name="connsiteY90" fmla="*/ 47625 h 1804987"/>
              <a:gd name="connsiteX91" fmla="*/ 2895310 w 3777626"/>
              <a:gd name="connsiteY91" fmla="*/ 66675 h 1804987"/>
              <a:gd name="connsiteX92" fmla="*/ 2945317 w 3777626"/>
              <a:gd name="connsiteY92" fmla="*/ 61912 h 1804987"/>
              <a:gd name="connsiteX93" fmla="*/ 2992942 w 3777626"/>
              <a:gd name="connsiteY93" fmla="*/ 92868 h 1804987"/>
              <a:gd name="connsiteX94" fmla="*/ 3035804 w 3777626"/>
              <a:gd name="connsiteY94" fmla="*/ 119062 h 1804987"/>
              <a:gd name="connsiteX95" fmla="*/ 3057235 w 3777626"/>
              <a:gd name="connsiteY95" fmla="*/ 150018 h 1804987"/>
              <a:gd name="connsiteX96" fmla="*/ 3107242 w 3777626"/>
              <a:gd name="connsiteY96" fmla="*/ 157162 h 1804987"/>
              <a:gd name="connsiteX97" fmla="*/ 3133435 w 3777626"/>
              <a:gd name="connsiteY97" fmla="*/ 202406 h 1804987"/>
              <a:gd name="connsiteX98" fmla="*/ 3159629 w 3777626"/>
              <a:gd name="connsiteY98" fmla="*/ 233362 h 1804987"/>
              <a:gd name="connsiteX99" fmla="*/ 3176298 w 3777626"/>
              <a:gd name="connsiteY99" fmla="*/ 278606 h 1804987"/>
              <a:gd name="connsiteX100" fmla="*/ 3235829 w 3777626"/>
              <a:gd name="connsiteY100" fmla="*/ 295275 h 1804987"/>
              <a:gd name="connsiteX101" fmla="*/ 3264404 w 3777626"/>
              <a:gd name="connsiteY101" fmla="*/ 326231 h 1804987"/>
              <a:gd name="connsiteX102" fmla="*/ 3285835 w 3777626"/>
              <a:gd name="connsiteY102" fmla="*/ 335756 h 1804987"/>
              <a:gd name="connsiteX103" fmla="*/ 3297742 w 3777626"/>
              <a:gd name="connsiteY103" fmla="*/ 376237 h 1804987"/>
              <a:gd name="connsiteX104" fmla="*/ 3328698 w 3777626"/>
              <a:gd name="connsiteY104" fmla="*/ 383381 h 1804987"/>
              <a:gd name="connsiteX105" fmla="*/ 3366798 w 3777626"/>
              <a:gd name="connsiteY105" fmla="*/ 447675 h 1804987"/>
              <a:gd name="connsiteX106" fmla="*/ 3362035 w 3777626"/>
              <a:gd name="connsiteY106" fmla="*/ 502443 h 1804987"/>
              <a:gd name="connsiteX107" fmla="*/ 3350129 w 3777626"/>
              <a:gd name="connsiteY107" fmla="*/ 531018 h 1804987"/>
              <a:gd name="connsiteX108" fmla="*/ 3390610 w 3777626"/>
              <a:gd name="connsiteY108" fmla="*/ 564356 h 1804987"/>
              <a:gd name="connsiteX109" fmla="*/ 3388229 w 3777626"/>
              <a:gd name="connsiteY109" fmla="*/ 647700 h 1804987"/>
              <a:gd name="connsiteX110" fmla="*/ 3369179 w 3777626"/>
              <a:gd name="connsiteY110" fmla="*/ 664368 h 1804987"/>
              <a:gd name="connsiteX111" fmla="*/ 3352510 w 3777626"/>
              <a:gd name="connsiteY111" fmla="*/ 738187 h 1804987"/>
              <a:gd name="connsiteX112" fmla="*/ 3373942 w 3777626"/>
              <a:gd name="connsiteY112" fmla="*/ 773906 h 1804987"/>
              <a:gd name="connsiteX113" fmla="*/ 3428710 w 3777626"/>
              <a:gd name="connsiteY113" fmla="*/ 797718 h 1804987"/>
              <a:gd name="connsiteX114" fmla="*/ 3466810 w 3777626"/>
              <a:gd name="connsiteY114" fmla="*/ 778668 h 1804987"/>
              <a:gd name="connsiteX115" fmla="*/ 3509673 w 3777626"/>
              <a:gd name="connsiteY115" fmla="*/ 797718 h 1804987"/>
              <a:gd name="connsiteX116" fmla="*/ 3545392 w 3777626"/>
              <a:gd name="connsiteY116" fmla="*/ 783431 h 1804987"/>
              <a:gd name="connsiteX117" fmla="*/ 3583492 w 3777626"/>
              <a:gd name="connsiteY117" fmla="*/ 826293 h 1804987"/>
              <a:gd name="connsiteX118" fmla="*/ 3662073 w 3777626"/>
              <a:gd name="connsiteY118" fmla="*/ 902493 h 1804987"/>
              <a:gd name="connsiteX119" fmla="*/ 3731129 w 3777626"/>
              <a:gd name="connsiteY119" fmla="*/ 916781 h 1804987"/>
              <a:gd name="connsiteX120" fmla="*/ 3777626 w 3777626"/>
              <a:gd name="connsiteY120" fmla="*/ 944470 h 1804987"/>
              <a:gd name="connsiteX0" fmla="*/ 0 w 3766232"/>
              <a:gd name="connsiteY0" fmla="*/ 1728075 h 1728075"/>
              <a:gd name="connsiteX1" fmla="*/ 39880 w 3766232"/>
              <a:gd name="connsiteY1" fmla="*/ 1676800 h 1728075"/>
              <a:gd name="connsiteX2" fmla="*/ 81185 w 3766232"/>
              <a:gd name="connsiteY2" fmla="*/ 1661552 h 1728075"/>
              <a:gd name="connsiteX3" fmla="*/ 79873 w 3766232"/>
              <a:gd name="connsiteY3" fmla="*/ 1631153 h 1728075"/>
              <a:gd name="connsiteX4" fmla="*/ 100320 w 3766232"/>
              <a:gd name="connsiteY4" fmla="*/ 1603271 h 1728075"/>
              <a:gd name="connsiteX5" fmla="*/ 122749 w 3766232"/>
              <a:gd name="connsiteY5" fmla="*/ 1583314 h 1728075"/>
              <a:gd name="connsiteX6" fmla="*/ 147198 w 3766232"/>
              <a:gd name="connsiteY6" fmla="*/ 1563755 h 1728075"/>
              <a:gd name="connsiteX7" fmla="*/ 188761 w 3766232"/>
              <a:gd name="connsiteY7" fmla="*/ 1507522 h 1728075"/>
              <a:gd name="connsiteX8" fmla="*/ 215656 w 3766232"/>
              <a:gd name="connsiteY8" fmla="*/ 1443954 h 1728075"/>
              <a:gd name="connsiteX9" fmla="*/ 269444 w 3766232"/>
              <a:gd name="connsiteY9" fmla="*/ 1434174 h 1728075"/>
              <a:gd name="connsiteX10" fmla="*/ 330567 w 3766232"/>
              <a:gd name="connsiteY10" fmla="*/ 1436619 h 1728075"/>
              <a:gd name="connsiteX11" fmla="*/ 367241 w 3766232"/>
              <a:gd name="connsiteY11" fmla="*/ 1412170 h 1728075"/>
              <a:gd name="connsiteX12" fmla="*/ 396580 w 3766232"/>
              <a:gd name="connsiteY12" fmla="*/ 1373051 h 1728075"/>
              <a:gd name="connsiteX13" fmla="*/ 440588 w 3766232"/>
              <a:gd name="connsiteY13" fmla="*/ 1365716 h 1728075"/>
              <a:gd name="connsiteX14" fmla="*/ 465037 w 3766232"/>
              <a:gd name="connsiteY14" fmla="*/ 1346157 h 1728075"/>
              <a:gd name="connsiteX15" fmla="*/ 484597 w 3766232"/>
              <a:gd name="connsiteY15" fmla="*/ 1309483 h 1728075"/>
              <a:gd name="connsiteX16" fmla="*/ 533495 w 3766232"/>
              <a:gd name="connsiteY16" fmla="*/ 1299704 h 1728075"/>
              <a:gd name="connsiteX17" fmla="*/ 581248 w 3766232"/>
              <a:gd name="connsiteY17" fmla="*/ 1304925 h 1728075"/>
              <a:gd name="connsiteX18" fmla="*/ 621729 w 3766232"/>
              <a:gd name="connsiteY18" fmla="*/ 1259681 h 1728075"/>
              <a:gd name="connsiteX19" fmla="*/ 652685 w 3766232"/>
              <a:gd name="connsiteY19" fmla="*/ 1247775 h 1728075"/>
              <a:gd name="connsiteX20" fmla="*/ 702691 w 3766232"/>
              <a:gd name="connsiteY20" fmla="*/ 1257300 h 1728075"/>
              <a:gd name="connsiteX21" fmla="*/ 750316 w 3766232"/>
              <a:gd name="connsiteY21" fmla="*/ 1207293 h 1728075"/>
              <a:gd name="connsiteX22" fmla="*/ 797941 w 3766232"/>
              <a:gd name="connsiteY22" fmla="*/ 1214437 h 1728075"/>
              <a:gd name="connsiteX23" fmla="*/ 819373 w 3766232"/>
              <a:gd name="connsiteY23" fmla="*/ 1214437 h 1728075"/>
              <a:gd name="connsiteX24" fmla="*/ 855091 w 3766232"/>
              <a:gd name="connsiteY24" fmla="*/ 1195387 h 1728075"/>
              <a:gd name="connsiteX25" fmla="*/ 878904 w 3766232"/>
              <a:gd name="connsiteY25" fmla="*/ 1157287 h 1728075"/>
              <a:gd name="connsiteX26" fmla="*/ 924148 w 3766232"/>
              <a:gd name="connsiteY26" fmla="*/ 1157287 h 1728075"/>
              <a:gd name="connsiteX27" fmla="*/ 950341 w 3766232"/>
              <a:gd name="connsiteY27" fmla="*/ 1119187 h 1728075"/>
              <a:gd name="connsiteX28" fmla="*/ 976535 w 3766232"/>
              <a:gd name="connsiteY28" fmla="*/ 1100137 h 1728075"/>
              <a:gd name="connsiteX29" fmla="*/ 995585 w 3766232"/>
              <a:gd name="connsiteY29" fmla="*/ 1071562 h 1728075"/>
              <a:gd name="connsiteX30" fmla="*/ 1040829 w 3766232"/>
              <a:gd name="connsiteY30" fmla="*/ 1064418 h 1728075"/>
              <a:gd name="connsiteX31" fmla="*/ 1052735 w 3766232"/>
              <a:gd name="connsiteY31" fmla="*/ 1031081 h 1728075"/>
              <a:gd name="connsiteX32" fmla="*/ 1088454 w 3766232"/>
              <a:gd name="connsiteY32" fmla="*/ 1012031 h 1728075"/>
              <a:gd name="connsiteX33" fmla="*/ 1109885 w 3766232"/>
              <a:gd name="connsiteY33" fmla="*/ 988218 h 1728075"/>
              <a:gd name="connsiteX34" fmla="*/ 1190848 w 3766232"/>
              <a:gd name="connsiteY34" fmla="*/ 966787 h 1728075"/>
              <a:gd name="connsiteX35" fmla="*/ 1205135 w 3766232"/>
              <a:gd name="connsiteY35" fmla="*/ 952500 h 1728075"/>
              <a:gd name="connsiteX36" fmla="*/ 1214660 w 3766232"/>
              <a:gd name="connsiteY36" fmla="*/ 919162 h 1728075"/>
              <a:gd name="connsiteX37" fmla="*/ 1295623 w 3766232"/>
              <a:gd name="connsiteY37" fmla="*/ 878681 h 1728075"/>
              <a:gd name="connsiteX38" fmla="*/ 1314673 w 3766232"/>
              <a:gd name="connsiteY38" fmla="*/ 873918 h 1728075"/>
              <a:gd name="connsiteX39" fmla="*/ 1374204 w 3766232"/>
              <a:gd name="connsiteY39" fmla="*/ 809625 h 1728075"/>
              <a:gd name="connsiteX40" fmla="*/ 1378966 w 3766232"/>
              <a:gd name="connsiteY40" fmla="*/ 759618 h 1728075"/>
              <a:gd name="connsiteX41" fmla="*/ 1405160 w 3766232"/>
              <a:gd name="connsiteY41" fmla="*/ 733425 h 1728075"/>
              <a:gd name="connsiteX42" fmla="*/ 1431354 w 3766232"/>
              <a:gd name="connsiteY42" fmla="*/ 728662 h 1728075"/>
              <a:gd name="connsiteX43" fmla="*/ 1493266 w 3766232"/>
              <a:gd name="connsiteY43" fmla="*/ 683418 h 1728075"/>
              <a:gd name="connsiteX44" fmla="*/ 1578991 w 3766232"/>
              <a:gd name="connsiteY44" fmla="*/ 640556 h 1728075"/>
              <a:gd name="connsiteX45" fmla="*/ 1614710 w 3766232"/>
              <a:gd name="connsiteY45" fmla="*/ 600075 h 1728075"/>
              <a:gd name="connsiteX46" fmla="*/ 1643285 w 3766232"/>
              <a:gd name="connsiteY46" fmla="*/ 585787 h 1728075"/>
              <a:gd name="connsiteX47" fmla="*/ 1650429 w 3766232"/>
              <a:gd name="connsiteY47" fmla="*/ 519112 h 1728075"/>
              <a:gd name="connsiteX48" fmla="*/ 1667098 w 3766232"/>
              <a:gd name="connsiteY48" fmla="*/ 473868 h 1728075"/>
              <a:gd name="connsiteX49" fmla="*/ 1652810 w 3766232"/>
              <a:gd name="connsiteY49" fmla="*/ 433387 h 1728075"/>
              <a:gd name="connsiteX50" fmla="*/ 1657573 w 3766232"/>
              <a:gd name="connsiteY50" fmla="*/ 347662 h 1728075"/>
              <a:gd name="connsiteX51" fmla="*/ 1652810 w 3766232"/>
              <a:gd name="connsiteY51" fmla="*/ 307181 h 1728075"/>
              <a:gd name="connsiteX52" fmla="*/ 1652810 w 3766232"/>
              <a:gd name="connsiteY52" fmla="*/ 264318 h 1728075"/>
              <a:gd name="connsiteX53" fmla="*/ 1679004 w 3766232"/>
              <a:gd name="connsiteY53" fmla="*/ 254793 h 1728075"/>
              <a:gd name="connsiteX54" fmla="*/ 1700435 w 3766232"/>
              <a:gd name="connsiteY54" fmla="*/ 271462 h 1728075"/>
              <a:gd name="connsiteX55" fmla="*/ 1714723 w 3766232"/>
              <a:gd name="connsiteY55" fmla="*/ 297656 h 1728075"/>
              <a:gd name="connsiteX56" fmla="*/ 1743298 w 3766232"/>
              <a:gd name="connsiteY56" fmla="*/ 300037 h 1728075"/>
              <a:gd name="connsiteX57" fmla="*/ 1764729 w 3766232"/>
              <a:gd name="connsiteY57" fmla="*/ 278606 h 1728075"/>
              <a:gd name="connsiteX58" fmla="*/ 1850454 w 3766232"/>
              <a:gd name="connsiteY58" fmla="*/ 280987 h 1728075"/>
              <a:gd name="connsiteX59" fmla="*/ 1902841 w 3766232"/>
              <a:gd name="connsiteY59" fmla="*/ 290512 h 1728075"/>
              <a:gd name="connsiteX60" fmla="*/ 1950466 w 3766232"/>
              <a:gd name="connsiteY60" fmla="*/ 266700 h 1728075"/>
              <a:gd name="connsiteX61" fmla="*/ 1962373 w 3766232"/>
              <a:gd name="connsiteY61" fmla="*/ 233362 h 1728075"/>
              <a:gd name="connsiteX62" fmla="*/ 2002854 w 3766232"/>
              <a:gd name="connsiteY62" fmla="*/ 200025 h 1728075"/>
              <a:gd name="connsiteX63" fmla="*/ 1993329 w 3766232"/>
              <a:gd name="connsiteY63" fmla="*/ 173831 h 1728075"/>
              <a:gd name="connsiteX64" fmla="*/ 2009998 w 3766232"/>
              <a:gd name="connsiteY64" fmla="*/ 147637 h 1728075"/>
              <a:gd name="connsiteX65" fmla="*/ 2064766 w 3766232"/>
              <a:gd name="connsiteY65" fmla="*/ 169068 h 1728075"/>
              <a:gd name="connsiteX66" fmla="*/ 2112391 w 3766232"/>
              <a:gd name="connsiteY66" fmla="*/ 173831 h 1728075"/>
              <a:gd name="connsiteX67" fmla="*/ 2148110 w 3766232"/>
              <a:gd name="connsiteY67" fmla="*/ 209550 h 1728075"/>
              <a:gd name="connsiteX68" fmla="*/ 2176685 w 3766232"/>
              <a:gd name="connsiteY68" fmla="*/ 223837 h 1728075"/>
              <a:gd name="connsiteX69" fmla="*/ 2195735 w 3766232"/>
              <a:gd name="connsiteY69" fmla="*/ 280987 h 1728075"/>
              <a:gd name="connsiteX70" fmla="*/ 2264791 w 3766232"/>
              <a:gd name="connsiteY70" fmla="*/ 316706 h 1728075"/>
              <a:gd name="connsiteX71" fmla="*/ 2333848 w 3766232"/>
              <a:gd name="connsiteY71" fmla="*/ 307181 h 1728075"/>
              <a:gd name="connsiteX72" fmla="*/ 2381473 w 3766232"/>
              <a:gd name="connsiteY72" fmla="*/ 295275 h 1728075"/>
              <a:gd name="connsiteX73" fmla="*/ 2419573 w 3766232"/>
              <a:gd name="connsiteY73" fmla="*/ 307181 h 1728075"/>
              <a:gd name="connsiteX74" fmla="*/ 2469579 w 3766232"/>
              <a:gd name="connsiteY74" fmla="*/ 304800 h 1728075"/>
              <a:gd name="connsiteX75" fmla="*/ 2514823 w 3766232"/>
              <a:gd name="connsiteY75" fmla="*/ 316706 h 1728075"/>
              <a:gd name="connsiteX76" fmla="*/ 2560066 w 3766232"/>
              <a:gd name="connsiteY76" fmla="*/ 302418 h 1728075"/>
              <a:gd name="connsiteX77" fmla="*/ 2581498 w 3766232"/>
              <a:gd name="connsiteY77" fmla="*/ 276225 h 1728075"/>
              <a:gd name="connsiteX78" fmla="*/ 2660079 w 3766232"/>
              <a:gd name="connsiteY78" fmla="*/ 297656 h 1728075"/>
              <a:gd name="connsiteX79" fmla="*/ 2700560 w 3766232"/>
              <a:gd name="connsiteY79" fmla="*/ 283368 h 1728075"/>
              <a:gd name="connsiteX80" fmla="*/ 2707704 w 3766232"/>
              <a:gd name="connsiteY80" fmla="*/ 242887 h 1728075"/>
              <a:gd name="connsiteX81" fmla="*/ 2679129 w 3766232"/>
              <a:gd name="connsiteY81" fmla="*/ 195262 h 1728075"/>
              <a:gd name="connsiteX82" fmla="*/ 2662460 w 3766232"/>
              <a:gd name="connsiteY82" fmla="*/ 135731 h 1728075"/>
              <a:gd name="connsiteX83" fmla="*/ 2629123 w 3766232"/>
              <a:gd name="connsiteY83" fmla="*/ 102393 h 1728075"/>
              <a:gd name="connsiteX84" fmla="*/ 2605310 w 3766232"/>
              <a:gd name="connsiteY84" fmla="*/ 59531 h 1728075"/>
              <a:gd name="connsiteX85" fmla="*/ 2614835 w 3766232"/>
              <a:gd name="connsiteY85" fmla="*/ 38100 h 1728075"/>
              <a:gd name="connsiteX86" fmla="*/ 2650554 w 3766232"/>
              <a:gd name="connsiteY86" fmla="*/ 0 h 1728075"/>
              <a:gd name="connsiteX87" fmla="*/ 2669604 w 3766232"/>
              <a:gd name="connsiteY87" fmla="*/ 16668 h 1728075"/>
              <a:gd name="connsiteX88" fmla="*/ 2750566 w 3766232"/>
              <a:gd name="connsiteY88" fmla="*/ 30956 h 1728075"/>
              <a:gd name="connsiteX89" fmla="*/ 2833910 w 3766232"/>
              <a:gd name="connsiteY89" fmla="*/ 47625 h 1728075"/>
              <a:gd name="connsiteX90" fmla="*/ 2883916 w 3766232"/>
              <a:gd name="connsiteY90" fmla="*/ 66675 h 1728075"/>
              <a:gd name="connsiteX91" fmla="*/ 2933923 w 3766232"/>
              <a:gd name="connsiteY91" fmla="*/ 61912 h 1728075"/>
              <a:gd name="connsiteX92" fmla="*/ 2981548 w 3766232"/>
              <a:gd name="connsiteY92" fmla="*/ 92868 h 1728075"/>
              <a:gd name="connsiteX93" fmla="*/ 3024410 w 3766232"/>
              <a:gd name="connsiteY93" fmla="*/ 119062 h 1728075"/>
              <a:gd name="connsiteX94" fmla="*/ 3045841 w 3766232"/>
              <a:gd name="connsiteY94" fmla="*/ 150018 h 1728075"/>
              <a:gd name="connsiteX95" fmla="*/ 3095848 w 3766232"/>
              <a:gd name="connsiteY95" fmla="*/ 157162 h 1728075"/>
              <a:gd name="connsiteX96" fmla="*/ 3122041 w 3766232"/>
              <a:gd name="connsiteY96" fmla="*/ 202406 h 1728075"/>
              <a:gd name="connsiteX97" fmla="*/ 3148235 w 3766232"/>
              <a:gd name="connsiteY97" fmla="*/ 233362 h 1728075"/>
              <a:gd name="connsiteX98" fmla="*/ 3164904 w 3766232"/>
              <a:gd name="connsiteY98" fmla="*/ 278606 h 1728075"/>
              <a:gd name="connsiteX99" fmla="*/ 3224435 w 3766232"/>
              <a:gd name="connsiteY99" fmla="*/ 295275 h 1728075"/>
              <a:gd name="connsiteX100" fmla="*/ 3253010 w 3766232"/>
              <a:gd name="connsiteY100" fmla="*/ 326231 h 1728075"/>
              <a:gd name="connsiteX101" fmla="*/ 3274441 w 3766232"/>
              <a:gd name="connsiteY101" fmla="*/ 335756 h 1728075"/>
              <a:gd name="connsiteX102" fmla="*/ 3286348 w 3766232"/>
              <a:gd name="connsiteY102" fmla="*/ 376237 h 1728075"/>
              <a:gd name="connsiteX103" fmla="*/ 3317304 w 3766232"/>
              <a:gd name="connsiteY103" fmla="*/ 383381 h 1728075"/>
              <a:gd name="connsiteX104" fmla="*/ 3355404 w 3766232"/>
              <a:gd name="connsiteY104" fmla="*/ 447675 h 1728075"/>
              <a:gd name="connsiteX105" fmla="*/ 3350641 w 3766232"/>
              <a:gd name="connsiteY105" fmla="*/ 502443 h 1728075"/>
              <a:gd name="connsiteX106" fmla="*/ 3338735 w 3766232"/>
              <a:gd name="connsiteY106" fmla="*/ 531018 h 1728075"/>
              <a:gd name="connsiteX107" fmla="*/ 3379216 w 3766232"/>
              <a:gd name="connsiteY107" fmla="*/ 564356 h 1728075"/>
              <a:gd name="connsiteX108" fmla="*/ 3376835 w 3766232"/>
              <a:gd name="connsiteY108" fmla="*/ 647700 h 1728075"/>
              <a:gd name="connsiteX109" fmla="*/ 3357785 w 3766232"/>
              <a:gd name="connsiteY109" fmla="*/ 664368 h 1728075"/>
              <a:gd name="connsiteX110" fmla="*/ 3341116 w 3766232"/>
              <a:gd name="connsiteY110" fmla="*/ 738187 h 1728075"/>
              <a:gd name="connsiteX111" fmla="*/ 3362548 w 3766232"/>
              <a:gd name="connsiteY111" fmla="*/ 773906 h 1728075"/>
              <a:gd name="connsiteX112" fmla="*/ 3417316 w 3766232"/>
              <a:gd name="connsiteY112" fmla="*/ 797718 h 1728075"/>
              <a:gd name="connsiteX113" fmla="*/ 3455416 w 3766232"/>
              <a:gd name="connsiteY113" fmla="*/ 778668 h 1728075"/>
              <a:gd name="connsiteX114" fmla="*/ 3498279 w 3766232"/>
              <a:gd name="connsiteY114" fmla="*/ 797718 h 1728075"/>
              <a:gd name="connsiteX115" fmla="*/ 3533998 w 3766232"/>
              <a:gd name="connsiteY115" fmla="*/ 783431 h 1728075"/>
              <a:gd name="connsiteX116" fmla="*/ 3572098 w 3766232"/>
              <a:gd name="connsiteY116" fmla="*/ 826293 h 1728075"/>
              <a:gd name="connsiteX117" fmla="*/ 3650679 w 3766232"/>
              <a:gd name="connsiteY117" fmla="*/ 902493 h 1728075"/>
              <a:gd name="connsiteX118" fmla="*/ 3719735 w 3766232"/>
              <a:gd name="connsiteY118" fmla="*/ 916781 h 1728075"/>
              <a:gd name="connsiteX119" fmla="*/ 3766232 w 3766232"/>
              <a:gd name="connsiteY119" fmla="*/ 944470 h 1728075"/>
              <a:gd name="connsiteX0" fmla="*/ 0 w 3726352"/>
              <a:gd name="connsiteY0" fmla="*/ 1676800 h 1676800"/>
              <a:gd name="connsiteX1" fmla="*/ 41305 w 3726352"/>
              <a:gd name="connsiteY1" fmla="*/ 1661552 h 1676800"/>
              <a:gd name="connsiteX2" fmla="*/ 39993 w 3726352"/>
              <a:gd name="connsiteY2" fmla="*/ 1631153 h 1676800"/>
              <a:gd name="connsiteX3" fmla="*/ 60440 w 3726352"/>
              <a:gd name="connsiteY3" fmla="*/ 1603271 h 1676800"/>
              <a:gd name="connsiteX4" fmla="*/ 82869 w 3726352"/>
              <a:gd name="connsiteY4" fmla="*/ 1583314 h 1676800"/>
              <a:gd name="connsiteX5" fmla="*/ 107318 w 3726352"/>
              <a:gd name="connsiteY5" fmla="*/ 1563755 h 1676800"/>
              <a:gd name="connsiteX6" fmla="*/ 148881 w 3726352"/>
              <a:gd name="connsiteY6" fmla="*/ 1507522 h 1676800"/>
              <a:gd name="connsiteX7" fmla="*/ 175776 w 3726352"/>
              <a:gd name="connsiteY7" fmla="*/ 1443954 h 1676800"/>
              <a:gd name="connsiteX8" fmla="*/ 229564 w 3726352"/>
              <a:gd name="connsiteY8" fmla="*/ 1434174 h 1676800"/>
              <a:gd name="connsiteX9" fmla="*/ 290687 w 3726352"/>
              <a:gd name="connsiteY9" fmla="*/ 1436619 h 1676800"/>
              <a:gd name="connsiteX10" fmla="*/ 327361 w 3726352"/>
              <a:gd name="connsiteY10" fmla="*/ 1412170 h 1676800"/>
              <a:gd name="connsiteX11" fmla="*/ 356700 w 3726352"/>
              <a:gd name="connsiteY11" fmla="*/ 1373051 h 1676800"/>
              <a:gd name="connsiteX12" fmla="*/ 400708 w 3726352"/>
              <a:gd name="connsiteY12" fmla="*/ 1365716 h 1676800"/>
              <a:gd name="connsiteX13" fmla="*/ 425157 w 3726352"/>
              <a:gd name="connsiteY13" fmla="*/ 1346157 h 1676800"/>
              <a:gd name="connsiteX14" fmla="*/ 444717 w 3726352"/>
              <a:gd name="connsiteY14" fmla="*/ 1309483 h 1676800"/>
              <a:gd name="connsiteX15" fmla="*/ 493615 w 3726352"/>
              <a:gd name="connsiteY15" fmla="*/ 1299704 h 1676800"/>
              <a:gd name="connsiteX16" fmla="*/ 541368 w 3726352"/>
              <a:gd name="connsiteY16" fmla="*/ 1304925 h 1676800"/>
              <a:gd name="connsiteX17" fmla="*/ 581849 w 3726352"/>
              <a:gd name="connsiteY17" fmla="*/ 1259681 h 1676800"/>
              <a:gd name="connsiteX18" fmla="*/ 612805 w 3726352"/>
              <a:gd name="connsiteY18" fmla="*/ 1247775 h 1676800"/>
              <a:gd name="connsiteX19" fmla="*/ 662811 w 3726352"/>
              <a:gd name="connsiteY19" fmla="*/ 1257300 h 1676800"/>
              <a:gd name="connsiteX20" fmla="*/ 710436 w 3726352"/>
              <a:gd name="connsiteY20" fmla="*/ 1207293 h 1676800"/>
              <a:gd name="connsiteX21" fmla="*/ 758061 w 3726352"/>
              <a:gd name="connsiteY21" fmla="*/ 1214437 h 1676800"/>
              <a:gd name="connsiteX22" fmla="*/ 779493 w 3726352"/>
              <a:gd name="connsiteY22" fmla="*/ 1214437 h 1676800"/>
              <a:gd name="connsiteX23" fmla="*/ 815211 w 3726352"/>
              <a:gd name="connsiteY23" fmla="*/ 1195387 h 1676800"/>
              <a:gd name="connsiteX24" fmla="*/ 839024 w 3726352"/>
              <a:gd name="connsiteY24" fmla="*/ 1157287 h 1676800"/>
              <a:gd name="connsiteX25" fmla="*/ 884268 w 3726352"/>
              <a:gd name="connsiteY25" fmla="*/ 1157287 h 1676800"/>
              <a:gd name="connsiteX26" fmla="*/ 910461 w 3726352"/>
              <a:gd name="connsiteY26" fmla="*/ 1119187 h 1676800"/>
              <a:gd name="connsiteX27" fmla="*/ 936655 w 3726352"/>
              <a:gd name="connsiteY27" fmla="*/ 1100137 h 1676800"/>
              <a:gd name="connsiteX28" fmla="*/ 955705 w 3726352"/>
              <a:gd name="connsiteY28" fmla="*/ 1071562 h 1676800"/>
              <a:gd name="connsiteX29" fmla="*/ 1000949 w 3726352"/>
              <a:gd name="connsiteY29" fmla="*/ 1064418 h 1676800"/>
              <a:gd name="connsiteX30" fmla="*/ 1012855 w 3726352"/>
              <a:gd name="connsiteY30" fmla="*/ 1031081 h 1676800"/>
              <a:gd name="connsiteX31" fmla="*/ 1048574 w 3726352"/>
              <a:gd name="connsiteY31" fmla="*/ 1012031 h 1676800"/>
              <a:gd name="connsiteX32" fmla="*/ 1070005 w 3726352"/>
              <a:gd name="connsiteY32" fmla="*/ 988218 h 1676800"/>
              <a:gd name="connsiteX33" fmla="*/ 1150968 w 3726352"/>
              <a:gd name="connsiteY33" fmla="*/ 966787 h 1676800"/>
              <a:gd name="connsiteX34" fmla="*/ 1165255 w 3726352"/>
              <a:gd name="connsiteY34" fmla="*/ 952500 h 1676800"/>
              <a:gd name="connsiteX35" fmla="*/ 1174780 w 3726352"/>
              <a:gd name="connsiteY35" fmla="*/ 919162 h 1676800"/>
              <a:gd name="connsiteX36" fmla="*/ 1255743 w 3726352"/>
              <a:gd name="connsiteY36" fmla="*/ 878681 h 1676800"/>
              <a:gd name="connsiteX37" fmla="*/ 1274793 w 3726352"/>
              <a:gd name="connsiteY37" fmla="*/ 873918 h 1676800"/>
              <a:gd name="connsiteX38" fmla="*/ 1334324 w 3726352"/>
              <a:gd name="connsiteY38" fmla="*/ 809625 h 1676800"/>
              <a:gd name="connsiteX39" fmla="*/ 1339086 w 3726352"/>
              <a:gd name="connsiteY39" fmla="*/ 759618 h 1676800"/>
              <a:gd name="connsiteX40" fmla="*/ 1365280 w 3726352"/>
              <a:gd name="connsiteY40" fmla="*/ 733425 h 1676800"/>
              <a:gd name="connsiteX41" fmla="*/ 1391474 w 3726352"/>
              <a:gd name="connsiteY41" fmla="*/ 728662 h 1676800"/>
              <a:gd name="connsiteX42" fmla="*/ 1453386 w 3726352"/>
              <a:gd name="connsiteY42" fmla="*/ 683418 h 1676800"/>
              <a:gd name="connsiteX43" fmla="*/ 1539111 w 3726352"/>
              <a:gd name="connsiteY43" fmla="*/ 640556 h 1676800"/>
              <a:gd name="connsiteX44" fmla="*/ 1574830 w 3726352"/>
              <a:gd name="connsiteY44" fmla="*/ 600075 h 1676800"/>
              <a:gd name="connsiteX45" fmla="*/ 1603405 w 3726352"/>
              <a:gd name="connsiteY45" fmla="*/ 585787 h 1676800"/>
              <a:gd name="connsiteX46" fmla="*/ 1610549 w 3726352"/>
              <a:gd name="connsiteY46" fmla="*/ 519112 h 1676800"/>
              <a:gd name="connsiteX47" fmla="*/ 1627218 w 3726352"/>
              <a:gd name="connsiteY47" fmla="*/ 473868 h 1676800"/>
              <a:gd name="connsiteX48" fmla="*/ 1612930 w 3726352"/>
              <a:gd name="connsiteY48" fmla="*/ 433387 h 1676800"/>
              <a:gd name="connsiteX49" fmla="*/ 1617693 w 3726352"/>
              <a:gd name="connsiteY49" fmla="*/ 347662 h 1676800"/>
              <a:gd name="connsiteX50" fmla="*/ 1612930 w 3726352"/>
              <a:gd name="connsiteY50" fmla="*/ 307181 h 1676800"/>
              <a:gd name="connsiteX51" fmla="*/ 1612930 w 3726352"/>
              <a:gd name="connsiteY51" fmla="*/ 264318 h 1676800"/>
              <a:gd name="connsiteX52" fmla="*/ 1639124 w 3726352"/>
              <a:gd name="connsiteY52" fmla="*/ 254793 h 1676800"/>
              <a:gd name="connsiteX53" fmla="*/ 1660555 w 3726352"/>
              <a:gd name="connsiteY53" fmla="*/ 271462 h 1676800"/>
              <a:gd name="connsiteX54" fmla="*/ 1674843 w 3726352"/>
              <a:gd name="connsiteY54" fmla="*/ 297656 h 1676800"/>
              <a:gd name="connsiteX55" fmla="*/ 1703418 w 3726352"/>
              <a:gd name="connsiteY55" fmla="*/ 300037 h 1676800"/>
              <a:gd name="connsiteX56" fmla="*/ 1724849 w 3726352"/>
              <a:gd name="connsiteY56" fmla="*/ 278606 h 1676800"/>
              <a:gd name="connsiteX57" fmla="*/ 1810574 w 3726352"/>
              <a:gd name="connsiteY57" fmla="*/ 280987 h 1676800"/>
              <a:gd name="connsiteX58" fmla="*/ 1862961 w 3726352"/>
              <a:gd name="connsiteY58" fmla="*/ 290512 h 1676800"/>
              <a:gd name="connsiteX59" fmla="*/ 1910586 w 3726352"/>
              <a:gd name="connsiteY59" fmla="*/ 266700 h 1676800"/>
              <a:gd name="connsiteX60" fmla="*/ 1922493 w 3726352"/>
              <a:gd name="connsiteY60" fmla="*/ 233362 h 1676800"/>
              <a:gd name="connsiteX61" fmla="*/ 1962974 w 3726352"/>
              <a:gd name="connsiteY61" fmla="*/ 200025 h 1676800"/>
              <a:gd name="connsiteX62" fmla="*/ 1953449 w 3726352"/>
              <a:gd name="connsiteY62" fmla="*/ 173831 h 1676800"/>
              <a:gd name="connsiteX63" fmla="*/ 1970118 w 3726352"/>
              <a:gd name="connsiteY63" fmla="*/ 147637 h 1676800"/>
              <a:gd name="connsiteX64" fmla="*/ 2024886 w 3726352"/>
              <a:gd name="connsiteY64" fmla="*/ 169068 h 1676800"/>
              <a:gd name="connsiteX65" fmla="*/ 2072511 w 3726352"/>
              <a:gd name="connsiteY65" fmla="*/ 173831 h 1676800"/>
              <a:gd name="connsiteX66" fmla="*/ 2108230 w 3726352"/>
              <a:gd name="connsiteY66" fmla="*/ 209550 h 1676800"/>
              <a:gd name="connsiteX67" fmla="*/ 2136805 w 3726352"/>
              <a:gd name="connsiteY67" fmla="*/ 223837 h 1676800"/>
              <a:gd name="connsiteX68" fmla="*/ 2155855 w 3726352"/>
              <a:gd name="connsiteY68" fmla="*/ 280987 h 1676800"/>
              <a:gd name="connsiteX69" fmla="*/ 2224911 w 3726352"/>
              <a:gd name="connsiteY69" fmla="*/ 316706 h 1676800"/>
              <a:gd name="connsiteX70" fmla="*/ 2293968 w 3726352"/>
              <a:gd name="connsiteY70" fmla="*/ 307181 h 1676800"/>
              <a:gd name="connsiteX71" fmla="*/ 2341593 w 3726352"/>
              <a:gd name="connsiteY71" fmla="*/ 295275 h 1676800"/>
              <a:gd name="connsiteX72" fmla="*/ 2379693 w 3726352"/>
              <a:gd name="connsiteY72" fmla="*/ 307181 h 1676800"/>
              <a:gd name="connsiteX73" fmla="*/ 2429699 w 3726352"/>
              <a:gd name="connsiteY73" fmla="*/ 304800 h 1676800"/>
              <a:gd name="connsiteX74" fmla="*/ 2474943 w 3726352"/>
              <a:gd name="connsiteY74" fmla="*/ 316706 h 1676800"/>
              <a:gd name="connsiteX75" fmla="*/ 2520186 w 3726352"/>
              <a:gd name="connsiteY75" fmla="*/ 302418 h 1676800"/>
              <a:gd name="connsiteX76" fmla="*/ 2541618 w 3726352"/>
              <a:gd name="connsiteY76" fmla="*/ 276225 h 1676800"/>
              <a:gd name="connsiteX77" fmla="*/ 2620199 w 3726352"/>
              <a:gd name="connsiteY77" fmla="*/ 297656 h 1676800"/>
              <a:gd name="connsiteX78" fmla="*/ 2660680 w 3726352"/>
              <a:gd name="connsiteY78" fmla="*/ 283368 h 1676800"/>
              <a:gd name="connsiteX79" fmla="*/ 2667824 w 3726352"/>
              <a:gd name="connsiteY79" fmla="*/ 242887 h 1676800"/>
              <a:gd name="connsiteX80" fmla="*/ 2639249 w 3726352"/>
              <a:gd name="connsiteY80" fmla="*/ 195262 h 1676800"/>
              <a:gd name="connsiteX81" fmla="*/ 2622580 w 3726352"/>
              <a:gd name="connsiteY81" fmla="*/ 135731 h 1676800"/>
              <a:gd name="connsiteX82" fmla="*/ 2589243 w 3726352"/>
              <a:gd name="connsiteY82" fmla="*/ 102393 h 1676800"/>
              <a:gd name="connsiteX83" fmla="*/ 2565430 w 3726352"/>
              <a:gd name="connsiteY83" fmla="*/ 59531 h 1676800"/>
              <a:gd name="connsiteX84" fmla="*/ 2574955 w 3726352"/>
              <a:gd name="connsiteY84" fmla="*/ 38100 h 1676800"/>
              <a:gd name="connsiteX85" fmla="*/ 2610674 w 3726352"/>
              <a:gd name="connsiteY85" fmla="*/ 0 h 1676800"/>
              <a:gd name="connsiteX86" fmla="*/ 2629724 w 3726352"/>
              <a:gd name="connsiteY86" fmla="*/ 16668 h 1676800"/>
              <a:gd name="connsiteX87" fmla="*/ 2710686 w 3726352"/>
              <a:gd name="connsiteY87" fmla="*/ 30956 h 1676800"/>
              <a:gd name="connsiteX88" fmla="*/ 2794030 w 3726352"/>
              <a:gd name="connsiteY88" fmla="*/ 47625 h 1676800"/>
              <a:gd name="connsiteX89" fmla="*/ 2844036 w 3726352"/>
              <a:gd name="connsiteY89" fmla="*/ 66675 h 1676800"/>
              <a:gd name="connsiteX90" fmla="*/ 2894043 w 3726352"/>
              <a:gd name="connsiteY90" fmla="*/ 61912 h 1676800"/>
              <a:gd name="connsiteX91" fmla="*/ 2941668 w 3726352"/>
              <a:gd name="connsiteY91" fmla="*/ 92868 h 1676800"/>
              <a:gd name="connsiteX92" fmla="*/ 2984530 w 3726352"/>
              <a:gd name="connsiteY92" fmla="*/ 119062 h 1676800"/>
              <a:gd name="connsiteX93" fmla="*/ 3005961 w 3726352"/>
              <a:gd name="connsiteY93" fmla="*/ 150018 h 1676800"/>
              <a:gd name="connsiteX94" fmla="*/ 3055968 w 3726352"/>
              <a:gd name="connsiteY94" fmla="*/ 157162 h 1676800"/>
              <a:gd name="connsiteX95" fmla="*/ 3082161 w 3726352"/>
              <a:gd name="connsiteY95" fmla="*/ 202406 h 1676800"/>
              <a:gd name="connsiteX96" fmla="*/ 3108355 w 3726352"/>
              <a:gd name="connsiteY96" fmla="*/ 233362 h 1676800"/>
              <a:gd name="connsiteX97" fmla="*/ 3125024 w 3726352"/>
              <a:gd name="connsiteY97" fmla="*/ 278606 h 1676800"/>
              <a:gd name="connsiteX98" fmla="*/ 3184555 w 3726352"/>
              <a:gd name="connsiteY98" fmla="*/ 295275 h 1676800"/>
              <a:gd name="connsiteX99" fmla="*/ 3213130 w 3726352"/>
              <a:gd name="connsiteY99" fmla="*/ 326231 h 1676800"/>
              <a:gd name="connsiteX100" fmla="*/ 3234561 w 3726352"/>
              <a:gd name="connsiteY100" fmla="*/ 335756 h 1676800"/>
              <a:gd name="connsiteX101" fmla="*/ 3246468 w 3726352"/>
              <a:gd name="connsiteY101" fmla="*/ 376237 h 1676800"/>
              <a:gd name="connsiteX102" fmla="*/ 3277424 w 3726352"/>
              <a:gd name="connsiteY102" fmla="*/ 383381 h 1676800"/>
              <a:gd name="connsiteX103" fmla="*/ 3315524 w 3726352"/>
              <a:gd name="connsiteY103" fmla="*/ 447675 h 1676800"/>
              <a:gd name="connsiteX104" fmla="*/ 3310761 w 3726352"/>
              <a:gd name="connsiteY104" fmla="*/ 502443 h 1676800"/>
              <a:gd name="connsiteX105" fmla="*/ 3298855 w 3726352"/>
              <a:gd name="connsiteY105" fmla="*/ 531018 h 1676800"/>
              <a:gd name="connsiteX106" fmla="*/ 3339336 w 3726352"/>
              <a:gd name="connsiteY106" fmla="*/ 564356 h 1676800"/>
              <a:gd name="connsiteX107" fmla="*/ 3336955 w 3726352"/>
              <a:gd name="connsiteY107" fmla="*/ 647700 h 1676800"/>
              <a:gd name="connsiteX108" fmla="*/ 3317905 w 3726352"/>
              <a:gd name="connsiteY108" fmla="*/ 664368 h 1676800"/>
              <a:gd name="connsiteX109" fmla="*/ 3301236 w 3726352"/>
              <a:gd name="connsiteY109" fmla="*/ 738187 h 1676800"/>
              <a:gd name="connsiteX110" fmla="*/ 3322668 w 3726352"/>
              <a:gd name="connsiteY110" fmla="*/ 773906 h 1676800"/>
              <a:gd name="connsiteX111" fmla="*/ 3377436 w 3726352"/>
              <a:gd name="connsiteY111" fmla="*/ 797718 h 1676800"/>
              <a:gd name="connsiteX112" fmla="*/ 3415536 w 3726352"/>
              <a:gd name="connsiteY112" fmla="*/ 778668 h 1676800"/>
              <a:gd name="connsiteX113" fmla="*/ 3458399 w 3726352"/>
              <a:gd name="connsiteY113" fmla="*/ 797718 h 1676800"/>
              <a:gd name="connsiteX114" fmla="*/ 3494118 w 3726352"/>
              <a:gd name="connsiteY114" fmla="*/ 783431 h 1676800"/>
              <a:gd name="connsiteX115" fmla="*/ 3532218 w 3726352"/>
              <a:gd name="connsiteY115" fmla="*/ 826293 h 1676800"/>
              <a:gd name="connsiteX116" fmla="*/ 3610799 w 3726352"/>
              <a:gd name="connsiteY116" fmla="*/ 902493 h 1676800"/>
              <a:gd name="connsiteX117" fmla="*/ 3679855 w 3726352"/>
              <a:gd name="connsiteY117" fmla="*/ 916781 h 1676800"/>
              <a:gd name="connsiteX118" fmla="*/ 3726352 w 3726352"/>
              <a:gd name="connsiteY118" fmla="*/ 944470 h 1676800"/>
              <a:gd name="connsiteX0" fmla="*/ 1312 w 3686359"/>
              <a:gd name="connsiteY0" fmla="*/ 1661552 h 1661552"/>
              <a:gd name="connsiteX1" fmla="*/ 0 w 3686359"/>
              <a:gd name="connsiteY1" fmla="*/ 1631153 h 1661552"/>
              <a:gd name="connsiteX2" fmla="*/ 20447 w 3686359"/>
              <a:gd name="connsiteY2" fmla="*/ 1603271 h 1661552"/>
              <a:gd name="connsiteX3" fmla="*/ 42876 w 3686359"/>
              <a:gd name="connsiteY3" fmla="*/ 1583314 h 1661552"/>
              <a:gd name="connsiteX4" fmla="*/ 67325 w 3686359"/>
              <a:gd name="connsiteY4" fmla="*/ 1563755 h 1661552"/>
              <a:gd name="connsiteX5" fmla="*/ 108888 w 3686359"/>
              <a:gd name="connsiteY5" fmla="*/ 1507522 h 1661552"/>
              <a:gd name="connsiteX6" fmla="*/ 135783 w 3686359"/>
              <a:gd name="connsiteY6" fmla="*/ 1443954 h 1661552"/>
              <a:gd name="connsiteX7" fmla="*/ 189571 w 3686359"/>
              <a:gd name="connsiteY7" fmla="*/ 1434174 h 1661552"/>
              <a:gd name="connsiteX8" fmla="*/ 250694 w 3686359"/>
              <a:gd name="connsiteY8" fmla="*/ 1436619 h 1661552"/>
              <a:gd name="connsiteX9" fmla="*/ 287368 w 3686359"/>
              <a:gd name="connsiteY9" fmla="*/ 1412170 h 1661552"/>
              <a:gd name="connsiteX10" fmla="*/ 316707 w 3686359"/>
              <a:gd name="connsiteY10" fmla="*/ 1373051 h 1661552"/>
              <a:gd name="connsiteX11" fmla="*/ 360715 w 3686359"/>
              <a:gd name="connsiteY11" fmla="*/ 1365716 h 1661552"/>
              <a:gd name="connsiteX12" fmla="*/ 385164 w 3686359"/>
              <a:gd name="connsiteY12" fmla="*/ 1346157 h 1661552"/>
              <a:gd name="connsiteX13" fmla="*/ 404724 w 3686359"/>
              <a:gd name="connsiteY13" fmla="*/ 1309483 h 1661552"/>
              <a:gd name="connsiteX14" fmla="*/ 453622 w 3686359"/>
              <a:gd name="connsiteY14" fmla="*/ 1299704 h 1661552"/>
              <a:gd name="connsiteX15" fmla="*/ 501375 w 3686359"/>
              <a:gd name="connsiteY15" fmla="*/ 1304925 h 1661552"/>
              <a:gd name="connsiteX16" fmla="*/ 541856 w 3686359"/>
              <a:gd name="connsiteY16" fmla="*/ 1259681 h 1661552"/>
              <a:gd name="connsiteX17" fmla="*/ 572812 w 3686359"/>
              <a:gd name="connsiteY17" fmla="*/ 1247775 h 1661552"/>
              <a:gd name="connsiteX18" fmla="*/ 622818 w 3686359"/>
              <a:gd name="connsiteY18" fmla="*/ 1257300 h 1661552"/>
              <a:gd name="connsiteX19" fmla="*/ 670443 w 3686359"/>
              <a:gd name="connsiteY19" fmla="*/ 1207293 h 1661552"/>
              <a:gd name="connsiteX20" fmla="*/ 718068 w 3686359"/>
              <a:gd name="connsiteY20" fmla="*/ 1214437 h 1661552"/>
              <a:gd name="connsiteX21" fmla="*/ 739500 w 3686359"/>
              <a:gd name="connsiteY21" fmla="*/ 1214437 h 1661552"/>
              <a:gd name="connsiteX22" fmla="*/ 775218 w 3686359"/>
              <a:gd name="connsiteY22" fmla="*/ 1195387 h 1661552"/>
              <a:gd name="connsiteX23" fmla="*/ 799031 w 3686359"/>
              <a:gd name="connsiteY23" fmla="*/ 1157287 h 1661552"/>
              <a:gd name="connsiteX24" fmla="*/ 844275 w 3686359"/>
              <a:gd name="connsiteY24" fmla="*/ 1157287 h 1661552"/>
              <a:gd name="connsiteX25" fmla="*/ 870468 w 3686359"/>
              <a:gd name="connsiteY25" fmla="*/ 1119187 h 1661552"/>
              <a:gd name="connsiteX26" fmla="*/ 896662 w 3686359"/>
              <a:gd name="connsiteY26" fmla="*/ 1100137 h 1661552"/>
              <a:gd name="connsiteX27" fmla="*/ 915712 w 3686359"/>
              <a:gd name="connsiteY27" fmla="*/ 1071562 h 1661552"/>
              <a:gd name="connsiteX28" fmla="*/ 960956 w 3686359"/>
              <a:gd name="connsiteY28" fmla="*/ 1064418 h 1661552"/>
              <a:gd name="connsiteX29" fmla="*/ 972862 w 3686359"/>
              <a:gd name="connsiteY29" fmla="*/ 1031081 h 1661552"/>
              <a:gd name="connsiteX30" fmla="*/ 1008581 w 3686359"/>
              <a:gd name="connsiteY30" fmla="*/ 1012031 h 1661552"/>
              <a:gd name="connsiteX31" fmla="*/ 1030012 w 3686359"/>
              <a:gd name="connsiteY31" fmla="*/ 988218 h 1661552"/>
              <a:gd name="connsiteX32" fmla="*/ 1110975 w 3686359"/>
              <a:gd name="connsiteY32" fmla="*/ 966787 h 1661552"/>
              <a:gd name="connsiteX33" fmla="*/ 1125262 w 3686359"/>
              <a:gd name="connsiteY33" fmla="*/ 952500 h 1661552"/>
              <a:gd name="connsiteX34" fmla="*/ 1134787 w 3686359"/>
              <a:gd name="connsiteY34" fmla="*/ 919162 h 1661552"/>
              <a:gd name="connsiteX35" fmla="*/ 1215750 w 3686359"/>
              <a:gd name="connsiteY35" fmla="*/ 878681 h 1661552"/>
              <a:gd name="connsiteX36" fmla="*/ 1234800 w 3686359"/>
              <a:gd name="connsiteY36" fmla="*/ 873918 h 1661552"/>
              <a:gd name="connsiteX37" fmla="*/ 1294331 w 3686359"/>
              <a:gd name="connsiteY37" fmla="*/ 809625 h 1661552"/>
              <a:gd name="connsiteX38" fmla="*/ 1299093 w 3686359"/>
              <a:gd name="connsiteY38" fmla="*/ 759618 h 1661552"/>
              <a:gd name="connsiteX39" fmla="*/ 1325287 w 3686359"/>
              <a:gd name="connsiteY39" fmla="*/ 733425 h 1661552"/>
              <a:gd name="connsiteX40" fmla="*/ 1351481 w 3686359"/>
              <a:gd name="connsiteY40" fmla="*/ 728662 h 1661552"/>
              <a:gd name="connsiteX41" fmla="*/ 1413393 w 3686359"/>
              <a:gd name="connsiteY41" fmla="*/ 683418 h 1661552"/>
              <a:gd name="connsiteX42" fmla="*/ 1499118 w 3686359"/>
              <a:gd name="connsiteY42" fmla="*/ 640556 h 1661552"/>
              <a:gd name="connsiteX43" fmla="*/ 1534837 w 3686359"/>
              <a:gd name="connsiteY43" fmla="*/ 600075 h 1661552"/>
              <a:gd name="connsiteX44" fmla="*/ 1563412 w 3686359"/>
              <a:gd name="connsiteY44" fmla="*/ 585787 h 1661552"/>
              <a:gd name="connsiteX45" fmla="*/ 1570556 w 3686359"/>
              <a:gd name="connsiteY45" fmla="*/ 519112 h 1661552"/>
              <a:gd name="connsiteX46" fmla="*/ 1587225 w 3686359"/>
              <a:gd name="connsiteY46" fmla="*/ 473868 h 1661552"/>
              <a:gd name="connsiteX47" fmla="*/ 1572937 w 3686359"/>
              <a:gd name="connsiteY47" fmla="*/ 433387 h 1661552"/>
              <a:gd name="connsiteX48" fmla="*/ 1577700 w 3686359"/>
              <a:gd name="connsiteY48" fmla="*/ 347662 h 1661552"/>
              <a:gd name="connsiteX49" fmla="*/ 1572937 w 3686359"/>
              <a:gd name="connsiteY49" fmla="*/ 307181 h 1661552"/>
              <a:gd name="connsiteX50" fmla="*/ 1572937 w 3686359"/>
              <a:gd name="connsiteY50" fmla="*/ 264318 h 1661552"/>
              <a:gd name="connsiteX51" fmla="*/ 1599131 w 3686359"/>
              <a:gd name="connsiteY51" fmla="*/ 254793 h 1661552"/>
              <a:gd name="connsiteX52" fmla="*/ 1620562 w 3686359"/>
              <a:gd name="connsiteY52" fmla="*/ 271462 h 1661552"/>
              <a:gd name="connsiteX53" fmla="*/ 1634850 w 3686359"/>
              <a:gd name="connsiteY53" fmla="*/ 297656 h 1661552"/>
              <a:gd name="connsiteX54" fmla="*/ 1663425 w 3686359"/>
              <a:gd name="connsiteY54" fmla="*/ 300037 h 1661552"/>
              <a:gd name="connsiteX55" fmla="*/ 1684856 w 3686359"/>
              <a:gd name="connsiteY55" fmla="*/ 278606 h 1661552"/>
              <a:gd name="connsiteX56" fmla="*/ 1770581 w 3686359"/>
              <a:gd name="connsiteY56" fmla="*/ 280987 h 1661552"/>
              <a:gd name="connsiteX57" fmla="*/ 1822968 w 3686359"/>
              <a:gd name="connsiteY57" fmla="*/ 290512 h 1661552"/>
              <a:gd name="connsiteX58" fmla="*/ 1870593 w 3686359"/>
              <a:gd name="connsiteY58" fmla="*/ 266700 h 1661552"/>
              <a:gd name="connsiteX59" fmla="*/ 1882500 w 3686359"/>
              <a:gd name="connsiteY59" fmla="*/ 233362 h 1661552"/>
              <a:gd name="connsiteX60" fmla="*/ 1922981 w 3686359"/>
              <a:gd name="connsiteY60" fmla="*/ 200025 h 1661552"/>
              <a:gd name="connsiteX61" fmla="*/ 1913456 w 3686359"/>
              <a:gd name="connsiteY61" fmla="*/ 173831 h 1661552"/>
              <a:gd name="connsiteX62" fmla="*/ 1930125 w 3686359"/>
              <a:gd name="connsiteY62" fmla="*/ 147637 h 1661552"/>
              <a:gd name="connsiteX63" fmla="*/ 1984893 w 3686359"/>
              <a:gd name="connsiteY63" fmla="*/ 169068 h 1661552"/>
              <a:gd name="connsiteX64" fmla="*/ 2032518 w 3686359"/>
              <a:gd name="connsiteY64" fmla="*/ 173831 h 1661552"/>
              <a:gd name="connsiteX65" fmla="*/ 2068237 w 3686359"/>
              <a:gd name="connsiteY65" fmla="*/ 209550 h 1661552"/>
              <a:gd name="connsiteX66" fmla="*/ 2096812 w 3686359"/>
              <a:gd name="connsiteY66" fmla="*/ 223837 h 1661552"/>
              <a:gd name="connsiteX67" fmla="*/ 2115862 w 3686359"/>
              <a:gd name="connsiteY67" fmla="*/ 280987 h 1661552"/>
              <a:gd name="connsiteX68" fmla="*/ 2184918 w 3686359"/>
              <a:gd name="connsiteY68" fmla="*/ 316706 h 1661552"/>
              <a:gd name="connsiteX69" fmla="*/ 2253975 w 3686359"/>
              <a:gd name="connsiteY69" fmla="*/ 307181 h 1661552"/>
              <a:gd name="connsiteX70" fmla="*/ 2301600 w 3686359"/>
              <a:gd name="connsiteY70" fmla="*/ 295275 h 1661552"/>
              <a:gd name="connsiteX71" fmla="*/ 2339700 w 3686359"/>
              <a:gd name="connsiteY71" fmla="*/ 307181 h 1661552"/>
              <a:gd name="connsiteX72" fmla="*/ 2389706 w 3686359"/>
              <a:gd name="connsiteY72" fmla="*/ 304800 h 1661552"/>
              <a:gd name="connsiteX73" fmla="*/ 2434950 w 3686359"/>
              <a:gd name="connsiteY73" fmla="*/ 316706 h 1661552"/>
              <a:gd name="connsiteX74" fmla="*/ 2480193 w 3686359"/>
              <a:gd name="connsiteY74" fmla="*/ 302418 h 1661552"/>
              <a:gd name="connsiteX75" fmla="*/ 2501625 w 3686359"/>
              <a:gd name="connsiteY75" fmla="*/ 276225 h 1661552"/>
              <a:gd name="connsiteX76" fmla="*/ 2580206 w 3686359"/>
              <a:gd name="connsiteY76" fmla="*/ 297656 h 1661552"/>
              <a:gd name="connsiteX77" fmla="*/ 2620687 w 3686359"/>
              <a:gd name="connsiteY77" fmla="*/ 283368 h 1661552"/>
              <a:gd name="connsiteX78" fmla="*/ 2627831 w 3686359"/>
              <a:gd name="connsiteY78" fmla="*/ 242887 h 1661552"/>
              <a:gd name="connsiteX79" fmla="*/ 2599256 w 3686359"/>
              <a:gd name="connsiteY79" fmla="*/ 195262 h 1661552"/>
              <a:gd name="connsiteX80" fmla="*/ 2582587 w 3686359"/>
              <a:gd name="connsiteY80" fmla="*/ 135731 h 1661552"/>
              <a:gd name="connsiteX81" fmla="*/ 2549250 w 3686359"/>
              <a:gd name="connsiteY81" fmla="*/ 102393 h 1661552"/>
              <a:gd name="connsiteX82" fmla="*/ 2525437 w 3686359"/>
              <a:gd name="connsiteY82" fmla="*/ 59531 h 1661552"/>
              <a:gd name="connsiteX83" fmla="*/ 2534962 w 3686359"/>
              <a:gd name="connsiteY83" fmla="*/ 38100 h 1661552"/>
              <a:gd name="connsiteX84" fmla="*/ 2570681 w 3686359"/>
              <a:gd name="connsiteY84" fmla="*/ 0 h 1661552"/>
              <a:gd name="connsiteX85" fmla="*/ 2589731 w 3686359"/>
              <a:gd name="connsiteY85" fmla="*/ 16668 h 1661552"/>
              <a:gd name="connsiteX86" fmla="*/ 2670693 w 3686359"/>
              <a:gd name="connsiteY86" fmla="*/ 30956 h 1661552"/>
              <a:gd name="connsiteX87" fmla="*/ 2754037 w 3686359"/>
              <a:gd name="connsiteY87" fmla="*/ 47625 h 1661552"/>
              <a:gd name="connsiteX88" fmla="*/ 2804043 w 3686359"/>
              <a:gd name="connsiteY88" fmla="*/ 66675 h 1661552"/>
              <a:gd name="connsiteX89" fmla="*/ 2854050 w 3686359"/>
              <a:gd name="connsiteY89" fmla="*/ 61912 h 1661552"/>
              <a:gd name="connsiteX90" fmla="*/ 2901675 w 3686359"/>
              <a:gd name="connsiteY90" fmla="*/ 92868 h 1661552"/>
              <a:gd name="connsiteX91" fmla="*/ 2944537 w 3686359"/>
              <a:gd name="connsiteY91" fmla="*/ 119062 h 1661552"/>
              <a:gd name="connsiteX92" fmla="*/ 2965968 w 3686359"/>
              <a:gd name="connsiteY92" fmla="*/ 150018 h 1661552"/>
              <a:gd name="connsiteX93" fmla="*/ 3015975 w 3686359"/>
              <a:gd name="connsiteY93" fmla="*/ 157162 h 1661552"/>
              <a:gd name="connsiteX94" fmla="*/ 3042168 w 3686359"/>
              <a:gd name="connsiteY94" fmla="*/ 202406 h 1661552"/>
              <a:gd name="connsiteX95" fmla="*/ 3068362 w 3686359"/>
              <a:gd name="connsiteY95" fmla="*/ 233362 h 1661552"/>
              <a:gd name="connsiteX96" fmla="*/ 3085031 w 3686359"/>
              <a:gd name="connsiteY96" fmla="*/ 278606 h 1661552"/>
              <a:gd name="connsiteX97" fmla="*/ 3144562 w 3686359"/>
              <a:gd name="connsiteY97" fmla="*/ 295275 h 1661552"/>
              <a:gd name="connsiteX98" fmla="*/ 3173137 w 3686359"/>
              <a:gd name="connsiteY98" fmla="*/ 326231 h 1661552"/>
              <a:gd name="connsiteX99" fmla="*/ 3194568 w 3686359"/>
              <a:gd name="connsiteY99" fmla="*/ 335756 h 1661552"/>
              <a:gd name="connsiteX100" fmla="*/ 3206475 w 3686359"/>
              <a:gd name="connsiteY100" fmla="*/ 376237 h 1661552"/>
              <a:gd name="connsiteX101" fmla="*/ 3237431 w 3686359"/>
              <a:gd name="connsiteY101" fmla="*/ 383381 h 1661552"/>
              <a:gd name="connsiteX102" fmla="*/ 3275531 w 3686359"/>
              <a:gd name="connsiteY102" fmla="*/ 447675 h 1661552"/>
              <a:gd name="connsiteX103" fmla="*/ 3270768 w 3686359"/>
              <a:gd name="connsiteY103" fmla="*/ 502443 h 1661552"/>
              <a:gd name="connsiteX104" fmla="*/ 3258862 w 3686359"/>
              <a:gd name="connsiteY104" fmla="*/ 531018 h 1661552"/>
              <a:gd name="connsiteX105" fmla="*/ 3299343 w 3686359"/>
              <a:gd name="connsiteY105" fmla="*/ 564356 h 1661552"/>
              <a:gd name="connsiteX106" fmla="*/ 3296962 w 3686359"/>
              <a:gd name="connsiteY106" fmla="*/ 647700 h 1661552"/>
              <a:gd name="connsiteX107" fmla="*/ 3277912 w 3686359"/>
              <a:gd name="connsiteY107" fmla="*/ 664368 h 1661552"/>
              <a:gd name="connsiteX108" fmla="*/ 3261243 w 3686359"/>
              <a:gd name="connsiteY108" fmla="*/ 738187 h 1661552"/>
              <a:gd name="connsiteX109" fmla="*/ 3282675 w 3686359"/>
              <a:gd name="connsiteY109" fmla="*/ 773906 h 1661552"/>
              <a:gd name="connsiteX110" fmla="*/ 3337443 w 3686359"/>
              <a:gd name="connsiteY110" fmla="*/ 797718 h 1661552"/>
              <a:gd name="connsiteX111" fmla="*/ 3375543 w 3686359"/>
              <a:gd name="connsiteY111" fmla="*/ 778668 h 1661552"/>
              <a:gd name="connsiteX112" fmla="*/ 3418406 w 3686359"/>
              <a:gd name="connsiteY112" fmla="*/ 797718 h 1661552"/>
              <a:gd name="connsiteX113" fmla="*/ 3454125 w 3686359"/>
              <a:gd name="connsiteY113" fmla="*/ 783431 h 1661552"/>
              <a:gd name="connsiteX114" fmla="*/ 3492225 w 3686359"/>
              <a:gd name="connsiteY114" fmla="*/ 826293 h 1661552"/>
              <a:gd name="connsiteX115" fmla="*/ 3570806 w 3686359"/>
              <a:gd name="connsiteY115" fmla="*/ 902493 h 1661552"/>
              <a:gd name="connsiteX116" fmla="*/ 3639862 w 3686359"/>
              <a:gd name="connsiteY116" fmla="*/ 916781 h 1661552"/>
              <a:gd name="connsiteX117" fmla="*/ 3686359 w 3686359"/>
              <a:gd name="connsiteY117" fmla="*/ 944470 h 1661552"/>
              <a:gd name="connsiteX0" fmla="*/ 0 w 3686359"/>
              <a:gd name="connsiteY0" fmla="*/ 1631153 h 1631153"/>
              <a:gd name="connsiteX1" fmla="*/ 20447 w 3686359"/>
              <a:gd name="connsiteY1" fmla="*/ 1603271 h 1631153"/>
              <a:gd name="connsiteX2" fmla="*/ 42876 w 3686359"/>
              <a:gd name="connsiteY2" fmla="*/ 1583314 h 1631153"/>
              <a:gd name="connsiteX3" fmla="*/ 67325 w 3686359"/>
              <a:gd name="connsiteY3" fmla="*/ 1563755 h 1631153"/>
              <a:gd name="connsiteX4" fmla="*/ 108888 w 3686359"/>
              <a:gd name="connsiteY4" fmla="*/ 1507522 h 1631153"/>
              <a:gd name="connsiteX5" fmla="*/ 135783 w 3686359"/>
              <a:gd name="connsiteY5" fmla="*/ 1443954 h 1631153"/>
              <a:gd name="connsiteX6" fmla="*/ 189571 w 3686359"/>
              <a:gd name="connsiteY6" fmla="*/ 1434174 h 1631153"/>
              <a:gd name="connsiteX7" fmla="*/ 250694 w 3686359"/>
              <a:gd name="connsiteY7" fmla="*/ 1436619 h 1631153"/>
              <a:gd name="connsiteX8" fmla="*/ 287368 w 3686359"/>
              <a:gd name="connsiteY8" fmla="*/ 1412170 h 1631153"/>
              <a:gd name="connsiteX9" fmla="*/ 316707 w 3686359"/>
              <a:gd name="connsiteY9" fmla="*/ 1373051 h 1631153"/>
              <a:gd name="connsiteX10" fmla="*/ 360715 w 3686359"/>
              <a:gd name="connsiteY10" fmla="*/ 1365716 h 1631153"/>
              <a:gd name="connsiteX11" fmla="*/ 385164 w 3686359"/>
              <a:gd name="connsiteY11" fmla="*/ 1346157 h 1631153"/>
              <a:gd name="connsiteX12" fmla="*/ 404724 w 3686359"/>
              <a:gd name="connsiteY12" fmla="*/ 1309483 h 1631153"/>
              <a:gd name="connsiteX13" fmla="*/ 453622 w 3686359"/>
              <a:gd name="connsiteY13" fmla="*/ 1299704 h 1631153"/>
              <a:gd name="connsiteX14" fmla="*/ 501375 w 3686359"/>
              <a:gd name="connsiteY14" fmla="*/ 1304925 h 1631153"/>
              <a:gd name="connsiteX15" fmla="*/ 541856 w 3686359"/>
              <a:gd name="connsiteY15" fmla="*/ 1259681 h 1631153"/>
              <a:gd name="connsiteX16" fmla="*/ 572812 w 3686359"/>
              <a:gd name="connsiteY16" fmla="*/ 1247775 h 1631153"/>
              <a:gd name="connsiteX17" fmla="*/ 622818 w 3686359"/>
              <a:gd name="connsiteY17" fmla="*/ 1257300 h 1631153"/>
              <a:gd name="connsiteX18" fmla="*/ 670443 w 3686359"/>
              <a:gd name="connsiteY18" fmla="*/ 1207293 h 1631153"/>
              <a:gd name="connsiteX19" fmla="*/ 718068 w 3686359"/>
              <a:gd name="connsiteY19" fmla="*/ 1214437 h 1631153"/>
              <a:gd name="connsiteX20" fmla="*/ 739500 w 3686359"/>
              <a:gd name="connsiteY20" fmla="*/ 1214437 h 1631153"/>
              <a:gd name="connsiteX21" fmla="*/ 775218 w 3686359"/>
              <a:gd name="connsiteY21" fmla="*/ 1195387 h 1631153"/>
              <a:gd name="connsiteX22" fmla="*/ 799031 w 3686359"/>
              <a:gd name="connsiteY22" fmla="*/ 1157287 h 1631153"/>
              <a:gd name="connsiteX23" fmla="*/ 844275 w 3686359"/>
              <a:gd name="connsiteY23" fmla="*/ 1157287 h 1631153"/>
              <a:gd name="connsiteX24" fmla="*/ 870468 w 3686359"/>
              <a:gd name="connsiteY24" fmla="*/ 1119187 h 1631153"/>
              <a:gd name="connsiteX25" fmla="*/ 896662 w 3686359"/>
              <a:gd name="connsiteY25" fmla="*/ 1100137 h 1631153"/>
              <a:gd name="connsiteX26" fmla="*/ 915712 w 3686359"/>
              <a:gd name="connsiteY26" fmla="*/ 1071562 h 1631153"/>
              <a:gd name="connsiteX27" fmla="*/ 960956 w 3686359"/>
              <a:gd name="connsiteY27" fmla="*/ 1064418 h 1631153"/>
              <a:gd name="connsiteX28" fmla="*/ 972862 w 3686359"/>
              <a:gd name="connsiteY28" fmla="*/ 1031081 h 1631153"/>
              <a:gd name="connsiteX29" fmla="*/ 1008581 w 3686359"/>
              <a:gd name="connsiteY29" fmla="*/ 1012031 h 1631153"/>
              <a:gd name="connsiteX30" fmla="*/ 1030012 w 3686359"/>
              <a:gd name="connsiteY30" fmla="*/ 988218 h 1631153"/>
              <a:gd name="connsiteX31" fmla="*/ 1110975 w 3686359"/>
              <a:gd name="connsiteY31" fmla="*/ 966787 h 1631153"/>
              <a:gd name="connsiteX32" fmla="*/ 1125262 w 3686359"/>
              <a:gd name="connsiteY32" fmla="*/ 952500 h 1631153"/>
              <a:gd name="connsiteX33" fmla="*/ 1134787 w 3686359"/>
              <a:gd name="connsiteY33" fmla="*/ 919162 h 1631153"/>
              <a:gd name="connsiteX34" fmla="*/ 1215750 w 3686359"/>
              <a:gd name="connsiteY34" fmla="*/ 878681 h 1631153"/>
              <a:gd name="connsiteX35" fmla="*/ 1234800 w 3686359"/>
              <a:gd name="connsiteY35" fmla="*/ 873918 h 1631153"/>
              <a:gd name="connsiteX36" fmla="*/ 1294331 w 3686359"/>
              <a:gd name="connsiteY36" fmla="*/ 809625 h 1631153"/>
              <a:gd name="connsiteX37" fmla="*/ 1299093 w 3686359"/>
              <a:gd name="connsiteY37" fmla="*/ 759618 h 1631153"/>
              <a:gd name="connsiteX38" fmla="*/ 1325287 w 3686359"/>
              <a:gd name="connsiteY38" fmla="*/ 733425 h 1631153"/>
              <a:gd name="connsiteX39" fmla="*/ 1351481 w 3686359"/>
              <a:gd name="connsiteY39" fmla="*/ 728662 h 1631153"/>
              <a:gd name="connsiteX40" fmla="*/ 1413393 w 3686359"/>
              <a:gd name="connsiteY40" fmla="*/ 683418 h 1631153"/>
              <a:gd name="connsiteX41" fmla="*/ 1499118 w 3686359"/>
              <a:gd name="connsiteY41" fmla="*/ 640556 h 1631153"/>
              <a:gd name="connsiteX42" fmla="*/ 1534837 w 3686359"/>
              <a:gd name="connsiteY42" fmla="*/ 600075 h 1631153"/>
              <a:gd name="connsiteX43" fmla="*/ 1563412 w 3686359"/>
              <a:gd name="connsiteY43" fmla="*/ 585787 h 1631153"/>
              <a:gd name="connsiteX44" fmla="*/ 1570556 w 3686359"/>
              <a:gd name="connsiteY44" fmla="*/ 519112 h 1631153"/>
              <a:gd name="connsiteX45" fmla="*/ 1587225 w 3686359"/>
              <a:gd name="connsiteY45" fmla="*/ 473868 h 1631153"/>
              <a:gd name="connsiteX46" fmla="*/ 1572937 w 3686359"/>
              <a:gd name="connsiteY46" fmla="*/ 433387 h 1631153"/>
              <a:gd name="connsiteX47" fmla="*/ 1577700 w 3686359"/>
              <a:gd name="connsiteY47" fmla="*/ 347662 h 1631153"/>
              <a:gd name="connsiteX48" fmla="*/ 1572937 w 3686359"/>
              <a:gd name="connsiteY48" fmla="*/ 307181 h 1631153"/>
              <a:gd name="connsiteX49" fmla="*/ 1572937 w 3686359"/>
              <a:gd name="connsiteY49" fmla="*/ 264318 h 1631153"/>
              <a:gd name="connsiteX50" fmla="*/ 1599131 w 3686359"/>
              <a:gd name="connsiteY50" fmla="*/ 254793 h 1631153"/>
              <a:gd name="connsiteX51" fmla="*/ 1620562 w 3686359"/>
              <a:gd name="connsiteY51" fmla="*/ 271462 h 1631153"/>
              <a:gd name="connsiteX52" fmla="*/ 1634850 w 3686359"/>
              <a:gd name="connsiteY52" fmla="*/ 297656 h 1631153"/>
              <a:gd name="connsiteX53" fmla="*/ 1663425 w 3686359"/>
              <a:gd name="connsiteY53" fmla="*/ 300037 h 1631153"/>
              <a:gd name="connsiteX54" fmla="*/ 1684856 w 3686359"/>
              <a:gd name="connsiteY54" fmla="*/ 278606 h 1631153"/>
              <a:gd name="connsiteX55" fmla="*/ 1770581 w 3686359"/>
              <a:gd name="connsiteY55" fmla="*/ 280987 h 1631153"/>
              <a:gd name="connsiteX56" fmla="*/ 1822968 w 3686359"/>
              <a:gd name="connsiteY56" fmla="*/ 290512 h 1631153"/>
              <a:gd name="connsiteX57" fmla="*/ 1870593 w 3686359"/>
              <a:gd name="connsiteY57" fmla="*/ 266700 h 1631153"/>
              <a:gd name="connsiteX58" fmla="*/ 1882500 w 3686359"/>
              <a:gd name="connsiteY58" fmla="*/ 233362 h 1631153"/>
              <a:gd name="connsiteX59" fmla="*/ 1922981 w 3686359"/>
              <a:gd name="connsiteY59" fmla="*/ 200025 h 1631153"/>
              <a:gd name="connsiteX60" fmla="*/ 1913456 w 3686359"/>
              <a:gd name="connsiteY60" fmla="*/ 173831 h 1631153"/>
              <a:gd name="connsiteX61" fmla="*/ 1930125 w 3686359"/>
              <a:gd name="connsiteY61" fmla="*/ 147637 h 1631153"/>
              <a:gd name="connsiteX62" fmla="*/ 1984893 w 3686359"/>
              <a:gd name="connsiteY62" fmla="*/ 169068 h 1631153"/>
              <a:gd name="connsiteX63" fmla="*/ 2032518 w 3686359"/>
              <a:gd name="connsiteY63" fmla="*/ 173831 h 1631153"/>
              <a:gd name="connsiteX64" fmla="*/ 2068237 w 3686359"/>
              <a:gd name="connsiteY64" fmla="*/ 209550 h 1631153"/>
              <a:gd name="connsiteX65" fmla="*/ 2096812 w 3686359"/>
              <a:gd name="connsiteY65" fmla="*/ 223837 h 1631153"/>
              <a:gd name="connsiteX66" fmla="*/ 2115862 w 3686359"/>
              <a:gd name="connsiteY66" fmla="*/ 280987 h 1631153"/>
              <a:gd name="connsiteX67" fmla="*/ 2184918 w 3686359"/>
              <a:gd name="connsiteY67" fmla="*/ 316706 h 1631153"/>
              <a:gd name="connsiteX68" fmla="*/ 2253975 w 3686359"/>
              <a:gd name="connsiteY68" fmla="*/ 307181 h 1631153"/>
              <a:gd name="connsiteX69" fmla="*/ 2301600 w 3686359"/>
              <a:gd name="connsiteY69" fmla="*/ 295275 h 1631153"/>
              <a:gd name="connsiteX70" fmla="*/ 2339700 w 3686359"/>
              <a:gd name="connsiteY70" fmla="*/ 307181 h 1631153"/>
              <a:gd name="connsiteX71" fmla="*/ 2389706 w 3686359"/>
              <a:gd name="connsiteY71" fmla="*/ 304800 h 1631153"/>
              <a:gd name="connsiteX72" fmla="*/ 2434950 w 3686359"/>
              <a:gd name="connsiteY72" fmla="*/ 316706 h 1631153"/>
              <a:gd name="connsiteX73" fmla="*/ 2480193 w 3686359"/>
              <a:gd name="connsiteY73" fmla="*/ 302418 h 1631153"/>
              <a:gd name="connsiteX74" fmla="*/ 2501625 w 3686359"/>
              <a:gd name="connsiteY74" fmla="*/ 276225 h 1631153"/>
              <a:gd name="connsiteX75" fmla="*/ 2580206 w 3686359"/>
              <a:gd name="connsiteY75" fmla="*/ 297656 h 1631153"/>
              <a:gd name="connsiteX76" fmla="*/ 2620687 w 3686359"/>
              <a:gd name="connsiteY76" fmla="*/ 283368 h 1631153"/>
              <a:gd name="connsiteX77" fmla="*/ 2627831 w 3686359"/>
              <a:gd name="connsiteY77" fmla="*/ 242887 h 1631153"/>
              <a:gd name="connsiteX78" fmla="*/ 2599256 w 3686359"/>
              <a:gd name="connsiteY78" fmla="*/ 195262 h 1631153"/>
              <a:gd name="connsiteX79" fmla="*/ 2582587 w 3686359"/>
              <a:gd name="connsiteY79" fmla="*/ 135731 h 1631153"/>
              <a:gd name="connsiteX80" fmla="*/ 2549250 w 3686359"/>
              <a:gd name="connsiteY80" fmla="*/ 102393 h 1631153"/>
              <a:gd name="connsiteX81" fmla="*/ 2525437 w 3686359"/>
              <a:gd name="connsiteY81" fmla="*/ 59531 h 1631153"/>
              <a:gd name="connsiteX82" fmla="*/ 2534962 w 3686359"/>
              <a:gd name="connsiteY82" fmla="*/ 38100 h 1631153"/>
              <a:gd name="connsiteX83" fmla="*/ 2570681 w 3686359"/>
              <a:gd name="connsiteY83" fmla="*/ 0 h 1631153"/>
              <a:gd name="connsiteX84" fmla="*/ 2589731 w 3686359"/>
              <a:gd name="connsiteY84" fmla="*/ 16668 h 1631153"/>
              <a:gd name="connsiteX85" fmla="*/ 2670693 w 3686359"/>
              <a:gd name="connsiteY85" fmla="*/ 30956 h 1631153"/>
              <a:gd name="connsiteX86" fmla="*/ 2754037 w 3686359"/>
              <a:gd name="connsiteY86" fmla="*/ 47625 h 1631153"/>
              <a:gd name="connsiteX87" fmla="*/ 2804043 w 3686359"/>
              <a:gd name="connsiteY87" fmla="*/ 66675 h 1631153"/>
              <a:gd name="connsiteX88" fmla="*/ 2854050 w 3686359"/>
              <a:gd name="connsiteY88" fmla="*/ 61912 h 1631153"/>
              <a:gd name="connsiteX89" fmla="*/ 2901675 w 3686359"/>
              <a:gd name="connsiteY89" fmla="*/ 92868 h 1631153"/>
              <a:gd name="connsiteX90" fmla="*/ 2944537 w 3686359"/>
              <a:gd name="connsiteY90" fmla="*/ 119062 h 1631153"/>
              <a:gd name="connsiteX91" fmla="*/ 2965968 w 3686359"/>
              <a:gd name="connsiteY91" fmla="*/ 150018 h 1631153"/>
              <a:gd name="connsiteX92" fmla="*/ 3015975 w 3686359"/>
              <a:gd name="connsiteY92" fmla="*/ 157162 h 1631153"/>
              <a:gd name="connsiteX93" fmla="*/ 3042168 w 3686359"/>
              <a:gd name="connsiteY93" fmla="*/ 202406 h 1631153"/>
              <a:gd name="connsiteX94" fmla="*/ 3068362 w 3686359"/>
              <a:gd name="connsiteY94" fmla="*/ 233362 h 1631153"/>
              <a:gd name="connsiteX95" fmla="*/ 3085031 w 3686359"/>
              <a:gd name="connsiteY95" fmla="*/ 278606 h 1631153"/>
              <a:gd name="connsiteX96" fmla="*/ 3144562 w 3686359"/>
              <a:gd name="connsiteY96" fmla="*/ 295275 h 1631153"/>
              <a:gd name="connsiteX97" fmla="*/ 3173137 w 3686359"/>
              <a:gd name="connsiteY97" fmla="*/ 326231 h 1631153"/>
              <a:gd name="connsiteX98" fmla="*/ 3194568 w 3686359"/>
              <a:gd name="connsiteY98" fmla="*/ 335756 h 1631153"/>
              <a:gd name="connsiteX99" fmla="*/ 3206475 w 3686359"/>
              <a:gd name="connsiteY99" fmla="*/ 376237 h 1631153"/>
              <a:gd name="connsiteX100" fmla="*/ 3237431 w 3686359"/>
              <a:gd name="connsiteY100" fmla="*/ 383381 h 1631153"/>
              <a:gd name="connsiteX101" fmla="*/ 3275531 w 3686359"/>
              <a:gd name="connsiteY101" fmla="*/ 447675 h 1631153"/>
              <a:gd name="connsiteX102" fmla="*/ 3270768 w 3686359"/>
              <a:gd name="connsiteY102" fmla="*/ 502443 h 1631153"/>
              <a:gd name="connsiteX103" fmla="*/ 3258862 w 3686359"/>
              <a:gd name="connsiteY103" fmla="*/ 531018 h 1631153"/>
              <a:gd name="connsiteX104" fmla="*/ 3299343 w 3686359"/>
              <a:gd name="connsiteY104" fmla="*/ 564356 h 1631153"/>
              <a:gd name="connsiteX105" fmla="*/ 3296962 w 3686359"/>
              <a:gd name="connsiteY105" fmla="*/ 647700 h 1631153"/>
              <a:gd name="connsiteX106" fmla="*/ 3277912 w 3686359"/>
              <a:gd name="connsiteY106" fmla="*/ 664368 h 1631153"/>
              <a:gd name="connsiteX107" fmla="*/ 3261243 w 3686359"/>
              <a:gd name="connsiteY107" fmla="*/ 738187 h 1631153"/>
              <a:gd name="connsiteX108" fmla="*/ 3282675 w 3686359"/>
              <a:gd name="connsiteY108" fmla="*/ 773906 h 1631153"/>
              <a:gd name="connsiteX109" fmla="*/ 3337443 w 3686359"/>
              <a:gd name="connsiteY109" fmla="*/ 797718 h 1631153"/>
              <a:gd name="connsiteX110" fmla="*/ 3375543 w 3686359"/>
              <a:gd name="connsiteY110" fmla="*/ 778668 h 1631153"/>
              <a:gd name="connsiteX111" fmla="*/ 3418406 w 3686359"/>
              <a:gd name="connsiteY111" fmla="*/ 797718 h 1631153"/>
              <a:gd name="connsiteX112" fmla="*/ 3454125 w 3686359"/>
              <a:gd name="connsiteY112" fmla="*/ 783431 h 1631153"/>
              <a:gd name="connsiteX113" fmla="*/ 3492225 w 3686359"/>
              <a:gd name="connsiteY113" fmla="*/ 826293 h 1631153"/>
              <a:gd name="connsiteX114" fmla="*/ 3570806 w 3686359"/>
              <a:gd name="connsiteY114" fmla="*/ 902493 h 1631153"/>
              <a:gd name="connsiteX115" fmla="*/ 3639862 w 3686359"/>
              <a:gd name="connsiteY115" fmla="*/ 916781 h 1631153"/>
              <a:gd name="connsiteX116" fmla="*/ 3686359 w 3686359"/>
              <a:gd name="connsiteY116" fmla="*/ 944470 h 1631153"/>
              <a:gd name="connsiteX0" fmla="*/ 0 w 3665912"/>
              <a:gd name="connsiteY0" fmla="*/ 1603271 h 1603271"/>
              <a:gd name="connsiteX1" fmla="*/ 22429 w 3665912"/>
              <a:gd name="connsiteY1" fmla="*/ 1583314 h 1603271"/>
              <a:gd name="connsiteX2" fmla="*/ 46878 w 3665912"/>
              <a:gd name="connsiteY2" fmla="*/ 1563755 h 1603271"/>
              <a:gd name="connsiteX3" fmla="*/ 88441 w 3665912"/>
              <a:gd name="connsiteY3" fmla="*/ 1507522 h 1603271"/>
              <a:gd name="connsiteX4" fmla="*/ 115336 w 3665912"/>
              <a:gd name="connsiteY4" fmla="*/ 1443954 h 1603271"/>
              <a:gd name="connsiteX5" fmla="*/ 169124 w 3665912"/>
              <a:gd name="connsiteY5" fmla="*/ 1434174 h 1603271"/>
              <a:gd name="connsiteX6" fmla="*/ 230247 w 3665912"/>
              <a:gd name="connsiteY6" fmla="*/ 1436619 h 1603271"/>
              <a:gd name="connsiteX7" fmla="*/ 266921 w 3665912"/>
              <a:gd name="connsiteY7" fmla="*/ 1412170 h 1603271"/>
              <a:gd name="connsiteX8" fmla="*/ 296260 w 3665912"/>
              <a:gd name="connsiteY8" fmla="*/ 1373051 h 1603271"/>
              <a:gd name="connsiteX9" fmla="*/ 340268 w 3665912"/>
              <a:gd name="connsiteY9" fmla="*/ 1365716 h 1603271"/>
              <a:gd name="connsiteX10" fmla="*/ 364717 w 3665912"/>
              <a:gd name="connsiteY10" fmla="*/ 1346157 h 1603271"/>
              <a:gd name="connsiteX11" fmla="*/ 384277 w 3665912"/>
              <a:gd name="connsiteY11" fmla="*/ 1309483 h 1603271"/>
              <a:gd name="connsiteX12" fmla="*/ 433175 w 3665912"/>
              <a:gd name="connsiteY12" fmla="*/ 1299704 h 1603271"/>
              <a:gd name="connsiteX13" fmla="*/ 480928 w 3665912"/>
              <a:gd name="connsiteY13" fmla="*/ 1304925 h 1603271"/>
              <a:gd name="connsiteX14" fmla="*/ 521409 w 3665912"/>
              <a:gd name="connsiteY14" fmla="*/ 1259681 h 1603271"/>
              <a:gd name="connsiteX15" fmla="*/ 552365 w 3665912"/>
              <a:gd name="connsiteY15" fmla="*/ 1247775 h 1603271"/>
              <a:gd name="connsiteX16" fmla="*/ 602371 w 3665912"/>
              <a:gd name="connsiteY16" fmla="*/ 1257300 h 1603271"/>
              <a:gd name="connsiteX17" fmla="*/ 649996 w 3665912"/>
              <a:gd name="connsiteY17" fmla="*/ 1207293 h 1603271"/>
              <a:gd name="connsiteX18" fmla="*/ 697621 w 3665912"/>
              <a:gd name="connsiteY18" fmla="*/ 1214437 h 1603271"/>
              <a:gd name="connsiteX19" fmla="*/ 719053 w 3665912"/>
              <a:gd name="connsiteY19" fmla="*/ 1214437 h 1603271"/>
              <a:gd name="connsiteX20" fmla="*/ 754771 w 3665912"/>
              <a:gd name="connsiteY20" fmla="*/ 1195387 h 1603271"/>
              <a:gd name="connsiteX21" fmla="*/ 778584 w 3665912"/>
              <a:gd name="connsiteY21" fmla="*/ 1157287 h 1603271"/>
              <a:gd name="connsiteX22" fmla="*/ 823828 w 3665912"/>
              <a:gd name="connsiteY22" fmla="*/ 1157287 h 1603271"/>
              <a:gd name="connsiteX23" fmla="*/ 850021 w 3665912"/>
              <a:gd name="connsiteY23" fmla="*/ 1119187 h 1603271"/>
              <a:gd name="connsiteX24" fmla="*/ 876215 w 3665912"/>
              <a:gd name="connsiteY24" fmla="*/ 1100137 h 1603271"/>
              <a:gd name="connsiteX25" fmla="*/ 895265 w 3665912"/>
              <a:gd name="connsiteY25" fmla="*/ 1071562 h 1603271"/>
              <a:gd name="connsiteX26" fmla="*/ 940509 w 3665912"/>
              <a:gd name="connsiteY26" fmla="*/ 1064418 h 1603271"/>
              <a:gd name="connsiteX27" fmla="*/ 952415 w 3665912"/>
              <a:gd name="connsiteY27" fmla="*/ 1031081 h 1603271"/>
              <a:gd name="connsiteX28" fmla="*/ 988134 w 3665912"/>
              <a:gd name="connsiteY28" fmla="*/ 1012031 h 1603271"/>
              <a:gd name="connsiteX29" fmla="*/ 1009565 w 3665912"/>
              <a:gd name="connsiteY29" fmla="*/ 988218 h 1603271"/>
              <a:gd name="connsiteX30" fmla="*/ 1090528 w 3665912"/>
              <a:gd name="connsiteY30" fmla="*/ 966787 h 1603271"/>
              <a:gd name="connsiteX31" fmla="*/ 1104815 w 3665912"/>
              <a:gd name="connsiteY31" fmla="*/ 952500 h 1603271"/>
              <a:gd name="connsiteX32" fmla="*/ 1114340 w 3665912"/>
              <a:gd name="connsiteY32" fmla="*/ 919162 h 1603271"/>
              <a:gd name="connsiteX33" fmla="*/ 1195303 w 3665912"/>
              <a:gd name="connsiteY33" fmla="*/ 878681 h 1603271"/>
              <a:gd name="connsiteX34" fmla="*/ 1214353 w 3665912"/>
              <a:gd name="connsiteY34" fmla="*/ 873918 h 1603271"/>
              <a:gd name="connsiteX35" fmla="*/ 1273884 w 3665912"/>
              <a:gd name="connsiteY35" fmla="*/ 809625 h 1603271"/>
              <a:gd name="connsiteX36" fmla="*/ 1278646 w 3665912"/>
              <a:gd name="connsiteY36" fmla="*/ 759618 h 1603271"/>
              <a:gd name="connsiteX37" fmla="*/ 1304840 w 3665912"/>
              <a:gd name="connsiteY37" fmla="*/ 733425 h 1603271"/>
              <a:gd name="connsiteX38" fmla="*/ 1331034 w 3665912"/>
              <a:gd name="connsiteY38" fmla="*/ 728662 h 1603271"/>
              <a:gd name="connsiteX39" fmla="*/ 1392946 w 3665912"/>
              <a:gd name="connsiteY39" fmla="*/ 683418 h 1603271"/>
              <a:gd name="connsiteX40" fmla="*/ 1478671 w 3665912"/>
              <a:gd name="connsiteY40" fmla="*/ 640556 h 1603271"/>
              <a:gd name="connsiteX41" fmla="*/ 1514390 w 3665912"/>
              <a:gd name="connsiteY41" fmla="*/ 600075 h 1603271"/>
              <a:gd name="connsiteX42" fmla="*/ 1542965 w 3665912"/>
              <a:gd name="connsiteY42" fmla="*/ 585787 h 1603271"/>
              <a:gd name="connsiteX43" fmla="*/ 1550109 w 3665912"/>
              <a:gd name="connsiteY43" fmla="*/ 519112 h 1603271"/>
              <a:gd name="connsiteX44" fmla="*/ 1566778 w 3665912"/>
              <a:gd name="connsiteY44" fmla="*/ 473868 h 1603271"/>
              <a:gd name="connsiteX45" fmla="*/ 1552490 w 3665912"/>
              <a:gd name="connsiteY45" fmla="*/ 433387 h 1603271"/>
              <a:gd name="connsiteX46" fmla="*/ 1557253 w 3665912"/>
              <a:gd name="connsiteY46" fmla="*/ 347662 h 1603271"/>
              <a:gd name="connsiteX47" fmla="*/ 1552490 w 3665912"/>
              <a:gd name="connsiteY47" fmla="*/ 307181 h 1603271"/>
              <a:gd name="connsiteX48" fmla="*/ 1552490 w 3665912"/>
              <a:gd name="connsiteY48" fmla="*/ 264318 h 1603271"/>
              <a:gd name="connsiteX49" fmla="*/ 1578684 w 3665912"/>
              <a:gd name="connsiteY49" fmla="*/ 254793 h 1603271"/>
              <a:gd name="connsiteX50" fmla="*/ 1600115 w 3665912"/>
              <a:gd name="connsiteY50" fmla="*/ 271462 h 1603271"/>
              <a:gd name="connsiteX51" fmla="*/ 1614403 w 3665912"/>
              <a:gd name="connsiteY51" fmla="*/ 297656 h 1603271"/>
              <a:gd name="connsiteX52" fmla="*/ 1642978 w 3665912"/>
              <a:gd name="connsiteY52" fmla="*/ 300037 h 1603271"/>
              <a:gd name="connsiteX53" fmla="*/ 1664409 w 3665912"/>
              <a:gd name="connsiteY53" fmla="*/ 278606 h 1603271"/>
              <a:gd name="connsiteX54" fmla="*/ 1750134 w 3665912"/>
              <a:gd name="connsiteY54" fmla="*/ 280987 h 1603271"/>
              <a:gd name="connsiteX55" fmla="*/ 1802521 w 3665912"/>
              <a:gd name="connsiteY55" fmla="*/ 290512 h 1603271"/>
              <a:gd name="connsiteX56" fmla="*/ 1850146 w 3665912"/>
              <a:gd name="connsiteY56" fmla="*/ 266700 h 1603271"/>
              <a:gd name="connsiteX57" fmla="*/ 1862053 w 3665912"/>
              <a:gd name="connsiteY57" fmla="*/ 233362 h 1603271"/>
              <a:gd name="connsiteX58" fmla="*/ 1902534 w 3665912"/>
              <a:gd name="connsiteY58" fmla="*/ 200025 h 1603271"/>
              <a:gd name="connsiteX59" fmla="*/ 1893009 w 3665912"/>
              <a:gd name="connsiteY59" fmla="*/ 173831 h 1603271"/>
              <a:gd name="connsiteX60" fmla="*/ 1909678 w 3665912"/>
              <a:gd name="connsiteY60" fmla="*/ 147637 h 1603271"/>
              <a:gd name="connsiteX61" fmla="*/ 1964446 w 3665912"/>
              <a:gd name="connsiteY61" fmla="*/ 169068 h 1603271"/>
              <a:gd name="connsiteX62" fmla="*/ 2012071 w 3665912"/>
              <a:gd name="connsiteY62" fmla="*/ 173831 h 1603271"/>
              <a:gd name="connsiteX63" fmla="*/ 2047790 w 3665912"/>
              <a:gd name="connsiteY63" fmla="*/ 209550 h 1603271"/>
              <a:gd name="connsiteX64" fmla="*/ 2076365 w 3665912"/>
              <a:gd name="connsiteY64" fmla="*/ 223837 h 1603271"/>
              <a:gd name="connsiteX65" fmla="*/ 2095415 w 3665912"/>
              <a:gd name="connsiteY65" fmla="*/ 280987 h 1603271"/>
              <a:gd name="connsiteX66" fmla="*/ 2164471 w 3665912"/>
              <a:gd name="connsiteY66" fmla="*/ 316706 h 1603271"/>
              <a:gd name="connsiteX67" fmla="*/ 2233528 w 3665912"/>
              <a:gd name="connsiteY67" fmla="*/ 307181 h 1603271"/>
              <a:gd name="connsiteX68" fmla="*/ 2281153 w 3665912"/>
              <a:gd name="connsiteY68" fmla="*/ 295275 h 1603271"/>
              <a:gd name="connsiteX69" fmla="*/ 2319253 w 3665912"/>
              <a:gd name="connsiteY69" fmla="*/ 307181 h 1603271"/>
              <a:gd name="connsiteX70" fmla="*/ 2369259 w 3665912"/>
              <a:gd name="connsiteY70" fmla="*/ 304800 h 1603271"/>
              <a:gd name="connsiteX71" fmla="*/ 2414503 w 3665912"/>
              <a:gd name="connsiteY71" fmla="*/ 316706 h 1603271"/>
              <a:gd name="connsiteX72" fmla="*/ 2459746 w 3665912"/>
              <a:gd name="connsiteY72" fmla="*/ 302418 h 1603271"/>
              <a:gd name="connsiteX73" fmla="*/ 2481178 w 3665912"/>
              <a:gd name="connsiteY73" fmla="*/ 276225 h 1603271"/>
              <a:gd name="connsiteX74" fmla="*/ 2559759 w 3665912"/>
              <a:gd name="connsiteY74" fmla="*/ 297656 h 1603271"/>
              <a:gd name="connsiteX75" fmla="*/ 2600240 w 3665912"/>
              <a:gd name="connsiteY75" fmla="*/ 283368 h 1603271"/>
              <a:gd name="connsiteX76" fmla="*/ 2607384 w 3665912"/>
              <a:gd name="connsiteY76" fmla="*/ 242887 h 1603271"/>
              <a:gd name="connsiteX77" fmla="*/ 2578809 w 3665912"/>
              <a:gd name="connsiteY77" fmla="*/ 195262 h 1603271"/>
              <a:gd name="connsiteX78" fmla="*/ 2562140 w 3665912"/>
              <a:gd name="connsiteY78" fmla="*/ 135731 h 1603271"/>
              <a:gd name="connsiteX79" fmla="*/ 2528803 w 3665912"/>
              <a:gd name="connsiteY79" fmla="*/ 102393 h 1603271"/>
              <a:gd name="connsiteX80" fmla="*/ 2504990 w 3665912"/>
              <a:gd name="connsiteY80" fmla="*/ 59531 h 1603271"/>
              <a:gd name="connsiteX81" fmla="*/ 2514515 w 3665912"/>
              <a:gd name="connsiteY81" fmla="*/ 38100 h 1603271"/>
              <a:gd name="connsiteX82" fmla="*/ 2550234 w 3665912"/>
              <a:gd name="connsiteY82" fmla="*/ 0 h 1603271"/>
              <a:gd name="connsiteX83" fmla="*/ 2569284 w 3665912"/>
              <a:gd name="connsiteY83" fmla="*/ 16668 h 1603271"/>
              <a:gd name="connsiteX84" fmla="*/ 2650246 w 3665912"/>
              <a:gd name="connsiteY84" fmla="*/ 30956 h 1603271"/>
              <a:gd name="connsiteX85" fmla="*/ 2733590 w 3665912"/>
              <a:gd name="connsiteY85" fmla="*/ 47625 h 1603271"/>
              <a:gd name="connsiteX86" fmla="*/ 2783596 w 3665912"/>
              <a:gd name="connsiteY86" fmla="*/ 66675 h 1603271"/>
              <a:gd name="connsiteX87" fmla="*/ 2833603 w 3665912"/>
              <a:gd name="connsiteY87" fmla="*/ 61912 h 1603271"/>
              <a:gd name="connsiteX88" fmla="*/ 2881228 w 3665912"/>
              <a:gd name="connsiteY88" fmla="*/ 92868 h 1603271"/>
              <a:gd name="connsiteX89" fmla="*/ 2924090 w 3665912"/>
              <a:gd name="connsiteY89" fmla="*/ 119062 h 1603271"/>
              <a:gd name="connsiteX90" fmla="*/ 2945521 w 3665912"/>
              <a:gd name="connsiteY90" fmla="*/ 150018 h 1603271"/>
              <a:gd name="connsiteX91" fmla="*/ 2995528 w 3665912"/>
              <a:gd name="connsiteY91" fmla="*/ 157162 h 1603271"/>
              <a:gd name="connsiteX92" fmla="*/ 3021721 w 3665912"/>
              <a:gd name="connsiteY92" fmla="*/ 202406 h 1603271"/>
              <a:gd name="connsiteX93" fmla="*/ 3047915 w 3665912"/>
              <a:gd name="connsiteY93" fmla="*/ 233362 h 1603271"/>
              <a:gd name="connsiteX94" fmla="*/ 3064584 w 3665912"/>
              <a:gd name="connsiteY94" fmla="*/ 278606 h 1603271"/>
              <a:gd name="connsiteX95" fmla="*/ 3124115 w 3665912"/>
              <a:gd name="connsiteY95" fmla="*/ 295275 h 1603271"/>
              <a:gd name="connsiteX96" fmla="*/ 3152690 w 3665912"/>
              <a:gd name="connsiteY96" fmla="*/ 326231 h 1603271"/>
              <a:gd name="connsiteX97" fmla="*/ 3174121 w 3665912"/>
              <a:gd name="connsiteY97" fmla="*/ 335756 h 1603271"/>
              <a:gd name="connsiteX98" fmla="*/ 3186028 w 3665912"/>
              <a:gd name="connsiteY98" fmla="*/ 376237 h 1603271"/>
              <a:gd name="connsiteX99" fmla="*/ 3216984 w 3665912"/>
              <a:gd name="connsiteY99" fmla="*/ 383381 h 1603271"/>
              <a:gd name="connsiteX100" fmla="*/ 3255084 w 3665912"/>
              <a:gd name="connsiteY100" fmla="*/ 447675 h 1603271"/>
              <a:gd name="connsiteX101" fmla="*/ 3250321 w 3665912"/>
              <a:gd name="connsiteY101" fmla="*/ 502443 h 1603271"/>
              <a:gd name="connsiteX102" fmla="*/ 3238415 w 3665912"/>
              <a:gd name="connsiteY102" fmla="*/ 531018 h 1603271"/>
              <a:gd name="connsiteX103" fmla="*/ 3278896 w 3665912"/>
              <a:gd name="connsiteY103" fmla="*/ 564356 h 1603271"/>
              <a:gd name="connsiteX104" fmla="*/ 3276515 w 3665912"/>
              <a:gd name="connsiteY104" fmla="*/ 647700 h 1603271"/>
              <a:gd name="connsiteX105" fmla="*/ 3257465 w 3665912"/>
              <a:gd name="connsiteY105" fmla="*/ 664368 h 1603271"/>
              <a:gd name="connsiteX106" fmla="*/ 3240796 w 3665912"/>
              <a:gd name="connsiteY106" fmla="*/ 738187 h 1603271"/>
              <a:gd name="connsiteX107" fmla="*/ 3262228 w 3665912"/>
              <a:gd name="connsiteY107" fmla="*/ 773906 h 1603271"/>
              <a:gd name="connsiteX108" fmla="*/ 3316996 w 3665912"/>
              <a:gd name="connsiteY108" fmla="*/ 797718 h 1603271"/>
              <a:gd name="connsiteX109" fmla="*/ 3355096 w 3665912"/>
              <a:gd name="connsiteY109" fmla="*/ 778668 h 1603271"/>
              <a:gd name="connsiteX110" fmla="*/ 3397959 w 3665912"/>
              <a:gd name="connsiteY110" fmla="*/ 797718 h 1603271"/>
              <a:gd name="connsiteX111" fmla="*/ 3433678 w 3665912"/>
              <a:gd name="connsiteY111" fmla="*/ 783431 h 1603271"/>
              <a:gd name="connsiteX112" fmla="*/ 3471778 w 3665912"/>
              <a:gd name="connsiteY112" fmla="*/ 826293 h 1603271"/>
              <a:gd name="connsiteX113" fmla="*/ 3550359 w 3665912"/>
              <a:gd name="connsiteY113" fmla="*/ 902493 h 1603271"/>
              <a:gd name="connsiteX114" fmla="*/ 3619415 w 3665912"/>
              <a:gd name="connsiteY114" fmla="*/ 916781 h 1603271"/>
              <a:gd name="connsiteX115" fmla="*/ 3665912 w 3665912"/>
              <a:gd name="connsiteY115" fmla="*/ 944470 h 1603271"/>
              <a:gd name="connsiteX0" fmla="*/ 0 w 3643483"/>
              <a:gd name="connsiteY0" fmla="*/ 1583314 h 1583314"/>
              <a:gd name="connsiteX1" fmla="*/ 24449 w 3643483"/>
              <a:gd name="connsiteY1" fmla="*/ 1563755 h 1583314"/>
              <a:gd name="connsiteX2" fmla="*/ 66012 w 3643483"/>
              <a:gd name="connsiteY2" fmla="*/ 1507522 h 1583314"/>
              <a:gd name="connsiteX3" fmla="*/ 92907 w 3643483"/>
              <a:gd name="connsiteY3" fmla="*/ 1443954 h 1583314"/>
              <a:gd name="connsiteX4" fmla="*/ 146695 w 3643483"/>
              <a:gd name="connsiteY4" fmla="*/ 1434174 h 1583314"/>
              <a:gd name="connsiteX5" fmla="*/ 207818 w 3643483"/>
              <a:gd name="connsiteY5" fmla="*/ 1436619 h 1583314"/>
              <a:gd name="connsiteX6" fmla="*/ 244492 w 3643483"/>
              <a:gd name="connsiteY6" fmla="*/ 1412170 h 1583314"/>
              <a:gd name="connsiteX7" fmla="*/ 273831 w 3643483"/>
              <a:gd name="connsiteY7" fmla="*/ 1373051 h 1583314"/>
              <a:gd name="connsiteX8" fmla="*/ 317839 w 3643483"/>
              <a:gd name="connsiteY8" fmla="*/ 1365716 h 1583314"/>
              <a:gd name="connsiteX9" fmla="*/ 342288 w 3643483"/>
              <a:gd name="connsiteY9" fmla="*/ 1346157 h 1583314"/>
              <a:gd name="connsiteX10" fmla="*/ 361848 w 3643483"/>
              <a:gd name="connsiteY10" fmla="*/ 1309483 h 1583314"/>
              <a:gd name="connsiteX11" fmla="*/ 410746 w 3643483"/>
              <a:gd name="connsiteY11" fmla="*/ 1299704 h 1583314"/>
              <a:gd name="connsiteX12" fmla="*/ 458499 w 3643483"/>
              <a:gd name="connsiteY12" fmla="*/ 1304925 h 1583314"/>
              <a:gd name="connsiteX13" fmla="*/ 498980 w 3643483"/>
              <a:gd name="connsiteY13" fmla="*/ 1259681 h 1583314"/>
              <a:gd name="connsiteX14" fmla="*/ 529936 w 3643483"/>
              <a:gd name="connsiteY14" fmla="*/ 1247775 h 1583314"/>
              <a:gd name="connsiteX15" fmla="*/ 579942 w 3643483"/>
              <a:gd name="connsiteY15" fmla="*/ 1257300 h 1583314"/>
              <a:gd name="connsiteX16" fmla="*/ 627567 w 3643483"/>
              <a:gd name="connsiteY16" fmla="*/ 1207293 h 1583314"/>
              <a:gd name="connsiteX17" fmla="*/ 675192 w 3643483"/>
              <a:gd name="connsiteY17" fmla="*/ 1214437 h 1583314"/>
              <a:gd name="connsiteX18" fmla="*/ 696624 w 3643483"/>
              <a:gd name="connsiteY18" fmla="*/ 1214437 h 1583314"/>
              <a:gd name="connsiteX19" fmla="*/ 732342 w 3643483"/>
              <a:gd name="connsiteY19" fmla="*/ 1195387 h 1583314"/>
              <a:gd name="connsiteX20" fmla="*/ 756155 w 3643483"/>
              <a:gd name="connsiteY20" fmla="*/ 1157287 h 1583314"/>
              <a:gd name="connsiteX21" fmla="*/ 801399 w 3643483"/>
              <a:gd name="connsiteY21" fmla="*/ 1157287 h 1583314"/>
              <a:gd name="connsiteX22" fmla="*/ 827592 w 3643483"/>
              <a:gd name="connsiteY22" fmla="*/ 1119187 h 1583314"/>
              <a:gd name="connsiteX23" fmla="*/ 853786 w 3643483"/>
              <a:gd name="connsiteY23" fmla="*/ 1100137 h 1583314"/>
              <a:gd name="connsiteX24" fmla="*/ 872836 w 3643483"/>
              <a:gd name="connsiteY24" fmla="*/ 1071562 h 1583314"/>
              <a:gd name="connsiteX25" fmla="*/ 918080 w 3643483"/>
              <a:gd name="connsiteY25" fmla="*/ 1064418 h 1583314"/>
              <a:gd name="connsiteX26" fmla="*/ 929986 w 3643483"/>
              <a:gd name="connsiteY26" fmla="*/ 1031081 h 1583314"/>
              <a:gd name="connsiteX27" fmla="*/ 965705 w 3643483"/>
              <a:gd name="connsiteY27" fmla="*/ 1012031 h 1583314"/>
              <a:gd name="connsiteX28" fmla="*/ 987136 w 3643483"/>
              <a:gd name="connsiteY28" fmla="*/ 988218 h 1583314"/>
              <a:gd name="connsiteX29" fmla="*/ 1068099 w 3643483"/>
              <a:gd name="connsiteY29" fmla="*/ 966787 h 1583314"/>
              <a:gd name="connsiteX30" fmla="*/ 1082386 w 3643483"/>
              <a:gd name="connsiteY30" fmla="*/ 952500 h 1583314"/>
              <a:gd name="connsiteX31" fmla="*/ 1091911 w 3643483"/>
              <a:gd name="connsiteY31" fmla="*/ 919162 h 1583314"/>
              <a:gd name="connsiteX32" fmla="*/ 1172874 w 3643483"/>
              <a:gd name="connsiteY32" fmla="*/ 878681 h 1583314"/>
              <a:gd name="connsiteX33" fmla="*/ 1191924 w 3643483"/>
              <a:gd name="connsiteY33" fmla="*/ 873918 h 1583314"/>
              <a:gd name="connsiteX34" fmla="*/ 1251455 w 3643483"/>
              <a:gd name="connsiteY34" fmla="*/ 809625 h 1583314"/>
              <a:gd name="connsiteX35" fmla="*/ 1256217 w 3643483"/>
              <a:gd name="connsiteY35" fmla="*/ 759618 h 1583314"/>
              <a:gd name="connsiteX36" fmla="*/ 1282411 w 3643483"/>
              <a:gd name="connsiteY36" fmla="*/ 733425 h 1583314"/>
              <a:gd name="connsiteX37" fmla="*/ 1308605 w 3643483"/>
              <a:gd name="connsiteY37" fmla="*/ 728662 h 1583314"/>
              <a:gd name="connsiteX38" fmla="*/ 1370517 w 3643483"/>
              <a:gd name="connsiteY38" fmla="*/ 683418 h 1583314"/>
              <a:gd name="connsiteX39" fmla="*/ 1456242 w 3643483"/>
              <a:gd name="connsiteY39" fmla="*/ 640556 h 1583314"/>
              <a:gd name="connsiteX40" fmla="*/ 1491961 w 3643483"/>
              <a:gd name="connsiteY40" fmla="*/ 600075 h 1583314"/>
              <a:gd name="connsiteX41" fmla="*/ 1520536 w 3643483"/>
              <a:gd name="connsiteY41" fmla="*/ 585787 h 1583314"/>
              <a:gd name="connsiteX42" fmla="*/ 1527680 w 3643483"/>
              <a:gd name="connsiteY42" fmla="*/ 519112 h 1583314"/>
              <a:gd name="connsiteX43" fmla="*/ 1544349 w 3643483"/>
              <a:gd name="connsiteY43" fmla="*/ 473868 h 1583314"/>
              <a:gd name="connsiteX44" fmla="*/ 1530061 w 3643483"/>
              <a:gd name="connsiteY44" fmla="*/ 433387 h 1583314"/>
              <a:gd name="connsiteX45" fmla="*/ 1534824 w 3643483"/>
              <a:gd name="connsiteY45" fmla="*/ 347662 h 1583314"/>
              <a:gd name="connsiteX46" fmla="*/ 1530061 w 3643483"/>
              <a:gd name="connsiteY46" fmla="*/ 307181 h 1583314"/>
              <a:gd name="connsiteX47" fmla="*/ 1530061 w 3643483"/>
              <a:gd name="connsiteY47" fmla="*/ 264318 h 1583314"/>
              <a:gd name="connsiteX48" fmla="*/ 1556255 w 3643483"/>
              <a:gd name="connsiteY48" fmla="*/ 254793 h 1583314"/>
              <a:gd name="connsiteX49" fmla="*/ 1577686 w 3643483"/>
              <a:gd name="connsiteY49" fmla="*/ 271462 h 1583314"/>
              <a:gd name="connsiteX50" fmla="*/ 1591974 w 3643483"/>
              <a:gd name="connsiteY50" fmla="*/ 297656 h 1583314"/>
              <a:gd name="connsiteX51" fmla="*/ 1620549 w 3643483"/>
              <a:gd name="connsiteY51" fmla="*/ 300037 h 1583314"/>
              <a:gd name="connsiteX52" fmla="*/ 1641980 w 3643483"/>
              <a:gd name="connsiteY52" fmla="*/ 278606 h 1583314"/>
              <a:gd name="connsiteX53" fmla="*/ 1727705 w 3643483"/>
              <a:gd name="connsiteY53" fmla="*/ 280987 h 1583314"/>
              <a:gd name="connsiteX54" fmla="*/ 1780092 w 3643483"/>
              <a:gd name="connsiteY54" fmla="*/ 290512 h 1583314"/>
              <a:gd name="connsiteX55" fmla="*/ 1827717 w 3643483"/>
              <a:gd name="connsiteY55" fmla="*/ 266700 h 1583314"/>
              <a:gd name="connsiteX56" fmla="*/ 1839624 w 3643483"/>
              <a:gd name="connsiteY56" fmla="*/ 233362 h 1583314"/>
              <a:gd name="connsiteX57" fmla="*/ 1880105 w 3643483"/>
              <a:gd name="connsiteY57" fmla="*/ 200025 h 1583314"/>
              <a:gd name="connsiteX58" fmla="*/ 1870580 w 3643483"/>
              <a:gd name="connsiteY58" fmla="*/ 173831 h 1583314"/>
              <a:gd name="connsiteX59" fmla="*/ 1887249 w 3643483"/>
              <a:gd name="connsiteY59" fmla="*/ 147637 h 1583314"/>
              <a:gd name="connsiteX60" fmla="*/ 1942017 w 3643483"/>
              <a:gd name="connsiteY60" fmla="*/ 169068 h 1583314"/>
              <a:gd name="connsiteX61" fmla="*/ 1989642 w 3643483"/>
              <a:gd name="connsiteY61" fmla="*/ 173831 h 1583314"/>
              <a:gd name="connsiteX62" fmla="*/ 2025361 w 3643483"/>
              <a:gd name="connsiteY62" fmla="*/ 209550 h 1583314"/>
              <a:gd name="connsiteX63" fmla="*/ 2053936 w 3643483"/>
              <a:gd name="connsiteY63" fmla="*/ 223837 h 1583314"/>
              <a:gd name="connsiteX64" fmla="*/ 2072986 w 3643483"/>
              <a:gd name="connsiteY64" fmla="*/ 280987 h 1583314"/>
              <a:gd name="connsiteX65" fmla="*/ 2142042 w 3643483"/>
              <a:gd name="connsiteY65" fmla="*/ 316706 h 1583314"/>
              <a:gd name="connsiteX66" fmla="*/ 2211099 w 3643483"/>
              <a:gd name="connsiteY66" fmla="*/ 307181 h 1583314"/>
              <a:gd name="connsiteX67" fmla="*/ 2258724 w 3643483"/>
              <a:gd name="connsiteY67" fmla="*/ 295275 h 1583314"/>
              <a:gd name="connsiteX68" fmla="*/ 2296824 w 3643483"/>
              <a:gd name="connsiteY68" fmla="*/ 307181 h 1583314"/>
              <a:gd name="connsiteX69" fmla="*/ 2346830 w 3643483"/>
              <a:gd name="connsiteY69" fmla="*/ 304800 h 1583314"/>
              <a:gd name="connsiteX70" fmla="*/ 2392074 w 3643483"/>
              <a:gd name="connsiteY70" fmla="*/ 316706 h 1583314"/>
              <a:gd name="connsiteX71" fmla="*/ 2437317 w 3643483"/>
              <a:gd name="connsiteY71" fmla="*/ 302418 h 1583314"/>
              <a:gd name="connsiteX72" fmla="*/ 2458749 w 3643483"/>
              <a:gd name="connsiteY72" fmla="*/ 276225 h 1583314"/>
              <a:gd name="connsiteX73" fmla="*/ 2537330 w 3643483"/>
              <a:gd name="connsiteY73" fmla="*/ 297656 h 1583314"/>
              <a:gd name="connsiteX74" fmla="*/ 2577811 w 3643483"/>
              <a:gd name="connsiteY74" fmla="*/ 283368 h 1583314"/>
              <a:gd name="connsiteX75" fmla="*/ 2584955 w 3643483"/>
              <a:gd name="connsiteY75" fmla="*/ 242887 h 1583314"/>
              <a:gd name="connsiteX76" fmla="*/ 2556380 w 3643483"/>
              <a:gd name="connsiteY76" fmla="*/ 195262 h 1583314"/>
              <a:gd name="connsiteX77" fmla="*/ 2539711 w 3643483"/>
              <a:gd name="connsiteY77" fmla="*/ 135731 h 1583314"/>
              <a:gd name="connsiteX78" fmla="*/ 2506374 w 3643483"/>
              <a:gd name="connsiteY78" fmla="*/ 102393 h 1583314"/>
              <a:gd name="connsiteX79" fmla="*/ 2482561 w 3643483"/>
              <a:gd name="connsiteY79" fmla="*/ 59531 h 1583314"/>
              <a:gd name="connsiteX80" fmla="*/ 2492086 w 3643483"/>
              <a:gd name="connsiteY80" fmla="*/ 38100 h 1583314"/>
              <a:gd name="connsiteX81" fmla="*/ 2527805 w 3643483"/>
              <a:gd name="connsiteY81" fmla="*/ 0 h 1583314"/>
              <a:gd name="connsiteX82" fmla="*/ 2546855 w 3643483"/>
              <a:gd name="connsiteY82" fmla="*/ 16668 h 1583314"/>
              <a:gd name="connsiteX83" fmla="*/ 2627817 w 3643483"/>
              <a:gd name="connsiteY83" fmla="*/ 30956 h 1583314"/>
              <a:gd name="connsiteX84" fmla="*/ 2711161 w 3643483"/>
              <a:gd name="connsiteY84" fmla="*/ 47625 h 1583314"/>
              <a:gd name="connsiteX85" fmla="*/ 2761167 w 3643483"/>
              <a:gd name="connsiteY85" fmla="*/ 66675 h 1583314"/>
              <a:gd name="connsiteX86" fmla="*/ 2811174 w 3643483"/>
              <a:gd name="connsiteY86" fmla="*/ 61912 h 1583314"/>
              <a:gd name="connsiteX87" fmla="*/ 2858799 w 3643483"/>
              <a:gd name="connsiteY87" fmla="*/ 92868 h 1583314"/>
              <a:gd name="connsiteX88" fmla="*/ 2901661 w 3643483"/>
              <a:gd name="connsiteY88" fmla="*/ 119062 h 1583314"/>
              <a:gd name="connsiteX89" fmla="*/ 2923092 w 3643483"/>
              <a:gd name="connsiteY89" fmla="*/ 150018 h 1583314"/>
              <a:gd name="connsiteX90" fmla="*/ 2973099 w 3643483"/>
              <a:gd name="connsiteY90" fmla="*/ 157162 h 1583314"/>
              <a:gd name="connsiteX91" fmla="*/ 2999292 w 3643483"/>
              <a:gd name="connsiteY91" fmla="*/ 202406 h 1583314"/>
              <a:gd name="connsiteX92" fmla="*/ 3025486 w 3643483"/>
              <a:gd name="connsiteY92" fmla="*/ 233362 h 1583314"/>
              <a:gd name="connsiteX93" fmla="*/ 3042155 w 3643483"/>
              <a:gd name="connsiteY93" fmla="*/ 278606 h 1583314"/>
              <a:gd name="connsiteX94" fmla="*/ 3101686 w 3643483"/>
              <a:gd name="connsiteY94" fmla="*/ 295275 h 1583314"/>
              <a:gd name="connsiteX95" fmla="*/ 3130261 w 3643483"/>
              <a:gd name="connsiteY95" fmla="*/ 326231 h 1583314"/>
              <a:gd name="connsiteX96" fmla="*/ 3151692 w 3643483"/>
              <a:gd name="connsiteY96" fmla="*/ 335756 h 1583314"/>
              <a:gd name="connsiteX97" fmla="*/ 3163599 w 3643483"/>
              <a:gd name="connsiteY97" fmla="*/ 376237 h 1583314"/>
              <a:gd name="connsiteX98" fmla="*/ 3194555 w 3643483"/>
              <a:gd name="connsiteY98" fmla="*/ 383381 h 1583314"/>
              <a:gd name="connsiteX99" fmla="*/ 3232655 w 3643483"/>
              <a:gd name="connsiteY99" fmla="*/ 447675 h 1583314"/>
              <a:gd name="connsiteX100" fmla="*/ 3227892 w 3643483"/>
              <a:gd name="connsiteY100" fmla="*/ 502443 h 1583314"/>
              <a:gd name="connsiteX101" fmla="*/ 3215986 w 3643483"/>
              <a:gd name="connsiteY101" fmla="*/ 531018 h 1583314"/>
              <a:gd name="connsiteX102" fmla="*/ 3256467 w 3643483"/>
              <a:gd name="connsiteY102" fmla="*/ 564356 h 1583314"/>
              <a:gd name="connsiteX103" fmla="*/ 3254086 w 3643483"/>
              <a:gd name="connsiteY103" fmla="*/ 647700 h 1583314"/>
              <a:gd name="connsiteX104" fmla="*/ 3235036 w 3643483"/>
              <a:gd name="connsiteY104" fmla="*/ 664368 h 1583314"/>
              <a:gd name="connsiteX105" fmla="*/ 3218367 w 3643483"/>
              <a:gd name="connsiteY105" fmla="*/ 738187 h 1583314"/>
              <a:gd name="connsiteX106" fmla="*/ 3239799 w 3643483"/>
              <a:gd name="connsiteY106" fmla="*/ 773906 h 1583314"/>
              <a:gd name="connsiteX107" fmla="*/ 3294567 w 3643483"/>
              <a:gd name="connsiteY107" fmla="*/ 797718 h 1583314"/>
              <a:gd name="connsiteX108" fmla="*/ 3332667 w 3643483"/>
              <a:gd name="connsiteY108" fmla="*/ 778668 h 1583314"/>
              <a:gd name="connsiteX109" fmla="*/ 3375530 w 3643483"/>
              <a:gd name="connsiteY109" fmla="*/ 797718 h 1583314"/>
              <a:gd name="connsiteX110" fmla="*/ 3411249 w 3643483"/>
              <a:gd name="connsiteY110" fmla="*/ 783431 h 1583314"/>
              <a:gd name="connsiteX111" fmla="*/ 3449349 w 3643483"/>
              <a:gd name="connsiteY111" fmla="*/ 826293 h 1583314"/>
              <a:gd name="connsiteX112" fmla="*/ 3527930 w 3643483"/>
              <a:gd name="connsiteY112" fmla="*/ 902493 h 1583314"/>
              <a:gd name="connsiteX113" fmla="*/ 3596986 w 3643483"/>
              <a:gd name="connsiteY113" fmla="*/ 916781 h 1583314"/>
              <a:gd name="connsiteX114" fmla="*/ 3643483 w 3643483"/>
              <a:gd name="connsiteY114" fmla="*/ 944470 h 1583314"/>
              <a:gd name="connsiteX0" fmla="*/ 0 w 3619034"/>
              <a:gd name="connsiteY0" fmla="*/ 1563755 h 1563755"/>
              <a:gd name="connsiteX1" fmla="*/ 41563 w 3619034"/>
              <a:gd name="connsiteY1" fmla="*/ 1507522 h 1563755"/>
              <a:gd name="connsiteX2" fmla="*/ 68458 w 3619034"/>
              <a:gd name="connsiteY2" fmla="*/ 1443954 h 1563755"/>
              <a:gd name="connsiteX3" fmla="*/ 122246 w 3619034"/>
              <a:gd name="connsiteY3" fmla="*/ 1434174 h 1563755"/>
              <a:gd name="connsiteX4" fmla="*/ 183369 w 3619034"/>
              <a:gd name="connsiteY4" fmla="*/ 1436619 h 1563755"/>
              <a:gd name="connsiteX5" fmla="*/ 220043 w 3619034"/>
              <a:gd name="connsiteY5" fmla="*/ 1412170 h 1563755"/>
              <a:gd name="connsiteX6" fmla="*/ 249382 w 3619034"/>
              <a:gd name="connsiteY6" fmla="*/ 1373051 h 1563755"/>
              <a:gd name="connsiteX7" fmla="*/ 293390 w 3619034"/>
              <a:gd name="connsiteY7" fmla="*/ 1365716 h 1563755"/>
              <a:gd name="connsiteX8" fmla="*/ 317839 w 3619034"/>
              <a:gd name="connsiteY8" fmla="*/ 1346157 h 1563755"/>
              <a:gd name="connsiteX9" fmla="*/ 337399 w 3619034"/>
              <a:gd name="connsiteY9" fmla="*/ 1309483 h 1563755"/>
              <a:gd name="connsiteX10" fmla="*/ 386297 w 3619034"/>
              <a:gd name="connsiteY10" fmla="*/ 1299704 h 1563755"/>
              <a:gd name="connsiteX11" fmla="*/ 434050 w 3619034"/>
              <a:gd name="connsiteY11" fmla="*/ 1304925 h 1563755"/>
              <a:gd name="connsiteX12" fmla="*/ 474531 w 3619034"/>
              <a:gd name="connsiteY12" fmla="*/ 1259681 h 1563755"/>
              <a:gd name="connsiteX13" fmla="*/ 505487 w 3619034"/>
              <a:gd name="connsiteY13" fmla="*/ 1247775 h 1563755"/>
              <a:gd name="connsiteX14" fmla="*/ 555493 w 3619034"/>
              <a:gd name="connsiteY14" fmla="*/ 1257300 h 1563755"/>
              <a:gd name="connsiteX15" fmla="*/ 603118 w 3619034"/>
              <a:gd name="connsiteY15" fmla="*/ 1207293 h 1563755"/>
              <a:gd name="connsiteX16" fmla="*/ 650743 w 3619034"/>
              <a:gd name="connsiteY16" fmla="*/ 1214437 h 1563755"/>
              <a:gd name="connsiteX17" fmla="*/ 672175 w 3619034"/>
              <a:gd name="connsiteY17" fmla="*/ 1214437 h 1563755"/>
              <a:gd name="connsiteX18" fmla="*/ 707893 w 3619034"/>
              <a:gd name="connsiteY18" fmla="*/ 1195387 h 1563755"/>
              <a:gd name="connsiteX19" fmla="*/ 731706 w 3619034"/>
              <a:gd name="connsiteY19" fmla="*/ 1157287 h 1563755"/>
              <a:gd name="connsiteX20" fmla="*/ 776950 w 3619034"/>
              <a:gd name="connsiteY20" fmla="*/ 1157287 h 1563755"/>
              <a:gd name="connsiteX21" fmla="*/ 803143 w 3619034"/>
              <a:gd name="connsiteY21" fmla="*/ 1119187 h 1563755"/>
              <a:gd name="connsiteX22" fmla="*/ 829337 w 3619034"/>
              <a:gd name="connsiteY22" fmla="*/ 1100137 h 1563755"/>
              <a:gd name="connsiteX23" fmla="*/ 848387 w 3619034"/>
              <a:gd name="connsiteY23" fmla="*/ 1071562 h 1563755"/>
              <a:gd name="connsiteX24" fmla="*/ 893631 w 3619034"/>
              <a:gd name="connsiteY24" fmla="*/ 1064418 h 1563755"/>
              <a:gd name="connsiteX25" fmla="*/ 905537 w 3619034"/>
              <a:gd name="connsiteY25" fmla="*/ 1031081 h 1563755"/>
              <a:gd name="connsiteX26" fmla="*/ 941256 w 3619034"/>
              <a:gd name="connsiteY26" fmla="*/ 1012031 h 1563755"/>
              <a:gd name="connsiteX27" fmla="*/ 962687 w 3619034"/>
              <a:gd name="connsiteY27" fmla="*/ 988218 h 1563755"/>
              <a:gd name="connsiteX28" fmla="*/ 1043650 w 3619034"/>
              <a:gd name="connsiteY28" fmla="*/ 966787 h 1563755"/>
              <a:gd name="connsiteX29" fmla="*/ 1057937 w 3619034"/>
              <a:gd name="connsiteY29" fmla="*/ 952500 h 1563755"/>
              <a:gd name="connsiteX30" fmla="*/ 1067462 w 3619034"/>
              <a:gd name="connsiteY30" fmla="*/ 919162 h 1563755"/>
              <a:gd name="connsiteX31" fmla="*/ 1148425 w 3619034"/>
              <a:gd name="connsiteY31" fmla="*/ 878681 h 1563755"/>
              <a:gd name="connsiteX32" fmla="*/ 1167475 w 3619034"/>
              <a:gd name="connsiteY32" fmla="*/ 873918 h 1563755"/>
              <a:gd name="connsiteX33" fmla="*/ 1227006 w 3619034"/>
              <a:gd name="connsiteY33" fmla="*/ 809625 h 1563755"/>
              <a:gd name="connsiteX34" fmla="*/ 1231768 w 3619034"/>
              <a:gd name="connsiteY34" fmla="*/ 759618 h 1563755"/>
              <a:gd name="connsiteX35" fmla="*/ 1257962 w 3619034"/>
              <a:gd name="connsiteY35" fmla="*/ 733425 h 1563755"/>
              <a:gd name="connsiteX36" fmla="*/ 1284156 w 3619034"/>
              <a:gd name="connsiteY36" fmla="*/ 728662 h 1563755"/>
              <a:gd name="connsiteX37" fmla="*/ 1346068 w 3619034"/>
              <a:gd name="connsiteY37" fmla="*/ 683418 h 1563755"/>
              <a:gd name="connsiteX38" fmla="*/ 1431793 w 3619034"/>
              <a:gd name="connsiteY38" fmla="*/ 640556 h 1563755"/>
              <a:gd name="connsiteX39" fmla="*/ 1467512 w 3619034"/>
              <a:gd name="connsiteY39" fmla="*/ 600075 h 1563755"/>
              <a:gd name="connsiteX40" fmla="*/ 1496087 w 3619034"/>
              <a:gd name="connsiteY40" fmla="*/ 585787 h 1563755"/>
              <a:gd name="connsiteX41" fmla="*/ 1503231 w 3619034"/>
              <a:gd name="connsiteY41" fmla="*/ 519112 h 1563755"/>
              <a:gd name="connsiteX42" fmla="*/ 1519900 w 3619034"/>
              <a:gd name="connsiteY42" fmla="*/ 473868 h 1563755"/>
              <a:gd name="connsiteX43" fmla="*/ 1505612 w 3619034"/>
              <a:gd name="connsiteY43" fmla="*/ 433387 h 1563755"/>
              <a:gd name="connsiteX44" fmla="*/ 1510375 w 3619034"/>
              <a:gd name="connsiteY44" fmla="*/ 347662 h 1563755"/>
              <a:gd name="connsiteX45" fmla="*/ 1505612 w 3619034"/>
              <a:gd name="connsiteY45" fmla="*/ 307181 h 1563755"/>
              <a:gd name="connsiteX46" fmla="*/ 1505612 w 3619034"/>
              <a:gd name="connsiteY46" fmla="*/ 264318 h 1563755"/>
              <a:gd name="connsiteX47" fmla="*/ 1531806 w 3619034"/>
              <a:gd name="connsiteY47" fmla="*/ 254793 h 1563755"/>
              <a:gd name="connsiteX48" fmla="*/ 1553237 w 3619034"/>
              <a:gd name="connsiteY48" fmla="*/ 271462 h 1563755"/>
              <a:gd name="connsiteX49" fmla="*/ 1567525 w 3619034"/>
              <a:gd name="connsiteY49" fmla="*/ 297656 h 1563755"/>
              <a:gd name="connsiteX50" fmla="*/ 1596100 w 3619034"/>
              <a:gd name="connsiteY50" fmla="*/ 300037 h 1563755"/>
              <a:gd name="connsiteX51" fmla="*/ 1617531 w 3619034"/>
              <a:gd name="connsiteY51" fmla="*/ 278606 h 1563755"/>
              <a:gd name="connsiteX52" fmla="*/ 1703256 w 3619034"/>
              <a:gd name="connsiteY52" fmla="*/ 280987 h 1563755"/>
              <a:gd name="connsiteX53" fmla="*/ 1755643 w 3619034"/>
              <a:gd name="connsiteY53" fmla="*/ 290512 h 1563755"/>
              <a:gd name="connsiteX54" fmla="*/ 1803268 w 3619034"/>
              <a:gd name="connsiteY54" fmla="*/ 266700 h 1563755"/>
              <a:gd name="connsiteX55" fmla="*/ 1815175 w 3619034"/>
              <a:gd name="connsiteY55" fmla="*/ 233362 h 1563755"/>
              <a:gd name="connsiteX56" fmla="*/ 1855656 w 3619034"/>
              <a:gd name="connsiteY56" fmla="*/ 200025 h 1563755"/>
              <a:gd name="connsiteX57" fmla="*/ 1846131 w 3619034"/>
              <a:gd name="connsiteY57" fmla="*/ 173831 h 1563755"/>
              <a:gd name="connsiteX58" fmla="*/ 1862800 w 3619034"/>
              <a:gd name="connsiteY58" fmla="*/ 147637 h 1563755"/>
              <a:gd name="connsiteX59" fmla="*/ 1917568 w 3619034"/>
              <a:gd name="connsiteY59" fmla="*/ 169068 h 1563755"/>
              <a:gd name="connsiteX60" fmla="*/ 1965193 w 3619034"/>
              <a:gd name="connsiteY60" fmla="*/ 173831 h 1563755"/>
              <a:gd name="connsiteX61" fmla="*/ 2000912 w 3619034"/>
              <a:gd name="connsiteY61" fmla="*/ 209550 h 1563755"/>
              <a:gd name="connsiteX62" fmla="*/ 2029487 w 3619034"/>
              <a:gd name="connsiteY62" fmla="*/ 223837 h 1563755"/>
              <a:gd name="connsiteX63" fmla="*/ 2048537 w 3619034"/>
              <a:gd name="connsiteY63" fmla="*/ 280987 h 1563755"/>
              <a:gd name="connsiteX64" fmla="*/ 2117593 w 3619034"/>
              <a:gd name="connsiteY64" fmla="*/ 316706 h 1563755"/>
              <a:gd name="connsiteX65" fmla="*/ 2186650 w 3619034"/>
              <a:gd name="connsiteY65" fmla="*/ 307181 h 1563755"/>
              <a:gd name="connsiteX66" fmla="*/ 2234275 w 3619034"/>
              <a:gd name="connsiteY66" fmla="*/ 295275 h 1563755"/>
              <a:gd name="connsiteX67" fmla="*/ 2272375 w 3619034"/>
              <a:gd name="connsiteY67" fmla="*/ 307181 h 1563755"/>
              <a:gd name="connsiteX68" fmla="*/ 2322381 w 3619034"/>
              <a:gd name="connsiteY68" fmla="*/ 304800 h 1563755"/>
              <a:gd name="connsiteX69" fmla="*/ 2367625 w 3619034"/>
              <a:gd name="connsiteY69" fmla="*/ 316706 h 1563755"/>
              <a:gd name="connsiteX70" fmla="*/ 2412868 w 3619034"/>
              <a:gd name="connsiteY70" fmla="*/ 302418 h 1563755"/>
              <a:gd name="connsiteX71" fmla="*/ 2434300 w 3619034"/>
              <a:gd name="connsiteY71" fmla="*/ 276225 h 1563755"/>
              <a:gd name="connsiteX72" fmla="*/ 2512881 w 3619034"/>
              <a:gd name="connsiteY72" fmla="*/ 297656 h 1563755"/>
              <a:gd name="connsiteX73" fmla="*/ 2553362 w 3619034"/>
              <a:gd name="connsiteY73" fmla="*/ 283368 h 1563755"/>
              <a:gd name="connsiteX74" fmla="*/ 2560506 w 3619034"/>
              <a:gd name="connsiteY74" fmla="*/ 242887 h 1563755"/>
              <a:gd name="connsiteX75" fmla="*/ 2531931 w 3619034"/>
              <a:gd name="connsiteY75" fmla="*/ 195262 h 1563755"/>
              <a:gd name="connsiteX76" fmla="*/ 2515262 w 3619034"/>
              <a:gd name="connsiteY76" fmla="*/ 135731 h 1563755"/>
              <a:gd name="connsiteX77" fmla="*/ 2481925 w 3619034"/>
              <a:gd name="connsiteY77" fmla="*/ 102393 h 1563755"/>
              <a:gd name="connsiteX78" fmla="*/ 2458112 w 3619034"/>
              <a:gd name="connsiteY78" fmla="*/ 59531 h 1563755"/>
              <a:gd name="connsiteX79" fmla="*/ 2467637 w 3619034"/>
              <a:gd name="connsiteY79" fmla="*/ 38100 h 1563755"/>
              <a:gd name="connsiteX80" fmla="*/ 2503356 w 3619034"/>
              <a:gd name="connsiteY80" fmla="*/ 0 h 1563755"/>
              <a:gd name="connsiteX81" fmla="*/ 2522406 w 3619034"/>
              <a:gd name="connsiteY81" fmla="*/ 16668 h 1563755"/>
              <a:gd name="connsiteX82" fmla="*/ 2603368 w 3619034"/>
              <a:gd name="connsiteY82" fmla="*/ 30956 h 1563755"/>
              <a:gd name="connsiteX83" fmla="*/ 2686712 w 3619034"/>
              <a:gd name="connsiteY83" fmla="*/ 47625 h 1563755"/>
              <a:gd name="connsiteX84" fmla="*/ 2736718 w 3619034"/>
              <a:gd name="connsiteY84" fmla="*/ 66675 h 1563755"/>
              <a:gd name="connsiteX85" fmla="*/ 2786725 w 3619034"/>
              <a:gd name="connsiteY85" fmla="*/ 61912 h 1563755"/>
              <a:gd name="connsiteX86" fmla="*/ 2834350 w 3619034"/>
              <a:gd name="connsiteY86" fmla="*/ 92868 h 1563755"/>
              <a:gd name="connsiteX87" fmla="*/ 2877212 w 3619034"/>
              <a:gd name="connsiteY87" fmla="*/ 119062 h 1563755"/>
              <a:gd name="connsiteX88" fmla="*/ 2898643 w 3619034"/>
              <a:gd name="connsiteY88" fmla="*/ 150018 h 1563755"/>
              <a:gd name="connsiteX89" fmla="*/ 2948650 w 3619034"/>
              <a:gd name="connsiteY89" fmla="*/ 157162 h 1563755"/>
              <a:gd name="connsiteX90" fmla="*/ 2974843 w 3619034"/>
              <a:gd name="connsiteY90" fmla="*/ 202406 h 1563755"/>
              <a:gd name="connsiteX91" fmla="*/ 3001037 w 3619034"/>
              <a:gd name="connsiteY91" fmla="*/ 233362 h 1563755"/>
              <a:gd name="connsiteX92" fmla="*/ 3017706 w 3619034"/>
              <a:gd name="connsiteY92" fmla="*/ 278606 h 1563755"/>
              <a:gd name="connsiteX93" fmla="*/ 3077237 w 3619034"/>
              <a:gd name="connsiteY93" fmla="*/ 295275 h 1563755"/>
              <a:gd name="connsiteX94" fmla="*/ 3105812 w 3619034"/>
              <a:gd name="connsiteY94" fmla="*/ 326231 h 1563755"/>
              <a:gd name="connsiteX95" fmla="*/ 3127243 w 3619034"/>
              <a:gd name="connsiteY95" fmla="*/ 335756 h 1563755"/>
              <a:gd name="connsiteX96" fmla="*/ 3139150 w 3619034"/>
              <a:gd name="connsiteY96" fmla="*/ 376237 h 1563755"/>
              <a:gd name="connsiteX97" fmla="*/ 3170106 w 3619034"/>
              <a:gd name="connsiteY97" fmla="*/ 383381 h 1563755"/>
              <a:gd name="connsiteX98" fmla="*/ 3208206 w 3619034"/>
              <a:gd name="connsiteY98" fmla="*/ 447675 h 1563755"/>
              <a:gd name="connsiteX99" fmla="*/ 3203443 w 3619034"/>
              <a:gd name="connsiteY99" fmla="*/ 502443 h 1563755"/>
              <a:gd name="connsiteX100" fmla="*/ 3191537 w 3619034"/>
              <a:gd name="connsiteY100" fmla="*/ 531018 h 1563755"/>
              <a:gd name="connsiteX101" fmla="*/ 3232018 w 3619034"/>
              <a:gd name="connsiteY101" fmla="*/ 564356 h 1563755"/>
              <a:gd name="connsiteX102" fmla="*/ 3229637 w 3619034"/>
              <a:gd name="connsiteY102" fmla="*/ 647700 h 1563755"/>
              <a:gd name="connsiteX103" fmla="*/ 3210587 w 3619034"/>
              <a:gd name="connsiteY103" fmla="*/ 664368 h 1563755"/>
              <a:gd name="connsiteX104" fmla="*/ 3193918 w 3619034"/>
              <a:gd name="connsiteY104" fmla="*/ 738187 h 1563755"/>
              <a:gd name="connsiteX105" fmla="*/ 3215350 w 3619034"/>
              <a:gd name="connsiteY105" fmla="*/ 773906 h 1563755"/>
              <a:gd name="connsiteX106" fmla="*/ 3270118 w 3619034"/>
              <a:gd name="connsiteY106" fmla="*/ 797718 h 1563755"/>
              <a:gd name="connsiteX107" fmla="*/ 3308218 w 3619034"/>
              <a:gd name="connsiteY107" fmla="*/ 778668 h 1563755"/>
              <a:gd name="connsiteX108" fmla="*/ 3351081 w 3619034"/>
              <a:gd name="connsiteY108" fmla="*/ 797718 h 1563755"/>
              <a:gd name="connsiteX109" fmla="*/ 3386800 w 3619034"/>
              <a:gd name="connsiteY109" fmla="*/ 783431 h 1563755"/>
              <a:gd name="connsiteX110" fmla="*/ 3424900 w 3619034"/>
              <a:gd name="connsiteY110" fmla="*/ 826293 h 1563755"/>
              <a:gd name="connsiteX111" fmla="*/ 3503481 w 3619034"/>
              <a:gd name="connsiteY111" fmla="*/ 902493 h 1563755"/>
              <a:gd name="connsiteX112" fmla="*/ 3572537 w 3619034"/>
              <a:gd name="connsiteY112" fmla="*/ 916781 h 1563755"/>
              <a:gd name="connsiteX113" fmla="*/ 3619034 w 3619034"/>
              <a:gd name="connsiteY113" fmla="*/ 944470 h 1563755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561555 w 3577471"/>
              <a:gd name="connsiteY14" fmla="*/ 1207293 h 1507522"/>
              <a:gd name="connsiteX15" fmla="*/ 609180 w 3577471"/>
              <a:gd name="connsiteY15" fmla="*/ 1214437 h 1507522"/>
              <a:gd name="connsiteX16" fmla="*/ 630612 w 3577471"/>
              <a:gd name="connsiteY16" fmla="*/ 1214437 h 1507522"/>
              <a:gd name="connsiteX17" fmla="*/ 666330 w 3577471"/>
              <a:gd name="connsiteY17" fmla="*/ 1195387 h 1507522"/>
              <a:gd name="connsiteX18" fmla="*/ 690143 w 3577471"/>
              <a:gd name="connsiteY18" fmla="*/ 1157287 h 1507522"/>
              <a:gd name="connsiteX19" fmla="*/ 735387 w 3577471"/>
              <a:gd name="connsiteY19" fmla="*/ 1157287 h 1507522"/>
              <a:gd name="connsiteX20" fmla="*/ 761580 w 3577471"/>
              <a:gd name="connsiteY20" fmla="*/ 1119187 h 1507522"/>
              <a:gd name="connsiteX21" fmla="*/ 787774 w 3577471"/>
              <a:gd name="connsiteY21" fmla="*/ 1100137 h 1507522"/>
              <a:gd name="connsiteX22" fmla="*/ 806824 w 3577471"/>
              <a:gd name="connsiteY22" fmla="*/ 1071562 h 1507522"/>
              <a:gd name="connsiteX23" fmla="*/ 852068 w 3577471"/>
              <a:gd name="connsiteY23" fmla="*/ 1064418 h 1507522"/>
              <a:gd name="connsiteX24" fmla="*/ 863974 w 3577471"/>
              <a:gd name="connsiteY24" fmla="*/ 1031081 h 1507522"/>
              <a:gd name="connsiteX25" fmla="*/ 899693 w 3577471"/>
              <a:gd name="connsiteY25" fmla="*/ 1012031 h 1507522"/>
              <a:gd name="connsiteX26" fmla="*/ 921124 w 3577471"/>
              <a:gd name="connsiteY26" fmla="*/ 988218 h 1507522"/>
              <a:gd name="connsiteX27" fmla="*/ 1002087 w 3577471"/>
              <a:gd name="connsiteY27" fmla="*/ 966787 h 1507522"/>
              <a:gd name="connsiteX28" fmla="*/ 1016374 w 3577471"/>
              <a:gd name="connsiteY28" fmla="*/ 952500 h 1507522"/>
              <a:gd name="connsiteX29" fmla="*/ 1025899 w 3577471"/>
              <a:gd name="connsiteY29" fmla="*/ 919162 h 1507522"/>
              <a:gd name="connsiteX30" fmla="*/ 1106862 w 3577471"/>
              <a:gd name="connsiteY30" fmla="*/ 878681 h 1507522"/>
              <a:gd name="connsiteX31" fmla="*/ 1125912 w 3577471"/>
              <a:gd name="connsiteY31" fmla="*/ 873918 h 1507522"/>
              <a:gd name="connsiteX32" fmla="*/ 1185443 w 3577471"/>
              <a:gd name="connsiteY32" fmla="*/ 809625 h 1507522"/>
              <a:gd name="connsiteX33" fmla="*/ 1190205 w 3577471"/>
              <a:gd name="connsiteY33" fmla="*/ 759618 h 1507522"/>
              <a:gd name="connsiteX34" fmla="*/ 1216399 w 3577471"/>
              <a:gd name="connsiteY34" fmla="*/ 733425 h 1507522"/>
              <a:gd name="connsiteX35" fmla="*/ 1242593 w 3577471"/>
              <a:gd name="connsiteY35" fmla="*/ 728662 h 1507522"/>
              <a:gd name="connsiteX36" fmla="*/ 1304505 w 3577471"/>
              <a:gd name="connsiteY36" fmla="*/ 683418 h 1507522"/>
              <a:gd name="connsiteX37" fmla="*/ 1390230 w 3577471"/>
              <a:gd name="connsiteY37" fmla="*/ 640556 h 1507522"/>
              <a:gd name="connsiteX38" fmla="*/ 1425949 w 3577471"/>
              <a:gd name="connsiteY38" fmla="*/ 600075 h 1507522"/>
              <a:gd name="connsiteX39" fmla="*/ 1454524 w 3577471"/>
              <a:gd name="connsiteY39" fmla="*/ 585787 h 1507522"/>
              <a:gd name="connsiteX40" fmla="*/ 1461668 w 3577471"/>
              <a:gd name="connsiteY40" fmla="*/ 519112 h 1507522"/>
              <a:gd name="connsiteX41" fmla="*/ 1478337 w 3577471"/>
              <a:gd name="connsiteY41" fmla="*/ 473868 h 1507522"/>
              <a:gd name="connsiteX42" fmla="*/ 1464049 w 3577471"/>
              <a:gd name="connsiteY42" fmla="*/ 433387 h 1507522"/>
              <a:gd name="connsiteX43" fmla="*/ 1468812 w 3577471"/>
              <a:gd name="connsiteY43" fmla="*/ 347662 h 1507522"/>
              <a:gd name="connsiteX44" fmla="*/ 1464049 w 3577471"/>
              <a:gd name="connsiteY44" fmla="*/ 307181 h 1507522"/>
              <a:gd name="connsiteX45" fmla="*/ 1464049 w 3577471"/>
              <a:gd name="connsiteY45" fmla="*/ 264318 h 1507522"/>
              <a:gd name="connsiteX46" fmla="*/ 1490243 w 3577471"/>
              <a:gd name="connsiteY46" fmla="*/ 254793 h 1507522"/>
              <a:gd name="connsiteX47" fmla="*/ 1511674 w 3577471"/>
              <a:gd name="connsiteY47" fmla="*/ 271462 h 1507522"/>
              <a:gd name="connsiteX48" fmla="*/ 1525962 w 3577471"/>
              <a:gd name="connsiteY48" fmla="*/ 297656 h 1507522"/>
              <a:gd name="connsiteX49" fmla="*/ 1554537 w 3577471"/>
              <a:gd name="connsiteY49" fmla="*/ 300037 h 1507522"/>
              <a:gd name="connsiteX50" fmla="*/ 1575968 w 3577471"/>
              <a:gd name="connsiteY50" fmla="*/ 278606 h 1507522"/>
              <a:gd name="connsiteX51" fmla="*/ 1661693 w 3577471"/>
              <a:gd name="connsiteY51" fmla="*/ 280987 h 1507522"/>
              <a:gd name="connsiteX52" fmla="*/ 1714080 w 3577471"/>
              <a:gd name="connsiteY52" fmla="*/ 290512 h 1507522"/>
              <a:gd name="connsiteX53" fmla="*/ 1761705 w 3577471"/>
              <a:gd name="connsiteY53" fmla="*/ 266700 h 1507522"/>
              <a:gd name="connsiteX54" fmla="*/ 1773612 w 3577471"/>
              <a:gd name="connsiteY54" fmla="*/ 233362 h 1507522"/>
              <a:gd name="connsiteX55" fmla="*/ 1814093 w 3577471"/>
              <a:gd name="connsiteY55" fmla="*/ 200025 h 1507522"/>
              <a:gd name="connsiteX56" fmla="*/ 1804568 w 3577471"/>
              <a:gd name="connsiteY56" fmla="*/ 173831 h 1507522"/>
              <a:gd name="connsiteX57" fmla="*/ 1821237 w 3577471"/>
              <a:gd name="connsiteY57" fmla="*/ 147637 h 1507522"/>
              <a:gd name="connsiteX58" fmla="*/ 1876005 w 3577471"/>
              <a:gd name="connsiteY58" fmla="*/ 169068 h 1507522"/>
              <a:gd name="connsiteX59" fmla="*/ 1923630 w 3577471"/>
              <a:gd name="connsiteY59" fmla="*/ 173831 h 1507522"/>
              <a:gd name="connsiteX60" fmla="*/ 1959349 w 3577471"/>
              <a:gd name="connsiteY60" fmla="*/ 209550 h 1507522"/>
              <a:gd name="connsiteX61" fmla="*/ 1987924 w 3577471"/>
              <a:gd name="connsiteY61" fmla="*/ 223837 h 1507522"/>
              <a:gd name="connsiteX62" fmla="*/ 2006974 w 3577471"/>
              <a:gd name="connsiteY62" fmla="*/ 280987 h 1507522"/>
              <a:gd name="connsiteX63" fmla="*/ 2076030 w 3577471"/>
              <a:gd name="connsiteY63" fmla="*/ 316706 h 1507522"/>
              <a:gd name="connsiteX64" fmla="*/ 2145087 w 3577471"/>
              <a:gd name="connsiteY64" fmla="*/ 307181 h 1507522"/>
              <a:gd name="connsiteX65" fmla="*/ 2192712 w 3577471"/>
              <a:gd name="connsiteY65" fmla="*/ 295275 h 1507522"/>
              <a:gd name="connsiteX66" fmla="*/ 2230812 w 3577471"/>
              <a:gd name="connsiteY66" fmla="*/ 307181 h 1507522"/>
              <a:gd name="connsiteX67" fmla="*/ 2280818 w 3577471"/>
              <a:gd name="connsiteY67" fmla="*/ 304800 h 1507522"/>
              <a:gd name="connsiteX68" fmla="*/ 2326062 w 3577471"/>
              <a:gd name="connsiteY68" fmla="*/ 316706 h 1507522"/>
              <a:gd name="connsiteX69" fmla="*/ 2371305 w 3577471"/>
              <a:gd name="connsiteY69" fmla="*/ 302418 h 1507522"/>
              <a:gd name="connsiteX70" fmla="*/ 2392737 w 3577471"/>
              <a:gd name="connsiteY70" fmla="*/ 276225 h 1507522"/>
              <a:gd name="connsiteX71" fmla="*/ 2471318 w 3577471"/>
              <a:gd name="connsiteY71" fmla="*/ 297656 h 1507522"/>
              <a:gd name="connsiteX72" fmla="*/ 2511799 w 3577471"/>
              <a:gd name="connsiteY72" fmla="*/ 283368 h 1507522"/>
              <a:gd name="connsiteX73" fmla="*/ 2518943 w 3577471"/>
              <a:gd name="connsiteY73" fmla="*/ 242887 h 1507522"/>
              <a:gd name="connsiteX74" fmla="*/ 2490368 w 3577471"/>
              <a:gd name="connsiteY74" fmla="*/ 195262 h 1507522"/>
              <a:gd name="connsiteX75" fmla="*/ 2473699 w 3577471"/>
              <a:gd name="connsiteY75" fmla="*/ 135731 h 1507522"/>
              <a:gd name="connsiteX76" fmla="*/ 2440362 w 3577471"/>
              <a:gd name="connsiteY76" fmla="*/ 102393 h 1507522"/>
              <a:gd name="connsiteX77" fmla="*/ 2416549 w 3577471"/>
              <a:gd name="connsiteY77" fmla="*/ 59531 h 1507522"/>
              <a:gd name="connsiteX78" fmla="*/ 2426074 w 3577471"/>
              <a:gd name="connsiteY78" fmla="*/ 38100 h 1507522"/>
              <a:gd name="connsiteX79" fmla="*/ 2461793 w 3577471"/>
              <a:gd name="connsiteY79" fmla="*/ 0 h 1507522"/>
              <a:gd name="connsiteX80" fmla="*/ 2480843 w 3577471"/>
              <a:gd name="connsiteY80" fmla="*/ 16668 h 1507522"/>
              <a:gd name="connsiteX81" fmla="*/ 2561805 w 3577471"/>
              <a:gd name="connsiteY81" fmla="*/ 30956 h 1507522"/>
              <a:gd name="connsiteX82" fmla="*/ 2645149 w 3577471"/>
              <a:gd name="connsiteY82" fmla="*/ 47625 h 1507522"/>
              <a:gd name="connsiteX83" fmla="*/ 2695155 w 3577471"/>
              <a:gd name="connsiteY83" fmla="*/ 66675 h 1507522"/>
              <a:gd name="connsiteX84" fmla="*/ 2745162 w 3577471"/>
              <a:gd name="connsiteY84" fmla="*/ 61912 h 1507522"/>
              <a:gd name="connsiteX85" fmla="*/ 2792787 w 3577471"/>
              <a:gd name="connsiteY85" fmla="*/ 92868 h 1507522"/>
              <a:gd name="connsiteX86" fmla="*/ 2835649 w 3577471"/>
              <a:gd name="connsiteY86" fmla="*/ 119062 h 1507522"/>
              <a:gd name="connsiteX87" fmla="*/ 2857080 w 3577471"/>
              <a:gd name="connsiteY87" fmla="*/ 150018 h 1507522"/>
              <a:gd name="connsiteX88" fmla="*/ 2907087 w 3577471"/>
              <a:gd name="connsiteY88" fmla="*/ 157162 h 1507522"/>
              <a:gd name="connsiteX89" fmla="*/ 2933280 w 3577471"/>
              <a:gd name="connsiteY89" fmla="*/ 202406 h 1507522"/>
              <a:gd name="connsiteX90" fmla="*/ 2959474 w 3577471"/>
              <a:gd name="connsiteY90" fmla="*/ 233362 h 1507522"/>
              <a:gd name="connsiteX91" fmla="*/ 2976143 w 3577471"/>
              <a:gd name="connsiteY91" fmla="*/ 278606 h 1507522"/>
              <a:gd name="connsiteX92" fmla="*/ 3035674 w 3577471"/>
              <a:gd name="connsiteY92" fmla="*/ 295275 h 1507522"/>
              <a:gd name="connsiteX93" fmla="*/ 3064249 w 3577471"/>
              <a:gd name="connsiteY93" fmla="*/ 326231 h 1507522"/>
              <a:gd name="connsiteX94" fmla="*/ 3085680 w 3577471"/>
              <a:gd name="connsiteY94" fmla="*/ 335756 h 1507522"/>
              <a:gd name="connsiteX95" fmla="*/ 3097587 w 3577471"/>
              <a:gd name="connsiteY95" fmla="*/ 376237 h 1507522"/>
              <a:gd name="connsiteX96" fmla="*/ 3128543 w 3577471"/>
              <a:gd name="connsiteY96" fmla="*/ 383381 h 1507522"/>
              <a:gd name="connsiteX97" fmla="*/ 3166643 w 3577471"/>
              <a:gd name="connsiteY97" fmla="*/ 447675 h 1507522"/>
              <a:gd name="connsiteX98" fmla="*/ 3161880 w 3577471"/>
              <a:gd name="connsiteY98" fmla="*/ 502443 h 1507522"/>
              <a:gd name="connsiteX99" fmla="*/ 3149974 w 3577471"/>
              <a:gd name="connsiteY99" fmla="*/ 531018 h 1507522"/>
              <a:gd name="connsiteX100" fmla="*/ 3190455 w 3577471"/>
              <a:gd name="connsiteY100" fmla="*/ 564356 h 1507522"/>
              <a:gd name="connsiteX101" fmla="*/ 3188074 w 3577471"/>
              <a:gd name="connsiteY101" fmla="*/ 647700 h 1507522"/>
              <a:gd name="connsiteX102" fmla="*/ 3169024 w 3577471"/>
              <a:gd name="connsiteY102" fmla="*/ 664368 h 1507522"/>
              <a:gd name="connsiteX103" fmla="*/ 3152355 w 3577471"/>
              <a:gd name="connsiteY103" fmla="*/ 738187 h 1507522"/>
              <a:gd name="connsiteX104" fmla="*/ 3173787 w 3577471"/>
              <a:gd name="connsiteY104" fmla="*/ 773906 h 1507522"/>
              <a:gd name="connsiteX105" fmla="*/ 3228555 w 3577471"/>
              <a:gd name="connsiteY105" fmla="*/ 797718 h 1507522"/>
              <a:gd name="connsiteX106" fmla="*/ 3266655 w 3577471"/>
              <a:gd name="connsiteY106" fmla="*/ 778668 h 1507522"/>
              <a:gd name="connsiteX107" fmla="*/ 3309518 w 3577471"/>
              <a:gd name="connsiteY107" fmla="*/ 797718 h 1507522"/>
              <a:gd name="connsiteX108" fmla="*/ 3345237 w 3577471"/>
              <a:gd name="connsiteY108" fmla="*/ 783431 h 1507522"/>
              <a:gd name="connsiteX109" fmla="*/ 3383337 w 3577471"/>
              <a:gd name="connsiteY109" fmla="*/ 826293 h 1507522"/>
              <a:gd name="connsiteX110" fmla="*/ 3461918 w 3577471"/>
              <a:gd name="connsiteY110" fmla="*/ 902493 h 1507522"/>
              <a:gd name="connsiteX111" fmla="*/ 3530974 w 3577471"/>
              <a:gd name="connsiteY111" fmla="*/ 916781 h 1507522"/>
              <a:gd name="connsiteX112" fmla="*/ 3577471 w 3577471"/>
              <a:gd name="connsiteY112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561555 w 3577471"/>
              <a:gd name="connsiteY14" fmla="*/ 1207293 h 1507522"/>
              <a:gd name="connsiteX15" fmla="*/ 609180 w 3577471"/>
              <a:gd name="connsiteY15" fmla="*/ 1214437 h 1507522"/>
              <a:gd name="connsiteX16" fmla="*/ 630612 w 3577471"/>
              <a:gd name="connsiteY16" fmla="*/ 1214437 h 1507522"/>
              <a:gd name="connsiteX17" fmla="*/ 666330 w 3577471"/>
              <a:gd name="connsiteY17" fmla="*/ 1195387 h 1507522"/>
              <a:gd name="connsiteX18" fmla="*/ 690143 w 3577471"/>
              <a:gd name="connsiteY18" fmla="*/ 1157287 h 1507522"/>
              <a:gd name="connsiteX19" fmla="*/ 735387 w 3577471"/>
              <a:gd name="connsiteY19" fmla="*/ 1157287 h 1507522"/>
              <a:gd name="connsiteX20" fmla="*/ 761580 w 3577471"/>
              <a:gd name="connsiteY20" fmla="*/ 1119187 h 1507522"/>
              <a:gd name="connsiteX21" fmla="*/ 787774 w 3577471"/>
              <a:gd name="connsiteY21" fmla="*/ 1100137 h 1507522"/>
              <a:gd name="connsiteX22" fmla="*/ 806824 w 3577471"/>
              <a:gd name="connsiteY22" fmla="*/ 1071562 h 1507522"/>
              <a:gd name="connsiteX23" fmla="*/ 852068 w 3577471"/>
              <a:gd name="connsiteY23" fmla="*/ 1064418 h 1507522"/>
              <a:gd name="connsiteX24" fmla="*/ 899693 w 3577471"/>
              <a:gd name="connsiteY24" fmla="*/ 1012031 h 1507522"/>
              <a:gd name="connsiteX25" fmla="*/ 921124 w 3577471"/>
              <a:gd name="connsiteY25" fmla="*/ 988218 h 1507522"/>
              <a:gd name="connsiteX26" fmla="*/ 1002087 w 3577471"/>
              <a:gd name="connsiteY26" fmla="*/ 966787 h 1507522"/>
              <a:gd name="connsiteX27" fmla="*/ 1016374 w 3577471"/>
              <a:gd name="connsiteY27" fmla="*/ 952500 h 1507522"/>
              <a:gd name="connsiteX28" fmla="*/ 1025899 w 3577471"/>
              <a:gd name="connsiteY28" fmla="*/ 919162 h 1507522"/>
              <a:gd name="connsiteX29" fmla="*/ 1106862 w 3577471"/>
              <a:gd name="connsiteY29" fmla="*/ 878681 h 1507522"/>
              <a:gd name="connsiteX30" fmla="*/ 1125912 w 3577471"/>
              <a:gd name="connsiteY30" fmla="*/ 873918 h 1507522"/>
              <a:gd name="connsiteX31" fmla="*/ 1185443 w 3577471"/>
              <a:gd name="connsiteY31" fmla="*/ 809625 h 1507522"/>
              <a:gd name="connsiteX32" fmla="*/ 1190205 w 3577471"/>
              <a:gd name="connsiteY32" fmla="*/ 759618 h 1507522"/>
              <a:gd name="connsiteX33" fmla="*/ 1216399 w 3577471"/>
              <a:gd name="connsiteY33" fmla="*/ 733425 h 1507522"/>
              <a:gd name="connsiteX34" fmla="*/ 1242593 w 3577471"/>
              <a:gd name="connsiteY34" fmla="*/ 728662 h 1507522"/>
              <a:gd name="connsiteX35" fmla="*/ 1304505 w 3577471"/>
              <a:gd name="connsiteY35" fmla="*/ 683418 h 1507522"/>
              <a:gd name="connsiteX36" fmla="*/ 1390230 w 3577471"/>
              <a:gd name="connsiteY36" fmla="*/ 640556 h 1507522"/>
              <a:gd name="connsiteX37" fmla="*/ 1425949 w 3577471"/>
              <a:gd name="connsiteY37" fmla="*/ 600075 h 1507522"/>
              <a:gd name="connsiteX38" fmla="*/ 1454524 w 3577471"/>
              <a:gd name="connsiteY38" fmla="*/ 585787 h 1507522"/>
              <a:gd name="connsiteX39" fmla="*/ 1461668 w 3577471"/>
              <a:gd name="connsiteY39" fmla="*/ 519112 h 1507522"/>
              <a:gd name="connsiteX40" fmla="*/ 1478337 w 3577471"/>
              <a:gd name="connsiteY40" fmla="*/ 473868 h 1507522"/>
              <a:gd name="connsiteX41" fmla="*/ 1464049 w 3577471"/>
              <a:gd name="connsiteY41" fmla="*/ 433387 h 1507522"/>
              <a:gd name="connsiteX42" fmla="*/ 1468812 w 3577471"/>
              <a:gd name="connsiteY42" fmla="*/ 347662 h 1507522"/>
              <a:gd name="connsiteX43" fmla="*/ 1464049 w 3577471"/>
              <a:gd name="connsiteY43" fmla="*/ 307181 h 1507522"/>
              <a:gd name="connsiteX44" fmla="*/ 1464049 w 3577471"/>
              <a:gd name="connsiteY44" fmla="*/ 264318 h 1507522"/>
              <a:gd name="connsiteX45" fmla="*/ 1490243 w 3577471"/>
              <a:gd name="connsiteY45" fmla="*/ 254793 h 1507522"/>
              <a:gd name="connsiteX46" fmla="*/ 1511674 w 3577471"/>
              <a:gd name="connsiteY46" fmla="*/ 271462 h 1507522"/>
              <a:gd name="connsiteX47" fmla="*/ 1525962 w 3577471"/>
              <a:gd name="connsiteY47" fmla="*/ 297656 h 1507522"/>
              <a:gd name="connsiteX48" fmla="*/ 1554537 w 3577471"/>
              <a:gd name="connsiteY48" fmla="*/ 300037 h 1507522"/>
              <a:gd name="connsiteX49" fmla="*/ 1575968 w 3577471"/>
              <a:gd name="connsiteY49" fmla="*/ 278606 h 1507522"/>
              <a:gd name="connsiteX50" fmla="*/ 1661693 w 3577471"/>
              <a:gd name="connsiteY50" fmla="*/ 280987 h 1507522"/>
              <a:gd name="connsiteX51" fmla="*/ 1714080 w 3577471"/>
              <a:gd name="connsiteY51" fmla="*/ 290512 h 1507522"/>
              <a:gd name="connsiteX52" fmla="*/ 1761705 w 3577471"/>
              <a:gd name="connsiteY52" fmla="*/ 266700 h 1507522"/>
              <a:gd name="connsiteX53" fmla="*/ 1773612 w 3577471"/>
              <a:gd name="connsiteY53" fmla="*/ 233362 h 1507522"/>
              <a:gd name="connsiteX54" fmla="*/ 1814093 w 3577471"/>
              <a:gd name="connsiteY54" fmla="*/ 200025 h 1507522"/>
              <a:gd name="connsiteX55" fmla="*/ 1804568 w 3577471"/>
              <a:gd name="connsiteY55" fmla="*/ 173831 h 1507522"/>
              <a:gd name="connsiteX56" fmla="*/ 1821237 w 3577471"/>
              <a:gd name="connsiteY56" fmla="*/ 147637 h 1507522"/>
              <a:gd name="connsiteX57" fmla="*/ 1876005 w 3577471"/>
              <a:gd name="connsiteY57" fmla="*/ 169068 h 1507522"/>
              <a:gd name="connsiteX58" fmla="*/ 1923630 w 3577471"/>
              <a:gd name="connsiteY58" fmla="*/ 173831 h 1507522"/>
              <a:gd name="connsiteX59" fmla="*/ 1959349 w 3577471"/>
              <a:gd name="connsiteY59" fmla="*/ 209550 h 1507522"/>
              <a:gd name="connsiteX60" fmla="*/ 1987924 w 3577471"/>
              <a:gd name="connsiteY60" fmla="*/ 223837 h 1507522"/>
              <a:gd name="connsiteX61" fmla="*/ 2006974 w 3577471"/>
              <a:gd name="connsiteY61" fmla="*/ 280987 h 1507522"/>
              <a:gd name="connsiteX62" fmla="*/ 2076030 w 3577471"/>
              <a:gd name="connsiteY62" fmla="*/ 316706 h 1507522"/>
              <a:gd name="connsiteX63" fmla="*/ 2145087 w 3577471"/>
              <a:gd name="connsiteY63" fmla="*/ 307181 h 1507522"/>
              <a:gd name="connsiteX64" fmla="*/ 2192712 w 3577471"/>
              <a:gd name="connsiteY64" fmla="*/ 295275 h 1507522"/>
              <a:gd name="connsiteX65" fmla="*/ 2230812 w 3577471"/>
              <a:gd name="connsiteY65" fmla="*/ 307181 h 1507522"/>
              <a:gd name="connsiteX66" fmla="*/ 2280818 w 3577471"/>
              <a:gd name="connsiteY66" fmla="*/ 304800 h 1507522"/>
              <a:gd name="connsiteX67" fmla="*/ 2326062 w 3577471"/>
              <a:gd name="connsiteY67" fmla="*/ 316706 h 1507522"/>
              <a:gd name="connsiteX68" fmla="*/ 2371305 w 3577471"/>
              <a:gd name="connsiteY68" fmla="*/ 302418 h 1507522"/>
              <a:gd name="connsiteX69" fmla="*/ 2392737 w 3577471"/>
              <a:gd name="connsiteY69" fmla="*/ 276225 h 1507522"/>
              <a:gd name="connsiteX70" fmla="*/ 2471318 w 3577471"/>
              <a:gd name="connsiteY70" fmla="*/ 297656 h 1507522"/>
              <a:gd name="connsiteX71" fmla="*/ 2511799 w 3577471"/>
              <a:gd name="connsiteY71" fmla="*/ 283368 h 1507522"/>
              <a:gd name="connsiteX72" fmla="*/ 2518943 w 3577471"/>
              <a:gd name="connsiteY72" fmla="*/ 242887 h 1507522"/>
              <a:gd name="connsiteX73" fmla="*/ 2490368 w 3577471"/>
              <a:gd name="connsiteY73" fmla="*/ 195262 h 1507522"/>
              <a:gd name="connsiteX74" fmla="*/ 2473699 w 3577471"/>
              <a:gd name="connsiteY74" fmla="*/ 135731 h 1507522"/>
              <a:gd name="connsiteX75" fmla="*/ 2440362 w 3577471"/>
              <a:gd name="connsiteY75" fmla="*/ 102393 h 1507522"/>
              <a:gd name="connsiteX76" fmla="*/ 2416549 w 3577471"/>
              <a:gd name="connsiteY76" fmla="*/ 59531 h 1507522"/>
              <a:gd name="connsiteX77" fmla="*/ 2426074 w 3577471"/>
              <a:gd name="connsiteY77" fmla="*/ 38100 h 1507522"/>
              <a:gd name="connsiteX78" fmla="*/ 2461793 w 3577471"/>
              <a:gd name="connsiteY78" fmla="*/ 0 h 1507522"/>
              <a:gd name="connsiteX79" fmla="*/ 2480843 w 3577471"/>
              <a:gd name="connsiteY79" fmla="*/ 16668 h 1507522"/>
              <a:gd name="connsiteX80" fmla="*/ 2561805 w 3577471"/>
              <a:gd name="connsiteY80" fmla="*/ 30956 h 1507522"/>
              <a:gd name="connsiteX81" fmla="*/ 2645149 w 3577471"/>
              <a:gd name="connsiteY81" fmla="*/ 47625 h 1507522"/>
              <a:gd name="connsiteX82" fmla="*/ 2695155 w 3577471"/>
              <a:gd name="connsiteY82" fmla="*/ 66675 h 1507522"/>
              <a:gd name="connsiteX83" fmla="*/ 2745162 w 3577471"/>
              <a:gd name="connsiteY83" fmla="*/ 61912 h 1507522"/>
              <a:gd name="connsiteX84" fmla="*/ 2792787 w 3577471"/>
              <a:gd name="connsiteY84" fmla="*/ 92868 h 1507522"/>
              <a:gd name="connsiteX85" fmla="*/ 2835649 w 3577471"/>
              <a:gd name="connsiteY85" fmla="*/ 119062 h 1507522"/>
              <a:gd name="connsiteX86" fmla="*/ 2857080 w 3577471"/>
              <a:gd name="connsiteY86" fmla="*/ 150018 h 1507522"/>
              <a:gd name="connsiteX87" fmla="*/ 2907087 w 3577471"/>
              <a:gd name="connsiteY87" fmla="*/ 157162 h 1507522"/>
              <a:gd name="connsiteX88" fmla="*/ 2933280 w 3577471"/>
              <a:gd name="connsiteY88" fmla="*/ 202406 h 1507522"/>
              <a:gd name="connsiteX89" fmla="*/ 2959474 w 3577471"/>
              <a:gd name="connsiteY89" fmla="*/ 233362 h 1507522"/>
              <a:gd name="connsiteX90" fmla="*/ 2976143 w 3577471"/>
              <a:gd name="connsiteY90" fmla="*/ 278606 h 1507522"/>
              <a:gd name="connsiteX91" fmla="*/ 3035674 w 3577471"/>
              <a:gd name="connsiteY91" fmla="*/ 295275 h 1507522"/>
              <a:gd name="connsiteX92" fmla="*/ 3064249 w 3577471"/>
              <a:gd name="connsiteY92" fmla="*/ 326231 h 1507522"/>
              <a:gd name="connsiteX93" fmla="*/ 3085680 w 3577471"/>
              <a:gd name="connsiteY93" fmla="*/ 335756 h 1507522"/>
              <a:gd name="connsiteX94" fmla="*/ 3097587 w 3577471"/>
              <a:gd name="connsiteY94" fmla="*/ 376237 h 1507522"/>
              <a:gd name="connsiteX95" fmla="*/ 3128543 w 3577471"/>
              <a:gd name="connsiteY95" fmla="*/ 383381 h 1507522"/>
              <a:gd name="connsiteX96" fmla="*/ 3166643 w 3577471"/>
              <a:gd name="connsiteY96" fmla="*/ 447675 h 1507522"/>
              <a:gd name="connsiteX97" fmla="*/ 3161880 w 3577471"/>
              <a:gd name="connsiteY97" fmla="*/ 502443 h 1507522"/>
              <a:gd name="connsiteX98" fmla="*/ 3149974 w 3577471"/>
              <a:gd name="connsiteY98" fmla="*/ 531018 h 1507522"/>
              <a:gd name="connsiteX99" fmla="*/ 3190455 w 3577471"/>
              <a:gd name="connsiteY99" fmla="*/ 564356 h 1507522"/>
              <a:gd name="connsiteX100" fmla="*/ 3188074 w 3577471"/>
              <a:gd name="connsiteY100" fmla="*/ 647700 h 1507522"/>
              <a:gd name="connsiteX101" fmla="*/ 3169024 w 3577471"/>
              <a:gd name="connsiteY101" fmla="*/ 664368 h 1507522"/>
              <a:gd name="connsiteX102" fmla="*/ 3152355 w 3577471"/>
              <a:gd name="connsiteY102" fmla="*/ 738187 h 1507522"/>
              <a:gd name="connsiteX103" fmla="*/ 3173787 w 3577471"/>
              <a:gd name="connsiteY103" fmla="*/ 773906 h 1507522"/>
              <a:gd name="connsiteX104" fmla="*/ 3228555 w 3577471"/>
              <a:gd name="connsiteY104" fmla="*/ 797718 h 1507522"/>
              <a:gd name="connsiteX105" fmla="*/ 3266655 w 3577471"/>
              <a:gd name="connsiteY105" fmla="*/ 778668 h 1507522"/>
              <a:gd name="connsiteX106" fmla="*/ 3309518 w 3577471"/>
              <a:gd name="connsiteY106" fmla="*/ 797718 h 1507522"/>
              <a:gd name="connsiteX107" fmla="*/ 3345237 w 3577471"/>
              <a:gd name="connsiteY107" fmla="*/ 783431 h 1507522"/>
              <a:gd name="connsiteX108" fmla="*/ 3383337 w 3577471"/>
              <a:gd name="connsiteY108" fmla="*/ 826293 h 1507522"/>
              <a:gd name="connsiteX109" fmla="*/ 3461918 w 3577471"/>
              <a:gd name="connsiteY109" fmla="*/ 902493 h 1507522"/>
              <a:gd name="connsiteX110" fmla="*/ 3530974 w 3577471"/>
              <a:gd name="connsiteY110" fmla="*/ 916781 h 1507522"/>
              <a:gd name="connsiteX111" fmla="*/ 3577471 w 3577471"/>
              <a:gd name="connsiteY111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561555 w 3577471"/>
              <a:gd name="connsiteY14" fmla="*/ 1207293 h 1507522"/>
              <a:gd name="connsiteX15" fmla="*/ 609180 w 3577471"/>
              <a:gd name="connsiteY15" fmla="*/ 1214437 h 1507522"/>
              <a:gd name="connsiteX16" fmla="*/ 630612 w 3577471"/>
              <a:gd name="connsiteY16" fmla="*/ 1214437 h 1507522"/>
              <a:gd name="connsiteX17" fmla="*/ 666330 w 3577471"/>
              <a:gd name="connsiteY17" fmla="*/ 1195387 h 1507522"/>
              <a:gd name="connsiteX18" fmla="*/ 690143 w 3577471"/>
              <a:gd name="connsiteY18" fmla="*/ 1157287 h 1507522"/>
              <a:gd name="connsiteX19" fmla="*/ 735387 w 3577471"/>
              <a:gd name="connsiteY19" fmla="*/ 1157287 h 1507522"/>
              <a:gd name="connsiteX20" fmla="*/ 761580 w 3577471"/>
              <a:gd name="connsiteY20" fmla="*/ 1119187 h 1507522"/>
              <a:gd name="connsiteX21" fmla="*/ 787774 w 3577471"/>
              <a:gd name="connsiteY21" fmla="*/ 1100137 h 1507522"/>
              <a:gd name="connsiteX22" fmla="*/ 806824 w 3577471"/>
              <a:gd name="connsiteY22" fmla="*/ 1071562 h 1507522"/>
              <a:gd name="connsiteX23" fmla="*/ 899693 w 3577471"/>
              <a:gd name="connsiteY23" fmla="*/ 1012031 h 1507522"/>
              <a:gd name="connsiteX24" fmla="*/ 921124 w 3577471"/>
              <a:gd name="connsiteY24" fmla="*/ 988218 h 1507522"/>
              <a:gd name="connsiteX25" fmla="*/ 1002087 w 3577471"/>
              <a:gd name="connsiteY25" fmla="*/ 966787 h 1507522"/>
              <a:gd name="connsiteX26" fmla="*/ 1016374 w 3577471"/>
              <a:gd name="connsiteY26" fmla="*/ 952500 h 1507522"/>
              <a:gd name="connsiteX27" fmla="*/ 1025899 w 3577471"/>
              <a:gd name="connsiteY27" fmla="*/ 919162 h 1507522"/>
              <a:gd name="connsiteX28" fmla="*/ 1106862 w 3577471"/>
              <a:gd name="connsiteY28" fmla="*/ 878681 h 1507522"/>
              <a:gd name="connsiteX29" fmla="*/ 1125912 w 3577471"/>
              <a:gd name="connsiteY29" fmla="*/ 873918 h 1507522"/>
              <a:gd name="connsiteX30" fmla="*/ 1185443 w 3577471"/>
              <a:gd name="connsiteY30" fmla="*/ 809625 h 1507522"/>
              <a:gd name="connsiteX31" fmla="*/ 1190205 w 3577471"/>
              <a:gd name="connsiteY31" fmla="*/ 759618 h 1507522"/>
              <a:gd name="connsiteX32" fmla="*/ 1216399 w 3577471"/>
              <a:gd name="connsiteY32" fmla="*/ 733425 h 1507522"/>
              <a:gd name="connsiteX33" fmla="*/ 1242593 w 3577471"/>
              <a:gd name="connsiteY33" fmla="*/ 728662 h 1507522"/>
              <a:gd name="connsiteX34" fmla="*/ 1304505 w 3577471"/>
              <a:gd name="connsiteY34" fmla="*/ 683418 h 1507522"/>
              <a:gd name="connsiteX35" fmla="*/ 1390230 w 3577471"/>
              <a:gd name="connsiteY35" fmla="*/ 640556 h 1507522"/>
              <a:gd name="connsiteX36" fmla="*/ 1425949 w 3577471"/>
              <a:gd name="connsiteY36" fmla="*/ 600075 h 1507522"/>
              <a:gd name="connsiteX37" fmla="*/ 1454524 w 3577471"/>
              <a:gd name="connsiteY37" fmla="*/ 585787 h 1507522"/>
              <a:gd name="connsiteX38" fmla="*/ 1461668 w 3577471"/>
              <a:gd name="connsiteY38" fmla="*/ 519112 h 1507522"/>
              <a:gd name="connsiteX39" fmla="*/ 1478337 w 3577471"/>
              <a:gd name="connsiteY39" fmla="*/ 473868 h 1507522"/>
              <a:gd name="connsiteX40" fmla="*/ 1464049 w 3577471"/>
              <a:gd name="connsiteY40" fmla="*/ 433387 h 1507522"/>
              <a:gd name="connsiteX41" fmla="*/ 1468812 w 3577471"/>
              <a:gd name="connsiteY41" fmla="*/ 347662 h 1507522"/>
              <a:gd name="connsiteX42" fmla="*/ 1464049 w 3577471"/>
              <a:gd name="connsiteY42" fmla="*/ 307181 h 1507522"/>
              <a:gd name="connsiteX43" fmla="*/ 1464049 w 3577471"/>
              <a:gd name="connsiteY43" fmla="*/ 264318 h 1507522"/>
              <a:gd name="connsiteX44" fmla="*/ 1490243 w 3577471"/>
              <a:gd name="connsiteY44" fmla="*/ 254793 h 1507522"/>
              <a:gd name="connsiteX45" fmla="*/ 1511674 w 3577471"/>
              <a:gd name="connsiteY45" fmla="*/ 271462 h 1507522"/>
              <a:gd name="connsiteX46" fmla="*/ 1525962 w 3577471"/>
              <a:gd name="connsiteY46" fmla="*/ 297656 h 1507522"/>
              <a:gd name="connsiteX47" fmla="*/ 1554537 w 3577471"/>
              <a:gd name="connsiteY47" fmla="*/ 300037 h 1507522"/>
              <a:gd name="connsiteX48" fmla="*/ 1575968 w 3577471"/>
              <a:gd name="connsiteY48" fmla="*/ 278606 h 1507522"/>
              <a:gd name="connsiteX49" fmla="*/ 1661693 w 3577471"/>
              <a:gd name="connsiteY49" fmla="*/ 280987 h 1507522"/>
              <a:gd name="connsiteX50" fmla="*/ 1714080 w 3577471"/>
              <a:gd name="connsiteY50" fmla="*/ 290512 h 1507522"/>
              <a:gd name="connsiteX51" fmla="*/ 1761705 w 3577471"/>
              <a:gd name="connsiteY51" fmla="*/ 266700 h 1507522"/>
              <a:gd name="connsiteX52" fmla="*/ 1773612 w 3577471"/>
              <a:gd name="connsiteY52" fmla="*/ 233362 h 1507522"/>
              <a:gd name="connsiteX53" fmla="*/ 1814093 w 3577471"/>
              <a:gd name="connsiteY53" fmla="*/ 200025 h 1507522"/>
              <a:gd name="connsiteX54" fmla="*/ 1804568 w 3577471"/>
              <a:gd name="connsiteY54" fmla="*/ 173831 h 1507522"/>
              <a:gd name="connsiteX55" fmla="*/ 1821237 w 3577471"/>
              <a:gd name="connsiteY55" fmla="*/ 147637 h 1507522"/>
              <a:gd name="connsiteX56" fmla="*/ 1876005 w 3577471"/>
              <a:gd name="connsiteY56" fmla="*/ 169068 h 1507522"/>
              <a:gd name="connsiteX57" fmla="*/ 1923630 w 3577471"/>
              <a:gd name="connsiteY57" fmla="*/ 173831 h 1507522"/>
              <a:gd name="connsiteX58" fmla="*/ 1959349 w 3577471"/>
              <a:gd name="connsiteY58" fmla="*/ 209550 h 1507522"/>
              <a:gd name="connsiteX59" fmla="*/ 1987924 w 3577471"/>
              <a:gd name="connsiteY59" fmla="*/ 223837 h 1507522"/>
              <a:gd name="connsiteX60" fmla="*/ 2006974 w 3577471"/>
              <a:gd name="connsiteY60" fmla="*/ 280987 h 1507522"/>
              <a:gd name="connsiteX61" fmla="*/ 2076030 w 3577471"/>
              <a:gd name="connsiteY61" fmla="*/ 316706 h 1507522"/>
              <a:gd name="connsiteX62" fmla="*/ 2145087 w 3577471"/>
              <a:gd name="connsiteY62" fmla="*/ 307181 h 1507522"/>
              <a:gd name="connsiteX63" fmla="*/ 2192712 w 3577471"/>
              <a:gd name="connsiteY63" fmla="*/ 295275 h 1507522"/>
              <a:gd name="connsiteX64" fmla="*/ 2230812 w 3577471"/>
              <a:gd name="connsiteY64" fmla="*/ 307181 h 1507522"/>
              <a:gd name="connsiteX65" fmla="*/ 2280818 w 3577471"/>
              <a:gd name="connsiteY65" fmla="*/ 304800 h 1507522"/>
              <a:gd name="connsiteX66" fmla="*/ 2326062 w 3577471"/>
              <a:gd name="connsiteY66" fmla="*/ 316706 h 1507522"/>
              <a:gd name="connsiteX67" fmla="*/ 2371305 w 3577471"/>
              <a:gd name="connsiteY67" fmla="*/ 302418 h 1507522"/>
              <a:gd name="connsiteX68" fmla="*/ 2392737 w 3577471"/>
              <a:gd name="connsiteY68" fmla="*/ 276225 h 1507522"/>
              <a:gd name="connsiteX69" fmla="*/ 2471318 w 3577471"/>
              <a:gd name="connsiteY69" fmla="*/ 297656 h 1507522"/>
              <a:gd name="connsiteX70" fmla="*/ 2511799 w 3577471"/>
              <a:gd name="connsiteY70" fmla="*/ 283368 h 1507522"/>
              <a:gd name="connsiteX71" fmla="*/ 2518943 w 3577471"/>
              <a:gd name="connsiteY71" fmla="*/ 242887 h 1507522"/>
              <a:gd name="connsiteX72" fmla="*/ 2490368 w 3577471"/>
              <a:gd name="connsiteY72" fmla="*/ 195262 h 1507522"/>
              <a:gd name="connsiteX73" fmla="*/ 2473699 w 3577471"/>
              <a:gd name="connsiteY73" fmla="*/ 135731 h 1507522"/>
              <a:gd name="connsiteX74" fmla="*/ 2440362 w 3577471"/>
              <a:gd name="connsiteY74" fmla="*/ 102393 h 1507522"/>
              <a:gd name="connsiteX75" fmla="*/ 2416549 w 3577471"/>
              <a:gd name="connsiteY75" fmla="*/ 59531 h 1507522"/>
              <a:gd name="connsiteX76" fmla="*/ 2426074 w 3577471"/>
              <a:gd name="connsiteY76" fmla="*/ 38100 h 1507522"/>
              <a:gd name="connsiteX77" fmla="*/ 2461793 w 3577471"/>
              <a:gd name="connsiteY77" fmla="*/ 0 h 1507522"/>
              <a:gd name="connsiteX78" fmla="*/ 2480843 w 3577471"/>
              <a:gd name="connsiteY78" fmla="*/ 16668 h 1507522"/>
              <a:gd name="connsiteX79" fmla="*/ 2561805 w 3577471"/>
              <a:gd name="connsiteY79" fmla="*/ 30956 h 1507522"/>
              <a:gd name="connsiteX80" fmla="*/ 2645149 w 3577471"/>
              <a:gd name="connsiteY80" fmla="*/ 47625 h 1507522"/>
              <a:gd name="connsiteX81" fmla="*/ 2695155 w 3577471"/>
              <a:gd name="connsiteY81" fmla="*/ 66675 h 1507522"/>
              <a:gd name="connsiteX82" fmla="*/ 2745162 w 3577471"/>
              <a:gd name="connsiteY82" fmla="*/ 61912 h 1507522"/>
              <a:gd name="connsiteX83" fmla="*/ 2792787 w 3577471"/>
              <a:gd name="connsiteY83" fmla="*/ 92868 h 1507522"/>
              <a:gd name="connsiteX84" fmla="*/ 2835649 w 3577471"/>
              <a:gd name="connsiteY84" fmla="*/ 119062 h 1507522"/>
              <a:gd name="connsiteX85" fmla="*/ 2857080 w 3577471"/>
              <a:gd name="connsiteY85" fmla="*/ 150018 h 1507522"/>
              <a:gd name="connsiteX86" fmla="*/ 2907087 w 3577471"/>
              <a:gd name="connsiteY86" fmla="*/ 157162 h 1507522"/>
              <a:gd name="connsiteX87" fmla="*/ 2933280 w 3577471"/>
              <a:gd name="connsiteY87" fmla="*/ 202406 h 1507522"/>
              <a:gd name="connsiteX88" fmla="*/ 2959474 w 3577471"/>
              <a:gd name="connsiteY88" fmla="*/ 233362 h 1507522"/>
              <a:gd name="connsiteX89" fmla="*/ 2976143 w 3577471"/>
              <a:gd name="connsiteY89" fmla="*/ 278606 h 1507522"/>
              <a:gd name="connsiteX90" fmla="*/ 3035674 w 3577471"/>
              <a:gd name="connsiteY90" fmla="*/ 295275 h 1507522"/>
              <a:gd name="connsiteX91" fmla="*/ 3064249 w 3577471"/>
              <a:gd name="connsiteY91" fmla="*/ 326231 h 1507522"/>
              <a:gd name="connsiteX92" fmla="*/ 3085680 w 3577471"/>
              <a:gd name="connsiteY92" fmla="*/ 335756 h 1507522"/>
              <a:gd name="connsiteX93" fmla="*/ 3097587 w 3577471"/>
              <a:gd name="connsiteY93" fmla="*/ 376237 h 1507522"/>
              <a:gd name="connsiteX94" fmla="*/ 3128543 w 3577471"/>
              <a:gd name="connsiteY94" fmla="*/ 383381 h 1507522"/>
              <a:gd name="connsiteX95" fmla="*/ 3166643 w 3577471"/>
              <a:gd name="connsiteY95" fmla="*/ 447675 h 1507522"/>
              <a:gd name="connsiteX96" fmla="*/ 3161880 w 3577471"/>
              <a:gd name="connsiteY96" fmla="*/ 502443 h 1507522"/>
              <a:gd name="connsiteX97" fmla="*/ 3149974 w 3577471"/>
              <a:gd name="connsiteY97" fmla="*/ 531018 h 1507522"/>
              <a:gd name="connsiteX98" fmla="*/ 3190455 w 3577471"/>
              <a:gd name="connsiteY98" fmla="*/ 564356 h 1507522"/>
              <a:gd name="connsiteX99" fmla="*/ 3188074 w 3577471"/>
              <a:gd name="connsiteY99" fmla="*/ 647700 h 1507522"/>
              <a:gd name="connsiteX100" fmla="*/ 3169024 w 3577471"/>
              <a:gd name="connsiteY100" fmla="*/ 664368 h 1507522"/>
              <a:gd name="connsiteX101" fmla="*/ 3152355 w 3577471"/>
              <a:gd name="connsiteY101" fmla="*/ 738187 h 1507522"/>
              <a:gd name="connsiteX102" fmla="*/ 3173787 w 3577471"/>
              <a:gd name="connsiteY102" fmla="*/ 773906 h 1507522"/>
              <a:gd name="connsiteX103" fmla="*/ 3228555 w 3577471"/>
              <a:gd name="connsiteY103" fmla="*/ 797718 h 1507522"/>
              <a:gd name="connsiteX104" fmla="*/ 3266655 w 3577471"/>
              <a:gd name="connsiteY104" fmla="*/ 778668 h 1507522"/>
              <a:gd name="connsiteX105" fmla="*/ 3309518 w 3577471"/>
              <a:gd name="connsiteY105" fmla="*/ 797718 h 1507522"/>
              <a:gd name="connsiteX106" fmla="*/ 3345237 w 3577471"/>
              <a:gd name="connsiteY106" fmla="*/ 783431 h 1507522"/>
              <a:gd name="connsiteX107" fmla="*/ 3383337 w 3577471"/>
              <a:gd name="connsiteY107" fmla="*/ 826293 h 1507522"/>
              <a:gd name="connsiteX108" fmla="*/ 3461918 w 3577471"/>
              <a:gd name="connsiteY108" fmla="*/ 902493 h 1507522"/>
              <a:gd name="connsiteX109" fmla="*/ 3530974 w 3577471"/>
              <a:gd name="connsiteY109" fmla="*/ 916781 h 1507522"/>
              <a:gd name="connsiteX110" fmla="*/ 3577471 w 3577471"/>
              <a:gd name="connsiteY110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561555 w 3577471"/>
              <a:gd name="connsiteY14" fmla="*/ 1207293 h 1507522"/>
              <a:gd name="connsiteX15" fmla="*/ 609180 w 3577471"/>
              <a:gd name="connsiteY15" fmla="*/ 1214437 h 1507522"/>
              <a:gd name="connsiteX16" fmla="*/ 630612 w 3577471"/>
              <a:gd name="connsiteY16" fmla="*/ 1214437 h 1507522"/>
              <a:gd name="connsiteX17" fmla="*/ 666330 w 3577471"/>
              <a:gd name="connsiteY17" fmla="*/ 1195387 h 1507522"/>
              <a:gd name="connsiteX18" fmla="*/ 690143 w 3577471"/>
              <a:gd name="connsiteY18" fmla="*/ 1157287 h 1507522"/>
              <a:gd name="connsiteX19" fmla="*/ 735387 w 3577471"/>
              <a:gd name="connsiteY19" fmla="*/ 1157287 h 1507522"/>
              <a:gd name="connsiteX20" fmla="*/ 761580 w 3577471"/>
              <a:gd name="connsiteY20" fmla="*/ 1119187 h 1507522"/>
              <a:gd name="connsiteX21" fmla="*/ 787774 w 3577471"/>
              <a:gd name="connsiteY21" fmla="*/ 1100137 h 1507522"/>
              <a:gd name="connsiteX22" fmla="*/ 899693 w 3577471"/>
              <a:gd name="connsiteY22" fmla="*/ 1012031 h 1507522"/>
              <a:gd name="connsiteX23" fmla="*/ 921124 w 3577471"/>
              <a:gd name="connsiteY23" fmla="*/ 988218 h 1507522"/>
              <a:gd name="connsiteX24" fmla="*/ 1002087 w 3577471"/>
              <a:gd name="connsiteY24" fmla="*/ 966787 h 1507522"/>
              <a:gd name="connsiteX25" fmla="*/ 1016374 w 3577471"/>
              <a:gd name="connsiteY25" fmla="*/ 952500 h 1507522"/>
              <a:gd name="connsiteX26" fmla="*/ 1025899 w 3577471"/>
              <a:gd name="connsiteY26" fmla="*/ 919162 h 1507522"/>
              <a:gd name="connsiteX27" fmla="*/ 1106862 w 3577471"/>
              <a:gd name="connsiteY27" fmla="*/ 878681 h 1507522"/>
              <a:gd name="connsiteX28" fmla="*/ 1125912 w 3577471"/>
              <a:gd name="connsiteY28" fmla="*/ 873918 h 1507522"/>
              <a:gd name="connsiteX29" fmla="*/ 1185443 w 3577471"/>
              <a:gd name="connsiteY29" fmla="*/ 809625 h 1507522"/>
              <a:gd name="connsiteX30" fmla="*/ 1190205 w 3577471"/>
              <a:gd name="connsiteY30" fmla="*/ 759618 h 1507522"/>
              <a:gd name="connsiteX31" fmla="*/ 1216399 w 3577471"/>
              <a:gd name="connsiteY31" fmla="*/ 733425 h 1507522"/>
              <a:gd name="connsiteX32" fmla="*/ 1242593 w 3577471"/>
              <a:gd name="connsiteY32" fmla="*/ 728662 h 1507522"/>
              <a:gd name="connsiteX33" fmla="*/ 1304505 w 3577471"/>
              <a:gd name="connsiteY33" fmla="*/ 683418 h 1507522"/>
              <a:gd name="connsiteX34" fmla="*/ 1390230 w 3577471"/>
              <a:gd name="connsiteY34" fmla="*/ 640556 h 1507522"/>
              <a:gd name="connsiteX35" fmla="*/ 1425949 w 3577471"/>
              <a:gd name="connsiteY35" fmla="*/ 600075 h 1507522"/>
              <a:gd name="connsiteX36" fmla="*/ 1454524 w 3577471"/>
              <a:gd name="connsiteY36" fmla="*/ 585787 h 1507522"/>
              <a:gd name="connsiteX37" fmla="*/ 1461668 w 3577471"/>
              <a:gd name="connsiteY37" fmla="*/ 519112 h 1507522"/>
              <a:gd name="connsiteX38" fmla="*/ 1478337 w 3577471"/>
              <a:gd name="connsiteY38" fmla="*/ 473868 h 1507522"/>
              <a:gd name="connsiteX39" fmla="*/ 1464049 w 3577471"/>
              <a:gd name="connsiteY39" fmla="*/ 433387 h 1507522"/>
              <a:gd name="connsiteX40" fmla="*/ 1468812 w 3577471"/>
              <a:gd name="connsiteY40" fmla="*/ 347662 h 1507522"/>
              <a:gd name="connsiteX41" fmla="*/ 1464049 w 3577471"/>
              <a:gd name="connsiteY41" fmla="*/ 307181 h 1507522"/>
              <a:gd name="connsiteX42" fmla="*/ 1464049 w 3577471"/>
              <a:gd name="connsiteY42" fmla="*/ 264318 h 1507522"/>
              <a:gd name="connsiteX43" fmla="*/ 1490243 w 3577471"/>
              <a:gd name="connsiteY43" fmla="*/ 254793 h 1507522"/>
              <a:gd name="connsiteX44" fmla="*/ 1511674 w 3577471"/>
              <a:gd name="connsiteY44" fmla="*/ 271462 h 1507522"/>
              <a:gd name="connsiteX45" fmla="*/ 1525962 w 3577471"/>
              <a:gd name="connsiteY45" fmla="*/ 297656 h 1507522"/>
              <a:gd name="connsiteX46" fmla="*/ 1554537 w 3577471"/>
              <a:gd name="connsiteY46" fmla="*/ 300037 h 1507522"/>
              <a:gd name="connsiteX47" fmla="*/ 1575968 w 3577471"/>
              <a:gd name="connsiteY47" fmla="*/ 278606 h 1507522"/>
              <a:gd name="connsiteX48" fmla="*/ 1661693 w 3577471"/>
              <a:gd name="connsiteY48" fmla="*/ 280987 h 1507522"/>
              <a:gd name="connsiteX49" fmla="*/ 1714080 w 3577471"/>
              <a:gd name="connsiteY49" fmla="*/ 290512 h 1507522"/>
              <a:gd name="connsiteX50" fmla="*/ 1761705 w 3577471"/>
              <a:gd name="connsiteY50" fmla="*/ 266700 h 1507522"/>
              <a:gd name="connsiteX51" fmla="*/ 1773612 w 3577471"/>
              <a:gd name="connsiteY51" fmla="*/ 233362 h 1507522"/>
              <a:gd name="connsiteX52" fmla="*/ 1814093 w 3577471"/>
              <a:gd name="connsiteY52" fmla="*/ 200025 h 1507522"/>
              <a:gd name="connsiteX53" fmla="*/ 1804568 w 3577471"/>
              <a:gd name="connsiteY53" fmla="*/ 173831 h 1507522"/>
              <a:gd name="connsiteX54" fmla="*/ 1821237 w 3577471"/>
              <a:gd name="connsiteY54" fmla="*/ 147637 h 1507522"/>
              <a:gd name="connsiteX55" fmla="*/ 1876005 w 3577471"/>
              <a:gd name="connsiteY55" fmla="*/ 169068 h 1507522"/>
              <a:gd name="connsiteX56" fmla="*/ 1923630 w 3577471"/>
              <a:gd name="connsiteY56" fmla="*/ 173831 h 1507522"/>
              <a:gd name="connsiteX57" fmla="*/ 1959349 w 3577471"/>
              <a:gd name="connsiteY57" fmla="*/ 209550 h 1507522"/>
              <a:gd name="connsiteX58" fmla="*/ 1987924 w 3577471"/>
              <a:gd name="connsiteY58" fmla="*/ 223837 h 1507522"/>
              <a:gd name="connsiteX59" fmla="*/ 2006974 w 3577471"/>
              <a:gd name="connsiteY59" fmla="*/ 280987 h 1507522"/>
              <a:gd name="connsiteX60" fmla="*/ 2076030 w 3577471"/>
              <a:gd name="connsiteY60" fmla="*/ 316706 h 1507522"/>
              <a:gd name="connsiteX61" fmla="*/ 2145087 w 3577471"/>
              <a:gd name="connsiteY61" fmla="*/ 307181 h 1507522"/>
              <a:gd name="connsiteX62" fmla="*/ 2192712 w 3577471"/>
              <a:gd name="connsiteY62" fmla="*/ 295275 h 1507522"/>
              <a:gd name="connsiteX63" fmla="*/ 2230812 w 3577471"/>
              <a:gd name="connsiteY63" fmla="*/ 307181 h 1507522"/>
              <a:gd name="connsiteX64" fmla="*/ 2280818 w 3577471"/>
              <a:gd name="connsiteY64" fmla="*/ 304800 h 1507522"/>
              <a:gd name="connsiteX65" fmla="*/ 2326062 w 3577471"/>
              <a:gd name="connsiteY65" fmla="*/ 316706 h 1507522"/>
              <a:gd name="connsiteX66" fmla="*/ 2371305 w 3577471"/>
              <a:gd name="connsiteY66" fmla="*/ 302418 h 1507522"/>
              <a:gd name="connsiteX67" fmla="*/ 2392737 w 3577471"/>
              <a:gd name="connsiteY67" fmla="*/ 276225 h 1507522"/>
              <a:gd name="connsiteX68" fmla="*/ 2471318 w 3577471"/>
              <a:gd name="connsiteY68" fmla="*/ 297656 h 1507522"/>
              <a:gd name="connsiteX69" fmla="*/ 2511799 w 3577471"/>
              <a:gd name="connsiteY69" fmla="*/ 283368 h 1507522"/>
              <a:gd name="connsiteX70" fmla="*/ 2518943 w 3577471"/>
              <a:gd name="connsiteY70" fmla="*/ 242887 h 1507522"/>
              <a:gd name="connsiteX71" fmla="*/ 2490368 w 3577471"/>
              <a:gd name="connsiteY71" fmla="*/ 195262 h 1507522"/>
              <a:gd name="connsiteX72" fmla="*/ 2473699 w 3577471"/>
              <a:gd name="connsiteY72" fmla="*/ 135731 h 1507522"/>
              <a:gd name="connsiteX73" fmla="*/ 2440362 w 3577471"/>
              <a:gd name="connsiteY73" fmla="*/ 102393 h 1507522"/>
              <a:gd name="connsiteX74" fmla="*/ 2416549 w 3577471"/>
              <a:gd name="connsiteY74" fmla="*/ 59531 h 1507522"/>
              <a:gd name="connsiteX75" fmla="*/ 2426074 w 3577471"/>
              <a:gd name="connsiteY75" fmla="*/ 38100 h 1507522"/>
              <a:gd name="connsiteX76" fmla="*/ 2461793 w 3577471"/>
              <a:gd name="connsiteY76" fmla="*/ 0 h 1507522"/>
              <a:gd name="connsiteX77" fmla="*/ 2480843 w 3577471"/>
              <a:gd name="connsiteY77" fmla="*/ 16668 h 1507522"/>
              <a:gd name="connsiteX78" fmla="*/ 2561805 w 3577471"/>
              <a:gd name="connsiteY78" fmla="*/ 30956 h 1507522"/>
              <a:gd name="connsiteX79" fmla="*/ 2645149 w 3577471"/>
              <a:gd name="connsiteY79" fmla="*/ 47625 h 1507522"/>
              <a:gd name="connsiteX80" fmla="*/ 2695155 w 3577471"/>
              <a:gd name="connsiteY80" fmla="*/ 66675 h 1507522"/>
              <a:gd name="connsiteX81" fmla="*/ 2745162 w 3577471"/>
              <a:gd name="connsiteY81" fmla="*/ 61912 h 1507522"/>
              <a:gd name="connsiteX82" fmla="*/ 2792787 w 3577471"/>
              <a:gd name="connsiteY82" fmla="*/ 92868 h 1507522"/>
              <a:gd name="connsiteX83" fmla="*/ 2835649 w 3577471"/>
              <a:gd name="connsiteY83" fmla="*/ 119062 h 1507522"/>
              <a:gd name="connsiteX84" fmla="*/ 2857080 w 3577471"/>
              <a:gd name="connsiteY84" fmla="*/ 150018 h 1507522"/>
              <a:gd name="connsiteX85" fmla="*/ 2907087 w 3577471"/>
              <a:gd name="connsiteY85" fmla="*/ 157162 h 1507522"/>
              <a:gd name="connsiteX86" fmla="*/ 2933280 w 3577471"/>
              <a:gd name="connsiteY86" fmla="*/ 202406 h 1507522"/>
              <a:gd name="connsiteX87" fmla="*/ 2959474 w 3577471"/>
              <a:gd name="connsiteY87" fmla="*/ 233362 h 1507522"/>
              <a:gd name="connsiteX88" fmla="*/ 2976143 w 3577471"/>
              <a:gd name="connsiteY88" fmla="*/ 278606 h 1507522"/>
              <a:gd name="connsiteX89" fmla="*/ 3035674 w 3577471"/>
              <a:gd name="connsiteY89" fmla="*/ 295275 h 1507522"/>
              <a:gd name="connsiteX90" fmla="*/ 3064249 w 3577471"/>
              <a:gd name="connsiteY90" fmla="*/ 326231 h 1507522"/>
              <a:gd name="connsiteX91" fmla="*/ 3085680 w 3577471"/>
              <a:gd name="connsiteY91" fmla="*/ 335756 h 1507522"/>
              <a:gd name="connsiteX92" fmla="*/ 3097587 w 3577471"/>
              <a:gd name="connsiteY92" fmla="*/ 376237 h 1507522"/>
              <a:gd name="connsiteX93" fmla="*/ 3128543 w 3577471"/>
              <a:gd name="connsiteY93" fmla="*/ 383381 h 1507522"/>
              <a:gd name="connsiteX94" fmla="*/ 3166643 w 3577471"/>
              <a:gd name="connsiteY94" fmla="*/ 447675 h 1507522"/>
              <a:gd name="connsiteX95" fmla="*/ 3161880 w 3577471"/>
              <a:gd name="connsiteY95" fmla="*/ 502443 h 1507522"/>
              <a:gd name="connsiteX96" fmla="*/ 3149974 w 3577471"/>
              <a:gd name="connsiteY96" fmla="*/ 531018 h 1507522"/>
              <a:gd name="connsiteX97" fmla="*/ 3190455 w 3577471"/>
              <a:gd name="connsiteY97" fmla="*/ 564356 h 1507522"/>
              <a:gd name="connsiteX98" fmla="*/ 3188074 w 3577471"/>
              <a:gd name="connsiteY98" fmla="*/ 647700 h 1507522"/>
              <a:gd name="connsiteX99" fmla="*/ 3169024 w 3577471"/>
              <a:gd name="connsiteY99" fmla="*/ 664368 h 1507522"/>
              <a:gd name="connsiteX100" fmla="*/ 3152355 w 3577471"/>
              <a:gd name="connsiteY100" fmla="*/ 738187 h 1507522"/>
              <a:gd name="connsiteX101" fmla="*/ 3173787 w 3577471"/>
              <a:gd name="connsiteY101" fmla="*/ 773906 h 1507522"/>
              <a:gd name="connsiteX102" fmla="*/ 3228555 w 3577471"/>
              <a:gd name="connsiteY102" fmla="*/ 797718 h 1507522"/>
              <a:gd name="connsiteX103" fmla="*/ 3266655 w 3577471"/>
              <a:gd name="connsiteY103" fmla="*/ 778668 h 1507522"/>
              <a:gd name="connsiteX104" fmla="*/ 3309518 w 3577471"/>
              <a:gd name="connsiteY104" fmla="*/ 797718 h 1507522"/>
              <a:gd name="connsiteX105" fmla="*/ 3345237 w 3577471"/>
              <a:gd name="connsiteY105" fmla="*/ 783431 h 1507522"/>
              <a:gd name="connsiteX106" fmla="*/ 3383337 w 3577471"/>
              <a:gd name="connsiteY106" fmla="*/ 826293 h 1507522"/>
              <a:gd name="connsiteX107" fmla="*/ 3461918 w 3577471"/>
              <a:gd name="connsiteY107" fmla="*/ 902493 h 1507522"/>
              <a:gd name="connsiteX108" fmla="*/ 3530974 w 3577471"/>
              <a:gd name="connsiteY108" fmla="*/ 916781 h 1507522"/>
              <a:gd name="connsiteX109" fmla="*/ 3577471 w 3577471"/>
              <a:gd name="connsiteY109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561555 w 3577471"/>
              <a:gd name="connsiteY14" fmla="*/ 1207293 h 1507522"/>
              <a:gd name="connsiteX15" fmla="*/ 609180 w 3577471"/>
              <a:gd name="connsiteY15" fmla="*/ 1214437 h 1507522"/>
              <a:gd name="connsiteX16" fmla="*/ 630612 w 3577471"/>
              <a:gd name="connsiteY16" fmla="*/ 1214437 h 1507522"/>
              <a:gd name="connsiteX17" fmla="*/ 666330 w 3577471"/>
              <a:gd name="connsiteY17" fmla="*/ 1195387 h 1507522"/>
              <a:gd name="connsiteX18" fmla="*/ 690143 w 3577471"/>
              <a:gd name="connsiteY18" fmla="*/ 1157287 h 1507522"/>
              <a:gd name="connsiteX19" fmla="*/ 735387 w 3577471"/>
              <a:gd name="connsiteY19" fmla="*/ 1157287 h 1507522"/>
              <a:gd name="connsiteX20" fmla="*/ 787774 w 3577471"/>
              <a:gd name="connsiteY20" fmla="*/ 1100137 h 1507522"/>
              <a:gd name="connsiteX21" fmla="*/ 899693 w 3577471"/>
              <a:gd name="connsiteY21" fmla="*/ 1012031 h 1507522"/>
              <a:gd name="connsiteX22" fmla="*/ 921124 w 3577471"/>
              <a:gd name="connsiteY22" fmla="*/ 988218 h 1507522"/>
              <a:gd name="connsiteX23" fmla="*/ 1002087 w 3577471"/>
              <a:gd name="connsiteY23" fmla="*/ 966787 h 1507522"/>
              <a:gd name="connsiteX24" fmla="*/ 1016374 w 3577471"/>
              <a:gd name="connsiteY24" fmla="*/ 952500 h 1507522"/>
              <a:gd name="connsiteX25" fmla="*/ 1025899 w 3577471"/>
              <a:gd name="connsiteY25" fmla="*/ 919162 h 1507522"/>
              <a:gd name="connsiteX26" fmla="*/ 1106862 w 3577471"/>
              <a:gd name="connsiteY26" fmla="*/ 878681 h 1507522"/>
              <a:gd name="connsiteX27" fmla="*/ 1125912 w 3577471"/>
              <a:gd name="connsiteY27" fmla="*/ 873918 h 1507522"/>
              <a:gd name="connsiteX28" fmla="*/ 1185443 w 3577471"/>
              <a:gd name="connsiteY28" fmla="*/ 809625 h 1507522"/>
              <a:gd name="connsiteX29" fmla="*/ 1190205 w 3577471"/>
              <a:gd name="connsiteY29" fmla="*/ 759618 h 1507522"/>
              <a:gd name="connsiteX30" fmla="*/ 1216399 w 3577471"/>
              <a:gd name="connsiteY30" fmla="*/ 733425 h 1507522"/>
              <a:gd name="connsiteX31" fmla="*/ 1242593 w 3577471"/>
              <a:gd name="connsiteY31" fmla="*/ 728662 h 1507522"/>
              <a:gd name="connsiteX32" fmla="*/ 1304505 w 3577471"/>
              <a:gd name="connsiteY32" fmla="*/ 683418 h 1507522"/>
              <a:gd name="connsiteX33" fmla="*/ 1390230 w 3577471"/>
              <a:gd name="connsiteY33" fmla="*/ 640556 h 1507522"/>
              <a:gd name="connsiteX34" fmla="*/ 1425949 w 3577471"/>
              <a:gd name="connsiteY34" fmla="*/ 600075 h 1507522"/>
              <a:gd name="connsiteX35" fmla="*/ 1454524 w 3577471"/>
              <a:gd name="connsiteY35" fmla="*/ 585787 h 1507522"/>
              <a:gd name="connsiteX36" fmla="*/ 1461668 w 3577471"/>
              <a:gd name="connsiteY36" fmla="*/ 519112 h 1507522"/>
              <a:gd name="connsiteX37" fmla="*/ 1478337 w 3577471"/>
              <a:gd name="connsiteY37" fmla="*/ 473868 h 1507522"/>
              <a:gd name="connsiteX38" fmla="*/ 1464049 w 3577471"/>
              <a:gd name="connsiteY38" fmla="*/ 433387 h 1507522"/>
              <a:gd name="connsiteX39" fmla="*/ 1468812 w 3577471"/>
              <a:gd name="connsiteY39" fmla="*/ 347662 h 1507522"/>
              <a:gd name="connsiteX40" fmla="*/ 1464049 w 3577471"/>
              <a:gd name="connsiteY40" fmla="*/ 307181 h 1507522"/>
              <a:gd name="connsiteX41" fmla="*/ 1464049 w 3577471"/>
              <a:gd name="connsiteY41" fmla="*/ 264318 h 1507522"/>
              <a:gd name="connsiteX42" fmla="*/ 1490243 w 3577471"/>
              <a:gd name="connsiteY42" fmla="*/ 254793 h 1507522"/>
              <a:gd name="connsiteX43" fmla="*/ 1511674 w 3577471"/>
              <a:gd name="connsiteY43" fmla="*/ 271462 h 1507522"/>
              <a:gd name="connsiteX44" fmla="*/ 1525962 w 3577471"/>
              <a:gd name="connsiteY44" fmla="*/ 297656 h 1507522"/>
              <a:gd name="connsiteX45" fmla="*/ 1554537 w 3577471"/>
              <a:gd name="connsiteY45" fmla="*/ 300037 h 1507522"/>
              <a:gd name="connsiteX46" fmla="*/ 1575968 w 3577471"/>
              <a:gd name="connsiteY46" fmla="*/ 278606 h 1507522"/>
              <a:gd name="connsiteX47" fmla="*/ 1661693 w 3577471"/>
              <a:gd name="connsiteY47" fmla="*/ 280987 h 1507522"/>
              <a:gd name="connsiteX48" fmla="*/ 1714080 w 3577471"/>
              <a:gd name="connsiteY48" fmla="*/ 290512 h 1507522"/>
              <a:gd name="connsiteX49" fmla="*/ 1761705 w 3577471"/>
              <a:gd name="connsiteY49" fmla="*/ 266700 h 1507522"/>
              <a:gd name="connsiteX50" fmla="*/ 1773612 w 3577471"/>
              <a:gd name="connsiteY50" fmla="*/ 233362 h 1507522"/>
              <a:gd name="connsiteX51" fmla="*/ 1814093 w 3577471"/>
              <a:gd name="connsiteY51" fmla="*/ 200025 h 1507522"/>
              <a:gd name="connsiteX52" fmla="*/ 1804568 w 3577471"/>
              <a:gd name="connsiteY52" fmla="*/ 173831 h 1507522"/>
              <a:gd name="connsiteX53" fmla="*/ 1821237 w 3577471"/>
              <a:gd name="connsiteY53" fmla="*/ 147637 h 1507522"/>
              <a:gd name="connsiteX54" fmla="*/ 1876005 w 3577471"/>
              <a:gd name="connsiteY54" fmla="*/ 169068 h 1507522"/>
              <a:gd name="connsiteX55" fmla="*/ 1923630 w 3577471"/>
              <a:gd name="connsiteY55" fmla="*/ 173831 h 1507522"/>
              <a:gd name="connsiteX56" fmla="*/ 1959349 w 3577471"/>
              <a:gd name="connsiteY56" fmla="*/ 209550 h 1507522"/>
              <a:gd name="connsiteX57" fmla="*/ 1987924 w 3577471"/>
              <a:gd name="connsiteY57" fmla="*/ 223837 h 1507522"/>
              <a:gd name="connsiteX58" fmla="*/ 2006974 w 3577471"/>
              <a:gd name="connsiteY58" fmla="*/ 280987 h 1507522"/>
              <a:gd name="connsiteX59" fmla="*/ 2076030 w 3577471"/>
              <a:gd name="connsiteY59" fmla="*/ 316706 h 1507522"/>
              <a:gd name="connsiteX60" fmla="*/ 2145087 w 3577471"/>
              <a:gd name="connsiteY60" fmla="*/ 307181 h 1507522"/>
              <a:gd name="connsiteX61" fmla="*/ 2192712 w 3577471"/>
              <a:gd name="connsiteY61" fmla="*/ 295275 h 1507522"/>
              <a:gd name="connsiteX62" fmla="*/ 2230812 w 3577471"/>
              <a:gd name="connsiteY62" fmla="*/ 307181 h 1507522"/>
              <a:gd name="connsiteX63" fmla="*/ 2280818 w 3577471"/>
              <a:gd name="connsiteY63" fmla="*/ 304800 h 1507522"/>
              <a:gd name="connsiteX64" fmla="*/ 2326062 w 3577471"/>
              <a:gd name="connsiteY64" fmla="*/ 316706 h 1507522"/>
              <a:gd name="connsiteX65" fmla="*/ 2371305 w 3577471"/>
              <a:gd name="connsiteY65" fmla="*/ 302418 h 1507522"/>
              <a:gd name="connsiteX66" fmla="*/ 2392737 w 3577471"/>
              <a:gd name="connsiteY66" fmla="*/ 276225 h 1507522"/>
              <a:gd name="connsiteX67" fmla="*/ 2471318 w 3577471"/>
              <a:gd name="connsiteY67" fmla="*/ 297656 h 1507522"/>
              <a:gd name="connsiteX68" fmla="*/ 2511799 w 3577471"/>
              <a:gd name="connsiteY68" fmla="*/ 283368 h 1507522"/>
              <a:gd name="connsiteX69" fmla="*/ 2518943 w 3577471"/>
              <a:gd name="connsiteY69" fmla="*/ 242887 h 1507522"/>
              <a:gd name="connsiteX70" fmla="*/ 2490368 w 3577471"/>
              <a:gd name="connsiteY70" fmla="*/ 195262 h 1507522"/>
              <a:gd name="connsiteX71" fmla="*/ 2473699 w 3577471"/>
              <a:gd name="connsiteY71" fmla="*/ 135731 h 1507522"/>
              <a:gd name="connsiteX72" fmla="*/ 2440362 w 3577471"/>
              <a:gd name="connsiteY72" fmla="*/ 102393 h 1507522"/>
              <a:gd name="connsiteX73" fmla="*/ 2416549 w 3577471"/>
              <a:gd name="connsiteY73" fmla="*/ 59531 h 1507522"/>
              <a:gd name="connsiteX74" fmla="*/ 2426074 w 3577471"/>
              <a:gd name="connsiteY74" fmla="*/ 38100 h 1507522"/>
              <a:gd name="connsiteX75" fmla="*/ 2461793 w 3577471"/>
              <a:gd name="connsiteY75" fmla="*/ 0 h 1507522"/>
              <a:gd name="connsiteX76" fmla="*/ 2480843 w 3577471"/>
              <a:gd name="connsiteY76" fmla="*/ 16668 h 1507522"/>
              <a:gd name="connsiteX77" fmla="*/ 2561805 w 3577471"/>
              <a:gd name="connsiteY77" fmla="*/ 30956 h 1507522"/>
              <a:gd name="connsiteX78" fmla="*/ 2645149 w 3577471"/>
              <a:gd name="connsiteY78" fmla="*/ 47625 h 1507522"/>
              <a:gd name="connsiteX79" fmla="*/ 2695155 w 3577471"/>
              <a:gd name="connsiteY79" fmla="*/ 66675 h 1507522"/>
              <a:gd name="connsiteX80" fmla="*/ 2745162 w 3577471"/>
              <a:gd name="connsiteY80" fmla="*/ 61912 h 1507522"/>
              <a:gd name="connsiteX81" fmla="*/ 2792787 w 3577471"/>
              <a:gd name="connsiteY81" fmla="*/ 92868 h 1507522"/>
              <a:gd name="connsiteX82" fmla="*/ 2835649 w 3577471"/>
              <a:gd name="connsiteY82" fmla="*/ 119062 h 1507522"/>
              <a:gd name="connsiteX83" fmla="*/ 2857080 w 3577471"/>
              <a:gd name="connsiteY83" fmla="*/ 150018 h 1507522"/>
              <a:gd name="connsiteX84" fmla="*/ 2907087 w 3577471"/>
              <a:gd name="connsiteY84" fmla="*/ 157162 h 1507522"/>
              <a:gd name="connsiteX85" fmla="*/ 2933280 w 3577471"/>
              <a:gd name="connsiteY85" fmla="*/ 202406 h 1507522"/>
              <a:gd name="connsiteX86" fmla="*/ 2959474 w 3577471"/>
              <a:gd name="connsiteY86" fmla="*/ 233362 h 1507522"/>
              <a:gd name="connsiteX87" fmla="*/ 2976143 w 3577471"/>
              <a:gd name="connsiteY87" fmla="*/ 278606 h 1507522"/>
              <a:gd name="connsiteX88" fmla="*/ 3035674 w 3577471"/>
              <a:gd name="connsiteY88" fmla="*/ 295275 h 1507522"/>
              <a:gd name="connsiteX89" fmla="*/ 3064249 w 3577471"/>
              <a:gd name="connsiteY89" fmla="*/ 326231 h 1507522"/>
              <a:gd name="connsiteX90" fmla="*/ 3085680 w 3577471"/>
              <a:gd name="connsiteY90" fmla="*/ 335756 h 1507522"/>
              <a:gd name="connsiteX91" fmla="*/ 3097587 w 3577471"/>
              <a:gd name="connsiteY91" fmla="*/ 376237 h 1507522"/>
              <a:gd name="connsiteX92" fmla="*/ 3128543 w 3577471"/>
              <a:gd name="connsiteY92" fmla="*/ 383381 h 1507522"/>
              <a:gd name="connsiteX93" fmla="*/ 3166643 w 3577471"/>
              <a:gd name="connsiteY93" fmla="*/ 447675 h 1507522"/>
              <a:gd name="connsiteX94" fmla="*/ 3161880 w 3577471"/>
              <a:gd name="connsiteY94" fmla="*/ 502443 h 1507522"/>
              <a:gd name="connsiteX95" fmla="*/ 3149974 w 3577471"/>
              <a:gd name="connsiteY95" fmla="*/ 531018 h 1507522"/>
              <a:gd name="connsiteX96" fmla="*/ 3190455 w 3577471"/>
              <a:gd name="connsiteY96" fmla="*/ 564356 h 1507522"/>
              <a:gd name="connsiteX97" fmla="*/ 3188074 w 3577471"/>
              <a:gd name="connsiteY97" fmla="*/ 647700 h 1507522"/>
              <a:gd name="connsiteX98" fmla="*/ 3169024 w 3577471"/>
              <a:gd name="connsiteY98" fmla="*/ 664368 h 1507522"/>
              <a:gd name="connsiteX99" fmla="*/ 3152355 w 3577471"/>
              <a:gd name="connsiteY99" fmla="*/ 738187 h 1507522"/>
              <a:gd name="connsiteX100" fmla="*/ 3173787 w 3577471"/>
              <a:gd name="connsiteY100" fmla="*/ 773906 h 1507522"/>
              <a:gd name="connsiteX101" fmla="*/ 3228555 w 3577471"/>
              <a:gd name="connsiteY101" fmla="*/ 797718 h 1507522"/>
              <a:gd name="connsiteX102" fmla="*/ 3266655 w 3577471"/>
              <a:gd name="connsiteY102" fmla="*/ 778668 h 1507522"/>
              <a:gd name="connsiteX103" fmla="*/ 3309518 w 3577471"/>
              <a:gd name="connsiteY103" fmla="*/ 797718 h 1507522"/>
              <a:gd name="connsiteX104" fmla="*/ 3345237 w 3577471"/>
              <a:gd name="connsiteY104" fmla="*/ 783431 h 1507522"/>
              <a:gd name="connsiteX105" fmla="*/ 3383337 w 3577471"/>
              <a:gd name="connsiteY105" fmla="*/ 826293 h 1507522"/>
              <a:gd name="connsiteX106" fmla="*/ 3461918 w 3577471"/>
              <a:gd name="connsiteY106" fmla="*/ 902493 h 1507522"/>
              <a:gd name="connsiteX107" fmla="*/ 3530974 w 3577471"/>
              <a:gd name="connsiteY107" fmla="*/ 916781 h 1507522"/>
              <a:gd name="connsiteX108" fmla="*/ 3577471 w 3577471"/>
              <a:gd name="connsiteY108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561555 w 3577471"/>
              <a:gd name="connsiteY14" fmla="*/ 1207293 h 1507522"/>
              <a:gd name="connsiteX15" fmla="*/ 609180 w 3577471"/>
              <a:gd name="connsiteY15" fmla="*/ 1214437 h 1507522"/>
              <a:gd name="connsiteX16" fmla="*/ 630612 w 3577471"/>
              <a:gd name="connsiteY16" fmla="*/ 1214437 h 1507522"/>
              <a:gd name="connsiteX17" fmla="*/ 666330 w 3577471"/>
              <a:gd name="connsiteY17" fmla="*/ 1195387 h 1507522"/>
              <a:gd name="connsiteX18" fmla="*/ 690143 w 3577471"/>
              <a:gd name="connsiteY18" fmla="*/ 1157287 h 1507522"/>
              <a:gd name="connsiteX19" fmla="*/ 787774 w 3577471"/>
              <a:gd name="connsiteY19" fmla="*/ 1100137 h 1507522"/>
              <a:gd name="connsiteX20" fmla="*/ 899693 w 3577471"/>
              <a:gd name="connsiteY20" fmla="*/ 1012031 h 1507522"/>
              <a:gd name="connsiteX21" fmla="*/ 921124 w 3577471"/>
              <a:gd name="connsiteY21" fmla="*/ 988218 h 1507522"/>
              <a:gd name="connsiteX22" fmla="*/ 1002087 w 3577471"/>
              <a:gd name="connsiteY22" fmla="*/ 966787 h 1507522"/>
              <a:gd name="connsiteX23" fmla="*/ 1016374 w 3577471"/>
              <a:gd name="connsiteY23" fmla="*/ 952500 h 1507522"/>
              <a:gd name="connsiteX24" fmla="*/ 1025899 w 3577471"/>
              <a:gd name="connsiteY24" fmla="*/ 919162 h 1507522"/>
              <a:gd name="connsiteX25" fmla="*/ 1106862 w 3577471"/>
              <a:gd name="connsiteY25" fmla="*/ 878681 h 1507522"/>
              <a:gd name="connsiteX26" fmla="*/ 1125912 w 3577471"/>
              <a:gd name="connsiteY26" fmla="*/ 873918 h 1507522"/>
              <a:gd name="connsiteX27" fmla="*/ 1185443 w 3577471"/>
              <a:gd name="connsiteY27" fmla="*/ 809625 h 1507522"/>
              <a:gd name="connsiteX28" fmla="*/ 1190205 w 3577471"/>
              <a:gd name="connsiteY28" fmla="*/ 759618 h 1507522"/>
              <a:gd name="connsiteX29" fmla="*/ 1216399 w 3577471"/>
              <a:gd name="connsiteY29" fmla="*/ 733425 h 1507522"/>
              <a:gd name="connsiteX30" fmla="*/ 1242593 w 3577471"/>
              <a:gd name="connsiteY30" fmla="*/ 728662 h 1507522"/>
              <a:gd name="connsiteX31" fmla="*/ 1304505 w 3577471"/>
              <a:gd name="connsiteY31" fmla="*/ 683418 h 1507522"/>
              <a:gd name="connsiteX32" fmla="*/ 1390230 w 3577471"/>
              <a:gd name="connsiteY32" fmla="*/ 640556 h 1507522"/>
              <a:gd name="connsiteX33" fmla="*/ 1425949 w 3577471"/>
              <a:gd name="connsiteY33" fmla="*/ 600075 h 1507522"/>
              <a:gd name="connsiteX34" fmla="*/ 1454524 w 3577471"/>
              <a:gd name="connsiteY34" fmla="*/ 585787 h 1507522"/>
              <a:gd name="connsiteX35" fmla="*/ 1461668 w 3577471"/>
              <a:gd name="connsiteY35" fmla="*/ 519112 h 1507522"/>
              <a:gd name="connsiteX36" fmla="*/ 1478337 w 3577471"/>
              <a:gd name="connsiteY36" fmla="*/ 473868 h 1507522"/>
              <a:gd name="connsiteX37" fmla="*/ 1464049 w 3577471"/>
              <a:gd name="connsiteY37" fmla="*/ 433387 h 1507522"/>
              <a:gd name="connsiteX38" fmla="*/ 1468812 w 3577471"/>
              <a:gd name="connsiteY38" fmla="*/ 347662 h 1507522"/>
              <a:gd name="connsiteX39" fmla="*/ 1464049 w 3577471"/>
              <a:gd name="connsiteY39" fmla="*/ 307181 h 1507522"/>
              <a:gd name="connsiteX40" fmla="*/ 1464049 w 3577471"/>
              <a:gd name="connsiteY40" fmla="*/ 264318 h 1507522"/>
              <a:gd name="connsiteX41" fmla="*/ 1490243 w 3577471"/>
              <a:gd name="connsiteY41" fmla="*/ 254793 h 1507522"/>
              <a:gd name="connsiteX42" fmla="*/ 1511674 w 3577471"/>
              <a:gd name="connsiteY42" fmla="*/ 271462 h 1507522"/>
              <a:gd name="connsiteX43" fmla="*/ 1525962 w 3577471"/>
              <a:gd name="connsiteY43" fmla="*/ 297656 h 1507522"/>
              <a:gd name="connsiteX44" fmla="*/ 1554537 w 3577471"/>
              <a:gd name="connsiteY44" fmla="*/ 300037 h 1507522"/>
              <a:gd name="connsiteX45" fmla="*/ 1575968 w 3577471"/>
              <a:gd name="connsiteY45" fmla="*/ 278606 h 1507522"/>
              <a:gd name="connsiteX46" fmla="*/ 1661693 w 3577471"/>
              <a:gd name="connsiteY46" fmla="*/ 280987 h 1507522"/>
              <a:gd name="connsiteX47" fmla="*/ 1714080 w 3577471"/>
              <a:gd name="connsiteY47" fmla="*/ 290512 h 1507522"/>
              <a:gd name="connsiteX48" fmla="*/ 1761705 w 3577471"/>
              <a:gd name="connsiteY48" fmla="*/ 266700 h 1507522"/>
              <a:gd name="connsiteX49" fmla="*/ 1773612 w 3577471"/>
              <a:gd name="connsiteY49" fmla="*/ 233362 h 1507522"/>
              <a:gd name="connsiteX50" fmla="*/ 1814093 w 3577471"/>
              <a:gd name="connsiteY50" fmla="*/ 200025 h 1507522"/>
              <a:gd name="connsiteX51" fmla="*/ 1804568 w 3577471"/>
              <a:gd name="connsiteY51" fmla="*/ 173831 h 1507522"/>
              <a:gd name="connsiteX52" fmla="*/ 1821237 w 3577471"/>
              <a:gd name="connsiteY52" fmla="*/ 147637 h 1507522"/>
              <a:gd name="connsiteX53" fmla="*/ 1876005 w 3577471"/>
              <a:gd name="connsiteY53" fmla="*/ 169068 h 1507522"/>
              <a:gd name="connsiteX54" fmla="*/ 1923630 w 3577471"/>
              <a:gd name="connsiteY54" fmla="*/ 173831 h 1507522"/>
              <a:gd name="connsiteX55" fmla="*/ 1959349 w 3577471"/>
              <a:gd name="connsiteY55" fmla="*/ 209550 h 1507522"/>
              <a:gd name="connsiteX56" fmla="*/ 1987924 w 3577471"/>
              <a:gd name="connsiteY56" fmla="*/ 223837 h 1507522"/>
              <a:gd name="connsiteX57" fmla="*/ 2006974 w 3577471"/>
              <a:gd name="connsiteY57" fmla="*/ 280987 h 1507522"/>
              <a:gd name="connsiteX58" fmla="*/ 2076030 w 3577471"/>
              <a:gd name="connsiteY58" fmla="*/ 316706 h 1507522"/>
              <a:gd name="connsiteX59" fmla="*/ 2145087 w 3577471"/>
              <a:gd name="connsiteY59" fmla="*/ 307181 h 1507522"/>
              <a:gd name="connsiteX60" fmla="*/ 2192712 w 3577471"/>
              <a:gd name="connsiteY60" fmla="*/ 295275 h 1507522"/>
              <a:gd name="connsiteX61" fmla="*/ 2230812 w 3577471"/>
              <a:gd name="connsiteY61" fmla="*/ 307181 h 1507522"/>
              <a:gd name="connsiteX62" fmla="*/ 2280818 w 3577471"/>
              <a:gd name="connsiteY62" fmla="*/ 304800 h 1507522"/>
              <a:gd name="connsiteX63" fmla="*/ 2326062 w 3577471"/>
              <a:gd name="connsiteY63" fmla="*/ 316706 h 1507522"/>
              <a:gd name="connsiteX64" fmla="*/ 2371305 w 3577471"/>
              <a:gd name="connsiteY64" fmla="*/ 302418 h 1507522"/>
              <a:gd name="connsiteX65" fmla="*/ 2392737 w 3577471"/>
              <a:gd name="connsiteY65" fmla="*/ 276225 h 1507522"/>
              <a:gd name="connsiteX66" fmla="*/ 2471318 w 3577471"/>
              <a:gd name="connsiteY66" fmla="*/ 297656 h 1507522"/>
              <a:gd name="connsiteX67" fmla="*/ 2511799 w 3577471"/>
              <a:gd name="connsiteY67" fmla="*/ 283368 h 1507522"/>
              <a:gd name="connsiteX68" fmla="*/ 2518943 w 3577471"/>
              <a:gd name="connsiteY68" fmla="*/ 242887 h 1507522"/>
              <a:gd name="connsiteX69" fmla="*/ 2490368 w 3577471"/>
              <a:gd name="connsiteY69" fmla="*/ 195262 h 1507522"/>
              <a:gd name="connsiteX70" fmla="*/ 2473699 w 3577471"/>
              <a:gd name="connsiteY70" fmla="*/ 135731 h 1507522"/>
              <a:gd name="connsiteX71" fmla="*/ 2440362 w 3577471"/>
              <a:gd name="connsiteY71" fmla="*/ 102393 h 1507522"/>
              <a:gd name="connsiteX72" fmla="*/ 2416549 w 3577471"/>
              <a:gd name="connsiteY72" fmla="*/ 59531 h 1507522"/>
              <a:gd name="connsiteX73" fmla="*/ 2426074 w 3577471"/>
              <a:gd name="connsiteY73" fmla="*/ 38100 h 1507522"/>
              <a:gd name="connsiteX74" fmla="*/ 2461793 w 3577471"/>
              <a:gd name="connsiteY74" fmla="*/ 0 h 1507522"/>
              <a:gd name="connsiteX75" fmla="*/ 2480843 w 3577471"/>
              <a:gd name="connsiteY75" fmla="*/ 16668 h 1507522"/>
              <a:gd name="connsiteX76" fmla="*/ 2561805 w 3577471"/>
              <a:gd name="connsiteY76" fmla="*/ 30956 h 1507522"/>
              <a:gd name="connsiteX77" fmla="*/ 2645149 w 3577471"/>
              <a:gd name="connsiteY77" fmla="*/ 47625 h 1507522"/>
              <a:gd name="connsiteX78" fmla="*/ 2695155 w 3577471"/>
              <a:gd name="connsiteY78" fmla="*/ 66675 h 1507522"/>
              <a:gd name="connsiteX79" fmla="*/ 2745162 w 3577471"/>
              <a:gd name="connsiteY79" fmla="*/ 61912 h 1507522"/>
              <a:gd name="connsiteX80" fmla="*/ 2792787 w 3577471"/>
              <a:gd name="connsiteY80" fmla="*/ 92868 h 1507522"/>
              <a:gd name="connsiteX81" fmla="*/ 2835649 w 3577471"/>
              <a:gd name="connsiteY81" fmla="*/ 119062 h 1507522"/>
              <a:gd name="connsiteX82" fmla="*/ 2857080 w 3577471"/>
              <a:gd name="connsiteY82" fmla="*/ 150018 h 1507522"/>
              <a:gd name="connsiteX83" fmla="*/ 2907087 w 3577471"/>
              <a:gd name="connsiteY83" fmla="*/ 157162 h 1507522"/>
              <a:gd name="connsiteX84" fmla="*/ 2933280 w 3577471"/>
              <a:gd name="connsiteY84" fmla="*/ 202406 h 1507522"/>
              <a:gd name="connsiteX85" fmla="*/ 2959474 w 3577471"/>
              <a:gd name="connsiteY85" fmla="*/ 233362 h 1507522"/>
              <a:gd name="connsiteX86" fmla="*/ 2976143 w 3577471"/>
              <a:gd name="connsiteY86" fmla="*/ 278606 h 1507522"/>
              <a:gd name="connsiteX87" fmla="*/ 3035674 w 3577471"/>
              <a:gd name="connsiteY87" fmla="*/ 295275 h 1507522"/>
              <a:gd name="connsiteX88" fmla="*/ 3064249 w 3577471"/>
              <a:gd name="connsiteY88" fmla="*/ 326231 h 1507522"/>
              <a:gd name="connsiteX89" fmla="*/ 3085680 w 3577471"/>
              <a:gd name="connsiteY89" fmla="*/ 335756 h 1507522"/>
              <a:gd name="connsiteX90" fmla="*/ 3097587 w 3577471"/>
              <a:gd name="connsiteY90" fmla="*/ 376237 h 1507522"/>
              <a:gd name="connsiteX91" fmla="*/ 3128543 w 3577471"/>
              <a:gd name="connsiteY91" fmla="*/ 383381 h 1507522"/>
              <a:gd name="connsiteX92" fmla="*/ 3166643 w 3577471"/>
              <a:gd name="connsiteY92" fmla="*/ 447675 h 1507522"/>
              <a:gd name="connsiteX93" fmla="*/ 3161880 w 3577471"/>
              <a:gd name="connsiteY93" fmla="*/ 502443 h 1507522"/>
              <a:gd name="connsiteX94" fmla="*/ 3149974 w 3577471"/>
              <a:gd name="connsiteY94" fmla="*/ 531018 h 1507522"/>
              <a:gd name="connsiteX95" fmla="*/ 3190455 w 3577471"/>
              <a:gd name="connsiteY95" fmla="*/ 564356 h 1507522"/>
              <a:gd name="connsiteX96" fmla="*/ 3188074 w 3577471"/>
              <a:gd name="connsiteY96" fmla="*/ 647700 h 1507522"/>
              <a:gd name="connsiteX97" fmla="*/ 3169024 w 3577471"/>
              <a:gd name="connsiteY97" fmla="*/ 664368 h 1507522"/>
              <a:gd name="connsiteX98" fmla="*/ 3152355 w 3577471"/>
              <a:gd name="connsiteY98" fmla="*/ 738187 h 1507522"/>
              <a:gd name="connsiteX99" fmla="*/ 3173787 w 3577471"/>
              <a:gd name="connsiteY99" fmla="*/ 773906 h 1507522"/>
              <a:gd name="connsiteX100" fmla="*/ 3228555 w 3577471"/>
              <a:gd name="connsiteY100" fmla="*/ 797718 h 1507522"/>
              <a:gd name="connsiteX101" fmla="*/ 3266655 w 3577471"/>
              <a:gd name="connsiteY101" fmla="*/ 778668 h 1507522"/>
              <a:gd name="connsiteX102" fmla="*/ 3309518 w 3577471"/>
              <a:gd name="connsiteY102" fmla="*/ 797718 h 1507522"/>
              <a:gd name="connsiteX103" fmla="*/ 3345237 w 3577471"/>
              <a:gd name="connsiteY103" fmla="*/ 783431 h 1507522"/>
              <a:gd name="connsiteX104" fmla="*/ 3383337 w 3577471"/>
              <a:gd name="connsiteY104" fmla="*/ 826293 h 1507522"/>
              <a:gd name="connsiteX105" fmla="*/ 3461918 w 3577471"/>
              <a:gd name="connsiteY105" fmla="*/ 902493 h 1507522"/>
              <a:gd name="connsiteX106" fmla="*/ 3530974 w 3577471"/>
              <a:gd name="connsiteY106" fmla="*/ 916781 h 1507522"/>
              <a:gd name="connsiteX107" fmla="*/ 3577471 w 3577471"/>
              <a:gd name="connsiteY107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561555 w 3577471"/>
              <a:gd name="connsiteY14" fmla="*/ 1207293 h 1507522"/>
              <a:gd name="connsiteX15" fmla="*/ 609180 w 3577471"/>
              <a:gd name="connsiteY15" fmla="*/ 1214437 h 1507522"/>
              <a:gd name="connsiteX16" fmla="*/ 630612 w 3577471"/>
              <a:gd name="connsiteY16" fmla="*/ 1214437 h 1507522"/>
              <a:gd name="connsiteX17" fmla="*/ 666330 w 3577471"/>
              <a:gd name="connsiteY17" fmla="*/ 1195387 h 1507522"/>
              <a:gd name="connsiteX18" fmla="*/ 690143 w 3577471"/>
              <a:gd name="connsiteY18" fmla="*/ 1157287 h 1507522"/>
              <a:gd name="connsiteX19" fmla="*/ 899693 w 3577471"/>
              <a:gd name="connsiteY19" fmla="*/ 1012031 h 1507522"/>
              <a:gd name="connsiteX20" fmla="*/ 921124 w 3577471"/>
              <a:gd name="connsiteY20" fmla="*/ 988218 h 1507522"/>
              <a:gd name="connsiteX21" fmla="*/ 1002087 w 3577471"/>
              <a:gd name="connsiteY21" fmla="*/ 966787 h 1507522"/>
              <a:gd name="connsiteX22" fmla="*/ 1016374 w 3577471"/>
              <a:gd name="connsiteY22" fmla="*/ 952500 h 1507522"/>
              <a:gd name="connsiteX23" fmla="*/ 1025899 w 3577471"/>
              <a:gd name="connsiteY23" fmla="*/ 919162 h 1507522"/>
              <a:gd name="connsiteX24" fmla="*/ 1106862 w 3577471"/>
              <a:gd name="connsiteY24" fmla="*/ 878681 h 1507522"/>
              <a:gd name="connsiteX25" fmla="*/ 1125912 w 3577471"/>
              <a:gd name="connsiteY25" fmla="*/ 873918 h 1507522"/>
              <a:gd name="connsiteX26" fmla="*/ 1185443 w 3577471"/>
              <a:gd name="connsiteY26" fmla="*/ 809625 h 1507522"/>
              <a:gd name="connsiteX27" fmla="*/ 1190205 w 3577471"/>
              <a:gd name="connsiteY27" fmla="*/ 759618 h 1507522"/>
              <a:gd name="connsiteX28" fmla="*/ 1216399 w 3577471"/>
              <a:gd name="connsiteY28" fmla="*/ 733425 h 1507522"/>
              <a:gd name="connsiteX29" fmla="*/ 1242593 w 3577471"/>
              <a:gd name="connsiteY29" fmla="*/ 728662 h 1507522"/>
              <a:gd name="connsiteX30" fmla="*/ 1304505 w 3577471"/>
              <a:gd name="connsiteY30" fmla="*/ 683418 h 1507522"/>
              <a:gd name="connsiteX31" fmla="*/ 1390230 w 3577471"/>
              <a:gd name="connsiteY31" fmla="*/ 640556 h 1507522"/>
              <a:gd name="connsiteX32" fmla="*/ 1425949 w 3577471"/>
              <a:gd name="connsiteY32" fmla="*/ 600075 h 1507522"/>
              <a:gd name="connsiteX33" fmla="*/ 1454524 w 3577471"/>
              <a:gd name="connsiteY33" fmla="*/ 585787 h 1507522"/>
              <a:gd name="connsiteX34" fmla="*/ 1461668 w 3577471"/>
              <a:gd name="connsiteY34" fmla="*/ 519112 h 1507522"/>
              <a:gd name="connsiteX35" fmla="*/ 1478337 w 3577471"/>
              <a:gd name="connsiteY35" fmla="*/ 473868 h 1507522"/>
              <a:gd name="connsiteX36" fmla="*/ 1464049 w 3577471"/>
              <a:gd name="connsiteY36" fmla="*/ 433387 h 1507522"/>
              <a:gd name="connsiteX37" fmla="*/ 1468812 w 3577471"/>
              <a:gd name="connsiteY37" fmla="*/ 347662 h 1507522"/>
              <a:gd name="connsiteX38" fmla="*/ 1464049 w 3577471"/>
              <a:gd name="connsiteY38" fmla="*/ 307181 h 1507522"/>
              <a:gd name="connsiteX39" fmla="*/ 1464049 w 3577471"/>
              <a:gd name="connsiteY39" fmla="*/ 264318 h 1507522"/>
              <a:gd name="connsiteX40" fmla="*/ 1490243 w 3577471"/>
              <a:gd name="connsiteY40" fmla="*/ 254793 h 1507522"/>
              <a:gd name="connsiteX41" fmla="*/ 1511674 w 3577471"/>
              <a:gd name="connsiteY41" fmla="*/ 271462 h 1507522"/>
              <a:gd name="connsiteX42" fmla="*/ 1525962 w 3577471"/>
              <a:gd name="connsiteY42" fmla="*/ 297656 h 1507522"/>
              <a:gd name="connsiteX43" fmla="*/ 1554537 w 3577471"/>
              <a:gd name="connsiteY43" fmla="*/ 300037 h 1507522"/>
              <a:gd name="connsiteX44" fmla="*/ 1575968 w 3577471"/>
              <a:gd name="connsiteY44" fmla="*/ 278606 h 1507522"/>
              <a:gd name="connsiteX45" fmla="*/ 1661693 w 3577471"/>
              <a:gd name="connsiteY45" fmla="*/ 280987 h 1507522"/>
              <a:gd name="connsiteX46" fmla="*/ 1714080 w 3577471"/>
              <a:gd name="connsiteY46" fmla="*/ 290512 h 1507522"/>
              <a:gd name="connsiteX47" fmla="*/ 1761705 w 3577471"/>
              <a:gd name="connsiteY47" fmla="*/ 266700 h 1507522"/>
              <a:gd name="connsiteX48" fmla="*/ 1773612 w 3577471"/>
              <a:gd name="connsiteY48" fmla="*/ 233362 h 1507522"/>
              <a:gd name="connsiteX49" fmla="*/ 1814093 w 3577471"/>
              <a:gd name="connsiteY49" fmla="*/ 200025 h 1507522"/>
              <a:gd name="connsiteX50" fmla="*/ 1804568 w 3577471"/>
              <a:gd name="connsiteY50" fmla="*/ 173831 h 1507522"/>
              <a:gd name="connsiteX51" fmla="*/ 1821237 w 3577471"/>
              <a:gd name="connsiteY51" fmla="*/ 147637 h 1507522"/>
              <a:gd name="connsiteX52" fmla="*/ 1876005 w 3577471"/>
              <a:gd name="connsiteY52" fmla="*/ 169068 h 1507522"/>
              <a:gd name="connsiteX53" fmla="*/ 1923630 w 3577471"/>
              <a:gd name="connsiteY53" fmla="*/ 173831 h 1507522"/>
              <a:gd name="connsiteX54" fmla="*/ 1959349 w 3577471"/>
              <a:gd name="connsiteY54" fmla="*/ 209550 h 1507522"/>
              <a:gd name="connsiteX55" fmla="*/ 1987924 w 3577471"/>
              <a:gd name="connsiteY55" fmla="*/ 223837 h 1507522"/>
              <a:gd name="connsiteX56" fmla="*/ 2006974 w 3577471"/>
              <a:gd name="connsiteY56" fmla="*/ 280987 h 1507522"/>
              <a:gd name="connsiteX57" fmla="*/ 2076030 w 3577471"/>
              <a:gd name="connsiteY57" fmla="*/ 316706 h 1507522"/>
              <a:gd name="connsiteX58" fmla="*/ 2145087 w 3577471"/>
              <a:gd name="connsiteY58" fmla="*/ 307181 h 1507522"/>
              <a:gd name="connsiteX59" fmla="*/ 2192712 w 3577471"/>
              <a:gd name="connsiteY59" fmla="*/ 295275 h 1507522"/>
              <a:gd name="connsiteX60" fmla="*/ 2230812 w 3577471"/>
              <a:gd name="connsiteY60" fmla="*/ 307181 h 1507522"/>
              <a:gd name="connsiteX61" fmla="*/ 2280818 w 3577471"/>
              <a:gd name="connsiteY61" fmla="*/ 304800 h 1507522"/>
              <a:gd name="connsiteX62" fmla="*/ 2326062 w 3577471"/>
              <a:gd name="connsiteY62" fmla="*/ 316706 h 1507522"/>
              <a:gd name="connsiteX63" fmla="*/ 2371305 w 3577471"/>
              <a:gd name="connsiteY63" fmla="*/ 302418 h 1507522"/>
              <a:gd name="connsiteX64" fmla="*/ 2392737 w 3577471"/>
              <a:gd name="connsiteY64" fmla="*/ 276225 h 1507522"/>
              <a:gd name="connsiteX65" fmla="*/ 2471318 w 3577471"/>
              <a:gd name="connsiteY65" fmla="*/ 297656 h 1507522"/>
              <a:gd name="connsiteX66" fmla="*/ 2511799 w 3577471"/>
              <a:gd name="connsiteY66" fmla="*/ 283368 h 1507522"/>
              <a:gd name="connsiteX67" fmla="*/ 2518943 w 3577471"/>
              <a:gd name="connsiteY67" fmla="*/ 242887 h 1507522"/>
              <a:gd name="connsiteX68" fmla="*/ 2490368 w 3577471"/>
              <a:gd name="connsiteY68" fmla="*/ 195262 h 1507522"/>
              <a:gd name="connsiteX69" fmla="*/ 2473699 w 3577471"/>
              <a:gd name="connsiteY69" fmla="*/ 135731 h 1507522"/>
              <a:gd name="connsiteX70" fmla="*/ 2440362 w 3577471"/>
              <a:gd name="connsiteY70" fmla="*/ 102393 h 1507522"/>
              <a:gd name="connsiteX71" fmla="*/ 2416549 w 3577471"/>
              <a:gd name="connsiteY71" fmla="*/ 59531 h 1507522"/>
              <a:gd name="connsiteX72" fmla="*/ 2426074 w 3577471"/>
              <a:gd name="connsiteY72" fmla="*/ 38100 h 1507522"/>
              <a:gd name="connsiteX73" fmla="*/ 2461793 w 3577471"/>
              <a:gd name="connsiteY73" fmla="*/ 0 h 1507522"/>
              <a:gd name="connsiteX74" fmla="*/ 2480843 w 3577471"/>
              <a:gd name="connsiteY74" fmla="*/ 16668 h 1507522"/>
              <a:gd name="connsiteX75" fmla="*/ 2561805 w 3577471"/>
              <a:gd name="connsiteY75" fmla="*/ 30956 h 1507522"/>
              <a:gd name="connsiteX76" fmla="*/ 2645149 w 3577471"/>
              <a:gd name="connsiteY76" fmla="*/ 47625 h 1507522"/>
              <a:gd name="connsiteX77" fmla="*/ 2695155 w 3577471"/>
              <a:gd name="connsiteY77" fmla="*/ 66675 h 1507522"/>
              <a:gd name="connsiteX78" fmla="*/ 2745162 w 3577471"/>
              <a:gd name="connsiteY78" fmla="*/ 61912 h 1507522"/>
              <a:gd name="connsiteX79" fmla="*/ 2792787 w 3577471"/>
              <a:gd name="connsiteY79" fmla="*/ 92868 h 1507522"/>
              <a:gd name="connsiteX80" fmla="*/ 2835649 w 3577471"/>
              <a:gd name="connsiteY80" fmla="*/ 119062 h 1507522"/>
              <a:gd name="connsiteX81" fmla="*/ 2857080 w 3577471"/>
              <a:gd name="connsiteY81" fmla="*/ 150018 h 1507522"/>
              <a:gd name="connsiteX82" fmla="*/ 2907087 w 3577471"/>
              <a:gd name="connsiteY82" fmla="*/ 157162 h 1507522"/>
              <a:gd name="connsiteX83" fmla="*/ 2933280 w 3577471"/>
              <a:gd name="connsiteY83" fmla="*/ 202406 h 1507522"/>
              <a:gd name="connsiteX84" fmla="*/ 2959474 w 3577471"/>
              <a:gd name="connsiteY84" fmla="*/ 233362 h 1507522"/>
              <a:gd name="connsiteX85" fmla="*/ 2976143 w 3577471"/>
              <a:gd name="connsiteY85" fmla="*/ 278606 h 1507522"/>
              <a:gd name="connsiteX86" fmla="*/ 3035674 w 3577471"/>
              <a:gd name="connsiteY86" fmla="*/ 295275 h 1507522"/>
              <a:gd name="connsiteX87" fmla="*/ 3064249 w 3577471"/>
              <a:gd name="connsiteY87" fmla="*/ 326231 h 1507522"/>
              <a:gd name="connsiteX88" fmla="*/ 3085680 w 3577471"/>
              <a:gd name="connsiteY88" fmla="*/ 335756 h 1507522"/>
              <a:gd name="connsiteX89" fmla="*/ 3097587 w 3577471"/>
              <a:gd name="connsiteY89" fmla="*/ 376237 h 1507522"/>
              <a:gd name="connsiteX90" fmla="*/ 3128543 w 3577471"/>
              <a:gd name="connsiteY90" fmla="*/ 383381 h 1507522"/>
              <a:gd name="connsiteX91" fmla="*/ 3166643 w 3577471"/>
              <a:gd name="connsiteY91" fmla="*/ 447675 h 1507522"/>
              <a:gd name="connsiteX92" fmla="*/ 3161880 w 3577471"/>
              <a:gd name="connsiteY92" fmla="*/ 502443 h 1507522"/>
              <a:gd name="connsiteX93" fmla="*/ 3149974 w 3577471"/>
              <a:gd name="connsiteY93" fmla="*/ 531018 h 1507522"/>
              <a:gd name="connsiteX94" fmla="*/ 3190455 w 3577471"/>
              <a:gd name="connsiteY94" fmla="*/ 564356 h 1507522"/>
              <a:gd name="connsiteX95" fmla="*/ 3188074 w 3577471"/>
              <a:gd name="connsiteY95" fmla="*/ 647700 h 1507522"/>
              <a:gd name="connsiteX96" fmla="*/ 3169024 w 3577471"/>
              <a:gd name="connsiteY96" fmla="*/ 664368 h 1507522"/>
              <a:gd name="connsiteX97" fmla="*/ 3152355 w 3577471"/>
              <a:gd name="connsiteY97" fmla="*/ 738187 h 1507522"/>
              <a:gd name="connsiteX98" fmla="*/ 3173787 w 3577471"/>
              <a:gd name="connsiteY98" fmla="*/ 773906 h 1507522"/>
              <a:gd name="connsiteX99" fmla="*/ 3228555 w 3577471"/>
              <a:gd name="connsiteY99" fmla="*/ 797718 h 1507522"/>
              <a:gd name="connsiteX100" fmla="*/ 3266655 w 3577471"/>
              <a:gd name="connsiteY100" fmla="*/ 778668 h 1507522"/>
              <a:gd name="connsiteX101" fmla="*/ 3309518 w 3577471"/>
              <a:gd name="connsiteY101" fmla="*/ 797718 h 1507522"/>
              <a:gd name="connsiteX102" fmla="*/ 3345237 w 3577471"/>
              <a:gd name="connsiteY102" fmla="*/ 783431 h 1507522"/>
              <a:gd name="connsiteX103" fmla="*/ 3383337 w 3577471"/>
              <a:gd name="connsiteY103" fmla="*/ 826293 h 1507522"/>
              <a:gd name="connsiteX104" fmla="*/ 3461918 w 3577471"/>
              <a:gd name="connsiteY104" fmla="*/ 902493 h 1507522"/>
              <a:gd name="connsiteX105" fmla="*/ 3530974 w 3577471"/>
              <a:gd name="connsiteY105" fmla="*/ 916781 h 1507522"/>
              <a:gd name="connsiteX106" fmla="*/ 3577471 w 3577471"/>
              <a:gd name="connsiteY106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561555 w 3577471"/>
              <a:gd name="connsiteY14" fmla="*/ 1207293 h 1507522"/>
              <a:gd name="connsiteX15" fmla="*/ 609180 w 3577471"/>
              <a:gd name="connsiteY15" fmla="*/ 1214437 h 1507522"/>
              <a:gd name="connsiteX16" fmla="*/ 630612 w 3577471"/>
              <a:gd name="connsiteY16" fmla="*/ 1214437 h 1507522"/>
              <a:gd name="connsiteX17" fmla="*/ 666330 w 3577471"/>
              <a:gd name="connsiteY17" fmla="*/ 1195387 h 1507522"/>
              <a:gd name="connsiteX18" fmla="*/ 899693 w 3577471"/>
              <a:gd name="connsiteY18" fmla="*/ 1012031 h 1507522"/>
              <a:gd name="connsiteX19" fmla="*/ 921124 w 3577471"/>
              <a:gd name="connsiteY19" fmla="*/ 988218 h 1507522"/>
              <a:gd name="connsiteX20" fmla="*/ 1002087 w 3577471"/>
              <a:gd name="connsiteY20" fmla="*/ 966787 h 1507522"/>
              <a:gd name="connsiteX21" fmla="*/ 1016374 w 3577471"/>
              <a:gd name="connsiteY21" fmla="*/ 952500 h 1507522"/>
              <a:gd name="connsiteX22" fmla="*/ 1025899 w 3577471"/>
              <a:gd name="connsiteY22" fmla="*/ 919162 h 1507522"/>
              <a:gd name="connsiteX23" fmla="*/ 1106862 w 3577471"/>
              <a:gd name="connsiteY23" fmla="*/ 878681 h 1507522"/>
              <a:gd name="connsiteX24" fmla="*/ 1125912 w 3577471"/>
              <a:gd name="connsiteY24" fmla="*/ 873918 h 1507522"/>
              <a:gd name="connsiteX25" fmla="*/ 1185443 w 3577471"/>
              <a:gd name="connsiteY25" fmla="*/ 809625 h 1507522"/>
              <a:gd name="connsiteX26" fmla="*/ 1190205 w 3577471"/>
              <a:gd name="connsiteY26" fmla="*/ 759618 h 1507522"/>
              <a:gd name="connsiteX27" fmla="*/ 1216399 w 3577471"/>
              <a:gd name="connsiteY27" fmla="*/ 733425 h 1507522"/>
              <a:gd name="connsiteX28" fmla="*/ 1242593 w 3577471"/>
              <a:gd name="connsiteY28" fmla="*/ 728662 h 1507522"/>
              <a:gd name="connsiteX29" fmla="*/ 1304505 w 3577471"/>
              <a:gd name="connsiteY29" fmla="*/ 683418 h 1507522"/>
              <a:gd name="connsiteX30" fmla="*/ 1390230 w 3577471"/>
              <a:gd name="connsiteY30" fmla="*/ 640556 h 1507522"/>
              <a:gd name="connsiteX31" fmla="*/ 1425949 w 3577471"/>
              <a:gd name="connsiteY31" fmla="*/ 600075 h 1507522"/>
              <a:gd name="connsiteX32" fmla="*/ 1454524 w 3577471"/>
              <a:gd name="connsiteY32" fmla="*/ 585787 h 1507522"/>
              <a:gd name="connsiteX33" fmla="*/ 1461668 w 3577471"/>
              <a:gd name="connsiteY33" fmla="*/ 519112 h 1507522"/>
              <a:gd name="connsiteX34" fmla="*/ 1478337 w 3577471"/>
              <a:gd name="connsiteY34" fmla="*/ 473868 h 1507522"/>
              <a:gd name="connsiteX35" fmla="*/ 1464049 w 3577471"/>
              <a:gd name="connsiteY35" fmla="*/ 433387 h 1507522"/>
              <a:gd name="connsiteX36" fmla="*/ 1468812 w 3577471"/>
              <a:gd name="connsiteY36" fmla="*/ 347662 h 1507522"/>
              <a:gd name="connsiteX37" fmla="*/ 1464049 w 3577471"/>
              <a:gd name="connsiteY37" fmla="*/ 307181 h 1507522"/>
              <a:gd name="connsiteX38" fmla="*/ 1464049 w 3577471"/>
              <a:gd name="connsiteY38" fmla="*/ 264318 h 1507522"/>
              <a:gd name="connsiteX39" fmla="*/ 1490243 w 3577471"/>
              <a:gd name="connsiteY39" fmla="*/ 254793 h 1507522"/>
              <a:gd name="connsiteX40" fmla="*/ 1511674 w 3577471"/>
              <a:gd name="connsiteY40" fmla="*/ 271462 h 1507522"/>
              <a:gd name="connsiteX41" fmla="*/ 1525962 w 3577471"/>
              <a:gd name="connsiteY41" fmla="*/ 297656 h 1507522"/>
              <a:gd name="connsiteX42" fmla="*/ 1554537 w 3577471"/>
              <a:gd name="connsiteY42" fmla="*/ 300037 h 1507522"/>
              <a:gd name="connsiteX43" fmla="*/ 1575968 w 3577471"/>
              <a:gd name="connsiteY43" fmla="*/ 278606 h 1507522"/>
              <a:gd name="connsiteX44" fmla="*/ 1661693 w 3577471"/>
              <a:gd name="connsiteY44" fmla="*/ 280987 h 1507522"/>
              <a:gd name="connsiteX45" fmla="*/ 1714080 w 3577471"/>
              <a:gd name="connsiteY45" fmla="*/ 290512 h 1507522"/>
              <a:gd name="connsiteX46" fmla="*/ 1761705 w 3577471"/>
              <a:gd name="connsiteY46" fmla="*/ 266700 h 1507522"/>
              <a:gd name="connsiteX47" fmla="*/ 1773612 w 3577471"/>
              <a:gd name="connsiteY47" fmla="*/ 233362 h 1507522"/>
              <a:gd name="connsiteX48" fmla="*/ 1814093 w 3577471"/>
              <a:gd name="connsiteY48" fmla="*/ 200025 h 1507522"/>
              <a:gd name="connsiteX49" fmla="*/ 1804568 w 3577471"/>
              <a:gd name="connsiteY49" fmla="*/ 173831 h 1507522"/>
              <a:gd name="connsiteX50" fmla="*/ 1821237 w 3577471"/>
              <a:gd name="connsiteY50" fmla="*/ 147637 h 1507522"/>
              <a:gd name="connsiteX51" fmla="*/ 1876005 w 3577471"/>
              <a:gd name="connsiteY51" fmla="*/ 169068 h 1507522"/>
              <a:gd name="connsiteX52" fmla="*/ 1923630 w 3577471"/>
              <a:gd name="connsiteY52" fmla="*/ 173831 h 1507522"/>
              <a:gd name="connsiteX53" fmla="*/ 1959349 w 3577471"/>
              <a:gd name="connsiteY53" fmla="*/ 209550 h 1507522"/>
              <a:gd name="connsiteX54" fmla="*/ 1987924 w 3577471"/>
              <a:gd name="connsiteY54" fmla="*/ 223837 h 1507522"/>
              <a:gd name="connsiteX55" fmla="*/ 2006974 w 3577471"/>
              <a:gd name="connsiteY55" fmla="*/ 280987 h 1507522"/>
              <a:gd name="connsiteX56" fmla="*/ 2076030 w 3577471"/>
              <a:gd name="connsiteY56" fmla="*/ 316706 h 1507522"/>
              <a:gd name="connsiteX57" fmla="*/ 2145087 w 3577471"/>
              <a:gd name="connsiteY57" fmla="*/ 307181 h 1507522"/>
              <a:gd name="connsiteX58" fmla="*/ 2192712 w 3577471"/>
              <a:gd name="connsiteY58" fmla="*/ 295275 h 1507522"/>
              <a:gd name="connsiteX59" fmla="*/ 2230812 w 3577471"/>
              <a:gd name="connsiteY59" fmla="*/ 307181 h 1507522"/>
              <a:gd name="connsiteX60" fmla="*/ 2280818 w 3577471"/>
              <a:gd name="connsiteY60" fmla="*/ 304800 h 1507522"/>
              <a:gd name="connsiteX61" fmla="*/ 2326062 w 3577471"/>
              <a:gd name="connsiteY61" fmla="*/ 316706 h 1507522"/>
              <a:gd name="connsiteX62" fmla="*/ 2371305 w 3577471"/>
              <a:gd name="connsiteY62" fmla="*/ 302418 h 1507522"/>
              <a:gd name="connsiteX63" fmla="*/ 2392737 w 3577471"/>
              <a:gd name="connsiteY63" fmla="*/ 276225 h 1507522"/>
              <a:gd name="connsiteX64" fmla="*/ 2471318 w 3577471"/>
              <a:gd name="connsiteY64" fmla="*/ 297656 h 1507522"/>
              <a:gd name="connsiteX65" fmla="*/ 2511799 w 3577471"/>
              <a:gd name="connsiteY65" fmla="*/ 283368 h 1507522"/>
              <a:gd name="connsiteX66" fmla="*/ 2518943 w 3577471"/>
              <a:gd name="connsiteY66" fmla="*/ 242887 h 1507522"/>
              <a:gd name="connsiteX67" fmla="*/ 2490368 w 3577471"/>
              <a:gd name="connsiteY67" fmla="*/ 195262 h 1507522"/>
              <a:gd name="connsiteX68" fmla="*/ 2473699 w 3577471"/>
              <a:gd name="connsiteY68" fmla="*/ 135731 h 1507522"/>
              <a:gd name="connsiteX69" fmla="*/ 2440362 w 3577471"/>
              <a:gd name="connsiteY69" fmla="*/ 102393 h 1507522"/>
              <a:gd name="connsiteX70" fmla="*/ 2416549 w 3577471"/>
              <a:gd name="connsiteY70" fmla="*/ 59531 h 1507522"/>
              <a:gd name="connsiteX71" fmla="*/ 2426074 w 3577471"/>
              <a:gd name="connsiteY71" fmla="*/ 38100 h 1507522"/>
              <a:gd name="connsiteX72" fmla="*/ 2461793 w 3577471"/>
              <a:gd name="connsiteY72" fmla="*/ 0 h 1507522"/>
              <a:gd name="connsiteX73" fmla="*/ 2480843 w 3577471"/>
              <a:gd name="connsiteY73" fmla="*/ 16668 h 1507522"/>
              <a:gd name="connsiteX74" fmla="*/ 2561805 w 3577471"/>
              <a:gd name="connsiteY74" fmla="*/ 30956 h 1507522"/>
              <a:gd name="connsiteX75" fmla="*/ 2645149 w 3577471"/>
              <a:gd name="connsiteY75" fmla="*/ 47625 h 1507522"/>
              <a:gd name="connsiteX76" fmla="*/ 2695155 w 3577471"/>
              <a:gd name="connsiteY76" fmla="*/ 66675 h 1507522"/>
              <a:gd name="connsiteX77" fmla="*/ 2745162 w 3577471"/>
              <a:gd name="connsiteY77" fmla="*/ 61912 h 1507522"/>
              <a:gd name="connsiteX78" fmla="*/ 2792787 w 3577471"/>
              <a:gd name="connsiteY78" fmla="*/ 92868 h 1507522"/>
              <a:gd name="connsiteX79" fmla="*/ 2835649 w 3577471"/>
              <a:gd name="connsiteY79" fmla="*/ 119062 h 1507522"/>
              <a:gd name="connsiteX80" fmla="*/ 2857080 w 3577471"/>
              <a:gd name="connsiteY80" fmla="*/ 150018 h 1507522"/>
              <a:gd name="connsiteX81" fmla="*/ 2907087 w 3577471"/>
              <a:gd name="connsiteY81" fmla="*/ 157162 h 1507522"/>
              <a:gd name="connsiteX82" fmla="*/ 2933280 w 3577471"/>
              <a:gd name="connsiteY82" fmla="*/ 202406 h 1507522"/>
              <a:gd name="connsiteX83" fmla="*/ 2959474 w 3577471"/>
              <a:gd name="connsiteY83" fmla="*/ 233362 h 1507522"/>
              <a:gd name="connsiteX84" fmla="*/ 2976143 w 3577471"/>
              <a:gd name="connsiteY84" fmla="*/ 278606 h 1507522"/>
              <a:gd name="connsiteX85" fmla="*/ 3035674 w 3577471"/>
              <a:gd name="connsiteY85" fmla="*/ 295275 h 1507522"/>
              <a:gd name="connsiteX86" fmla="*/ 3064249 w 3577471"/>
              <a:gd name="connsiteY86" fmla="*/ 326231 h 1507522"/>
              <a:gd name="connsiteX87" fmla="*/ 3085680 w 3577471"/>
              <a:gd name="connsiteY87" fmla="*/ 335756 h 1507522"/>
              <a:gd name="connsiteX88" fmla="*/ 3097587 w 3577471"/>
              <a:gd name="connsiteY88" fmla="*/ 376237 h 1507522"/>
              <a:gd name="connsiteX89" fmla="*/ 3128543 w 3577471"/>
              <a:gd name="connsiteY89" fmla="*/ 383381 h 1507522"/>
              <a:gd name="connsiteX90" fmla="*/ 3166643 w 3577471"/>
              <a:gd name="connsiteY90" fmla="*/ 447675 h 1507522"/>
              <a:gd name="connsiteX91" fmla="*/ 3161880 w 3577471"/>
              <a:gd name="connsiteY91" fmla="*/ 502443 h 1507522"/>
              <a:gd name="connsiteX92" fmla="*/ 3149974 w 3577471"/>
              <a:gd name="connsiteY92" fmla="*/ 531018 h 1507522"/>
              <a:gd name="connsiteX93" fmla="*/ 3190455 w 3577471"/>
              <a:gd name="connsiteY93" fmla="*/ 564356 h 1507522"/>
              <a:gd name="connsiteX94" fmla="*/ 3188074 w 3577471"/>
              <a:gd name="connsiteY94" fmla="*/ 647700 h 1507522"/>
              <a:gd name="connsiteX95" fmla="*/ 3169024 w 3577471"/>
              <a:gd name="connsiteY95" fmla="*/ 664368 h 1507522"/>
              <a:gd name="connsiteX96" fmla="*/ 3152355 w 3577471"/>
              <a:gd name="connsiteY96" fmla="*/ 738187 h 1507522"/>
              <a:gd name="connsiteX97" fmla="*/ 3173787 w 3577471"/>
              <a:gd name="connsiteY97" fmla="*/ 773906 h 1507522"/>
              <a:gd name="connsiteX98" fmla="*/ 3228555 w 3577471"/>
              <a:gd name="connsiteY98" fmla="*/ 797718 h 1507522"/>
              <a:gd name="connsiteX99" fmla="*/ 3266655 w 3577471"/>
              <a:gd name="connsiteY99" fmla="*/ 778668 h 1507522"/>
              <a:gd name="connsiteX100" fmla="*/ 3309518 w 3577471"/>
              <a:gd name="connsiteY100" fmla="*/ 797718 h 1507522"/>
              <a:gd name="connsiteX101" fmla="*/ 3345237 w 3577471"/>
              <a:gd name="connsiteY101" fmla="*/ 783431 h 1507522"/>
              <a:gd name="connsiteX102" fmla="*/ 3383337 w 3577471"/>
              <a:gd name="connsiteY102" fmla="*/ 826293 h 1507522"/>
              <a:gd name="connsiteX103" fmla="*/ 3461918 w 3577471"/>
              <a:gd name="connsiteY103" fmla="*/ 902493 h 1507522"/>
              <a:gd name="connsiteX104" fmla="*/ 3530974 w 3577471"/>
              <a:gd name="connsiteY104" fmla="*/ 916781 h 1507522"/>
              <a:gd name="connsiteX105" fmla="*/ 3577471 w 3577471"/>
              <a:gd name="connsiteY105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561555 w 3577471"/>
              <a:gd name="connsiteY14" fmla="*/ 1207293 h 1507522"/>
              <a:gd name="connsiteX15" fmla="*/ 609180 w 3577471"/>
              <a:gd name="connsiteY15" fmla="*/ 1214437 h 1507522"/>
              <a:gd name="connsiteX16" fmla="*/ 630612 w 3577471"/>
              <a:gd name="connsiteY16" fmla="*/ 1214437 h 1507522"/>
              <a:gd name="connsiteX17" fmla="*/ 899693 w 3577471"/>
              <a:gd name="connsiteY17" fmla="*/ 1012031 h 1507522"/>
              <a:gd name="connsiteX18" fmla="*/ 921124 w 3577471"/>
              <a:gd name="connsiteY18" fmla="*/ 988218 h 1507522"/>
              <a:gd name="connsiteX19" fmla="*/ 1002087 w 3577471"/>
              <a:gd name="connsiteY19" fmla="*/ 966787 h 1507522"/>
              <a:gd name="connsiteX20" fmla="*/ 1016374 w 3577471"/>
              <a:gd name="connsiteY20" fmla="*/ 952500 h 1507522"/>
              <a:gd name="connsiteX21" fmla="*/ 1025899 w 3577471"/>
              <a:gd name="connsiteY21" fmla="*/ 919162 h 1507522"/>
              <a:gd name="connsiteX22" fmla="*/ 1106862 w 3577471"/>
              <a:gd name="connsiteY22" fmla="*/ 878681 h 1507522"/>
              <a:gd name="connsiteX23" fmla="*/ 1125912 w 3577471"/>
              <a:gd name="connsiteY23" fmla="*/ 873918 h 1507522"/>
              <a:gd name="connsiteX24" fmla="*/ 1185443 w 3577471"/>
              <a:gd name="connsiteY24" fmla="*/ 809625 h 1507522"/>
              <a:gd name="connsiteX25" fmla="*/ 1190205 w 3577471"/>
              <a:gd name="connsiteY25" fmla="*/ 759618 h 1507522"/>
              <a:gd name="connsiteX26" fmla="*/ 1216399 w 3577471"/>
              <a:gd name="connsiteY26" fmla="*/ 733425 h 1507522"/>
              <a:gd name="connsiteX27" fmla="*/ 1242593 w 3577471"/>
              <a:gd name="connsiteY27" fmla="*/ 728662 h 1507522"/>
              <a:gd name="connsiteX28" fmla="*/ 1304505 w 3577471"/>
              <a:gd name="connsiteY28" fmla="*/ 683418 h 1507522"/>
              <a:gd name="connsiteX29" fmla="*/ 1390230 w 3577471"/>
              <a:gd name="connsiteY29" fmla="*/ 640556 h 1507522"/>
              <a:gd name="connsiteX30" fmla="*/ 1425949 w 3577471"/>
              <a:gd name="connsiteY30" fmla="*/ 600075 h 1507522"/>
              <a:gd name="connsiteX31" fmla="*/ 1454524 w 3577471"/>
              <a:gd name="connsiteY31" fmla="*/ 585787 h 1507522"/>
              <a:gd name="connsiteX32" fmla="*/ 1461668 w 3577471"/>
              <a:gd name="connsiteY32" fmla="*/ 519112 h 1507522"/>
              <a:gd name="connsiteX33" fmla="*/ 1478337 w 3577471"/>
              <a:gd name="connsiteY33" fmla="*/ 473868 h 1507522"/>
              <a:gd name="connsiteX34" fmla="*/ 1464049 w 3577471"/>
              <a:gd name="connsiteY34" fmla="*/ 433387 h 1507522"/>
              <a:gd name="connsiteX35" fmla="*/ 1468812 w 3577471"/>
              <a:gd name="connsiteY35" fmla="*/ 347662 h 1507522"/>
              <a:gd name="connsiteX36" fmla="*/ 1464049 w 3577471"/>
              <a:gd name="connsiteY36" fmla="*/ 307181 h 1507522"/>
              <a:gd name="connsiteX37" fmla="*/ 1464049 w 3577471"/>
              <a:gd name="connsiteY37" fmla="*/ 264318 h 1507522"/>
              <a:gd name="connsiteX38" fmla="*/ 1490243 w 3577471"/>
              <a:gd name="connsiteY38" fmla="*/ 254793 h 1507522"/>
              <a:gd name="connsiteX39" fmla="*/ 1511674 w 3577471"/>
              <a:gd name="connsiteY39" fmla="*/ 271462 h 1507522"/>
              <a:gd name="connsiteX40" fmla="*/ 1525962 w 3577471"/>
              <a:gd name="connsiteY40" fmla="*/ 297656 h 1507522"/>
              <a:gd name="connsiteX41" fmla="*/ 1554537 w 3577471"/>
              <a:gd name="connsiteY41" fmla="*/ 300037 h 1507522"/>
              <a:gd name="connsiteX42" fmla="*/ 1575968 w 3577471"/>
              <a:gd name="connsiteY42" fmla="*/ 278606 h 1507522"/>
              <a:gd name="connsiteX43" fmla="*/ 1661693 w 3577471"/>
              <a:gd name="connsiteY43" fmla="*/ 280987 h 1507522"/>
              <a:gd name="connsiteX44" fmla="*/ 1714080 w 3577471"/>
              <a:gd name="connsiteY44" fmla="*/ 290512 h 1507522"/>
              <a:gd name="connsiteX45" fmla="*/ 1761705 w 3577471"/>
              <a:gd name="connsiteY45" fmla="*/ 266700 h 1507522"/>
              <a:gd name="connsiteX46" fmla="*/ 1773612 w 3577471"/>
              <a:gd name="connsiteY46" fmla="*/ 233362 h 1507522"/>
              <a:gd name="connsiteX47" fmla="*/ 1814093 w 3577471"/>
              <a:gd name="connsiteY47" fmla="*/ 200025 h 1507522"/>
              <a:gd name="connsiteX48" fmla="*/ 1804568 w 3577471"/>
              <a:gd name="connsiteY48" fmla="*/ 173831 h 1507522"/>
              <a:gd name="connsiteX49" fmla="*/ 1821237 w 3577471"/>
              <a:gd name="connsiteY49" fmla="*/ 147637 h 1507522"/>
              <a:gd name="connsiteX50" fmla="*/ 1876005 w 3577471"/>
              <a:gd name="connsiteY50" fmla="*/ 169068 h 1507522"/>
              <a:gd name="connsiteX51" fmla="*/ 1923630 w 3577471"/>
              <a:gd name="connsiteY51" fmla="*/ 173831 h 1507522"/>
              <a:gd name="connsiteX52" fmla="*/ 1959349 w 3577471"/>
              <a:gd name="connsiteY52" fmla="*/ 209550 h 1507522"/>
              <a:gd name="connsiteX53" fmla="*/ 1987924 w 3577471"/>
              <a:gd name="connsiteY53" fmla="*/ 223837 h 1507522"/>
              <a:gd name="connsiteX54" fmla="*/ 2006974 w 3577471"/>
              <a:gd name="connsiteY54" fmla="*/ 280987 h 1507522"/>
              <a:gd name="connsiteX55" fmla="*/ 2076030 w 3577471"/>
              <a:gd name="connsiteY55" fmla="*/ 316706 h 1507522"/>
              <a:gd name="connsiteX56" fmla="*/ 2145087 w 3577471"/>
              <a:gd name="connsiteY56" fmla="*/ 307181 h 1507522"/>
              <a:gd name="connsiteX57" fmla="*/ 2192712 w 3577471"/>
              <a:gd name="connsiteY57" fmla="*/ 295275 h 1507522"/>
              <a:gd name="connsiteX58" fmla="*/ 2230812 w 3577471"/>
              <a:gd name="connsiteY58" fmla="*/ 307181 h 1507522"/>
              <a:gd name="connsiteX59" fmla="*/ 2280818 w 3577471"/>
              <a:gd name="connsiteY59" fmla="*/ 304800 h 1507522"/>
              <a:gd name="connsiteX60" fmla="*/ 2326062 w 3577471"/>
              <a:gd name="connsiteY60" fmla="*/ 316706 h 1507522"/>
              <a:gd name="connsiteX61" fmla="*/ 2371305 w 3577471"/>
              <a:gd name="connsiteY61" fmla="*/ 302418 h 1507522"/>
              <a:gd name="connsiteX62" fmla="*/ 2392737 w 3577471"/>
              <a:gd name="connsiteY62" fmla="*/ 276225 h 1507522"/>
              <a:gd name="connsiteX63" fmla="*/ 2471318 w 3577471"/>
              <a:gd name="connsiteY63" fmla="*/ 297656 h 1507522"/>
              <a:gd name="connsiteX64" fmla="*/ 2511799 w 3577471"/>
              <a:gd name="connsiteY64" fmla="*/ 283368 h 1507522"/>
              <a:gd name="connsiteX65" fmla="*/ 2518943 w 3577471"/>
              <a:gd name="connsiteY65" fmla="*/ 242887 h 1507522"/>
              <a:gd name="connsiteX66" fmla="*/ 2490368 w 3577471"/>
              <a:gd name="connsiteY66" fmla="*/ 195262 h 1507522"/>
              <a:gd name="connsiteX67" fmla="*/ 2473699 w 3577471"/>
              <a:gd name="connsiteY67" fmla="*/ 135731 h 1507522"/>
              <a:gd name="connsiteX68" fmla="*/ 2440362 w 3577471"/>
              <a:gd name="connsiteY68" fmla="*/ 102393 h 1507522"/>
              <a:gd name="connsiteX69" fmla="*/ 2416549 w 3577471"/>
              <a:gd name="connsiteY69" fmla="*/ 59531 h 1507522"/>
              <a:gd name="connsiteX70" fmla="*/ 2426074 w 3577471"/>
              <a:gd name="connsiteY70" fmla="*/ 38100 h 1507522"/>
              <a:gd name="connsiteX71" fmla="*/ 2461793 w 3577471"/>
              <a:gd name="connsiteY71" fmla="*/ 0 h 1507522"/>
              <a:gd name="connsiteX72" fmla="*/ 2480843 w 3577471"/>
              <a:gd name="connsiteY72" fmla="*/ 16668 h 1507522"/>
              <a:gd name="connsiteX73" fmla="*/ 2561805 w 3577471"/>
              <a:gd name="connsiteY73" fmla="*/ 30956 h 1507522"/>
              <a:gd name="connsiteX74" fmla="*/ 2645149 w 3577471"/>
              <a:gd name="connsiteY74" fmla="*/ 47625 h 1507522"/>
              <a:gd name="connsiteX75" fmla="*/ 2695155 w 3577471"/>
              <a:gd name="connsiteY75" fmla="*/ 66675 h 1507522"/>
              <a:gd name="connsiteX76" fmla="*/ 2745162 w 3577471"/>
              <a:gd name="connsiteY76" fmla="*/ 61912 h 1507522"/>
              <a:gd name="connsiteX77" fmla="*/ 2792787 w 3577471"/>
              <a:gd name="connsiteY77" fmla="*/ 92868 h 1507522"/>
              <a:gd name="connsiteX78" fmla="*/ 2835649 w 3577471"/>
              <a:gd name="connsiteY78" fmla="*/ 119062 h 1507522"/>
              <a:gd name="connsiteX79" fmla="*/ 2857080 w 3577471"/>
              <a:gd name="connsiteY79" fmla="*/ 150018 h 1507522"/>
              <a:gd name="connsiteX80" fmla="*/ 2907087 w 3577471"/>
              <a:gd name="connsiteY80" fmla="*/ 157162 h 1507522"/>
              <a:gd name="connsiteX81" fmla="*/ 2933280 w 3577471"/>
              <a:gd name="connsiteY81" fmla="*/ 202406 h 1507522"/>
              <a:gd name="connsiteX82" fmla="*/ 2959474 w 3577471"/>
              <a:gd name="connsiteY82" fmla="*/ 233362 h 1507522"/>
              <a:gd name="connsiteX83" fmla="*/ 2976143 w 3577471"/>
              <a:gd name="connsiteY83" fmla="*/ 278606 h 1507522"/>
              <a:gd name="connsiteX84" fmla="*/ 3035674 w 3577471"/>
              <a:gd name="connsiteY84" fmla="*/ 295275 h 1507522"/>
              <a:gd name="connsiteX85" fmla="*/ 3064249 w 3577471"/>
              <a:gd name="connsiteY85" fmla="*/ 326231 h 1507522"/>
              <a:gd name="connsiteX86" fmla="*/ 3085680 w 3577471"/>
              <a:gd name="connsiteY86" fmla="*/ 335756 h 1507522"/>
              <a:gd name="connsiteX87" fmla="*/ 3097587 w 3577471"/>
              <a:gd name="connsiteY87" fmla="*/ 376237 h 1507522"/>
              <a:gd name="connsiteX88" fmla="*/ 3128543 w 3577471"/>
              <a:gd name="connsiteY88" fmla="*/ 383381 h 1507522"/>
              <a:gd name="connsiteX89" fmla="*/ 3166643 w 3577471"/>
              <a:gd name="connsiteY89" fmla="*/ 447675 h 1507522"/>
              <a:gd name="connsiteX90" fmla="*/ 3161880 w 3577471"/>
              <a:gd name="connsiteY90" fmla="*/ 502443 h 1507522"/>
              <a:gd name="connsiteX91" fmla="*/ 3149974 w 3577471"/>
              <a:gd name="connsiteY91" fmla="*/ 531018 h 1507522"/>
              <a:gd name="connsiteX92" fmla="*/ 3190455 w 3577471"/>
              <a:gd name="connsiteY92" fmla="*/ 564356 h 1507522"/>
              <a:gd name="connsiteX93" fmla="*/ 3188074 w 3577471"/>
              <a:gd name="connsiteY93" fmla="*/ 647700 h 1507522"/>
              <a:gd name="connsiteX94" fmla="*/ 3169024 w 3577471"/>
              <a:gd name="connsiteY94" fmla="*/ 664368 h 1507522"/>
              <a:gd name="connsiteX95" fmla="*/ 3152355 w 3577471"/>
              <a:gd name="connsiteY95" fmla="*/ 738187 h 1507522"/>
              <a:gd name="connsiteX96" fmla="*/ 3173787 w 3577471"/>
              <a:gd name="connsiteY96" fmla="*/ 773906 h 1507522"/>
              <a:gd name="connsiteX97" fmla="*/ 3228555 w 3577471"/>
              <a:gd name="connsiteY97" fmla="*/ 797718 h 1507522"/>
              <a:gd name="connsiteX98" fmla="*/ 3266655 w 3577471"/>
              <a:gd name="connsiteY98" fmla="*/ 778668 h 1507522"/>
              <a:gd name="connsiteX99" fmla="*/ 3309518 w 3577471"/>
              <a:gd name="connsiteY99" fmla="*/ 797718 h 1507522"/>
              <a:gd name="connsiteX100" fmla="*/ 3345237 w 3577471"/>
              <a:gd name="connsiteY100" fmla="*/ 783431 h 1507522"/>
              <a:gd name="connsiteX101" fmla="*/ 3383337 w 3577471"/>
              <a:gd name="connsiteY101" fmla="*/ 826293 h 1507522"/>
              <a:gd name="connsiteX102" fmla="*/ 3461918 w 3577471"/>
              <a:gd name="connsiteY102" fmla="*/ 902493 h 1507522"/>
              <a:gd name="connsiteX103" fmla="*/ 3530974 w 3577471"/>
              <a:gd name="connsiteY103" fmla="*/ 916781 h 1507522"/>
              <a:gd name="connsiteX104" fmla="*/ 3577471 w 3577471"/>
              <a:gd name="connsiteY104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561555 w 3577471"/>
              <a:gd name="connsiteY14" fmla="*/ 1207293 h 1507522"/>
              <a:gd name="connsiteX15" fmla="*/ 609180 w 3577471"/>
              <a:gd name="connsiteY15" fmla="*/ 1214437 h 1507522"/>
              <a:gd name="connsiteX16" fmla="*/ 899693 w 3577471"/>
              <a:gd name="connsiteY16" fmla="*/ 1012031 h 1507522"/>
              <a:gd name="connsiteX17" fmla="*/ 921124 w 3577471"/>
              <a:gd name="connsiteY17" fmla="*/ 988218 h 1507522"/>
              <a:gd name="connsiteX18" fmla="*/ 1002087 w 3577471"/>
              <a:gd name="connsiteY18" fmla="*/ 966787 h 1507522"/>
              <a:gd name="connsiteX19" fmla="*/ 1016374 w 3577471"/>
              <a:gd name="connsiteY19" fmla="*/ 952500 h 1507522"/>
              <a:gd name="connsiteX20" fmla="*/ 1025899 w 3577471"/>
              <a:gd name="connsiteY20" fmla="*/ 919162 h 1507522"/>
              <a:gd name="connsiteX21" fmla="*/ 1106862 w 3577471"/>
              <a:gd name="connsiteY21" fmla="*/ 878681 h 1507522"/>
              <a:gd name="connsiteX22" fmla="*/ 1125912 w 3577471"/>
              <a:gd name="connsiteY22" fmla="*/ 873918 h 1507522"/>
              <a:gd name="connsiteX23" fmla="*/ 1185443 w 3577471"/>
              <a:gd name="connsiteY23" fmla="*/ 809625 h 1507522"/>
              <a:gd name="connsiteX24" fmla="*/ 1190205 w 3577471"/>
              <a:gd name="connsiteY24" fmla="*/ 759618 h 1507522"/>
              <a:gd name="connsiteX25" fmla="*/ 1216399 w 3577471"/>
              <a:gd name="connsiteY25" fmla="*/ 733425 h 1507522"/>
              <a:gd name="connsiteX26" fmla="*/ 1242593 w 3577471"/>
              <a:gd name="connsiteY26" fmla="*/ 728662 h 1507522"/>
              <a:gd name="connsiteX27" fmla="*/ 1304505 w 3577471"/>
              <a:gd name="connsiteY27" fmla="*/ 683418 h 1507522"/>
              <a:gd name="connsiteX28" fmla="*/ 1390230 w 3577471"/>
              <a:gd name="connsiteY28" fmla="*/ 640556 h 1507522"/>
              <a:gd name="connsiteX29" fmla="*/ 1425949 w 3577471"/>
              <a:gd name="connsiteY29" fmla="*/ 600075 h 1507522"/>
              <a:gd name="connsiteX30" fmla="*/ 1454524 w 3577471"/>
              <a:gd name="connsiteY30" fmla="*/ 585787 h 1507522"/>
              <a:gd name="connsiteX31" fmla="*/ 1461668 w 3577471"/>
              <a:gd name="connsiteY31" fmla="*/ 519112 h 1507522"/>
              <a:gd name="connsiteX32" fmla="*/ 1478337 w 3577471"/>
              <a:gd name="connsiteY32" fmla="*/ 473868 h 1507522"/>
              <a:gd name="connsiteX33" fmla="*/ 1464049 w 3577471"/>
              <a:gd name="connsiteY33" fmla="*/ 433387 h 1507522"/>
              <a:gd name="connsiteX34" fmla="*/ 1468812 w 3577471"/>
              <a:gd name="connsiteY34" fmla="*/ 347662 h 1507522"/>
              <a:gd name="connsiteX35" fmla="*/ 1464049 w 3577471"/>
              <a:gd name="connsiteY35" fmla="*/ 307181 h 1507522"/>
              <a:gd name="connsiteX36" fmla="*/ 1464049 w 3577471"/>
              <a:gd name="connsiteY36" fmla="*/ 264318 h 1507522"/>
              <a:gd name="connsiteX37" fmla="*/ 1490243 w 3577471"/>
              <a:gd name="connsiteY37" fmla="*/ 254793 h 1507522"/>
              <a:gd name="connsiteX38" fmla="*/ 1511674 w 3577471"/>
              <a:gd name="connsiteY38" fmla="*/ 271462 h 1507522"/>
              <a:gd name="connsiteX39" fmla="*/ 1525962 w 3577471"/>
              <a:gd name="connsiteY39" fmla="*/ 297656 h 1507522"/>
              <a:gd name="connsiteX40" fmla="*/ 1554537 w 3577471"/>
              <a:gd name="connsiteY40" fmla="*/ 300037 h 1507522"/>
              <a:gd name="connsiteX41" fmla="*/ 1575968 w 3577471"/>
              <a:gd name="connsiteY41" fmla="*/ 278606 h 1507522"/>
              <a:gd name="connsiteX42" fmla="*/ 1661693 w 3577471"/>
              <a:gd name="connsiteY42" fmla="*/ 280987 h 1507522"/>
              <a:gd name="connsiteX43" fmla="*/ 1714080 w 3577471"/>
              <a:gd name="connsiteY43" fmla="*/ 290512 h 1507522"/>
              <a:gd name="connsiteX44" fmla="*/ 1761705 w 3577471"/>
              <a:gd name="connsiteY44" fmla="*/ 266700 h 1507522"/>
              <a:gd name="connsiteX45" fmla="*/ 1773612 w 3577471"/>
              <a:gd name="connsiteY45" fmla="*/ 233362 h 1507522"/>
              <a:gd name="connsiteX46" fmla="*/ 1814093 w 3577471"/>
              <a:gd name="connsiteY46" fmla="*/ 200025 h 1507522"/>
              <a:gd name="connsiteX47" fmla="*/ 1804568 w 3577471"/>
              <a:gd name="connsiteY47" fmla="*/ 173831 h 1507522"/>
              <a:gd name="connsiteX48" fmla="*/ 1821237 w 3577471"/>
              <a:gd name="connsiteY48" fmla="*/ 147637 h 1507522"/>
              <a:gd name="connsiteX49" fmla="*/ 1876005 w 3577471"/>
              <a:gd name="connsiteY49" fmla="*/ 169068 h 1507522"/>
              <a:gd name="connsiteX50" fmla="*/ 1923630 w 3577471"/>
              <a:gd name="connsiteY50" fmla="*/ 173831 h 1507522"/>
              <a:gd name="connsiteX51" fmla="*/ 1959349 w 3577471"/>
              <a:gd name="connsiteY51" fmla="*/ 209550 h 1507522"/>
              <a:gd name="connsiteX52" fmla="*/ 1987924 w 3577471"/>
              <a:gd name="connsiteY52" fmla="*/ 223837 h 1507522"/>
              <a:gd name="connsiteX53" fmla="*/ 2006974 w 3577471"/>
              <a:gd name="connsiteY53" fmla="*/ 280987 h 1507522"/>
              <a:gd name="connsiteX54" fmla="*/ 2076030 w 3577471"/>
              <a:gd name="connsiteY54" fmla="*/ 316706 h 1507522"/>
              <a:gd name="connsiteX55" fmla="*/ 2145087 w 3577471"/>
              <a:gd name="connsiteY55" fmla="*/ 307181 h 1507522"/>
              <a:gd name="connsiteX56" fmla="*/ 2192712 w 3577471"/>
              <a:gd name="connsiteY56" fmla="*/ 295275 h 1507522"/>
              <a:gd name="connsiteX57" fmla="*/ 2230812 w 3577471"/>
              <a:gd name="connsiteY57" fmla="*/ 307181 h 1507522"/>
              <a:gd name="connsiteX58" fmla="*/ 2280818 w 3577471"/>
              <a:gd name="connsiteY58" fmla="*/ 304800 h 1507522"/>
              <a:gd name="connsiteX59" fmla="*/ 2326062 w 3577471"/>
              <a:gd name="connsiteY59" fmla="*/ 316706 h 1507522"/>
              <a:gd name="connsiteX60" fmla="*/ 2371305 w 3577471"/>
              <a:gd name="connsiteY60" fmla="*/ 302418 h 1507522"/>
              <a:gd name="connsiteX61" fmla="*/ 2392737 w 3577471"/>
              <a:gd name="connsiteY61" fmla="*/ 276225 h 1507522"/>
              <a:gd name="connsiteX62" fmla="*/ 2471318 w 3577471"/>
              <a:gd name="connsiteY62" fmla="*/ 297656 h 1507522"/>
              <a:gd name="connsiteX63" fmla="*/ 2511799 w 3577471"/>
              <a:gd name="connsiteY63" fmla="*/ 283368 h 1507522"/>
              <a:gd name="connsiteX64" fmla="*/ 2518943 w 3577471"/>
              <a:gd name="connsiteY64" fmla="*/ 242887 h 1507522"/>
              <a:gd name="connsiteX65" fmla="*/ 2490368 w 3577471"/>
              <a:gd name="connsiteY65" fmla="*/ 195262 h 1507522"/>
              <a:gd name="connsiteX66" fmla="*/ 2473699 w 3577471"/>
              <a:gd name="connsiteY66" fmla="*/ 135731 h 1507522"/>
              <a:gd name="connsiteX67" fmla="*/ 2440362 w 3577471"/>
              <a:gd name="connsiteY67" fmla="*/ 102393 h 1507522"/>
              <a:gd name="connsiteX68" fmla="*/ 2416549 w 3577471"/>
              <a:gd name="connsiteY68" fmla="*/ 59531 h 1507522"/>
              <a:gd name="connsiteX69" fmla="*/ 2426074 w 3577471"/>
              <a:gd name="connsiteY69" fmla="*/ 38100 h 1507522"/>
              <a:gd name="connsiteX70" fmla="*/ 2461793 w 3577471"/>
              <a:gd name="connsiteY70" fmla="*/ 0 h 1507522"/>
              <a:gd name="connsiteX71" fmla="*/ 2480843 w 3577471"/>
              <a:gd name="connsiteY71" fmla="*/ 16668 h 1507522"/>
              <a:gd name="connsiteX72" fmla="*/ 2561805 w 3577471"/>
              <a:gd name="connsiteY72" fmla="*/ 30956 h 1507522"/>
              <a:gd name="connsiteX73" fmla="*/ 2645149 w 3577471"/>
              <a:gd name="connsiteY73" fmla="*/ 47625 h 1507522"/>
              <a:gd name="connsiteX74" fmla="*/ 2695155 w 3577471"/>
              <a:gd name="connsiteY74" fmla="*/ 66675 h 1507522"/>
              <a:gd name="connsiteX75" fmla="*/ 2745162 w 3577471"/>
              <a:gd name="connsiteY75" fmla="*/ 61912 h 1507522"/>
              <a:gd name="connsiteX76" fmla="*/ 2792787 w 3577471"/>
              <a:gd name="connsiteY76" fmla="*/ 92868 h 1507522"/>
              <a:gd name="connsiteX77" fmla="*/ 2835649 w 3577471"/>
              <a:gd name="connsiteY77" fmla="*/ 119062 h 1507522"/>
              <a:gd name="connsiteX78" fmla="*/ 2857080 w 3577471"/>
              <a:gd name="connsiteY78" fmla="*/ 150018 h 1507522"/>
              <a:gd name="connsiteX79" fmla="*/ 2907087 w 3577471"/>
              <a:gd name="connsiteY79" fmla="*/ 157162 h 1507522"/>
              <a:gd name="connsiteX80" fmla="*/ 2933280 w 3577471"/>
              <a:gd name="connsiteY80" fmla="*/ 202406 h 1507522"/>
              <a:gd name="connsiteX81" fmla="*/ 2959474 w 3577471"/>
              <a:gd name="connsiteY81" fmla="*/ 233362 h 1507522"/>
              <a:gd name="connsiteX82" fmla="*/ 2976143 w 3577471"/>
              <a:gd name="connsiteY82" fmla="*/ 278606 h 1507522"/>
              <a:gd name="connsiteX83" fmla="*/ 3035674 w 3577471"/>
              <a:gd name="connsiteY83" fmla="*/ 295275 h 1507522"/>
              <a:gd name="connsiteX84" fmla="*/ 3064249 w 3577471"/>
              <a:gd name="connsiteY84" fmla="*/ 326231 h 1507522"/>
              <a:gd name="connsiteX85" fmla="*/ 3085680 w 3577471"/>
              <a:gd name="connsiteY85" fmla="*/ 335756 h 1507522"/>
              <a:gd name="connsiteX86" fmla="*/ 3097587 w 3577471"/>
              <a:gd name="connsiteY86" fmla="*/ 376237 h 1507522"/>
              <a:gd name="connsiteX87" fmla="*/ 3128543 w 3577471"/>
              <a:gd name="connsiteY87" fmla="*/ 383381 h 1507522"/>
              <a:gd name="connsiteX88" fmla="*/ 3166643 w 3577471"/>
              <a:gd name="connsiteY88" fmla="*/ 447675 h 1507522"/>
              <a:gd name="connsiteX89" fmla="*/ 3161880 w 3577471"/>
              <a:gd name="connsiteY89" fmla="*/ 502443 h 1507522"/>
              <a:gd name="connsiteX90" fmla="*/ 3149974 w 3577471"/>
              <a:gd name="connsiteY90" fmla="*/ 531018 h 1507522"/>
              <a:gd name="connsiteX91" fmla="*/ 3190455 w 3577471"/>
              <a:gd name="connsiteY91" fmla="*/ 564356 h 1507522"/>
              <a:gd name="connsiteX92" fmla="*/ 3188074 w 3577471"/>
              <a:gd name="connsiteY92" fmla="*/ 647700 h 1507522"/>
              <a:gd name="connsiteX93" fmla="*/ 3169024 w 3577471"/>
              <a:gd name="connsiteY93" fmla="*/ 664368 h 1507522"/>
              <a:gd name="connsiteX94" fmla="*/ 3152355 w 3577471"/>
              <a:gd name="connsiteY94" fmla="*/ 738187 h 1507522"/>
              <a:gd name="connsiteX95" fmla="*/ 3173787 w 3577471"/>
              <a:gd name="connsiteY95" fmla="*/ 773906 h 1507522"/>
              <a:gd name="connsiteX96" fmla="*/ 3228555 w 3577471"/>
              <a:gd name="connsiteY96" fmla="*/ 797718 h 1507522"/>
              <a:gd name="connsiteX97" fmla="*/ 3266655 w 3577471"/>
              <a:gd name="connsiteY97" fmla="*/ 778668 h 1507522"/>
              <a:gd name="connsiteX98" fmla="*/ 3309518 w 3577471"/>
              <a:gd name="connsiteY98" fmla="*/ 797718 h 1507522"/>
              <a:gd name="connsiteX99" fmla="*/ 3345237 w 3577471"/>
              <a:gd name="connsiteY99" fmla="*/ 783431 h 1507522"/>
              <a:gd name="connsiteX100" fmla="*/ 3383337 w 3577471"/>
              <a:gd name="connsiteY100" fmla="*/ 826293 h 1507522"/>
              <a:gd name="connsiteX101" fmla="*/ 3461918 w 3577471"/>
              <a:gd name="connsiteY101" fmla="*/ 902493 h 1507522"/>
              <a:gd name="connsiteX102" fmla="*/ 3530974 w 3577471"/>
              <a:gd name="connsiteY102" fmla="*/ 916781 h 1507522"/>
              <a:gd name="connsiteX103" fmla="*/ 3577471 w 3577471"/>
              <a:gd name="connsiteY103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561555 w 3577471"/>
              <a:gd name="connsiteY14" fmla="*/ 1207293 h 1507522"/>
              <a:gd name="connsiteX15" fmla="*/ 899693 w 3577471"/>
              <a:gd name="connsiteY15" fmla="*/ 1012031 h 1507522"/>
              <a:gd name="connsiteX16" fmla="*/ 921124 w 3577471"/>
              <a:gd name="connsiteY16" fmla="*/ 988218 h 1507522"/>
              <a:gd name="connsiteX17" fmla="*/ 1002087 w 3577471"/>
              <a:gd name="connsiteY17" fmla="*/ 966787 h 1507522"/>
              <a:gd name="connsiteX18" fmla="*/ 1016374 w 3577471"/>
              <a:gd name="connsiteY18" fmla="*/ 952500 h 1507522"/>
              <a:gd name="connsiteX19" fmla="*/ 1025899 w 3577471"/>
              <a:gd name="connsiteY19" fmla="*/ 919162 h 1507522"/>
              <a:gd name="connsiteX20" fmla="*/ 1106862 w 3577471"/>
              <a:gd name="connsiteY20" fmla="*/ 878681 h 1507522"/>
              <a:gd name="connsiteX21" fmla="*/ 1125912 w 3577471"/>
              <a:gd name="connsiteY21" fmla="*/ 873918 h 1507522"/>
              <a:gd name="connsiteX22" fmla="*/ 1185443 w 3577471"/>
              <a:gd name="connsiteY22" fmla="*/ 809625 h 1507522"/>
              <a:gd name="connsiteX23" fmla="*/ 1190205 w 3577471"/>
              <a:gd name="connsiteY23" fmla="*/ 759618 h 1507522"/>
              <a:gd name="connsiteX24" fmla="*/ 1216399 w 3577471"/>
              <a:gd name="connsiteY24" fmla="*/ 733425 h 1507522"/>
              <a:gd name="connsiteX25" fmla="*/ 1242593 w 3577471"/>
              <a:gd name="connsiteY25" fmla="*/ 728662 h 1507522"/>
              <a:gd name="connsiteX26" fmla="*/ 1304505 w 3577471"/>
              <a:gd name="connsiteY26" fmla="*/ 683418 h 1507522"/>
              <a:gd name="connsiteX27" fmla="*/ 1390230 w 3577471"/>
              <a:gd name="connsiteY27" fmla="*/ 640556 h 1507522"/>
              <a:gd name="connsiteX28" fmla="*/ 1425949 w 3577471"/>
              <a:gd name="connsiteY28" fmla="*/ 600075 h 1507522"/>
              <a:gd name="connsiteX29" fmla="*/ 1454524 w 3577471"/>
              <a:gd name="connsiteY29" fmla="*/ 585787 h 1507522"/>
              <a:gd name="connsiteX30" fmla="*/ 1461668 w 3577471"/>
              <a:gd name="connsiteY30" fmla="*/ 519112 h 1507522"/>
              <a:gd name="connsiteX31" fmla="*/ 1478337 w 3577471"/>
              <a:gd name="connsiteY31" fmla="*/ 473868 h 1507522"/>
              <a:gd name="connsiteX32" fmla="*/ 1464049 w 3577471"/>
              <a:gd name="connsiteY32" fmla="*/ 433387 h 1507522"/>
              <a:gd name="connsiteX33" fmla="*/ 1468812 w 3577471"/>
              <a:gd name="connsiteY33" fmla="*/ 347662 h 1507522"/>
              <a:gd name="connsiteX34" fmla="*/ 1464049 w 3577471"/>
              <a:gd name="connsiteY34" fmla="*/ 307181 h 1507522"/>
              <a:gd name="connsiteX35" fmla="*/ 1464049 w 3577471"/>
              <a:gd name="connsiteY35" fmla="*/ 264318 h 1507522"/>
              <a:gd name="connsiteX36" fmla="*/ 1490243 w 3577471"/>
              <a:gd name="connsiteY36" fmla="*/ 254793 h 1507522"/>
              <a:gd name="connsiteX37" fmla="*/ 1511674 w 3577471"/>
              <a:gd name="connsiteY37" fmla="*/ 271462 h 1507522"/>
              <a:gd name="connsiteX38" fmla="*/ 1525962 w 3577471"/>
              <a:gd name="connsiteY38" fmla="*/ 297656 h 1507522"/>
              <a:gd name="connsiteX39" fmla="*/ 1554537 w 3577471"/>
              <a:gd name="connsiteY39" fmla="*/ 300037 h 1507522"/>
              <a:gd name="connsiteX40" fmla="*/ 1575968 w 3577471"/>
              <a:gd name="connsiteY40" fmla="*/ 278606 h 1507522"/>
              <a:gd name="connsiteX41" fmla="*/ 1661693 w 3577471"/>
              <a:gd name="connsiteY41" fmla="*/ 280987 h 1507522"/>
              <a:gd name="connsiteX42" fmla="*/ 1714080 w 3577471"/>
              <a:gd name="connsiteY42" fmla="*/ 290512 h 1507522"/>
              <a:gd name="connsiteX43" fmla="*/ 1761705 w 3577471"/>
              <a:gd name="connsiteY43" fmla="*/ 266700 h 1507522"/>
              <a:gd name="connsiteX44" fmla="*/ 1773612 w 3577471"/>
              <a:gd name="connsiteY44" fmla="*/ 233362 h 1507522"/>
              <a:gd name="connsiteX45" fmla="*/ 1814093 w 3577471"/>
              <a:gd name="connsiteY45" fmla="*/ 200025 h 1507522"/>
              <a:gd name="connsiteX46" fmla="*/ 1804568 w 3577471"/>
              <a:gd name="connsiteY46" fmla="*/ 173831 h 1507522"/>
              <a:gd name="connsiteX47" fmla="*/ 1821237 w 3577471"/>
              <a:gd name="connsiteY47" fmla="*/ 147637 h 1507522"/>
              <a:gd name="connsiteX48" fmla="*/ 1876005 w 3577471"/>
              <a:gd name="connsiteY48" fmla="*/ 169068 h 1507522"/>
              <a:gd name="connsiteX49" fmla="*/ 1923630 w 3577471"/>
              <a:gd name="connsiteY49" fmla="*/ 173831 h 1507522"/>
              <a:gd name="connsiteX50" fmla="*/ 1959349 w 3577471"/>
              <a:gd name="connsiteY50" fmla="*/ 209550 h 1507522"/>
              <a:gd name="connsiteX51" fmla="*/ 1987924 w 3577471"/>
              <a:gd name="connsiteY51" fmla="*/ 223837 h 1507522"/>
              <a:gd name="connsiteX52" fmla="*/ 2006974 w 3577471"/>
              <a:gd name="connsiteY52" fmla="*/ 280987 h 1507522"/>
              <a:gd name="connsiteX53" fmla="*/ 2076030 w 3577471"/>
              <a:gd name="connsiteY53" fmla="*/ 316706 h 1507522"/>
              <a:gd name="connsiteX54" fmla="*/ 2145087 w 3577471"/>
              <a:gd name="connsiteY54" fmla="*/ 307181 h 1507522"/>
              <a:gd name="connsiteX55" fmla="*/ 2192712 w 3577471"/>
              <a:gd name="connsiteY55" fmla="*/ 295275 h 1507522"/>
              <a:gd name="connsiteX56" fmla="*/ 2230812 w 3577471"/>
              <a:gd name="connsiteY56" fmla="*/ 307181 h 1507522"/>
              <a:gd name="connsiteX57" fmla="*/ 2280818 w 3577471"/>
              <a:gd name="connsiteY57" fmla="*/ 304800 h 1507522"/>
              <a:gd name="connsiteX58" fmla="*/ 2326062 w 3577471"/>
              <a:gd name="connsiteY58" fmla="*/ 316706 h 1507522"/>
              <a:gd name="connsiteX59" fmla="*/ 2371305 w 3577471"/>
              <a:gd name="connsiteY59" fmla="*/ 302418 h 1507522"/>
              <a:gd name="connsiteX60" fmla="*/ 2392737 w 3577471"/>
              <a:gd name="connsiteY60" fmla="*/ 276225 h 1507522"/>
              <a:gd name="connsiteX61" fmla="*/ 2471318 w 3577471"/>
              <a:gd name="connsiteY61" fmla="*/ 297656 h 1507522"/>
              <a:gd name="connsiteX62" fmla="*/ 2511799 w 3577471"/>
              <a:gd name="connsiteY62" fmla="*/ 283368 h 1507522"/>
              <a:gd name="connsiteX63" fmla="*/ 2518943 w 3577471"/>
              <a:gd name="connsiteY63" fmla="*/ 242887 h 1507522"/>
              <a:gd name="connsiteX64" fmla="*/ 2490368 w 3577471"/>
              <a:gd name="connsiteY64" fmla="*/ 195262 h 1507522"/>
              <a:gd name="connsiteX65" fmla="*/ 2473699 w 3577471"/>
              <a:gd name="connsiteY65" fmla="*/ 135731 h 1507522"/>
              <a:gd name="connsiteX66" fmla="*/ 2440362 w 3577471"/>
              <a:gd name="connsiteY66" fmla="*/ 102393 h 1507522"/>
              <a:gd name="connsiteX67" fmla="*/ 2416549 w 3577471"/>
              <a:gd name="connsiteY67" fmla="*/ 59531 h 1507522"/>
              <a:gd name="connsiteX68" fmla="*/ 2426074 w 3577471"/>
              <a:gd name="connsiteY68" fmla="*/ 38100 h 1507522"/>
              <a:gd name="connsiteX69" fmla="*/ 2461793 w 3577471"/>
              <a:gd name="connsiteY69" fmla="*/ 0 h 1507522"/>
              <a:gd name="connsiteX70" fmla="*/ 2480843 w 3577471"/>
              <a:gd name="connsiteY70" fmla="*/ 16668 h 1507522"/>
              <a:gd name="connsiteX71" fmla="*/ 2561805 w 3577471"/>
              <a:gd name="connsiteY71" fmla="*/ 30956 h 1507522"/>
              <a:gd name="connsiteX72" fmla="*/ 2645149 w 3577471"/>
              <a:gd name="connsiteY72" fmla="*/ 47625 h 1507522"/>
              <a:gd name="connsiteX73" fmla="*/ 2695155 w 3577471"/>
              <a:gd name="connsiteY73" fmla="*/ 66675 h 1507522"/>
              <a:gd name="connsiteX74" fmla="*/ 2745162 w 3577471"/>
              <a:gd name="connsiteY74" fmla="*/ 61912 h 1507522"/>
              <a:gd name="connsiteX75" fmla="*/ 2792787 w 3577471"/>
              <a:gd name="connsiteY75" fmla="*/ 92868 h 1507522"/>
              <a:gd name="connsiteX76" fmla="*/ 2835649 w 3577471"/>
              <a:gd name="connsiteY76" fmla="*/ 119062 h 1507522"/>
              <a:gd name="connsiteX77" fmla="*/ 2857080 w 3577471"/>
              <a:gd name="connsiteY77" fmla="*/ 150018 h 1507522"/>
              <a:gd name="connsiteX78" fmla="*/ 2907087 w 3577471"/>
              <a:gd name="connsiteY78" fmla="*/ 157162 h 1507522"/>
              <a:gd name="connsiteX79" fmla="*/ 2933280 w 3577471"/>
              <a:gd name="connsiteY79" fmla="*/ 202406 h 1507522"/>
              <a:gd name="connsiteX80" fmla="*/ 2959474 w 3577471"/>
              <a:gd name="connsiteY80" fmla="*/ 233362 h 1507522"/>
              <a:gd name="connsiteX81" fmla="*/ 2976143 w 3577471"/>
              <a:gd name="connsiteY81" fmla="*/ 278606 h 1507522"/>
              <a:gd name="connsiteX82" fmla="*/ 3035674 w 3577471"/>
              <a:gd name="connsiteY82" fmla="*/ 295275 h 1507522"/>
              <a:gd name="connsiteX83" fmla="*/ 3064249 w 3577471"/>
              <a:gd name="connsiteY83" fmla="*/ 326231 h 1507522"/>
              <a:gd name="connsiteX84" fmla="*/ 3085680 w 3577471"/>
              <a:gd name="connsiteY84" fmla="*/ 335756 h 1507522"/>
              <a:gd name="connsiteX85" fmla="*/ 3097587 w 3577471"/>
              <a:gd name="connsiteY85" fmla="*/ 376237 h 1507522"/>
              <a:gd name="connsiteX86" fmla="*/ 3128543 w 3577471"/>
              <a:gd name="connsiteY86" fmla="*/ 383381 h 1507522"/>
              <a:gd name="connsiteX87" fmla="*/ 3166643 w 3577471"/>
              <a:gd name="connsiteY87" fmla="*/ 447675 h 1507522"/>
              <a:gd name="connsiteX88" fmla="*/ 3161880 w 3577471"/>
              <a:gd name="connsiteY88" fmla="*/ 502443 h 1507522"/>
              <a:gd name="connsiteX89" fmla="*/ 3149974 w 3577471"/>
              <a:gd name="connsiteY89" fmla="*/ 531018 h 1507522"/>
              <a:gd name="connsiteX90" fmla="*/ 3190455 w 3577471"/>
              <a:gd name="connsiteY90" fmla="*/ 564356 h 1507522"/>
              <a:gd name="connsiteX91" fmla="*/ 3188074 w 3577471"/>
              <a:gd name="connsiteY91" fmla="*/ 647700 h 1507522"/>
              <a:gd name="connsiteX92" fmla="*/ 3169024 w 3577471"/>
              <a:gd name="connsiteY92" fmla="*/ 664368 h 1507522"/>
              <a:gd name="connsiteX93" fmla="*/ 3152355 w 3577471"/>
              <a:gd name="connsiteY93" fmla="*/ 738187 h 1507522"/>
              <a:gd name="connsiteX94" fmla="*/ 3173787 w 3577471"/>
              <a:gd name="connsiteY94" fmla="*/ 773906 h 1507522"/>
              <a:gd name="connsiteX95" fmla="*/ 3228555 w 3577471"/>
              <a:gd name="connsiteY95" fmla="*/ 797718 h 1507522"/>
              <a:gd name="connsiteX96" fmla="*/ 3266655 w 3577471"/>
              <a:gd name="connsiteY96" fmla="*/ 778668 h 1507522"/>
              <a:gd name="connsiteX97" fmla="*/ 3309518 w 3577471"/>
              <a:gd name="connsiteY97" fmla="*/ 797718 h 1507522"/>
              <a:gd name="connsiteX98" fmla="*/ 3345237 w 3577471"/>
              <a:gd name="connsiteY98" fmla="*/ 783431 h 1507522"/>
              <a:gd name="connsiteX99" fmla="*/ 3383337 w 3577471"/>
              <a:gd name="connsiteY99" fmla="*/ 826293 h 1507522"/>
              <a:gd name="connsiteX100" fmla="*/ 3461918 w 3577471"/>
              <a:gd name="connsiteY100" fmla="*/ 902493 h 1507522"/>
              <a:gd name="connsiteX101" fmla="*/ 3530974 w 3577471"/>
              <a:gd name="connsiteY101" fmla="*/ 916781 h 1507522"/>
              <a:gd name="connsiteX102" fmla="*/ 3577471 w 3577471"/>
              <a:gd name="connsiteY102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513930 w 3577471"/>
              <a:gd name="connsiteY13" fmla="*/ 1257300 h 1507522"/>
              <a:gd name="connsiteX14" fmla="*/ 899693 w 3577471"/>
              <a:gd name="connsiteY14" fmla="*/ 1012031 h 1507522"/>
              <a:gd name="connsiteX15" fmla="*/ 921124 w 3577471"/>
              <a:gd name="connsiteY15" fmla="*/ 988218 h 1507522"/>
              <a:gd name="connsiteX16" fmla="*/ 1002087 w 3577471"/>
              <a:gd name="connsiteY16" fmla="*/ 966787 h 1507522"/>
              <a:gd name="connsiteX17" fmla="*/ 1016374 w 3577471"/>
              <a:gd name="connsiteY17" fmla="*/ 952500 h 1507522"/>
              <a:gd name="connsiteX18" fmla="*/ 1025899 w 3577471"/>
              <a:gd name="connsiteY18" fmla="*/ 919162 h 1507522"/>
              <a:gd name="connsiteX19" fmla="*/ 1106862 w 3577471"/>
              <a:gd name="connsiteY19" fmla="*/ 878681 h 1507522"/>
              <a:gd name="connsiteX20" fmla="*/ 1125912 w 3577471"/>
              <a:gd name="connsiteY20" fmla="*/ 873918 h 1507522"/>
              <a:gd name="connsiteX21" fmla="*/ 1185443 w 3577471"/>
              <a:gd name="connsiteY21" fmla="*/ 809625 h 1507522"/>
              <a:gd name="connsiteX22" fmla="*/ 1190205 w 3577471"/>
              <a:gd name="connsiteY22" fmla="*/ 759618 h 1507522"/>
              <a:gd name="connsiteX23" fmla="*/ 1216399 w 3577471"/>
              <a:gd name="connsiteY23" fmla="*/ 733425 h 1507522"/>
              <a:gd name="connsiteX24" fmla="*/ 1242593 w 3577471"/>
              <a:gd name="connsiteY24" fmla="*/ 728662 h 1507522"/>
              <a:gd name="connsiteX25" fmla="*/ 1304505 w 3577471"/>
              <a:gd name="connsiteY25" fmla="*/ 683418 h 1507522"/>
              <a:gd name="connsiteX26" fmla="*/ 1390230 w 3577471"/>
              <a:gd name="connsiteY26" fmla="*/ 640556 h 1507522"/>
              <a:gd name="connsiteX27" fmla="*/ 1425949 w 3577471"/>
              <a:gd name="connsiteY27" fmla="*/ 600075 h 1507522"/>
              <a:gd name="connsiteX28" fmla="*/ 1454524 w 3577471"/>
              <a:gd name="connsiteY28" fmla="*/ 585787 h 1507522"/>
              <a:gd name="connsiteX29" fmla="*/ 1461668 w 3577471"/>
              <a:gd name="connsiteY29" fmla="*/ 519112 h 1507522"/>
              <a:gd name="connsiteX30" fmla="*/ 1478337 w 3577471"/>
              <a:gd name="connsiteY30" fmla="*/ 473868 h 1507522"/>
              <a:gd name="connsiteX31" fmla="*/ 1464049 w 3577471"/>
              <a:gd name="connsiteY31" fmla="*/ 433387 h 1507522"/>
              <a:gd name="connsiteX32" fmla="*/ 1468812 w 3577471"/>
              <a:gd name="connsiteY32" fmla="*/ 347662 h 1507522"/>
              <a:gd name="connsiteX33" fmla="*/ 1464049 w 3577471"/>
              <a:gd name="connsiteY33" fmla="*/ 307181 h 1507522"/>
              <a:gd name="connsiteX34" fmla="*/ 1464049 w 3577471"/>
              <a:gd name="connsiteY34" fmla="*/ 264318 h 1507522"/>
              <a:gd name="connsiteX35" fmla="*/ 1490243 w 3577471"/>
              <a:gd name="connsiteY35" fmla="*/ 254793 h 1507522"/>
              <a:gd name="connsiteX36" fmla="*/ 1511674 w 3577471"/>
              <a:gd name="connsiteY36" fmla="*/ 271462 h 1507522"/>
              <a:gd name="connsiteX37" fmla="*/ 1525962 w 3577471"/>
              <a:gd name="connsiteY37" fmla="*/ 297656 h 1507522"/>
              <a:gd name="connsiteX38" fmla="*/ 1554537 w 3577471"/>
              <a:gd name="connsiteY38" fmla="*/ 300037 h 1507522"/>
              <a:gd name="connsiteX39" fmla="*/ 1575968 w 3577471"/>
              <a:gd name="connsiteY39" fmla="*/ 278606 h 1507522"/>
              <a:gd name="connsiteX40" fmla="*/ 1661693 w 3577471"/>
              <a:gd name="connsiteY40" fmla="*/ 280987 h 1507522"/>
              <a:gd name="connsiteX41" fmla="*/ 1714080 w 3577471"/>
              <a:gd name="connsiteY41" fmla="*/ 290512 h 1507522"/>
              <a:gd name="connsiteX42" fmla="*/ 1761705 w 3577471"/>
              <a:gd name="connsiteY42" fmla="*/ 266700 h 1507522"/>
              <a:gd name="connsiteX43" fmla="*/ 1773612 w 3577471"/>
              <a:gd name="connsiteY43" fmla="*/ 233362 h 1507522"/>
              <a:gd name="connsiteX44" fmla="*/ 1814093 w 3577471"/>
              <a:gd name="connsiteY44" fmla="*/ 200025 h 1507522"/>
              <a:gd name="connsiteX45" fmla="*/ 1804568 w 3577471"/>
              <a:gd name="connsiteY45" fmla="*/ 173831 h 1507522"/>
              <a:gd name="connsiteX46" fmla="*/ 1821237 w 3577471"/>
              <a:gd name="connsiteY46" fmla="*/ 147637 h 1507522"/>
              <a:gd name="connsiteX47" fmla="*/ 1876005 w 3577471"/>
              <a:gd name="connsiteY47" fmla="*/ 169068 h 1507522"/>
              <a:gd name="connsiteX48" fmla="*/ 1923630 w 3577471"/>
              <a:gd name="connsiteY48" fmla="*/ 173831 h 1507522"/>
              <a:gd name="connsiteX49" fmla="*/ 1959349 w 3577471"/>
              <a:gd name="connsiteY49" fmla="*/ 209550 h 1507522"/>
              <a:gd name="connsiteX50" fmla="*/ 1987924 w 3577471"/>
              <a:gd name="connsiteY50" fmla="*/ 223837 h 1507522"/>
              <a:gd name="connsiteX51" fmla="*/ 2006974 w 3577471"/>
              <a:gd name="connsiteY51" fmla="*/ 280987 h 1507522"/>
              <a:gd name="connsiteX52" fmla="*/ 2076030 w 3577471"/>
              <a:gd name="connsiteY52" fmla="*/ 316706 h 1507522"/>
              <a:gd name="connsiteX53" fmla="*/ 2145087 w 3577471"/>
              <a:gd name="connsiteY53" fmla="*/ 307181 h 1507522"/>
              <a:gd name="connsiteX54" fmla="*/ 2192712 w 3577471"/>
              <a:gd name="connsiteY54" fmla="*/ 295275 h 1507522"/>
              <a:gd name="connsiteX55" fmla="*/ 2230812 w 3577471"/>
              <a:gd name="connsiteY55" fmla="*/ 307181 h 1507522"/>
              <a:gd name="connsiteX56" fmla="*/ 2280818 w 3577471"/>
              <a:gd name="connsiteY56" fmla="*/ 304800 h 1507522"/>
              <a:gd name="connsiteX57" fmla="*/ 2326062 w 3577471"/>
              <a:gd name="connsiteY57" fmla="*/ 316706 h 1507522"/>
              <a:gd name="connsiteX58" fmla="*/ 2371305 w 3577471"/>
              <a:gd name="connsiteY58" fmla="*/ 302418 h 1507522"/>
              <a:gd name="connsiteX59" fmla="*/ 2392737 w 3577471"/>
              <a:gd name="connsiteY59" fmla="*/ 276225 h 1507522"/>
              <a:gd name="connsiteX60" fmla="*/ 2471318 w 3577471"/>
              <a:gd name="connsiteY60" fmla="*/ 297656 h 1507522"/>
              <a:gd name="connsiteX61" fmla="*/ 2511799 w 3577471"/>
              <a:gd name="connsiteY61" fmla="*/ 283368 h 1507522"/>
              <a:gd name="connsiteX62" fmla="*/ 2518943 w 3577471"/>
              <a:gd name="connsiteY62" fmla="*/ 242887 h 1507522"/>
              <a:gd name="connsiteX63" fmla="*/ 2490368 w 3577471"/>
              <a:gd name="connsiteY63" fmla="*/ 195262 h 1507522"/>
              <a:gd name="connsiteX64" fmla="*/ 2473699 w 3577471"/>
              <a:gd name="connsiteY64" fmla="*/ 135731 h 1507522"/>
              <a:gd name="connsiteX65" fmla="*/ 2440362 w 3577471"/>
              <a:gd name="connsiteY65" fmla="*/ 102393 h 1507522"/>
              <a:gd name="connsiteX66" fmla="*/ 2416549 w 3577471"/>
              <a:gd name="connsiteY66" fmla="*/ 59531 h 1507522"/>
              <a:gd name="connsiteX67" fmla="*/ 2426074 w 3577471"/>
              <a:gd name="connsiteY67" fmla="*/ 38100 h 1507522"/>
              <a:gd name="connsiteX68" fmla="*/ 2461793 w 3577471"/>
              <a:gd name="connsiteY68" fmla="*/ 0 h 1507522"/>
              <a:gd name="connsiteX69" fmla="*/ 2480843 w 3577471"/>
              <a:gd name="connsiteY69" fmla="*/ 16668 h 1507522"/>
              <a:gd name="connsiteX70" fmla="*/ 2561805 w 3577471"/>
              <a:gd name="connsiteY70" fmla="*/ 30956 h 1507522"/>
              <a:gd name="connsiteX71" fmla="*/ 2645149 w 3577471"/>
              <a:gd name="connsiteY71" fmla="*/ 47625 h 1507522"/>
              <a:gd name="connsiteX72" fmla="*/ 2695155 w 3577471"/>
              <a:gd name="connsiteY72" fmla="*/ 66675 h 1507522"/>
              <a:gd name="connsiteX73" fmla="*/ 2745162 w 3577471"/>
              <a:gd name="connsiteY73" fmla="*/ 61912 h 1507522"/>
              <a:gd name="connsiteX74" fmla="*/ 2792787 w 3577471"/>
              <a:gd name="connsiteY74" fmla="*/ 92868 h 1507522"/>
              <a:gd name="connsiteX75" fmla="*/ 2835649 w 3577471"/>
              <a:gd name="connsiteY75" fmla="*/ 119062 h 1507522"/>
              <a:gd name="connsiteX76" fmla="*/ 2857080 w 3577471"/>
              <a:gd name="connsiteY76" fmla="*/ 150018 h 1507522"/>
              <a:gd name="connsiteX77" fmla="*/ 2907087 w 3577471"/>
              <a:gd name="connsiteY77" fmla="*/ 157162 h 1507522"/>
              <a:gd name="connsiteX78" fmla="*/ 2933280 w 3577471"/>
              <a:gd name="connsiteY78" fmla="*/ 202406 h 1507522"/>
              <a:gd name="connsiteX79" fmla="*/ 2959474 w 3577471"/>
              <a:gd name="connsiteY79" fmla="*/ 233362 h 1507522"/>
              <a:gd name="connsiteX80" fmla="*/ 2976143 w 3577471"/>
              <a:gd name="connsiteY80" fmla="*/ 278606 h 1507522"/>
              <a:gd name="connsiteX81" fmla="*/ 3035674 w 3577471"/>
              <a:gd name="connsiteY81" fmla="*/ 295275 h 1507522"/>
              <a:gd name="connsiteX82" fmla="*/ 3064249 w 3577471"/>
              <a:gd name="connsiteY82" fmla="*/ 326231 h 1507522"/>
              <a:gd name="connsiteX83" fmla="*/ 3085680 w 3577471"/>
              <a:gd name="connsiteY83" fmla="*/ 335756 h 1507522"/>
              <a:gd name="connsiteX84" fmla="*/ 3097587 w 3577471"/>
              <a:gd name="connsiteY84" fmla="*/ 376237 h 1507522"/>
              <a:gd name="connsiteX85" fmla="*/ 3128543 w 3577471"/>
              <a:gd name="connsiteY85" fmla="*/ 383381 h 1507522"/>
              <a:gd name="connsiteX86" fmla="*/ 3166643 w 3577471"/>
              <a:gd name="connsiteY86" fmla="*/ 447675 h 1507522"/>
              <a:gd name="connsiteX87" fmla="*/ 3161880 w 3577471"/>
              <a:gd name="connsiteY87" fmla="*/ 502443 h 1507522"/>
              <a:gd name="connsiteX88" fmla="*/ 3149974 w 3577471"/>
              <a:gd name="connsiteY88" fmla="*/ 531018 h 1507522"/>
              <a:gd name="connsiteX89" fmla="*/ 3190455 w 3577471"/>
              <a:gd name="connsiteY89" fmla="*/ 564356 h 1507522"/>
              <a:gd name="connsiteX90" fmla="*/ 3188074 w 3577471"/>
              <a:gd name="connsiteY90" fmla="*/ 647700 h 1507522"/>
              <a:gd name="connsiteX91" fmla="*/ 3169024 w 3577471"/>
              <a:gd name="connsiteY91" fmla="*/ 664368 h 1507522"/>
              <a:gd name="connsiteX92" fmla="*/ 3152355 w 3577471"/>
              <a:gd name="connsiteY92" fmla="*/ 738187 h 1507522"/>
              <a:gd name="connsiteX93" fmla="*/ 3173787 w 3577471"/>
              <a:gd name="connsiteY93" fmla="*/ 773906 h 1507522"/>
              <a:gd name="connsiteX94" fmla="*/ 3228555 w 3577471"/>
              <a:gd name="connsiteY94" fmla="*/ 797718 h 1507522"/>
              <a:gd name="connsiteX95" fmla="*/ 3266655 w 3577471"/>
              <a:gd name="connsiteY95" fmla="*/ 778668 h 1507522"/>
              <a:gd name="connsiteX96" fmla="*/ 3309518 w 3577471"/>
              <a:gd name="connsiteY96" fmla="*/ 797718 h 1507522"/>
              <a:gd name="connsiteX97" fmla="*/ 3345237 w 3577471"/>
              <a:gd name="connsiteY97" fmla="*/ 783431 h 1507522"/>
              <a:gd name="connsiteX98" fmla="*/ 3383337 w 3577471"/>
              <a:gd name="connsiteY98" fmla="*/ 826293 h 1507522"/>
              <a:gd name="connsiteX99" fmla="*/ 3461918 w 3577471"/>
              <a:gd name="connsiteY99" fmla="*/ 902493 h 1507522"/>
              <a:gd name="connsiteX100" fmla="*/ 3530974 w 3577471"/>
              <a:gd name="connsiteY100" fmla="*/ 916781 h 1507522"/>
              <a:gd name="connsiteX101" fmla="*/ 3577471 w 3577471"/>
              <a:gd name="connsiteY101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463924 w 3577471"/>
              <a:gd name="connsiteY12" fmla="*/ 1247775 h 1507522"/>
              <a:gd name="connsiteX13" fmla="*/ 899693 w 3577471"/>
              <a:gd name="connsiteY13" fmla="*/ 1012031 h 1507522"/>
              <a:gd name="connsiteX14" fmla="*/ 921124 w 3577471"/>
              <a:gd name="connsiteY14" fmla="*/ 988218 h 1507522"/>
              <a:gd name="connsiteX15" fmla="*/ 1002087 w 3577471"/>
              <a:gd name="connsiteY15" fmla="*/ 966787 h 1507522"/>
              <a:gd name="connsiteX16" fmla="*/ 1016374 w 3577471"/>
              <a:gd name="connsiteY16" fmla="*/ 952500 h 1507522"/>
              <a:gd name="connsiteX17" fmla="*/ 1025899 w 3577471"/>
              <a:gd name="connsiteY17" fmla="*/ 919162 h 1507522"/>
              <a:gd name="connsiteX18" fmla="*/ 1106862 w 3577471"/>
              <a:gd name="connsiteY18" fmla="*/ 878681 h 1507522"/>
              <a:gd name="connsiteX19" fmla="*/ 1125912 w 3577471"/>
              <a:gd name="connsiteY19" fmla="*/ 873918 h 1507522"/>
              <a:gd name="connsiteX20" fmla="*/ 1185443 w 3577471"/>
              <a:gd name="connsiteY20" fmla="*/ 809625 h 1507522"/>
              <a:gd name="connsiteX21" fmla="*/ 1190205 w 3577471"/>
              <a:gd name="connsiteY21" fmla="*/ 759618 h 1507522"/>
              <a:gd name="connsiteX22" fmla="*/ 1216399 w 3577471"/>
              <a:gd name="connsiteY22" fmla="*/ 733425 h 1507522"/>
              <a:gd name="connsiteX23" fmla="*/ 1242593 w 3577471"/>
              <a:gd name="connsiteY23" fmla="*/ 728662 h 1507522"/>
              <a:gd name="connsiteX24" fmla="*/ 1304505 w 3577471"/>
              <a:gd name="connsiteY24" fmla="*/ 683418 h 1507522"/>
              <a:gd name="connsiteX25" fmla="*/ 1390230 w 3577471"/>
              <a:gd name="connsiteY25" fmla="*/ 640556 h 1507522"/>
              <a:gd name="connsiteX26" fmla="*/ 1425949 w 3577471"/>
              <a:gd name="connsiteY26" fmla="*/ 600075 h 1507522"/>
              <a:gd name="connsiteX27" fmla="*/ 1454524 w 3577471"/>
              <a:gd name="connsiteY27" fmla="*/ 585787 h 1507522"/>
              <a:gd name="connsiteX28" fmla="*/ 1461668 w 3577471"/>
              <a:gd name="connsiteY28" fmla="*/ 519112 h 1507522"/>
              <a:gd name="connsiteX29" fmla="*/ 1478337 w 3577471"/>
              <a:gd name="connsiteY29" fmla="*/ 473868 h 1507522"/>
              <a:gd name="connsiteX30" fmla="*/ 1464049 w 3577471"/>
              <a:gd name="connsiteY30" fmla="*/ 433387 h 1507522"/>
              <a:gd name="connsiteX31" fmla="*/ 1468812 w 3577471"/>
              <a:gd name="connsiteY31" fmla="*/ 347662 h 1507522"/>
              <a:gd name="connsiteX32" fmla="*/ 1464049 w 3577471"/>
              <a:gd name="connsiteY32" fmla="*/ 307181 h 1507522"/>
              <a:gd name="connsiteX33" fmla="*/ 1464049 w 3577471"/>
              <a:gd name="connsiteY33" fmla="*/ 264318 h 1507522"/>
              <a:gd name="connsiteX34" fmla="*/ 1490243 w 3577471"/>
              <a:gd name="connsiteY34" fmla="*/ 254793 h 1507522"/>
              <a:gd name="connsiteX35" fmla="*/ 1511674 w 3577471"/>
              <a:gd name="connsiteY35" fmla="*/ 271462 h 1507522"/>
              <a:gd name="connsiteX36" fmla="*/ 1525962 w 3577471"/>
              <a:gd name="connsiteY36" fmla="*/ 297656 h 1507522"/>
              <a:gd name="connsiteX37" fmla="*/ 1554537 w 3577471"/>
              <a:gd name="connsiteY37" fmla="*/ 300037 h 1507522"/>
              <a:gd name="connsiteX38" fmla="*/ 1575968 w 3577471"/>
              <a:gd name="connsiteY38" fmla="*/ 278606 h 1507522"/>
              <a:gd name="connsiteX39" fmla="*/ 1661693 w 3577471"/>
              <a:gd name="connsiteY39" fmla="*/ 280987 h 1507522"/>
              <a:gd name="connsiteX40" fmla="*/ 1714080 w 3577471"/>
              <a:gd name="connsiteY40" fmla="*/ 290512 h 1507522"/>
              <a:gd name="connsiteX41" fmla="*/ 1761705 w 3577471"/>
              <a:gd name="connsiteY41" fmla="*/ 266700 h 1507522"/>
              <a:gd name="connsiteX42" fmla="*/ 1773612 w 3577471"/>
              <a:gd name="connsiteY42" fmla="*/ 233362 h 1507522"/>
              <a:gd name="connsiteX43" fmla="*/ 1814093 w 3577471"/>
              <a:gd name="connsiteY43" fmla="*/ 200025 h 1507522"/>
              <a:gd name="connsiteX44" fmla="*/ 1804568 w 3577471"/>
              <a:gd name="connsiteY44" fmla="*/ 173831 h 1507522"/>
              <a:gd name="connsiteX45" fmla="*/ 1821237 w 3577471"/>
              <a:gd name="connsiteY45" fmla="*/ 147637 h 1507522"/>
              <a:gd name="connsiteX46" fmla="*/ 1876005 w 3577471"/>
              <a:gd name="connsiteY46" fmla="*/ 169068 h 1507522"/>
              <a:gd name="connsiteX47" fmla="*/ 1923630 w 3577471"/>
              <a:gd name="connsiteY47" fmla="*/ 173831 h 1507522"/>
              <a:gd name="connsiteX48" fmla="*/ 1959349 w 3577471"/>
              <a:gd name="connsiteY48" fmla="*/ 209550 h 1507522"/>
              <a:gd name="connsiteX49" fmla="*/ 1987924 w 3577471"/>
              <a:gd name="connsiteY49" fmla="*/ 223837 h 1507522"/>
              <a:gd name="connsiteX50" fmla="*/ 2006974 w 3577471"/>
              <a:gd name="connsiteY50" fmla="*/ 280987 h 1507522"/>
              <a:gd name="connsiteX51" fmla="*/ 2076030 w 3577471"/>
              <a:gd name="connsiteY51" fmla="*/ 316706 h 1507522"/>
              <a:gd name="connsiteX52" fmla="*/ 2145087 w 3577471"/>
              <a:gd name="connsiteY52" fmla="*/ 307181 h 1507522"/>
              <a:gd name="connsiteX53" fmla="*/ 2192712 w 3577471"/>
              <a:gd name="connsiteY53" fmla="*/ 295275 h 1507522"/>
              <a:gd name="connsiteX54" fmla="*/ 2230812 w 3577471"/>
              <a:gd name="connsiteY54" fmla="*/ 307181 h 1507522"/>
              <a:gd name="connsiteX55" fmla="*/ 2280818 w 3577471"/>
              <a:gd name="connsiteY55" fmla="*/ 304800 h 1507522"/>
              <a:gd name="connsiteX56" fmla="*/ 2326062 w 3577471"/>
              <a:gd name="connsiteY56" fmla="*/ 316706 h 1507522"/>
              <a:gd name="connsiteX57" fmla="*/ 2371305 w 3577471"/>
              <a:gd name="connsiteY57" fmla="*/ 302418 h 1507522"/>
              <a:gd name="connsiteX58" fmla="*/ 2392737 w 3577471"/>
              <a:gd name="connsiteY58" fmla="*/ 276225 h 1507522"/>
              <a:gd name="connsiteX59" fmla="*/ 2471318 w 3577471"/>
              <a:gd name="connsiteY59" fmla="*/ 297656 h 1507522"/>
              <a:gd name="connsiteX60" fmla="*/ 2511799 w 3577471"/>
              <a:gd name="connsiteY60" fmla="*/ 283368 h 1507522"/>
              <a:gd name="connsiteX61" fmla="*/ 2518943 w 3577471"/>
              <a:gd name="connsiteY61" fmla="*/ 242887 h 1507522"/>
              <a:gd name="connsiteX62" fmla="*/ 2490368 w 3577471"/>
              <a:gd name="connsiteY62" fmla="*/ 195262 h 1507522"/>
              <a:gd name="connsiteX63" fmla="*/ 2473699 w 3577471"/>
              <a:gd name="connsiteY63" fmla="*/ 135731 h 1507522"/>
              <a:gd name="connsiteX64" fmla="*/ 2440362 w 3577471"/>
              <a:gd name="connsiteY64" fmla="*/ 102393 h 1507522"/>
              <a:gd name="connsiteX65" fmla="*/ 2416549 w 3577471"/>
              <a:gd name="connsiteY65" fmla="*/ 59531 h 1507522"/>
              <a:gd name="connsiteX66" fmla="*/ 2426074 w 3577471"/>
              <a:gd name="connsiteY66" fmla="*/ 38100 h 1507522"/>
              <a:gd name="connsiteX67" fmla="*/ 2461793 w 3577471"/>
              <a:gd name="connsiteY67" fmla="*/ 0 h 1507522"/>
              <a:gd name="connsiteX68" fmla="*/ 2480843 w 3577471"/>
              <a:gd name="connsiteY68" fmla="*/ 16668 h 1507522"/>
              <a:gd name="connsiteX69" fmla="*/ 2561805 w 3577471"/>
              <a:gd name="connsiteY69" fmla="*/ 30956 h 1507522"/>
              <a:gd name="connsiteX70" fmla="*/ 2645149 w 3577471"/>
              <a:gd name="connsiteY70" fmla="*/ 47625 h 1507522"/>
              <a:gd name="connsiteX71" fmla="*/ 2695155 w 3577471"/>
              <a:gd name="connsiteY71" fmla="*/ 66675 h 1507522"/>
              <a:gd name="connsiteX72" fmla="*/ 2745162 w 3577471"/>
              <a:gd name="connsiteY72" fmla="*/ 61912 h 1507522"/>
              <a:gd name="connsiteX73" fmla="*/ 2792787 w 3577471"/>
              <a:gd name="connsiteY73" fmla="*/ 92868 h 1507522"/>
              <a:gd name="connsiteX74" fmla="*/ 2835649 w 3577471"/>
              <a:gd name="connsiteY74" fmla="*/ 119062 h 1507522"/>
              <a:gd name="connsiteX75" fmla="*/ 2857080 w 3577471"/>
              <a:gd name="connsiteY75" fmla="*/ 150018 h 1507522"/>
              <a:gd name="connsiteX76" fmla="*/ 2907087 w 3577471"/>
              <a:gd name="connsiteY76" fmla="*/ 157162 h 1507522"/>
              <a:gd name="connsiteX77" fmla="*/ 2933280 w 3577471"/>
              <a:gd name="connsiteY77" fmla="*/ 202406 h 1507522"/>
              <a:gd name="connsiteX78" fmla="*/ 2959474 w 3577471"/>
              <a:gd name="connsiteY78" fmla="*/ 233362 h 1507522"/>
              <a:gd name="connsiteX79" fmla="*/ 2976143 w 3577471"/>
              <a:gd name="connsiteY79" fmla="*/ 278606 h 1507522"/>
              <a:gd name="connsiteX80" fmla="*/ 3035674 w 3577471"/>
              <a:gd name="connsiteY80" fmla="*/ 295275 h 1507522"/>
              <a:gd name="connsiteX81" fmla="*/ 3064249 w 3577471"/>
              <a:gd name="connsiteY81" fmla="*/ 326231 h 1507522"/>
              <a:gd name="connsiteX82" fmla="*/ 3085680 w 3577471"/>
              <a:gd name="connsiteY82" fmla="*/ 335756 h 1507522"/>
              <a:gd name="connsiteX83" fmla="*/ 3097587 w 3577471"/>
              <a:gd name="connsiteY83" fmla="*/ 376237 h 1507522"/>
              <a:gd name="connsiteX84" fmla="*/ 3128543 w 3577471"/>
              <a:gd name="connsiteY84" fmla="*/ 383381 h 1507522"/>
              <a:gd name="connsiteX85" fmla="*/ 3166643 w 3577471"/>
              <a:gd name="connsiteY85" fmla="*/ 447675 h 1507522"/>
              <a:gd name="connsiteX86" fmla="*/ 3161880 w 3577471"/>
              <a:gd name="connsiteY86" fmla="*/ 502443 h 1507522"/>
              <a:gd name="connsiteX87" fmla="*/ 3149974 w 3577471"/>
              <a:gd name="connsiteY87" fmla="*/ 531018 h 1507522"/>
              <a:gd name="connsiteX88" fmla="*/ 3190455 w 3577471"/>
              <a:gd name="connsiteY88" fmla="*/ 564356 h 1507522"/>
              <a:gd name="connsiteX89" fmla="*/ 3188074 w 3577471"/>
              <a:gd name="connsiteY89" fmla="*/ 647700 h 1507522"/>
              <a:gd name="connsiteX90" fmla="*/ 3169024 w 3577471"/>
              <a:gd name="connsiteY90" fmla="*/ 664368 h 1507522"/>
              <a:gd name="connsiteX91" fmla="*/ 3152355 w 3577471"/>
              <a:gd name="connsiteY91" fmla="*/ 738187 h 1507522"/>
              <a:gd name="connsiteX92" fmla="*/ 3173787 w 3577471"/>
              <a:gd name="connsiteY92" fmla="*/ 773906 h 1507522"/>
              <a:gd name="connsiteX93" fmla="*/ 3228555 w 3577471"/>
              <a:gd name="connsiteY93" fmla="*/ 797718 h 1507522"/>
              <a:gd name="connsiteX94" fmla="*/ 3266655 w 3577471"/>
              <a:gd name="connsiteY94" fmla="*/ 778668 h 1507522"/>
              <a:gd name="connsiteX95" fmla="*/ 3309518 w 3577471"/>
              <a:gd name="connsiteY95" fmla="*/ 797718 h 1507522"/>
              <a:gd name="connsiteX96" fmla="*/ 3345237 w 3577471"/>
              <a:gd name="connsiteY96" fmla="*/ 783431 h 1507522"/>
              <a:gd name="connsiteX97" fmla="*/ 3383337 w 3577471"/>
              <a:gd name="connsiteY97" fmla="*/ 826293 h 1507522"/>
              <a:gd name="connsiteX98" fmla="*/ 3461918 w 3577471"/>
              <a:gd name="connsiteY98" fmla="*/ 902493 h 1507522"/>
              <a:gd name="connsiteX99" fmla="*/ 3530974 w 3577471"/>
              <a:gd name="connsiteY99" fmla="*/ 916781 h 1507522"/>
              <a:gd name="connsiteX100" fmla="*/ 3577471 w 3577471"/>
              <a:gd name="connsiteY100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432968 w 3577471"/>
              <a:gd name="connsiteY11" fmla="*/ 1259681 h 1507522"/>
              <a:gd name="connsiteX12" fmla="*/ 899693 w 3577471"/>
              <a:gd name="connsiteY12" fmla="*/ 1012031 h 1507522"/>
              <a:gd name="connsiteX13" fmla="*/ 921124 w 3577471"/>
              <a:gd name="connsiteY13" fmla="*/ 988218 h 1507522"/>
              <a:gd name="connsiteX14" fmla="*/ 1002087 w 3577471"/>
              <a:gd name="connsiteY14" fmla="*/ 966787 h 1507522"/>
              <a:gd name="connsiteX15" fmla="*/ 1016374 w 3577471"/>
              <a:gd name="connsiteY15" fmla="*/ 952500 h 1507522"/>
              <a:gd name="connsiteX16" fmla="*/ 1025899 w 3577471"/>
              <a:gd name="connsiteY16" fmla="*/ 919162 h 1507522"/>
              <a:gd name="connsiteX17" fmla="*/ 1106862 w 3577471"/>
              <a:gd name="connsiteY17" fmla="*/ 878681 h 1507522"/>
              <a:gd name="connsiteX18" fmla="*/ 1125912 w 3577471"/>
              <a:gd name="connsiteY18" fmla="*/ 873918 h 1507522"/>
              <a:gd name="connsiteX19" fmla="*/ 1185443 w 3577471"/>
              <a:gd name="connsiteY19" fmla="*/ 809625 h 1507522"/>
              <a:gd name="connsiteX20" fmla="*/ 1190205 w 3577471"/>
              <a:gd name="connsiteY20" fmla="*/ 759618 h 1507522"/>
              <a:gd name="connsiteX21" fmla="*/ 1216399 w 3577471"/>
              <a:gd name="connsiteY21" fmla="*/ 733425 h 1507522"/>
              <a:gd name="connsiteX22" fmla="*/ 1242593 w 3577471"/>
              <a:gd name="connsiteY22" fmla="*/ 728662 h 1507522"/>
              <a:gd name="connsiteX23" fmla="*/ 1304505 w 3577471"/>
              <a:gd name="connsiteY23" fmla="*/ 683418 h 1507522"/>
              <a:gd name="connsiteX24" fmla="*/ 1390230 w 3577471"/>
              <a:gd name="connsiteY24" fmla="*/ 640556 h 1507522"/>
              <a:gd name="connsiteX25" fmla="*/ 1425949 w 3577471"/>
              <a:gd name="connsiteY25" fmla="*/ 600075 h 1507522"/>
              <a:gd name="connsiteX26" fmla="*/ 1454524 w 3577471"/>
              <a:gd name="connsiteY26" fmla="*/ 585787 h 1507522"/>
              <a:gd name="connsiteX27" fmla="*/ 1461668 w 3577471"/>
              <a:gd name="connsiteY27" fmla="*/ 519112 h 1507522"/>
              <a:gd name="connsiteX28" fmla="*/ 1478337 w 3577471"/>
              <a:gd name="connsiteY28" fmla="*/ 473868 h 1507522"/>
              <a:gd name="connsiteX29" fmla="*/ 1464049 w 3577471"/>
              <a:gd name="connsiteY29" fmla="*/ 433387 h 1507522"/>
              <a:gd name="connsiteX30" fmla="*/ 1468812 w 3577471"/>
              <a:gd name="connsiteY30" fmla="*/ 347662 h 1507522"/>
              <a:gd name="connsiteX31" fmla="*/ 1464049 w 3577471"/>
              <a:gd name="connsiteY31" fmla="*/ 307181 h 1507522"/>
              <a:gd name="connsiteX32" fmla="*/ 1464049 w 3577471"/>
              <a:gd name="connsiteY32" fmla="*/ 264318 h 1507522"/>
              <a:gd name="connsiteX33" fmla="*/ 1490243 w 3577471"/>
              <a:gd name="connsiteY33" fmla="*/ 254793 h 1507522"/>
              <a:gd name="connsiteX34" fmla="*/ 1511674 w 3577471"/>
              <a:gd name="connsiteY34" fmla="*/ 271462 h 1507522"/>
              <a:gd name="connsiteX35" fmla="*/ 1525962 w 3577471"/>
              <a:gd name="connsiteY35" fmla="*/ 297656 h 1507522"/>
              <a:gd name="connsiteX36" fmla="*/ 1554537 w 3577471"/>
              <a:gd name="connsiteY36" fmla="*/ 300037 h 1507522"/>
              <a:gd name="connsiteX37" fmla="*/ 1575968 w 3577471"/>
              <a:gd name="connsiteY37" fmla="*/ 278606 h 1507522"/>
              <a:gd name="connsiteX38" fmla="*/ 1661693 w 3577471"/>
              <a:gd name="connsiteY38" fmla="*/ 280987 h 1507522"/>
              <a:gd name="connsiteX39" fmla="*/ 1714080 w 3577471"/>
              <a:gd name="connsiteY39" fmla="*/ 290512 h 1507522"/>
              <a:gd name="connsiteX40" fmla="*/ 1761705 w 3577471"/>
              <a:gd name="connsiteY40" fmla="*/ 266700 h 1507522"/>
              <a:gd name="connsiteX41" fmla="*/ 1773612 w 3577471"/>
              <a:gd name="connsiteY41" fmla="*/ 233362 h 1507522"/>
              <a:gd name="connsiteX42" fmla="*/ 1814093 w 3577471"/>
              <a:gd name="connsiteY42" fmla="*/ 200025 h 1507522"/>
              <a:gd name="connsiteX43" fmla="*/ 1804568 w 3577471"/>
              <a:gd name="connsiteY43" fmla="*/ 173831 h 1507522"/>
              <a:gd name="connsiteX44" fmla="*/ 1821237 w 3577471"/>
              <a:gd name="connsiteY44" fmla="*/ 147637 h 1507522"/>
              <a:gd name="connsiteX45" fmla="*/ 1876005 w 3577471"/>
              <a:gd name="connsiteY45" fmla="*/ 169068 h 1507522"/>
              <a:gd name="connsiteX46" fmla="*/ 1923630 w 3577471"/>
              <a:gd name="connsiteY46" fmla="*/ 173831 h 1507522"/>
              <a:gd name="connsiteX47" fmla="*/ 1959349 w 3577471"/>
              <a:gd name="connsiteY47" fmla="*/ 209550 h 1507522"/>
              <a:gd name="connsiteX48" fmla="*/ 1987924 w 3577471"/>
              <a:gd name="connsiteY48" fmla="*/ 223837 h 1507522"/>
              <a:gd name="connsiteX49" fmla="*/ 2006974 w 3577471"/>
              <a:gd name="connsiteY49" fmla="*/ 280987 h 1507522"/>
              <a:gd name="connsiteX50" fmla="*/ 2076030 w 3577471"/>
              <a:gd name="connsiteY50" fmla="*/ 316706 h 1507522"/>
              <a:gd name="connsiteX51" fmla="*/ 2145087 w 3577471"/>
              <a:gd name="connsiteY51" fmla="*/ 307181 h 1507522"/>
              <a:gd name="connsiteX52" fmla="*/ 2192712 w 3577471"/>
              <a:gd name="connsiteY52" fmla="*/ 295275 h 1507522"/>
              <a:gd name="connsiteX53" fmla="*/ 2230812 w 3577471"/>
              <a:gd name="connsiteY53" fmla="*/ 307181 h 1507522"/>
              <a:gd name="connsiteX54" fmla="*/ 2280818 w 3577471"/>
              <a:gd name="connsiteY54" fmla="*/ 304800 h 1507522"/>
              <a:gd name="connsiteX55" fmla="*/ 2326062 w 3577471"/>
              <a:gd name="connsiteY55" fmla="*/ 316706 h 1507522"/>
              <a:gd name="connsiteX56" fmla="*/ 2371305 w 3577471"/>
              <a:gd name="connsiteY56" fmla="*/ 302418 h 1507522"/>
              <a:gd name="connsiteX57" fmla="*/ 2392737 w 3577471"/>
              <a:gd name="connsiteY57" fmla="*/ 276225 h 1507522"/>
              <a:gd name="connsiteX58" fmla="*/ 2471318 w 3577471"/>
              <a:gd name="connsiteY58" fmla="*/ 297656 h 1507522"/>
              <a:gd name="connsiteX59" fmla="*/ 2511799 w 3577471"/>
              <a:gd name="connsiteY59" fmla="*/ 283368 h 1507522"/>
              <a:gd name="connsiteX60" fmla="*/ 2518943 w 3577471"/>
              <a:gd name="connsiteY60" fmla="*/ 242887 h 1507522"/>
              <a:gd name="connsiteX61" fmla="*/ 2490368 w 3577471"/>
              <a:gd name="connsiteY61" fmla="*/ 195262 h 1507522"/>
              <a:gd name="connsiteX62" fmla="*/ 2473699 w 3577471"/>
              <a:gd name="connsiteY62" fmla="*/ 135731 h 1507522"/>
              <a:gd name="connsiteX63" fmla="*/ 2440362 w 3577471"/>
              <a:gd name="connsiteY63" fmla="*/ 102393 h 1507522"/>
              <a:gd name="connsiteX64" fmla="*/ 2416549 w 3577471"/>
              <a:gd name="connsiteY64" fmla="*/ 59531 h 1507522"/>
              <a:gd name="connsiteX65" fmla="*/ 2426074 w 3577471"/>
              <a:gd name="connsiteY65" fmla="*/ 38100 h 1507522"/>
              <a:gd name="connsiteX66" fmla="*/ 2461793 w 3577471"/>
              <a:gd name="connsiteY66" fmla="*/ 0 h 1507522"/>
              <a:gd name="connsiteX67" fmla="*/ 2480843 w 3577471"/>
              <a:gd name="connsiteY67" fmla="*/ 16668 h 1507522"/>
              <a:gd name="connsiteX68" fmla="*/ 2561805 w 3577471"/>
              <a:gd name="connsiteY68" fmla="*/ 30956 h 1507522"/>
              <a:gd name="connsiteX69" fmla="*/ 2645149 w 3577471"/>
              <a:gd name="connsiteY69" fmla="*/ 47625 h 1507522"/>
              <a:gd name="connsiteX70" fmla="*/ 2695155 w 3577471"/>
              <a:gd name="connsiteY70" fmla="*/ 66675 h 1507522"/>
              <a:gd name="connsiteX71" fmla="*/ 2745162 w 3577471"/>
              <a:gd name="connsiteY71" fmla="*/ 61912 h 1507522"/>
              <a:gd name="connsiteX72" fmla="*/ 2792787 w 3577471"/>
              <a:gd name="connsiteY72" fmla="*/ 92868 h 1507522"/>
              <a:gd name="connsiteX73" fmla="*/ 2835649 w 3577471"/>
              <a:gd name="connsiteY73" fmla="*/ 119062 h 1507522"/>
              <a:gd name="connsiteX74" fmla="*/ 2857080 w 3577471"/>
              <a:gd name="connsiteY74" fmla="*/ 150018 h 1507522"/>
              <a:gd name="connsiteX75" fmla="*/ 2907087 w 3577471"/>
              <a:gd name="connsiteY75" fmla="*/ 157162 h 1507522"/>
              <a:gd name="connsiteX76" fmla="*/ 2933280 w 3577471"/>
              <a:gd name="connsiteY76" fmla="*/ 202406 h 1507522"/>
              <a:gd name="connsiteX77" fmla="*/ 2959474 w 3577471"/>
              <a:gd name="connsiteY77" fmla="*/ 233362 h 1507522"/>
              <a:gd name="connsiteX78" fmla="*/ 2976143 w 3577471"/>
              <a:gd name="connsiteY78" fmla="*/ 278606 h 1507522"/>
              <a:gd name="connsiteX79" fmla="*/ 3035674 w 3577471"/>
              <a:gd name="connsiteY79" fmla="*/ 295275 h 1507522"/>
              <a:gd name="connsiteX80" fmla="*/ 3064249 w 3577471"/>
              <a:gd name="connsiteY80" fmla="*/ 326231 h 1507522"/>
              <a:gd name="connsiteX81" fmla="*/ 3085680 w 3577471"/>
              <a:gd name="connsiteY81" fmla="*/ 335756 h 1507522"/>
              <a:gd name="connsiteX82" fmla="*/ 3097587 w 3577471"/>
              <a:gd name="connsiteY82" fmla="*/ 376237 h 1507522"/>
              <a:gd name="connsiteX83" fmla="*/ 3128543 w 3577471"/>
              <a:gd name="connsiteY83" fmla="*/ 383381 h 1507522"/>
              <a:gd name="connsiteX84" fmla="*/ 3166643 w 3577471"/>
              <a:gd name="connsiteY84" fmla="*/ 447675 h 1507522"/>
              <a:gd name="connsiteX85" fmla="*/ 3161880 w 3577471"/>
              <a:gd name="connsiteY85" fmla="*/ 502443 h 1507522"/>
              <a:gd name="connsiteX86" fmla="*/ 3149974 w 3577471"/>
              <a:gd name="connsiteY86" fmla="*/ 531018 h 1507522"/>
              <a:gd name="connsiteX87" fmla="*/ 3190455 w 3577471"/>
              <a:gd name="connsiteY87" fmla="*/ 564356 h 1507522"/>
              <a:gd name="connsiteX88" fmla="*/ 3188074 w 3577471"/>
              <a:gd name="connsiteY88" fmla="*/ 647700 h 1507522"/>
              <a:gd name="connsiteX89" fmla="*/ 3169024 w 3577471"/>
              <a:gd name="connsiteY89" fmla="*/ 664368 h 1507522"/>
              <a:gd name="connsiteX90" fmla="*/ 3152355 w 3577471"/>
              <a:gd name="connsiteY90" fmla="*/ 738187 h 1507522"/>
              <a:gd name="connsiteX91" fmla="*/ 3173787 w 3577471"/>
              <a:gd name="connsiteY91" fmla="*/ 773906 h 1507522"/>
              <a:gd name="connsiteX92" fmla="*/ 3228555 w 3577471"/>
              <a:gd name="connsiteY92" fmla="*/ 797718 h 1507522"/>
              <a:gd name="connsiteX93" fmla="*/ 3266655 w 3577471"/>
              <a:gd name="connsiteY93" fmla="*/ 778668 h 1507522"/>
              <a:gd name="connsiteX94" fmla="*/ 3309518 w 3577471"/>
              <a:gd name="connsiteY94" fmla="*/ 797718 h 1507522"/>
              <a:gd name="connsiteX95" fmla="*/ 3345237 w 3577471"/>
              <a:gd name="connsiteY95" fmla="*/ 783431 h 1507522"/>
              <a:gd name="connsiteX96" fmla="*/ 3383337 w 3577471"/>
              <a:gd name="connsiteY96" fmla="*/ 826293 h 1507522"/>
              <a:gd name="connsiteX97" fmla="*/ 3461918 w 3577471"/>
              <a:gd name="connsiteY97" fmla="*/ 902493 h 1507522"/>
              <a:gd name="connsiteX98" fmla="*/ 3530974 w 3577471"/>
              <a:gd name="connsiteY98" fmla="*/ 916781 h 1507522"/>
              <a:gd name="connsiteX99" fmla="*/ 3577471 w 3577471"/>
              <a:gd name="connsiteY99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392487 w 3577471"/>
              <a:gd name="connsiteY10" fmla="*/ 1304925 h 1507522"/>
              <a:gd name="connsiteX11" fmla="*/ 899693 w 3577471"/>
              <a:gd name="connsiteY11" fmla="*/ 1012031 h 1507522"/>
              <a:gd name="connsiteX12" fmla="*/ 921124 w 3577471"/>
              <a:gd name="connsiteY12" fmla="*/ 988218 h 1507522"/>
              <a:gd name="connsiteX13" fmla="*/ 1002087 w 3577471"/>
              <a:gd name="connsiteY13" fmla="*/ 966787 h 1507522"/>
              <a:gd name="connsiteX14" fmla="*/ 1016374 w 3577471"/>
              <a:gd name="connsiteY14" fmla="*/ 952500 h 1507522"/>
              <a:gd name="connsiteX15" fmla="*/ 1025899 w 3577471"/>
              <a:gd name="connsiteY15" fmla="*/ 919162 h 1507522"/>
              <a:gd name="connsiteX16" fmla="*/ 1106862 w 3577471"/>
              <a:gd name="connsiteY16" fmla="*/ 878681 h 1507522"/>
              <a:gd name="connsiteX17" fmla="*/ 1125912 w 3577471"/>
              <a:gd name="connsiteY17" fmla="*/ 873918 h 1507522"/>
              <a:gd name="connsiteX18" fmla="*/ 1185443 w 3577471"/>
              <a:gd name="connsiteY18" fmla="*/ 809625 h 1507522"/>
              <a:gd name="connsiteX19" fmla="*/ 1190205 w 3577471"/>
              <a:gd name="connsiteY19" fmla="*/ 759618 h 1507522"/>
              <a:gd name="connsiteX20" fmla="*/ 1216399 w 3577471"/>
              <a:gd name="connsiteY20" fmla="*/ 733425 h 1507522"/>
              <a:gd name="connsiteX21" fmla="*/ 1242593 w 3577471"/>
              <a:gd name="connsiteY21" fmla="*/ 728662 h 1507522"/>
              <a:gd name="connsiteX22" fmla="*/ 1304505 w 3577471"/>
              <a:gd name="connsiteY22" fmla="*/ 683418 h 1507522"/>
              <a:gd name="connsiteX23" fmla="*/ 1390230 w 3577471"/>
              <a:gd name="connsiteY23" fmla="*/ 640556 h 1507522"/>
              <a:gd name="connsiteX24" fmla="*/ 1425949 w 3577471"/>
              <a:gd name="connsiteY24" fmla="*/ 600075 h 1507522"/>
              <a:gd name="connsiteX25" fmla="*/ 1454524 w 3577471"/>
              <a:gd name="connsiteY25" fmla="*/ 585787 h 1507522"/>
              <a:gd name="connsiteX26" fmla="*/ 1461668 w 3577471"/>
              <a:gd name="connsiteY26" fmla="*/ 519112 h 1507522"/>
              <a:gd name="connsiteX27" fmla="*/ 1478337 w 3577471"/>
              <a:gd name="connsiteY27" fmla="*/ 473868 h 1507522"/>
              <a:gd name="connsiteX28" fmla="*/ 1464049 w 3577471"/>
              <a:gd name="connsiteY28" fmla="*/ 433387 h 1507522"/>
              <a:gd name="connsiteX29" fmla="*/ 1468812 w 3577471"/>
              <a:gd name="connsiteY29" fmla="*/ 347662 h 1507522"/>
              <a:gd name="connsiteX30" fmla="*/ 1464049 w 3577471"/>
              <a:gd name="connsiteY30" fmla="*/ 307181 h 1507522"/>
              <a:gd name="connsiteX31" fmla="*/ 1464049 w 3577471"/>
              <a:gd name="connsiteY31" fmla="*/ 264318 h 1507522"/>
              <a:gd name="connsiteX32" fmla="*/ 1490243 w 3577471"/>
              <a:gd name="connsiteY32" fmla="*/ 254793 h 1507522"/>
              <a:gd name="connsiteX33" fmla="*/ 1511674 w 3577471"/>
              <a:gd name="connsiteY33" fmla="*/ 271462 h 1507522"/>
              <a:gd name="connsiteX34" fmla="*/ 1525962 w 3577471"/>
              <a:gd name="connsiteY34" fmla="*/ 297656 h 1507522"/>
              <a:gd name="connsiteX35" fmla="*/ 1554537 w 3577471"/>
              <a:gd name="connsiteY35" fmla="*/ 300037 h 1507522"/>
              <a:gd name="connsiteX36" fmla="*/ 1575968 w 3577471"/>
              <a:gd name="connsiteY36" fmla="*/ 278606 h 1507522"/>
              <a:gd name="connsiteX37" fmla="*/ 1661693 w 3577471"/>
              <a:gd name="connsiteY37" fmla="*/ 280987 h 1507522"/>
              <a:gd name="connsiteX38" fmla="*/ 1714080 w 3577471"/>
              <a:gd name="connsiteY38" fmla="*/ 290512 h 1507522"/>
              <a:gd name="connsiteX39" fmla="*/ 1761705 w 3577471"/>
              <a:gd name="connsiteY39" fmla="*/ 266700 h 1507522"/>
              <a:gd name="connsiteX40" fmla="*/ 1773612 w 3577471"/>
              <a:gd name="connsiteY40" fmla="*/ 233362 h 1507522"/>
              <a:gd name="connsiteX41" fmla="*/ 1814093 w 3577471"/>
              <a:gd name="connsiteY41" fmla="*/ 200025 h 1507522"/>
              <a:gd name="connsiteX42" fmla="*/ 1804568 w 3577471"/>
              <a:gd name="connsiteY42" fmla="*/ 173831 h 1507522"/>
              <a:gd name="connsiteX43" fmla="*/ 1821237 w 3577471"/>
              <a:gd name="connsiteY43" fmla="*/ 147637 h 1507522"/>
              <a:gd name="connsiteX44" fmla="*/ 1876005 w 3577471"/>
              <a:gd name="connsiteY44" fmla="*/ 169068 h 1507522"/>
              <a:gd name="connsiteX45" fmla="*/ 1923630 w 3577471"/>
              <a:gd name="connsiteY45" fmla="*/ 173831 h 1507522"/>
              <a:gd name="connsiteX46" fmla="*/ 1959349 w 3577471"/>
              <a:gd name="connsiteY46" fmla="*/ 209550 h 1507522"/>
              <a:gd name="connsiteX47" fmla="*/ 1987924 w 3577471"/>
              <a:gd name="connsiteY47" fmla="*/ 223837 h 1507522"/>
              <a:gd name="connsiteX48" fmla="*/ 2006974 w 3577471"/>
              <a:gd name="connsiteY48" fmla="*/ 280987 h 1507522"/>
              <a:gd name="connsiteX49" fmla="*/ 2076030 w 3577471"/>
              <a:gd name="connsiteY49" fmla="*/ 316706 h 1507522"/>
              <a:gd name="connsiteX50" fmla="*/ 2145087 w 3577471"/>
              <a:gd name="connsiteY50" fmla="*/ 307181 h 1507522"/>
              <a:gd name="connsiteX51" fmla="*/ 2192712 w 3577471"/>
              <a:gd name="connsiteY51" fmla="*/ 295275 h 1507522"/>
              <a:gd name="connsiteX52" fmla="*/ 2230812 w 3577471"/>
              <a:gd name="connsiteY52" fmla="*/ 307181 h 1507522"/>
              <a:gd name="connsiteX53" fmla="*/ 2280818 w 3577471"/>
              <a:gd name="connsiteY53" fmla="*/ 304800 h 1507522"/>
              <a:gd name="connsiteX54" fmla="*/ 2326062 w 3577471"/>
              <a:gd name="connsiteY54" fmla="*/ 316706 h 1507522"/>
              <a:gd name="connsiteX55" fmla="*/ 2371305 w 3577471"/>
              <a:gd name="connsiteY55" fmla="*/ 302418 h 1507522"/>
              <a:gd name="connsiteX56" fmla="*/ 2392737 w 3577471"/>
              <a:gd name="connsiteY56" fmla="*/ 276225 h 1507522"/>
              <a:gd name="connsiteX57" fmla="*/ 2471318 w 3577471"/>
              <a:gd name="connsiteY57" fmla="*/ 297656 h 1507522"/>
              <a:gd name="connsiteX58" fmla="*/ 2511799 w 3577471"/>
              <a:gd name="connsiteY58" fmla="*/ 283368 h 1507522"/>
              <a:gd name="connsiteX59" fmla="*/ 2518943 w 3577471"/>
              <a:gd name="connsiteY59" fmla="*/ 242887 h 1507522"/>
              <a:gd name="connsiteX60" fmla="*/ 2490368 w 3577471"/>
              <a:gd name="connsiteY60" fmla="*/ 195262 h 1507522"/>
              <a:gd name="connsiteX61" fmla="*/ 2473699 w 3577471"/>
              <a:gd name="connsiteY61" fmla="*/ 135731 h 1507522"/>
              <a:gd name="connsiteX62" fmla="*/ 2440362 w 3577471"/>
              <a:gd name="connsiteY62" fmla="*/ 102393 h 1507522"/>
              <a:gd name="connsiteX63" fmla="*/ 2416549 w 3577471"/>
              <a:gd name="connsiteY63" fmla="*/ 59531 h 1507522"/>
              <a:gd name="connsiteX64" fmla="*/ 2426074 w 3577471"/>
              <a:gd name="connsiteY64" fmla="*/ 38100 h 1507522"/>
              <a:gd name="connsiteX65" fmla="*/ 2461793 w 3577471"/>
              <a:gd name="connsiteY65" fmla="*/ 0 h 1507522"/>
              <a:gd name="connsiteX66" fmla="*/ 2480843 w 3577471"/>
              <a:gd name="connsiteY66" fmla="*/ 16668 h 1507522"/>
              <a:gd name="connsiteX67" fmla="*/ 2561805 w 3577471"/>
              <a:gd name="connsiteY67" fmla="*/ 30956 h 1507522"/>
              <a:gd name="connsiteX68" fmla="*/ 2645149 w 3577471"/>
              <a:gd name="connsiteY68" fmla="*/ 47625 h 1507522"/>
              <a:gd name="connsiteX69" fmla="*/ 2695155 w 3577471"/>
              <a:gd name="connsiteY69" fmla="*/ 66675 h 1507522"/>
              <a:gd name="connsiteX70" fmla="*/ 2745162 w 3577471"/>
              <a:gd name="connsiteY70" fmla="*/ 61912 h 1507522"/>
              <a:gd name="connsiteX71" fmla="*/ 2792787 w 3577471"/>
              <a:gd name="connsiteY71" fmla="*/ 92868 h 1507522"/>
              <a:gd name="connsiteX72" fmla="*/ 2835649 w 3577471"/>
              <a:gd name="connsiteY72" fmla="*/ 119062 h 1507522"/>
              <a:gd name="connsiteX73" fmla="*/ 2857080 w 3577471"/>
              <a:gd name="connsiteY73" fmla="*/ 150018 h 1507522"/>
              <a:gd name="connsiteX74" fmla="*/ 2907087 w 3577471"/>
              <a:gd name="connsiteY74" fmla="*/ 157162 h 1507522"/>
              <a:gd name="connsiteX75" fmla="*/ 2933280 w 3577471"/>
              <a:gd name="connsiteY75" fmla="*/ 202406 h 1507522"/>
              <a:gd name="connsiteX76" fmla="*/ 2959474 w 3577471"/>
              <a:gd name="connsiteY76" fmla="*/ 233362 h 1507522"/>
              <a:gd name="connsiteX77" fmla="*/ 2976143 w 3577471"/>
              <a:gd name="connsiteY77" fmla="*/ 278606 h 1507522"/>
              <a:gd name="connsiteX78" fmla="*/ 3035674 w 3577471"/>
              <a:gd name="connsiteY78" fmla="*/ 295275 h 1507522"/>
              <a:gd name="connsiteX79" fmla="*/ 3064249 w 3577471"/>
              <a:gd name="connsiteY79" fmla="*/ 326231 h 1507522"/>
              <a:gd name="connsiteX80" fmla="*/ 3085680 w 3577471"/>
              <a:gd name="connsiteY80" fmla="*/ 335756 h 1507522"/>
              <a:gd name="connsiteX81" fmla="*/ 3097587 w 3577471"/>
              <a:gd name="connsiteY81" fmla="*/ 376237 h 1507522"/>
              <a:gd name="connsiteX82" fmla="*/ 3128543 w 3577471"/>
              <a:gd name="connsiteY82" fmla="*/ 383381 h 1507522"/>
              <a:gd name="connsiteX83" fmla="*/ 3166643 w 3577471"/>
              <a:gd name="connsiteY83" fmla="*/ 447675 h 1507522"/>
              <a:gd name="connsiteX84" fmla="*/ 3161880 w 3577471"/>
              <a:gd name="connsiteY84" fmla="*/ 502443 h 1507522"/>
              <a:gd name="connsiteX85" fmla="*/ 3149974 w 3577471"/>
              <a:gd name="connsiteY85" fmla="*/ 531018 h 1507522"/>
              <a:gd name="connsiteX86" fmla="*/ 3190455 w 3577471"/>
              <a:gd name="connsiteY86" fmla="*/ 564356 h 1507522"/>
              <a:gd name="connsiteX87" fmla="*/ 3188074 w 3577471"/>
              <a:gd name="connsiteY87" fmla="*/ 647700 h 1507522"/>
              <a:gd name="connsiteX88" fmla="*/ 3169024 w 3577471"/>
              <a:gd name="connsiteY88" fmla="*/ 664368 h 1507522"/>
              <a:gd name="connsiteX89" fmla="*/ 3152355 w 3577471"/>
              <a:gd name="connsiteY89" fmla="*/ 738187 h 1507522"/>
              <a:gd name="connsiteX90" fmla="*/ 3173787 w 3577471"/>
              <a:gd name="connsiteY90" fmla="*/ 773906 h 1507522"/>
              <a:gd name="connsiteX91" fmla="*/ 3228555 w 3577471"/>
              <a:gd name="connsiteY91" fmla="*/ 797718 h 1507522"/>
              <a:gd name="connsiteX92" fmla="*/ 3266655 w 3577471"/>
              <a:gd name="connsiteY92" fmla="*/ 778668 h 1507522"/>
              <a:gd name="connsiteX93" fmla="*/ 3309518 w 3577471"/>
              <a:gd name="connsiteY93" fmla="*/ 797718 h 1507522"/>
              <a:gd name="connsiteX94" fmla="*/ 3345237 w 3577471"/>
              <a:gd name="connsiteY94" fmla="*/ 783431 h 1507522"/>
              <a:gd name="connsiteX95" fmla="*/ 3383337 w 3577471"/>
              <a:gd name="connsiteY95" fmla="*/ 826293 h 1507522"/>
              <a:gd name="connsiteX96" fmla="*/ 3461918 w 3577471"/>
              <a:gd name="connsiteY96" fmla="*/ 902493 h 1507522"/>
              <a:gd name="connsiteX97" fmla="*/ 3530974 w 3577471"/>
              <a:gd name="connsiteY97" fmla="*/ 916781 h 1507522"/>
              <a:gd name="connsiteX98" fmla="*/ 3577471 w 3577471"/>
              <a:gd name="connsiteY98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344734 w 3577471"/>
              <a:gd name="connsiteY9" fmla="*/ 1299704 h 1507522"/>
              <a:gd name="connsiteX10" fmla="*/ 899693 w 3577471"/>
              <a:gd name="connsiteY10" fmla="*/ 1012031 h 1507522"/>
              <a:gd name="connsiteX11" fmla="*/ 921124 w 3577471"/>
              <a:gd name="connsiteY11" fmla="*/ 988218 h 1507522"/>
              <a:gd name="connsiteX12" fmla="*/ 1002087 w 3577471"/>
              <a:gd name="connsiteY12" fmla="*/ 966787 h 1507522"/>
              <a:gd name="connsiteX13" fmla="*/ 1016374 w 3577471"/>
              <a:gd name="connsiteY13" fmla="*/ 952500 h 1507522"/>
              <a:gd name="connsiteX14" fmla="*/ 1025899 w 3577471"/>
              <a:gd name="connsiteY14" fmla="*/ 919162 h 1507522"/>
              <a:gd name="connsiteX15" fmla="*/ 1106862 w 3577471"/>
              <a:gd name="connsiteY15" fmla="*/ 878681 h 1507522"/>
              <a:gd name="connsiteX16" fmla="*/ 1125912 w 3577471"/>
              <a:gd name="connsiteY16" fmla="*/ 873918 h 1507522"/>
              <a:gd name="connsiteX17" fmla="*/ 1185443 w 3577471"/>
              <a:gd name="connsiteY17" fmla="*/ 809625 h 1507522"/>
              <a:gd name="connsiteX18" fmla="*/ 1190205 w 3577471"/>
              <a:gd name="connsiteY18" fmla="*/ 759618 h 1507522"/>
              <a:gd name="connsiteX19" fmla="*/ 1216399 w 3577471"/>
              <a:gd name="connsiteY19" fmla="*/ 733425 h 1507522"/>
              <a:gd name="connsiteX20" fmla="*/ 1242593 w 3577471"/>
              <a:gd name="connsiteY20" fmla="*/ 728662 h 1507522"/>
              <a:gd name="connsiteX21" fmla="*/ 1304505 w 3577471"/>
              <a:gd name="connsiteY21" fmla="*/ 683418 h 1507522"/>
              <a:gd name="connsiteX22" fmla="*/ 1390230 w 3577471"/>
              <a:gd name="connsiteY22" fmla="*/ 640556 h 1507522"/>
              <a:gd name="connsiteX23" fmla="*/ 1425949 w 3577471"/>
              <a:gd name="connsiteY23" fmla="*/ 600075 h 1507522"/>
              <a:gd name="connsiteX24" fmla="*/ 1454524 w 3577471"/>
              <a:gd name="connsiteY24" fmla="*/ 585787 h 1507522"/>
              <a:gd name="connsiteX25" fmla="*/ 1461668 w 3577471"/>
              <a:gd name="connsiteY25" fmla="*/ 519112 h 1507522"/>
              <a:gd name="connsiteX26" fmla="*/ 1478337 w 3577471"/>
              <a:gd name="connsiteY26" fmla="*/ 473868 h 1507522"/>
              <a:gd name="connsiteX27" fmla="*/ 1464049 w 3577471"/>
              <a:gd name="connsiteY27" fmla="*/ 433387 h 1507522"/>
              <a:gd name="connsiteX28" fmla="*/ 1468812 w 3577471"/>
              <a:gd name="connsiteY28" fmla="*/ 347662 h 1507522"/>
              <a:gd name="connsiteX29" fmla="*/ 1464049 w 3577471"/>
              <a:gd name="connsiteY29" fmla="*/ 307181 h 1507522"/>
              <a:gd name="connsiteX30" fmla="*/ 1464049 w 3577471"/>
              <a:gd name="connsiteY30" fmla="*/ 264318 h 1507522"/>
              <a:gd name="connsiteX31" fmla="*/ 1490243 w 3577471"/>
              <a:gd name="connsiteY31" fmla="*/ 254793 h 1507522"/>
              <a:gd name="connsiteX32" fmla="*/ 1511674 w 3577471"/>
              <a:gd name="connsiteY32" fmla="*/ 271462 h 1507522"/>
              <a:gd name="connsiteX33" fmla="*/ 1525962 w 3577471"/>
              <a:gd name="connsiteY33" fmla="*/ 297656 h 1507522"/>
              <a:gd name="connsiteX34" fmla="*/ 1554537 w 3577471"/>
              <a:gd name="connsiteY34" fmla="*/ 300037 h 1507522"/>
              <a:gd name="connsiteX35" fmla="*/ 1575968 w 3577471"/>
              <a:gd name="connsiteY35" fmla="*/ 278606 h 1507522"/>
              <a:gd name="connsiteX36" fmla="*/ 1661693 w 3577471"/>
              <a:gd name="connsiteY36" fmla="*/ 280987 h 1507522"/>
              <a:gd name="connsiteX37" fmla="*/ 1714080 w 3577471"/>
              <a:gd name="connsiteY37" fmla="*/ 290512 h 1507522"/>
              <a:gd name="connsiteX38" fmla="*/ 1761705 w 3577471"/>
              <a:gd name="connsiteY38" fmla="*/ 266700 h 1507522"/>
              <a:gd name="connsiteX39" fmla="*/ 1773612 w 3577471"/>
              <a:gd name="connsiteY39" fmla="*/ 233362 h 1507522"/>
              <a:gd name="connsiteX40" fmla="*/ 1814093 w 3577471"/>
              <a:gd name="connsiteY40" fmla="*/ 200025 h 1507522"/>
              <a:gd name="connsiteX41" fmla="*/ 1804568 w 3577471"/>
              <a:gd name="connsiteY41" fmla="*/ 173831 h 1507522"/>
              <a:gd name="connsiteX42" fmla="*/ 1821237 w 3577471"/>
              <a:gd name="connsiteY42" fmla="*/ 147637 h 1507522"/>
              <a:gd name="connsiteX43" fmla="*/ 1876005 w 3577471"/>
              <a:gd name="connsiteY43" fmla="*/ 169068 h 1507522"/>
              <a:gd name="connsiteX44" fmla="*/ 1923630 w 3577471"/>
              <a:gd name="connsiteY44" fmla="*/ 173831 h 1507522"/>
              <a:gd name="connsiteX45" fmla="*/ 1959349 w 3577471"/>
              <a:gd name="connsiteY45" fmla="*/ 209550 h 1507522"/>
              <a:gd name="connsiteX46" fmla="*/ 1987924 w 3577471"/>
              <a:gd name="connsiteY46" fmla="*/ 223837 h 1507522"/>
              <a:gd name="connsiteX47" fmla="*/ 2006974 w 3577471"/>
              <a:gd name="connsiteY47" fmla="*/ 280987 h 1507522"/>
              <a:gd name="connsiteX48" fmla="*/ 2076030 w 3577471"/>
              <a:gd name="connsiteY48" fmla="*/ 316706 h 1507522"/>
              <a:gd name="connsiteX49" fmla="*/ 2145087 w 3577471"/>
              <a:gd name="connsiteY49" fmla="*/ 307181 h 1507522"/>
              <a:gd name="connsiteX50" fmla="*/ 2192712 w 3577471"/>
              <a:gd name="connsiteY50" fmla="*/ 295275 h 1507522"/>
              <a:gd name="connsiteX51" fmla="*/ 2230812 w 3577471"/>
              <a:gd name="connsiteY51" fmla="*/ 307181 h 1507522"/>
              <a:gd name="connsiteX52" fmla="*/ 2280818 w 3577471"/>
              <a:gd name="connsiteY52" fmla="*/ 304800 h 1507522"/>
              <a:gd name="connsiteX53" fmla="*/ 2326062 w 3577471"/>
              <a:gd name="connsiteY53" fmla="*/ 316706 h 1507522"/>
              <a:gd name="connsiteX54" fmla="*/ 2371305 w 3577471"/>
              <a:gd name="connsiteY54" fmla="*/ 302418 h 1507522"/>
              <a:gd name="connsiteX55" fmla="*/ 2392737 w 3577471"/>
              <a:gd name="connsiteY55" fmla="*/ 276225 h 1507522"/>
              <a:gd name="connsiteX56" fmla="*/ 2471318 w 3577471"/>
              <a:gd name="connsiteY56" fmla="*/ 297656 h 1507522"/>
              <a:gd name="connsiteX57" fmla="*/ 2511799 w 3577471"/>
              <a:gd name="connsiteY57" fmla="*/ 283368 h 1507522"/>
              <a:gd name="connsiteX58" fmla="*/ 2518943 w 3577471"/>
              <a:gd name="connsiteY58" fmla="*/ 242887 h 1507522"/>
              <a:gd name="connsiteX59" fmla="*/ 2490368 w 3577471"/>
              <a:gd name="connsiteY59" fmla="*/ 195262 h 1507522"/>
              <a:gd name="connsiteX60" fmla="*/ 2473699 w 3577471"/>
              <a:gd name="connsiteY60" fmla="*/ 135731 h 1507522"/>
              <a:gd name="connsiteX61" fmla="*/ 2440362 w 3577471"/>
              <a:gd name="connsiteY61" fmla="*/ 102393 h 1507522"/>
              <a:gd name="connsiteX62" fmla="*/ 2416549 w 3577471"/>
              <a:gd name="connsiteY62" fmla="*/ 59531 h 1507522"/>
              <a:gd name="connsiteX63" fmla="*/ 2426074 w 3577471"/>
              <a:gd name="connsiteY63" fmla="*/ 38100 h 1507522"/>
              <a:gd name="connsiteX64" fmla="*/ 2461793 w 3577471"/>
              <a:gd name="connsiteY64" fmla="*/ 0 h 1507522"/>
              <a:gd name="connsiteX65" fmla="*/ 2480843 w 3577471"/>
              <a:gd name="connsiteY65" fmla="*/ 16668 h 1507522"/>
              <a:gd name="connsiteX66" fmla="*/ 2561805 w 3577471"/>
              <a:gd name="connsiteY66" fmla="*/ 30956 h 1507522"/>
              <a:gd name="connsiteX67" fmla="*/ 2645149 w 3577471"/>
              <a:gd name="connsiteY67" fmla="*/ 47625 h 1507522"/>
              <a:gd name="connsiteX68" fmla="*/ 2695155 w 3577471"/>
              <a:gd name="connsiteY68" fmla="*/ 66675 h 1507522"/>
              <a:gd name="connsiteX69" fmla="*/ 2745162 w 3577471"/>
              <a:gd name="connsiteY69" fmla="*/ 61912 h 1507522"/>
              <a:gd name="connsiteX70" fmla="*/ 2792787 w 3577471"/>
              <a:gd name="connsiteY70" fmla="*/ 92868 h 1507522"/>
              <a:gd name="connsiteX71" fmla="*/ 2835649 w 3577471"/>
              <a:gd name="connsiteY71" fmla="*/ 119062 h 1507522"/>
              <a:gd name="connsiteX72" fmla="*/ 2857080 w 3577471"/>
              <a:gd name="connsiteY72" fmla="*/ 150018 h 1507522"/>
              <a:gd name="connsiteX73" fmla="*/ 2907087 w 3577471"/>
              <a:gd name="connsiteY73" fmla="*/ 157162 h 1507522"/>
              <a:gd name="connsiteX74" fmla="*/ 2933280 w 3577471"/>
              <a:gd name="connsiteY74" fmla="*/ 202406 h 1507522"/>
              <a:gd name="connsiteX75" fmla="*/ 2959474 w 3577471"/>
              <a:gd name="connsiteY75" fmla="*/ 233362 h 1507522"/>
              <a:gd name="connsiteX76" fmla="*/ 2976143 w 3577471"/>
              <a:gd name="connsiteY76" fmla="*/ 278606 h 1507522"/>
              <a:gd name="connsiteX77" fmla="*/ 3035674 w 3577471"/>
              <a:gd name="connsiteY77" fmla="*/ 295275 h 1507522"/>
              <a:gd name="connsiteX78" fmla="*/ 3064249 w 3577471"/>
              <a:gd name="connsiteY78" fmla="*/ 326231 h 1507522"/>
              <a:gd name="connsiteX79" fmla="*/ 3085680 w 3577471"/>
              <a:gd name="connsiteY79" fmla="*/ 335756 h 1507522"/>
              <a:gd name="connsiteX80" fmla="*/ 3097587 w 3577471"/>
              <a:gd name="connsiteY80" fmla="*/ 376237 h 1507522"/>
              <a:gd name="connsiteX81" fmla="*/ 3128543 w 3577471"/>
              <a:gd name="connsiteY81" fmla="*/ 383381 h 1507522"/>
              <a:gd name="connsiteX82" fmla="*/ 3166643 w 3577471"/>
              <a:gd name="connsiteY82" fmla="*/ 447675 h 1507522"/>
              <a:gd name="connsiteX83" fmla="*/ 3161880 w 3577471"/>
              <a:gd name="connsiteY83" fmla="*/ 502443 h 1507522"/>
              <a:gd name="connsiteX84" fmla="*/ 3149974 w 3577471"/>
              <a:gd name="connsiteY84" fmla="*/ 531018 h 1507522"/>
              <a:gd name="connsiteX85" fmla="*/ 3190455 w 3577471"/>
              <a:gd name="connsiteY85" fmla="*/ 564356 h 1507522"/>
              <a:gd name="connsiteX86" fmla="*/ 3188074 w 3577471"/>
              <a:gd name="connsiteY86" fmla="*/ 647700 h 1507522"/>
              <a:gd name="connsiteX87" fmla="*/ 3169024 w 3577471"/>
              <a:gd name="connsiteY87" fmla="*/ 664368 h 1507522"/>
              <a:gd name="connsiteX88" fmla="*/ 3152355 w 3577471"/>
              <a:gd name="connsiteY88" fmla="*/ 738187 h 1507522"/>
              <a:gd name="connsiteX89" fmla="*/ 3173787 w 3577471"/>
              <a:gd name="connsiteY89" fmla="*/ 773906 h 1507522"/>
              <a:gd name="connsiteX90" fmla="*/ 3228555 w 3577471"/>
              <a:gd name="connsiteY90" fmla="*/ 797718 h 1507522"/>
              <a:gd name="connsiteX91" fmla="*/ 3266655 w 3577471"/>
              <a:gd name="connsiteY91" fmla="*/ 778668 h 1507522"/>
              <a:gd name="connsiteX92" fmla="*/ 3309518 w 3577471"/>
              <a:gd name="connsiteY92" fmla="*/ 797718 h 1507522"/>
              <a:gd name="connsiteX93" fmla="*/ 3345237 w 3577471"/>
              <a:gd name="connsiteY93" fmla="*/ 783431 h 1507522"/>
              <a:gd name="connsiteX94" fmla="*/ 3383337 w 3577471"/>
              <a:gd name="connsiteY94" fmla="*/ 826293 h 1507522"/>
              <a:gd name="connsiteX95" fmla="*/ 3461918 w 3577471"/>
              <a:gd name="connsiteY95" fmla="*/ 902493 h 1507522"/>
              <a:gd name="connsiteX96" fmla="*/ 3530974 w 3577471"/>
              <a:gd name="connsiteY96" fmla="*/ 916781 h 1507522"/>
              <a:gd name="connsiteX97" fmla="*/ 3577471 w 3577471"/>
              <a:gd name="connsiteY97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295836 w 3577471"/>
              <a:gd name="connsiteY8" fmla="*/ 1309483 h 1507522"/>
              <a:gd name="connsiteX9" fmla="*/ 899693 w 3577471"/>
              <a:gd name="connsiteY9" fmla="*/ 1012031 h 1507522"/>
              <a:gd name="connsiteX10" fmla="*/ 921124 w 3577471"/>
              <a:gd name="connsiteY10" fmla="*/ 988218 h 1507522"/>
              <a:gd name="connsiteX11" fmla="*/ 1002087 w 3577471"/>
              <a:gd name="connsiteY11" fmla="*/ 966787 h 1507522"/>
              <a:gd name="connsiteX12" fmla="*/ 1016374 w 3577471"/>
              <a:gd name="connsiteY12" fmla="*/ 952500 h 1507522"/>
              <a:gd name="connsiteX13" fmla="*/ 1025899 w 3577471"/>
              <a:gd name="connsiteY13" fmla="*/ 919162 h 1507522"/>
              <a:gd name="connsiteX14" fmla="*/ 1106862 w 3577471"/>
              <a:gd name="connsiteY14" fmla="*/ 878681 h 1507522"/>
              <a:gd name="connsiteX15" fmla="*/ 1125912 w 3577471"/>
              <a:gd name="connsiteY15" fmla="*/ 873918 h 1507522"/>
              <a:gd name="connsiteX16" fmla="*/ 1185443 w 3577471"/>
              <a:gd name="connsiteY16" fmla="*/ 809625 h 1507522"/>
              <a:gd name="connsiteX17" fmla="*/ 1190205 w 3577471"/>
              <a:gd name="connsiteY17" fmla="*/ 759618 h 1507522"/>
              <a:gd name="connsiteX18" fmla="*/ 1216399 w 3577471"/>
              <a:gd name="connsiteY18" fmla="*/ 733425 h 1507522"/>
              <a:gd name="connsiteX19" fmla="*/ 1242593 w 3577471"/>
              <a:gd name="connsiteY19" fmla="*/ 728662 h 1507522"/>
              <a:gd name="connsiteX20" fmla="*/ 1304505 w 3577471"/>
              <a:gd name="connsiteY20" fmla="*/ 683418 h 1507522"/>
              <a:gd name="connsiteX21" fmla="*/ 1390230 w 3577471"/>
              <a:gd name="connsiteY21" fmla="*/ 640556 h 1507522"/>
              <a:gd name="connsiteX22" fmla="*/ 1425949 w 3577471"/>
              <a:gd name="connsiteY22" fmla="*/ 600075 h 1507522"/>
              <a:gd name="connsiteX23" fmla="*/ 1454524 w 3577471"/>
              <a:gd name="connsiteY23" fmla="*/ 585787 h 1507522"/>
              <a:gd name="connsiteX24" fmla="*/ 1461668 w 3577471"/>
              <a:gd name="connsiteY24" fmla="*/ 519112 h 1507522"/>
              <a:gd name="connsiteX25" fmla="*/ 1478337 w 3577471"/>
              <a:gd name="connsiteY25" fmla="*/ 473868 h 1507522"/>
              <a:gd name="connsiteX26" fmla="*/ 1464049 w 3577471"/>
              <a:gd name="connsiteY26" fmla="*/ 433387 h 1507522"/>
              <a:gd name="connsiteX27" fmla="*/ 1468812 w 3577471"/>
              <a:gd name="connsiteY27" fmla="*/ 347662 h 1507522"/>
              <a:gd name="connsiteX28" fmla="*/ 1464049 w 3577471"/>
              <a:gd name="connsiteY28" fmla="*/ 307181 h 1507522"/>
              <a:gd name="connsiteX29" fmla="*/ 1464049 w 3577471"/>
              <a:gd name="connsiteY29" fmla="*/ 264318 h 1507522"/>
              <a:gd name="connsiteX30" fmla="*/ 1490243 w 3577471"/>
              <a:gd name="connsiteY30" fmla="*/ 254793 h 1507522"/>
              <a:gd name="connsiteX31" fmla="*/ 1511674 w 3577471"/>
              <a:gd name="connsiteY31" fmla="*/ 271462 h 1507522"/>
              <a:gd name="connsiteX32" fmla="*/ 1525962 w 3577471"/>
              <a:gd name="connsiteY32" fmla="*/ 297656 h 1507522"/>
              <a:gd name="connsiteX33" fmla="*/ 1554537 w 3577471"/>
              <a:gd name="connsiteY33" fmla="*/ 300037 h 1507522"/>
              <a:gd name="connsiteX34" fmla="*/ 1575968 w 3577471"/>
              <a:gd name="connsiteY34" fmla="*/ 278606 h 1507522"/>
              <a:gd name="connsiteX35" fmla="*/ 1661693 w 3577471"/>
              <a:gd name="connsiteY35" fmla="*/ 280987 h 1507522"/>
              <a:gd name="connsiteX36" fmla="*/ 1714080 w 3577471"/>
              <a:gd name="connsiteY36" fmla="*/ 290512 h 1507522"/>
              <a:gd name="connsiteX37" fmla="*/ 1761705 w 3577471"/>
              <a:gd name="connsiteY37" fmla="*/ 266700 h 1507522"/>
              <a:gd name="connsiteX38" fmla="*/ 1773612 w 3577471"/>
              <a:gd name="connsiteY38" fmla="*/ 233362 h 1507522"/>
              <a:gd name="connsiteX39" fmla="*/ 1814093 w 3577471"/>
              <a:gd name="connsiteY39" fmla="*/ 200025 h 1507522"/>
              <a:gd name="connsiteX40" fmla="*/ 1804568 w 3577471"/>
              <a:gd name="connsiteY40" fmla="*/ 173831 h 1507522"/>
              <a:gd name="connsiteX41" fmla="*/ 1821237 w 3577471"/>
              <a:gd name="connsiteY41" fmla="*/ 147637 h 1507522"/>
              <a:gd name="connsiteX42" fmla="*/ 1876005 w 3577471"/>
              <a:gd name="connsiteY42" fmla="*/ 169068 h 1507522"/>
              <a:gd name="connsiteX43" fmla="*/ 1923630 w 3577471"/>
              <a:gd name="connsiteY43" fmla="*/ 173831 h 1507522"/>
              <a:gd name="connsiteX44" fmla="*/ 1959349 w 3577471"/>
              <a:gd name="connsiteY44" fmla="*/ 209550 h 1507522"/>
              <a:gd name="connsiteX45" fmla="*/ 1987924 w 3577471"/>
              <a:gd name="connsiteY45" fmla="*/ 223837 h 1507522"/>
              <a:gd name="connsiteX46" fmla="*/ 2006974 w 3577471"/>
              <a:gd name="connsiteY46" fmla="*/ 280987 h 1507522"/>
              <a:gd name="connsiteX47" fmla="*/ 2076030 w 3577471"/>
              <a:gd name="connsiteY47" fmla="*/ 316706 h 1507522"/>
              <a:gd name="connsiteX48" fmla="*/ 2145087 w 3577471"/>
              <a:gd name="connsiteY48" fmla="*/ 307181 h 1507522"/>
              <a:gd name="connsiteX49" fmla="*/ 2192712 w 3577471"/>
              <a:gd name="connsiteY49" fmla="*/ 295275 h 1507522"/>
              <a:gd name="connsiteX50" fmla="*/ 2230812 w 3577471"/>
              <a:gd name="connsiteY50" fmla="*/ 307181 h 1507522"/>
              <a:gd name="connsiteX51" fmla="*/ 2280818 w 3577471"/>
              <a:gd name="connsiteY51" fmla="*/ 304800 h 1507522"/>
              <a:gd name="connsiteX52" fmla="*/ 2326062 w 3577471"/>
              <a:gd name="connsiteY52" fmla="*/ 316706 h 1507522"/>
              <a:gd name="connsiteX53" fmla="*/ 2371305 w 3577471"/>
              <a:gd name="connsiteY53" fmla="*/ 302418 h 1507522"/>
              <a:gd name="connsiteX54" fmla="*/ 2392737 w 3577471"/>
              <a:gd name="connsiteY54" fmla="*/ 276225 h 1507522"/>
              <a:gd name="connsiteX55" fmla="*/ 2471318 w 3577471"/>
              <a:gd name="connsiteY55" fmla="*/ 297656 h 1507522"/>
              <a:gd name="connsiteX56" fmla="*/ 2511799 w 3577471"/>
              <a:gd name="connsiteY56" fmla="*/ 283368 h 1507522"/>
              <a:gd name="connsiteX57" fmla="*/ 2518943 w 3577471"/>
              <a:gd name="connsiteY57" fmla="*/ 242887 h 1507522"/>
              <a:gd name="connsiteX58" fmla="*/ 2490368 w 3577471"/>
              <a:gd name="connsiteY58" fmla="*/ 195262 h 1507522"/>
              <a:gd name="connsiteX59" fmla="*/ 2473699 w 3577471"/>
              <a:gd name="connsiteY59" fmla="*/ 135731 h 1507522"/>
              <a:gd name="connsiteX60" fmla="*/ 2440362 w 3577471"/>
              <a:gd name="connsiteY60" fmla="*/ 102393 h 1507522"/>
              <a:gd name="connsiteX61" fmla="*/ 2416549 w 3577471"/>
              <a:gd name="connsiteY61" fmla="*/ 59531 h 1507522"/>
              <a:gd name="connsiteX62" fmla="*/ 2426074 w 3577471"/>
              <a:gd name="connsiteY62" fmla="*/ 38100 h 1507522"/>
              <a:gd name="connsiteX63" fmla="*/ 2461793 w 3577471"/>
              <a:gd name="connsiteY63" fmla="*/ 0 h 1507522"/>
              <a:gd name="connsiteX64" fmla="*/ 2480843 w 3577471"/>
              <a:gd name="connsiteY64" fmla="*/ 16668 h 1507522"/>
              <a:gd name="connsiteX65" fmla="*/ 2561805 w 3577471"/>
              <a:gd name="connsiteY65" fmla="*/ 30956 h 1507522"/>
              <a:gd name="connsiteX66" fmla="*/ 2645149 w 3577471"/>
              <a:gd name="connsiteY66" fmla="*/ 47625 h 1507522"/>
              <a:gd name="connsiteX67" fmla="*/ 2695155 w 3577471"/>
              <a:gd name="connsiteY67" fmla="*/ 66675 h 1507522"/>
              <a:gd name="connsiteX68" fmla="*/ 2745162 w 3577471"/>
              <a:gd name="connsiteY68" fmla="*/ 61912 h 1507522"/>
              <a:gd name="connsiteX69" fmla="*/ 2792787 w 3577471"/>
              <a:gd name="connsiteY69" fmla="*/ 92868 h 1507522"/>
              <a:gd name="connsiteX70" fmla="*/ 2835649 w 3577471"/>
              <a:gd name="connsiteY70" fmla="*/ 119062 h 1507522"/>
              <a:gd name="connsiteX71" fmla="*/ 2857080 w 3577471"/>
              <a:gd name="connsiteY71" fmla="*/ 150018 h 1507522"/>
              <a:gd name="connsiteX72" fmla="*/ 2907087 w 3577471"/>
              <a:gd name="connsiteY72" fmla="*/ 157162 h 1507522"/>
              <a:gd name="connsiteX73" fmla="*/ 2933280 w 3577471"/>
              <a:gd name="connsiteY73" fmla="*/ 202406 h 1507522"/>
              <a:gd name="connsiteX74" fmla="*/ 2959474 w 3577471"/>
              <a:gd name="connsiteY74" fmla="*/ 233362 h 1507522"/>
              <a:gd name="connsiteX75" fmla="*/ 2976143 w 3577471"/>
              <a:gd name="connsiteY75" fmla="*/ 278606 h 1507522"/>
              <a:gd name="connsiteX76" fmla="*/ 3035674 w 3577471"/>
              <a:gd name="connsiteY76" fmla="*/ 295275 h 1507522"/>
              <a:gd name="connsiteX77" fmla="*/ 3064249 w 3577471"/>
              <a:gd name="connsiteY77" fmla="*/ 326231 h 1507522"/>
              <a:gd name="connsiteX78" fmla="*/ 3085680 w 3577471"/>
              <a:gd name="connsiteY78" fmla="*/ 335756 h 1507522"/>
              <a:gd name="connsiteX79" fmla="*/ 3097587 w 3577471"/>
              <a:gd name="connsiteY79" fmla="*/ 376237 h 1507522"/>
              <a:gd name="connsiteX80" fmla="*/ 3128543 w 3577471"/>
              <a:gd name="connsiteY80" fmla="*/ 383381 h 1507522"/>
              <a:gd name="connsiteX81" fmla="*/ 3166643 w 3577471"/>
              <a:gd name="connsiteY81" fmla="*/ 447675 h 1507522"/>
              <a:gd name="connsiteX82" fmla="*/ 3161880 w 3577471"/>
              <a:gd name="connsiteY82" fmla="*/ 502443 h 1507522"/>
              <a:gd name="connsiteX83" fmla="*/ 3149974 w 3577471"/>
              <a:gd name="connsiteY83" fmla="*/ 531018 h 1507522"/>
              <a:gd name="connsiteX84" fmla="*/ 3190455 w 3577471"/>
              <a:gd name="connsiteY84" fmla="*/ 564356 h 1507522"/>
              <a:gd name="connsiteX85" fmla="*/ 3188074 w 3577471"/>
              <a:gd name="connsiteY85" fmla="*/ 647700 h 1507522"/>
              <a:gd name="connsiteX86" fmla="*/ 3169024 w 3577471"/>
              <a:gd name="connsiteY86" fmla="*/ 664368 h 1507522"/>
              <a:gd name="connsiteX87" fmla="*/ 3152355 w 3577471"/>
              <a:gd name="connsiteY87" fmla="*/ 738187 h 1507522"/>
              <a:gd name="connsiteX88" fmla="*/ 3173787 w 3577471"/>
              <a:gd name="connsiteY88" fmla="*/ 773906 h 1507522"/>
              <a:gd name="connsiteX89" fmla="*/ 3228555 w 3577471"/>
              <a:gd name="connsiteY89" fmla="*/ 797718 h 1507522"/>
              <a:gd name="connsiteX90" fmla="*/ 3266655 w 3577471"/>
              <a:gd name="connsiteY90" fmla="*/ 778668 h 1507522"/>
              <a:gd name="connsiteX91" fmla="*/ 3309518 w 3577471"/>
              <a:gd name="connsiteY91" fmla="*/ 797718 h 1507522"/>
              <a:gd name="connsiteX92" fmla="*/ 3345237 w 3577471"/>
              <a:gd name="connsiteY92" fmla="*/ 783431 h 1507522"/>
              <a:gd name="connsiteX93" fmla="*/ 3383337 w 3577471"/>
              <a:gd name="connsiteY93" fmla="*/ 826293 h 1507522"/>
              <a:gd name="connsiteX94" fmla="*/ 3461918 w 3577471"/>
              <a:gd name="connsiteY94" fmla="*/ 902493 h 1507522"/>
              <a:gd name="connsiteX95" fmla="*/ 3530974 w 3577471"/>
              <a:gd name="connsiteY95" fmla="*/ 916781 h 1507522"/>
              <a:gd name="connsiteX96" fmla="*/ 3577471 w 3577471"/>
              <a:gd name="connsiteY96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276276 w 3577471"/>
              <a:gd name="connsiteY7" fmla="*/ 1346157 h 1507522"/>
              <a:gd name="connsiteX8" fmla="*/ 899693 w 3577471"/>
              <a:gd name="connsiteY8" fmla="*/ 1012031 h 1507522"/>
              <a:gd name="connsiteX9" fmla="*/ 921124 w 3577471"/>
              <a:gd name="connsiteY9" fmla="*/ 988218 h 1507522"/>
              <a:gd name="connsiteX10" fmla="*/ 1002087 w 3577471"/>
              <a:gd name="connsiteY10" fmla="*/ 966787 h 1507522"/>
              <a:gd name="connsiteX11" fmla="*/ 1016374 w 3577471"/>
              <a:gd name="connsiteY11" fmla="*/ 952500 h 1507522"/>
              <a:gd name="connsiteX12" fmla="*/ 1025899 w 3577471"/>
              <a:gd name="connsiteY12" fmla="*/ 919162 h 1507522"/>
              <a:gd name="connsiteX13" fmla="*/ 1106862 w 3577471"/>
              <a:gd name="connsiteY13" fmla="*/ 878681 h 1507522"/>
              <a:gd name="connsiteX14" fmla="*/ 1125912 w 3577471"/>
              <a:gd name="connsiteY14" fmla="*/ 873918 h 1507522"/>
              <a:gd name="connsiteX15" fmla="*/ 1185443 w 3577471"/>
              <a:gd name="connsiteY15" fmla="*/ 809625 h 1507522"/>
              <a:gd name="connsiteX16" fmla="*/ 1190205 w 3577471"/>
              <a:gd name="connsiteY16" fmla="*/ 759618 h 1507522"/>
              <a:gd name="connsiteX17" fmla="*/ 1216399 w 3577471"/>
              <a:gd name="connsiteY17" fmla="*/ 733425 h 1507522"/>
              <a:gd name="connsiteX18" fmla="*/ 1242593 w 3577471"/>
              <a:gd name="connsiteY18" fmla="*/ 728662 h 1507522"/>
              <a:gd name="connsiteX19" fmla="*/ 1304505 w 3577471"/>
              <a:gd name="connsiteY19" fmla="*/ 683418 h 1507522"/>
              <a:gd name="connsiteX20" fmla="*/ 1390230 w 3577471"/>
              <a:gd name="connsiteY20" fmla="*/ 640556 h 1507522"/>
              <a:gd name="connsiteX21" fmla="*/ 1425949 w 3577471"/>
              <a:gd name="connsiteY21" fmla="*/ 600075 h 1507522"/>
              <a:gd name="connsiteX22" fmla="*/ 1454524 w 3577471"/>
              <a:gd name="connsiteY22" fmla="*/ 585787 h 1507522"/>
              <a:gd name="connsiteX23" fmla="*/ 1461668 w 3577471"/>
              <a:gd name="connsiteY23" fmla="*/ 519112 h 1507522"/>
              <a:gd name="connsiteX24" fmla="*/ 1478337 w 3577471"/>
              <a:gd name="connsiteY24" fmla="*/ 473868 h 1507522"/>
              <a:gd name="connsiteX25" fmla="*/ 1464049 w 3577471"/>
              <a:gd name="connsiteY25" fmla="*/ 433387 h 1507522"/>
              <a:gd name="connsiteX26" fmla="*/ 1468812 w 3577471"/>
              <a:gd name="connsiteY26" fmla="*/ 347662 h 1507522"/>
              <a:gd name="connsiteX27" fmla="*/ 1464049 w 3577471"/>
              <a:gd name="connsiteY27" fmla="*/ 307181 h 1507522"/>
              <a:gd name="connsiteX28" fmla="*/ 1464049 w 3577471"/>
              <a:gd name="connsiteY28" fmla="*/ 264318 h 1507522"/>
              <a:gd name="connsiteX29" fmla="*/ 1490243 w 3577471"/>
              <a:gd name="connsiteY29" fmla="*/ 254793 h 1507522"/>
              <a:gd name="connsiteX30" fmla="*/ 1511674 w 3577471"/>
              <a:gd name="connsiteY30" fmla="*/ 271462 h 1507522"/>
              <a:gd name="connsiteX31" fmla="*/ 1525962 w 3577471"/>
              <a:gd name="connsiteY31" fmla="*/ 297656 h 1507522"/>
              <a:gd name="connsiteX32" fmla="*/ 1554537 w 3577471"/>
              <a:gd name="connsiteY32" fmla="*/ 300037 h 1507522"/>
              <a:gd name="connsiteX33" fmla="*/ 1575968 w 3577471"/>
              <a:gd name="connsiteY33" fmla="*/ 278606 h 1507522"/>
              <a:gd name="connsiteX34" fmla="*/ 1661693 w 3577471"/>
              <a:gd name="connsiteY34" fmla="*/ 280987 h 1507522"/>
              <a:gd name="connsiteX35" fmla="*/ 1714080 w 3577471"/>
              <a:gd name="connsiteY35" fmla="*/ 290512 h 1507522"/>
              <a:gd name="connsiteX36" fmla="*/ 1761705 w 3577471"/>
              <a:gd name="connsiteY36" fmla="*/ 266700 h 1507522"/>
              <a:gd name="connsiteX37" fmla="*/ 1773612 w 3577471"/>
              <a:gd name="connsiteY37" fmla="*/ 233362 h 1507522"/>
              <a:gd name="connsiteX38" fmla="*/ 1814093 w 3577471"/>
              <a:gd name="connsiteY38" fmla="*/ 200025 h 1507522"/>
              <a:gd name="connsiteX39" fmla="*/ 1804568 w 3577471"/>
              <a:gd name="connsiteY39" fmla="*/ 173831 h 1507522"/>
              <a:gd name="connsiteX40" fmla="*/ 1821237 w 3577471"/>
              <a:gd name="connsiteY40" fmla="*/ 147637 h 1507522"/>
              <a:gd name="connsiteX41" fmla="*/ 1876005 w 3577471"/>
              <a:gd name="connsiteY41" fmla="*/ 169068 h 1507522"/>
              <a:gd name="connsiteX42" fmla="*/ 1923630 w 3577471"/>
              <a:gd name="connsiteY42" fmla="*/ 173831 h 1507522"/>
              <a:gd name="connsiteX43" fmla="*/ 1959349 w 3577471"/>
              <a:gd name="connsiteY43" fmla="*/ 209550 h 1507522"/>
              <a:gd name="connsiteX44" fmla="*/ 1987924 w 3577471"/>
              <a:gd name="connsiteY44" fmla="*/ 223837 h 1507522"/>
              <a:gd name="connsiteX45" fmla="*/ 2006974 w 3577471"/>
              <a:gd name="connsiteY45" fmla="*/ 280987 h 1507522"/>
              <a:gd name="connsiteX46" fmla="*/ 2076030 w 3577471"/>
              <a:gd name="connsiteY46" fmla="*/ 316706 h 1507522"/>
              <a:gd name="connsiteX47" fmla="*/ 2145087 w 3577471"/>
              <a:gd name="connsiteY47" fmla="*/ 307181 h 1507522"/>
              <a:gd name="connsiteX48" fmla="*/ 2192712 w 3577471"/>
              <a:gd name="connsiteY48" fmla="*/ 295275 h 1507522"/>
              <a:gd name="connsiteX49" fmla="*/ 2230812 w 3577471"/>
              <a:gd name="connsiteY49" fmla="*/ 307181 h 1507522"/>
              <a:gd name="connsiteX50" fmla="*/ 2280818 w 3577471"/>
              <a:gd name="connsiteY50" fmla="*/ 304800 h 1507522"/>
              <a:gd name="connsiteX51" fmla="*/ 2326062 w 3577471"/>
              <a:gd name="connsiteY51" fmla="*/ 316706 h 1507522"/>
              <a:gd name="connsiteX52" fmla="*/ 2371305 w 3577471"/>
              <a:gd name="connsiteY52" fmla="*/ 302418 h 1507522"/>
              <a:gd name="connsiteX53" fmla="*/ 2392737 w 3577471"/>
              <a:gd name="connsiteY53" fmla="*/ 276225 h 1507522"/>
              <a:gd name="connsiteX54" fmla="*/ 2471318 w 3577471"/>
              <a:gd name="connsiteY54" fmla="*/ 297656 h 1507522"/>
              <a:gd name="connsiteX55" fmla="*/ 2511799 w 3577471"/>
              <a:gd name="connsiteY55" fmla="*/ 283368 h 1507522"/>
              <a:gd name="connsiteX56" fmla="*/ 2518943 w 3577471"/>
              <a:gd name="connsiteY56" fmla="*/ 242887 h 1507522"/>
              <a:gd name="connsiteX57" fmla="*/ 2490368 w 3577471"/>
              <a:gd name="connsiteY57" fmla="*/ 195262 h 1507522"/>
              <a:gd name="connsiteX58" fmla="*/ 2473699 w 3577471"/>
              <a:gd name="connsiteY58" fmla="*/ 135731 h 1507522"/>
              <a:gd name="connsiteX59" fmla="*/ 2440362 w 3577471"/>
              <a:gd name="connsiteY59" fmla="*/ 102393 h 1507522"/>
              <a:gd name="connsiteX60" fmla="*/ 2416549 w 3577471"/>
              <a:gd name="connsiteY60" fmla="*/ 59531 h 1507522"/>
              <a:gd name="connsiteX61" fmla="*/ 2426074 w 3577471"/>
              <a:gd name="connsiteY61" fmla="*/ 38100 h 1507522"/>
              <a:gd name="connsiteX62" fmla="*/ 2461793 w 3577471"/>
              <a:gd name="connsiteY62" fmla="*/ 0 h 1507522"/>
              <a:gd name="connsiteX63" fmla="*/ 2480843 w 3577471"/>
              <a:gd name="connsiteY63" fmla="*/ 16668 h 1507522"/>
              <a:gd name="connsiteX64" fmla="*/ 2561805 w 3577471"/>
              <a:gd name="connsiteY64" fmla="*/ 30956 h 1507522"/>
              <a:gd name="connsiteX65" fmla="*/ 2645149 w 3577471"/>
              <a:gd name="connsiteY65" fmla="*/ 47625 h 1507522"/>
              <a:gd name="connsiteX66" fmla="*/ 2695155 w 3577471"/>
              <a:gd name="connsiteY66" fmla="*/ 66675 h 1507522"/>
              <a:gd name="connsiteX67" fmla="*/ 2745162 w 3577471"/>
              <a:gd name="connsiteY67" fmla="*/ 61912 h 1507522"/>
              <a:gd name="connsiteX68" fmla="*/ 2792787 w 3577471"/>
              <a:gd name="connsiteY68" fmla="*/ 92868 h 1507522"/>
              <a:gd name="connsiteX69" fmla="*/ 2835649 w 3577471"/>
              <a:gd name="connsiteY69" fmla="*/ 119062 h 1507522"/>
              <a:gd name="connsiteX70" fmla="*/ 2857080 w 3577471"/>
              <a:gd name="connsiteY70" fmla="*/ 150018 h 1507522"/>
              <a:gd name="connsiteX71" fmla="*/ 2907087 w 3577471"/>
              <a:gd name="connsiteY71" fmla="*/ 157162 h 1507522"/>
              <a:gd name="connsiteX72" fmla="*/ 2933280 w 3577471"/>
              <a:gd name="connsiteY72" fmla="*/ 202406 h 1507522"/>
              <a:gd name="connsiteX73" fmla="*/ 2959474 w 3577471"/>
              <a:gd name="connsiteY73" fmla="*/ 233362 h 1507522"/>
              <a:gd name="connsiteX74" fmla="*/ 2976143 w 3577471"/>
              <a:gd name="connsiteY74" fmla="*/ 278606 h 1507522"/>
              <a:gd name="connsiteX75" fmla="*/ 3035674 w 3577471"/>
              <a:gd name="connsiteY75" fmla="*/ 295275 h 1507522"/>
              <a:gd name="connsiteX76" fmla="*/ 3064249 w 3577471"/>
              <a:gd name="connsiteY76" fmla="*/ 326231 h 1507522"/>
              <a:gd name="connsiteX77" fmla="*/ 3085680 w 3577471"/>
              <a:gd name="connsiteY77" fmla="*/ 335756 h 1507522"/>
              <a:gd name="connsiteX78" fmla="*/ 3097587 w 3577471"/>
              <a:gd name="connsiteY78" fmla="*/ 376237 h 1507522"/>
              <a:gd name="connsiteX79" fmla="*/ 3128543 w 3577471"/>
              <a:gd name="connsiteY79" fmla="*/ 383381 h 1507522"/>
              <a:gd name="connsiteX80" fmla="*/ 3166643 w 3577471"/>
              <a:gd name="connsiteY80" fmla="*/ 447675 h 1507522"/>
              <a:gd name="connsiteX81" fmla="*/ 3161880 w 3577471"/>
              <a:gd name="connsiteY81" fmla="*/ 502443 h 1507522"/>
              <a:gd name="connsiteX82" fmla="*/ 3149974 w 3577471"/>
              <a:gd name="connsiteY82" fmla="*/ 531018 h 1507522"/>
              <a:gd name="connsiteX83" fmla="*/ 3190455 w 3577471"/>
              <a:gd name="connsiteY83" fmla="*/ 564356 h 1507522"/>
              <a:gd name="connsiteX84" fmla="*/ 3188074 w 3577471"/>
              <a:gd name="connsiteY84" fmla="*/ 647700 h 1507522"/>
              <a:gd name="connsiteX85" fmla="*/ 3169024 w 3577471"/>
              <a:gd name="connsiteY85" fmla="*/ 664368 h 1507522"/>
              <a:gd name="connsiteX86" fmla="*/ 3152355 w 3577471"/>
              <a:gd name="connsiteY86" fmla="*/ 738187 h 1507522"/>
              <a:gd name="connsiteX87" fmla="*/ 3173787 w 3577471"/>
              <a:gd name="connsiteY87" fmla="*/ 773906 h 1507522"/>
              <a:gd name="connsiteX88" fmla="*/ 3228555 w 3577471"/>
              <a:gd name="connsiteY88" fmla="*/ 797718 h 1507522"/>
              <a:gd name="connsiteX89" fmla="*/ 3266655 w 3577471"/>
              <a:gd name="connsiteY89" fmla="*/ 778668 h 1507522"/>
              <a:gd name="connsiteX90" fmla="*/ 3309518 w 3577471"/>
              <a:gd name="connsiteY90" fmla="*/ 797718 h 1507522"/>
              <a:gd name="connsiteX91" fmla="*/ 3345237 w 3577471"/>
              <a:gd name="connsiteY91" fmla="*/ 783431 h 1507522"/>
              <a:gd name="connsiteX92" fmla="*/ 3383337 w 3577471"/>
              <a:gd name="connsiteY92" fmla="*/ 826293 h 1507522"/>
              <a:gd name="connsiteX93" fmla="*/ 3461918 w 3577471"/>
              <a:gd name="connsiteY93" fmla="*/ 902493 h 1507522"/>
              <a:gd name="connsiteX94" fmla="*/ 3530974 w 3577471"/>
              <a:gd name="connsiteY94" fmla="*/ 916781 h 1507522"/>
              <a:gd name="connsiteX95" fmla="*/ 3577471 w 3577471"/>
              <a:gd name="connsiteY95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07819 w 3577471"/>
              <a:gd name="connsiteY5" fmla="*/ 1373051 h 1507522"/>
              <a:gd name="connsiteX6" fmla="*/ 251827 w 3577471"/>
              <a:gd name="connsiteY6" fmla="*/ 1365716 h 1507522"/>
              <a:gd name="connsiteX7" fmla="*/ 899693 w 3577471"/>
              <a:gd name="connsiteY7" fmla="*/ 1012031 h 1507522"/>
              <a:gd name="connsiteX8" fmla="*/ 921124 w 3577471"/>
              <a:gd name="connsiteY8" fmla="*/ 988218 h 1507522"/>
              <a:gd name="connsiteX9" fmla="*/ 1002087 w 3577471"/>
              <a:gd name="connsiteY9" fmla="*/ 966787 h 1507522"/>
              <a:gd name="connsiteX10" fmla="*/ 1016374 w 3577471"/>
              <a:gd name="connsiteY10" fmla="*/ 952500 h 1507522"/>
              <a:gd name="connsiteX11" fmla="*/ 1025899 w 3577471"/>
              <a:gd name="connsiteY11" fmla="*/ 919162 h 1507522"/>
              <a:gd name="connsiteX12" fmla="*/ 1106862 w 3577471"/>
              <a:gd name="connsiteY12" fmla="*/ 878681 h 1507522"/>
              <a:gd name="connsiteX13" fmla="*/ 1125912 w 3577471"/>
              <a:gd name="connsiteY13" fmla="*/ 873918 h 1507522"/>
              <a:gd name="connsiteX14" fmla="*/ 1185443 w 3577471"/>
              <a:gd name="connsiteY14" fmla="*/ 809625 h 1507522"/>
              <a:gd name="connsiteX15" fmla="*/ 1190205 w 3577471"/>
              <a:gd name="connsiteY15" fmla="*/ 759618 h 1507522"/>
              <a:gd name="connsiteX16" fmla="*/ 1216399 w 3577471"/>
              <a:gd name="connsiteY16" fmla="*/ 733425 h 1507522"/>
              <a:gd name="connsiteX17" fmla="*/ 1242593 w 3577471"/>
              <a:gd name="connsiteY17" fmla="*/ 728662 h 1507522"/>
              <a:gd name="connsiteX18" fmla="*/ 1304505 w 3577471"/>
              <a:gd name="connsiteY18" fmla="*/ 683418 h 1507522"/>
              <a:gd name="connsiteX19" fmla="*/ 1390230 w 3577471"/>
              <a:gd name="connsiteY19" fmla="*/ 640556 h 1507522"/>
              <a:gd name="connsiteX20" fmla="*/ 1425949 w 3577471"/>
              <a:gd name="connsiteY20" fmla="*/ 600075 h 1507522"/>
              <a:gd name="connsiteX21" fmla="*/ 1454524 w 3577471"/>
              <a:gd name="connsiteY21" fmla="*/ 585787 h 1507522"/>
              <a:gd name="connsiteX22" fmla="*/ 1461668 w 3577471"/>
              <a:gd name="connsiteY22" fmla="*/ 519112 h 1507522"/>
              <a:gd name="connsiteX23" fmla="*/ 1478337 w 3577471"/>
              <a:gd name="connsiteY23" fmla="*/ 473868 h 1507522"/>
              <a:gd name="connsiteX24" fmla="*/ 1464049 w 3577471"/>
              <a:gd name="connsiteY24" fmla="*/ 433387 h 1507522"/>
              <a:gd name="connsiteX25" fmla="*/ 1468812 w 3577471"/>
              <a:gd name="connsiteY25" fmla="*/ 347662 h 1507522"/>
              <a:gd name="connsiteX26" fmla="*/ 1464049 w 3577471"/>
              <a:gd name="connsiteY26" fmla="*/ 307181 h 1507522"/>
              <a:gd name="connsiteX27" fmla="*/ 1464049 w 3577471"/>
              <a:gd name="connsiteY27" fmla="*/ 264318 h 1507522"/>
              <a:gd name="connsiteX28" fmla="*/ 1490243 w 3577471"/>
              <a:gd name="connsiteY28" fmla="*/ 254793 h 1507522"/>
              <a:gd name="connsiteX29" fmla="*/ 1511674 w 3577471"/>
              <a:gd name="connsiteY29" fmla="*/ 271462 h 1507522"/>
              <a:gd name="connsiteX30" fmla="*/ 1525962 w 3577471"/>
              <a:gd name="connsiteY30" fmla="*/ 297656 h 1507522"/>
              <a:gd name="connsiteX31" fmla="*/ 1554537 w 3577471"/>
              <a:gd name="connsiteY31" fmla="*/ 300037 h 1507522"/>
              <a:gd name="connsiteX32" fmla="*/ 1575968 w 3577471"/>
              <a:gd name="connsiteY32" fmla="*/ 278606 h 1507522"/>
              <a:gd name="connsiteX33" fmla="*/ 1661693 w 3577471"/>
              <a:gd name="connsiteY33" fmla="*/ 280987 h 1507522"/>
              <a:gd name="connsiteX34" fmla="*/ 1714080 w 3577471"/>
              <a:gd name="connsiteY34" fmla="*/ 290512 h 1507522"/>
              <a:gd name="connsiteX35" fmla="*/ 1761705 w 3577471"/>
              <a:gd name="connsiteY35" fmla="*/ 266700 h 1507522"/>
              <a:gd name="connsiteX36" fmla="*/ 1773612 w 3577471"/>
              <a:gd name="connsiteY36" fmla="*/ 233362 h 1507522"/>
              <a:gd name="connsiteX37" fmla="*/ 1814093 w 3577471"/>
              <a:gd name="connsiteY37" fmla="*/ 200025 h 1507522"/>
              <a:gd name="connsiteX38" fmla="*/ 1804568 w 3577471"/>
              <a:gd name="connsiteY38" fmla="*/ 173831 h 1507522"/>
              <a:gd name="connsiteX39" fmla="*/ 1821237 w 3577471"/>
              <a:gd name="connsiteY39" fmla="*/ 147637 h 1507522"/>
              <a:gd name="connsiteX40" fmla="*/ 1876005 w 3577471"/>
              <a:gd name="connsiteY40" fmla="*/ 169068 h 1507522"/>
              <a:gd name="connsiteX41" fmla="*/ 1923630 w 3577471"/>
              <a:gd name="connsiteY41" fmla="*/ 173831 h 1507522"/>
              <a:gd name="connsiteX42" fmla="*/ 1959349 w 3577471"/>
              <a:gd name="connsiteY42" fmla="*/ 209550 h 1507522"/>
              <a:gd name="connsiteX43" fmla="*/ 1987924 w 3577471"/>
              <a:gd name="connsiteY43" fmla="*/ 223837 h 1507522"/>
              <a:gd name="connsiteX44" fmla="*/ 2006974 w 3577471"/>
              <a:gd name="connsiteY44" fmla="*/ 280987 h 1507522"/>
              <a:gd name="connsiteX45" fmla="*/ 2076030 w 3577471"/>
              <a:gd name="connsiteY45" fmla="*/ 316706 h 1507522"/>
              <a:gd name="connsiteX46" fmla="*/ 2145087 w 3577471"/>
              <a:gd name="connsiteY46" fmla="*/ 307181 h 1507522"/>
              <a:gd name="connsiteX47" fmla="*/ 2192712 w 3577471"/>
              <a:gd name="connsiteY47" fmla="*/ 295275 h 1507522"/>
              <a:gd name="connsiteX48" fmla="*/ 2230812 w 3577471"/>
              <a:gd name="connsiteY48" fmla="*/ 307181 h 1507522"/>
              <a:gd name="connsiteX49" fmla="*/ 2280818 w 3577471"/>
              <a:gd name="connsiteY49" fmla="*/ 304800 h 1507522"/>
              <a:gd name="connsiteX50" fmla="*/ 2326062 w 3577471"/>
              <a:gd name="connsiteY50" fmla="*/ 316706 h 1507522"/>
              <a:gd name="connsiteX51" fmla="*/ 2371305 w 3577471"/>
              <a:gd name="connsiteY51" fmla="*/ 302418 h 1507522"/>
              <a:gd name="connsiteX52" fmla="*/ 2392737 w 3577471"/>
              <a:gd name="connsiteY52" fmla="*/ 276225 h 1507522"/>
              <a:gd name="connsiteX53" fmla="*/ 2471318 w 3577471"/>
              <a:gd name="connsiteY53" fmla="*/ 297656 h 1507522"/>
              <a:gd name="connsiteX54" fmla="*/ 2511799 w 3577471"/>
              <a:gd name="connsiteY54" fmla="*/ 283368 h 1507522"/>
              <a:gd name="connsiteX55" fmla="*/ 2518943 w 3577471"/>
              <a:gd name="connsiteY55" fmla="*/ 242887 h 1507522"/>
              <a:gd name="connsiteX56" fmla="*/ 2490368 w 3577471"/>
              <a:gd name="connsiteY56" fmla="*/ 195262 h 1507522"/>
              <a:gd name="connsiteX57" fmla="*/ 2473699 w 3577471"/>
              <a:gd name="connsiteY57" fmla="*/ 135731 h 1507522"/>
              <a:gd name="connsiteX58" fmla="*/ 2440362 w 3577471"/>
              <a:gd name="connsiteY58" fmla="*/ 102393 h 1507522"/>
              <a:gd name="connsiteX59" fmla="*/ 2416549 w 3577471"/>
              <a:gd name="connsiteY59" fmla="*/ 59531 h 1507522"/>
              <a:gd name="connsiteX60" fmla="*/ 2426074 w 3577471"/>
              <a:gd name="connsiteY60" fmla="*/ 38100 h 1507522"/>
              <a:gd name="connsiteX61" fmla="*/ 2461793 w 3577471"/>
              <a:gd name="connsiteY61" fmla="*/ 0 h 1507522"/>
              <a:gd name="connsiteX62" fmla="*/ 2480843 w 3577471"/>
              <a:gd name="connsiteY62" fmla="*/ 16668 h 1507522"/>
              <a:gd name="connsiteX63" fmla="*/ 2561805 w 3577471"/>
              <a:gd name="connsiteY63" fmla="*/ 30956 h 1507522"/>
              <a:gd name="connsiteX64" fmla="*/ 2645149 w 3577471"/>
              <a:gd name="connsiteY64" fmla="*/ 47625 h 1507522"/>
              <a:gd name="connsiteX65" fmla="*/ 2695155 w 3577471"/>
              <a:gd name="connsiteY65" fmla="*/ 66675 h 1507522"/>
              <a:gd name="connsiteX66" fmla="*/ 2745162 w 3577471"/>
              <a:gd name="connsiteY66" fmla="*/ 61912 h 1507522"/>
              <a:gd name="connsiteX67" fmla="*/ 2792787 w 3577471"/>
              <a:gd name="connsiteY67" fmla="*/ 92868 h 1507522"/>
              <a:gd name="connsiteX68" fmla="*/ 2835649 w 3577471"/>
              <a:gd name="connsiteY68" fmla="*/ 119062 h 1507522"/>
              <a:gd name="connsiteX69" fmla="*/ 2857080 w 3577471"/>
              <a:gd name="connsiteY69" fmla="*/ 150018 h 1507522"/>
              <a:gd name="connsiteX70" fmla="*/ 2907087 w 3577471"/>
              <a:gd name="connsiteY70" fmla="*/ 157162 h 1507522"/>
              <a:gd name="connsiteX71" fmla="*/ 2933280 w 3577471"/>
              <a:gd name="connsiteY71" fmla="*/ 202406 h 1507522"/>
              <a:gd name="connsiteX72" fmla="*/ 2959474 w 3577471"/>
              <a:gd name="connsiteY72" fmla="*/ 233362 h 1507522"/>
              <a:gd name="connsiteX73" fmla="*/ 2976143 w 3577471"/>
              <a:gd name="connsiteY73" fmla="*/ 278606 h 1507522"/>
              <a:gd name="connsiteX74" fmla="*/ 3035674 w 3577471"/>
              <a:gd name="connsiteY74" fmla="*/ 295275 h 1507522"/>
              <a:gd name="connsiteX75" fmla="*/ 3064249 w 3577471"/>
              <a:gd name="connsiteY75" fmla="*/ 326231 h 1507522"/>
              <a:gd name="connsiteX76" fmla="*/ 3085680 w 3577471"/>
              <a:gd name="connsiteY76" fmla="*/ 335756 h 1507522"/>
              <a:gd name="connsiteX77" fmla="*/ 3097587 w 3577471"/>
              <a:gd name="connsiteY77" fmla="*/ 376237 h 1507522"/>
              <a:gd name="connsiteX78" fmla="*/ 3128543 w 3577471"/>
              <a:gd name="connsiteY78" fmla="*/ 383381 h 1507522"/>
              <a:gd name="connsiteX79" fmla="*/ 3166643 w 3577471"/>
              <a:gd name="connsiteY79" fmla="*/ 447675 h 1507522"/>
              <a:gd name="connsiteX80" fmla="*/ 3161880 w 3577471"/>
              <a:gd name="connsiteY80" fmla="*/ 502443 h 1507522"/>
              <a:gd name="connsiteX81" fmla="*/ 3149974 w 3577471"/>
              <a:gd name="connsiteY81" fmla="*/ 531018 h 1507522"/>
              <a:gd name="connsiteX82" fmla="*/ 3190455 w 3577471"/>
              <a:gd name="connsiteY82" fmla="*/ 564356 h 1507522"/>
              <a:gd name="connsiteX83" fmla="*/ 3188074 w 3577471"/>
              <a:gd name="connsiteY83" fmla="*/ 647700 h 1507522"/>
              <a:gd name="connsiteX84" fmla="*/ 3169024 w 3577471"/>
              <a:gd name="connsiteY84" fmla="*/ 664368 h 1507522"/>
              <a:gd name="connsiteX85" fmla="*/ 3152355 w 3577471"/>
              <a:gd name="connsiteY85" fmla="*/ 738187 h 1507522"/>
              <a:gd name="connsiteX86" fmla="*/ 3173787 w 3577471"/>
              <a:gd name="connsiteY86" fmla="*/ 773906 h 1507522"/>
              <a:gd name="connsiteX87" fmla="*/ 3228555 w 3577471"/>
              <a:gd name="connsiteY87" fmla="*/ 797718 h 1507522"/>
              <a:gd name="connsiteX88" fmla="*/ 3266655 w 3577471"/>
              <a:gd name="connsiteY88" fmla="*/ 778668 h 1507522"/>
              <a:gd name="connsiteX89" fmla="*/ 3309518 w 3577471"/>
              <a:gd name="connsiteY89" fmla="*/ 797718 h 1507522"/>
              <a:gd name="connsiteX90" fmla="*/ 3345237 w 3577471"/>
              <a:gd name="connsiteY90" fmla="*/ 783431 h 1507522"/>
              <a:gd name="connsiteX91" fmla="*/ 3383337 w 3577471"/>
              <a:gd name="connsiteY91" fmla="*/ 826293 h 1507522"/>
              <a:gd name="connsiteX92" fmla="*/ 3461918 w 3577471"/>
              <a:gd name="connsiteY92" fmla="*/ 902493 h 1507522"/>
              <a:gd name="connsiteX93" fmla="*/ 3530974 w 3577471"/>
              <a:gd name="connsiteY93" fmla="*/ 916781 h 1507522"/>
              <a:gd name="connsiteX94" fmla="*/ 3577471 w 3577471"/>
              <a:gd name="connsiteY94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251827 w 3577471"/>
              <a:gd name="connsiteY5" fmla="*/ 1365716 h 1507522"/>
              <a:gd name="connsiteX6" fmla="*/ 899693 w 3577471"/>
              <a:gd name="connsiteY6" fmla="*/ 1012031 h 1507522"/>
              <a:gd name="connsiteX7" fmla="*/ 921124 w 3577471"/>
              <a:gd name="connsiteY7" fmla="*/ 988218 h 1507522"/>
              <a:gd name="connsiteX8" fmla="*/ 1002087 w 3577471"/>
              <a:gd name="connsiteY8" fmla="*/ 966787 h 1507522"/>
              <a:gd name="connsiteX9" fmla="*/ 1016374 w 3577471"/>
              <a:gd name="connsiteY9" fmla="*/ 952500 h 1507522"/>
              <a:gd name="connsiteX10" fmla="*/ 1025899 w 3577471"/>
              <a:gd name="connsiteY10" fmla="*/ 919162 h 1507522"/>
              <a:gd name="connsiteX11" fmla="*/ 1106862 w 3577471"/>
              <a:gd name="connsiteY11" fmla="*/ 878681 h 1507522"/>
              <a:gd name="connsiteX12" fmla="*/ 1125912 w 3577471"/>
              <a:gd name="connsiteY12" fmla="*/ 873918 h 1507522"/>
              <a:gd name="connsiteX13" fmla="*/ 1185443 w 3577471"/>
              <a:gd name="connsiteY13" fmla="*/ 809625 h 1507522"/>
              <a:gd name="connsiteX14" fmla="*/ 1190205 w 3577471"/>
              <a:gd name="connsiteY14" fmla="*/ 759618 h 1507522"/>
              <a:gd name="connsiteX15" fmla="*/ 1216399 w 3577471"/>
              <a:gd name="connsiteY15" fmla="*/ 733425 h 1507522"/>
              <a:gd name="connsiteX16" fmla="*/ 1242593 w 3577471"/>
              <a:gd name="connsiteY16" fmla="*/ 728662 h 1507522"/>
              <a:gd name="connsiteX17" fmla="*/ 1304505 w 3577471"/>
              <a:gd name="connsiteY17" fmla="*/ 683418 h 1507522"/>
              <a:gd name="connsiteX18" fmla="*/ 1390230 w 3577471"/>
              <a:gd name="connsiteY18" fmla="*/ 640556 h 1507522"/>
              <a:gd name="connsiteX19" fmla="*/ 1425949 w 3577471"/>
              <a:gd name="connsiteY19" fmla="*/ 600075 h 1507522"/>
              <a:gd name="connsiteX20" fmla="*/ 1454524 w 3577471"/>
              <a:gd name="connsiteY20" fmla="*/ 585787 h 1507522"/>
              <a:gd name="connsiteX21" fmla="*/ 1461668 w 3577471"/>
              <a:gd name="connsiteY21" fmla="*/ 519112 h 1507522"/>
              <a:gd name="connsiteX22" fmla="*/ 1478337 w 3577471"/>
              <a:gd name="connsiteY22" fmla="*/ 473868 h 1507522"/>
              <a:gd name="connsiteX23" fmla="*/ 1464049 w 3577471"/>
              <a:gd name="connsiteY23" fmla="*/ 433387 h 1507522"/>
              <a:gd name="connsiteX24" fmla="*/ 1468812 w 3577471"/>
              <a:gd name="connsiteY24" fmla="*/ 347662 h 1507522"/>
              <a:gd name="connsiteX25" fmla="*/ 1464049 w 3577471"/>
              <a:gd name="connsiteY25" fmla="*/ 307181 h 1507522"/>
              <a:gd name="connsiteX26" fmla="*/ 1464049 w 3577471"/>
              <a:gd name="connsiteY26" fmla="*/ 264318 h 1507522"/>
              <a:gd name="connsiteX27" fmla="*/ 1490243 w 3577471"/>
              <a:gd name="connsiteY27" fmla="*/ 254793 h 1507522"/>
              <a:gd name="connsiteX28" fmla="*/ 1511674 w 3577471"/>
              <a:gd name="connsiteY28" fmla="*/ 271462 h 1507522"/>
              <a:gd name="connsiteX29" fmla="*/ 1525962 w 3577471"/>
              <a:gd name="connsiteY29" fmla="*/ 297656 h 1507522"/>
              <a:gd name="connsiteX30" fmla="*/ 1554537 w 3577471"/>
              <a:gd name="connsiteY30" fmla="*/ 300037 h 1507522"/>
              <a:gd name="connsiteX31" fmla="*/ 1575968 w 3577471"/>
              <a:gd name="connsiteY31" fmla="*/ 278606 h 1507522"/>
              <a:gd name="connsiteX32" fmla="*/ 1661693 w 3577471"/>
              <a:gd name="connsiteY32" fmla="*/ 280987 h 1507522"/>
              <a:gd name="connsiteX33" fmla="*/ 1714080 w 3577471"/>
              <a:gd name="connsiteY33" fmla="*/ 290512 h 1507522"/>
              <a:gd name="connsiteX34" fmla="*/ 1761705 w 3577471"/>
              <a:gd name="connsiteY34" fmla="*/ 266700 h 1507522"/>
              <a:gd name="connsiteX35" fmla="*/ 1773612 w 3577471"/>
              <a:gd name="connsiteY35" fmla="*/ 233362 h 1507522"/>
              <a:gd name="connsiteX36" fmla="*/ 1814093 w 3577471"/>
              <a:gd name="connsiteY36" fmla="*/ 200025 h 1507522"/>
              <a:gd name="connsiteX37" fmla="*/ 1804568 w 3577471"/>
              <a:gd name="connsiteY37" fmla="*/ 173831 h 1507522"/>
              <a:gd name="connsiteX38" fmla="*/ 1821237 w 3577471"/>
              <a:gd name="connsiteY38" fmla="*/ 147637 h 1507522"/>
              <a:gd name="connsiteX39" fmla="*/ 1876005 w 3577471"/>
              <a:gd name="connsiteY39" fmla="*/ 169068 h 1507522"/>
              <a:gd name="connsiteX40" fmla="*/ 1923630 w 3577471"/>
              <a:gd name="connsiteY40" fmla="*/ 173831 h 1507522"/>
              <a:gd name="connsiteX41" fmla="*/ 1959349 w 3577471"/>
              <a:gd name="connsiteY41" fmla="*/ 209550 h 1507522"/>
              <a:gd name="connsiteX42" fmla="*/ 1987924 w 3577471"/>
              <a:gd name="connsiteY42" fmla="*/ 223837 h 1507522"/>
              <a:gd name="connsiteX43" fmla="*/ 2006974 w 3577471"/>
              <a:gd name="connsiteY43" fmla="*/ 280987 h 1507522"/>
              <a:gd name="connsiteX44" fmla="*/ 2076030 w 3577471"/>
              <a:gd name="connsiteY44" fmla="*/ 316706 h 1507522"/>
              <a:gd name="connsiteX45" fmla="*/ 2145087 w 3577471"/>
              <a:gd name="connsiteY45" fmla="*/ 307181 h 1507522"/>
              <a:gd name="connsiteX46" fmla="*/ 2192712 w 3577471"/>
              <a:gd name="connsiteY46" fmla="*/ 295275 h 1507522"/>
              <a:gd name="connsiteX47" fmla="*/ 2230812 w 3577471"/>
              <a:gd name="connsiteY47" fmla="*/ 307181 h 1507522"/>
              <a:gd name="connsiteX48" fmla="*/ 2280818 w 3577471"/>
              <a:gd name="connsiteY48" fmla="*/ 304800 h 1507522"/>
              <a:gd name="connsiteX49" fmla="*/ 2326062 w 3577471"/>
              <a:gd name="connsiteY49" fmla="*/ 316706 h 1507522"/>
              <a:gd name="connsiteX50" fmla="*/ 2371305 w 3577471"/>
              <a:gd name="connsiteY50" fmla="*/ 302418 h 1507522"/>
              <a:gd name="connsiteX51" fmla="*/ 2392737 w 3577471"/>
              <a:gd name="connsiteY51" fmla="*/ 276225 h 1507522"/>
              <a:gd name="connsiteX52" fmla="*/ 2471318 w 3577471"/>
              <a:gd name="connsiteY52" fmla="*/ 297656 h 1507522"/>
              <a:gd name="connsiteX53" fmla="*/ 2511799 w 3577471"/>
              <a:gd name="connsiteY53" fmla="*/ 283368 h 1507522"/>
              <a:gd name="connsiteX54" fmla="*/ 2518943 w 3577471"/>
              <a:gd name="connsiteY54" fmla="*/ 242887 h 1507522"/>
              <a:gd name="connsiteX55" fmla="*/ 2490368 w 3577471"/>
              <a:gd name="connsiteY55" fmla="*/ 195262 h 1507522"/>
              <a:gd name="connsiteX56" fmla="*/ 2473699 w 3577471"/>
              <a:gd name="connsiteY56" fmla="*/ 135731 h 1507522"/>
              <a:gd name="connsiteX57" fmla="*/ 2440362 w 3577471"/>
              <a:gd name="connsiteY57" fmla="*/ 102393 h 1507522"/>
              <a:gd name="connsiteX58" fmla="*/ 2416549 w 3577471"/>
              <a:gd name="connsiteY58" fmla="*/ 59531 h 1507522"/>
              <a:gd name="connsiteX59" fmla="*/ 2426074 w 3577471"/>
              <a:gd name="connsiteY59" fmla="*/ 38100 h 1507522"/>
              <a:gd name="connsiteX60" fmla="*/ 2461793 w 3577471"/>
              <a:gd name="connsiteY60" fmla="*/ 0 h 1507522"/>
              <a:gd name="connsiteX61" fmla="*/ 2480843 w 3577471"/>
              <a:gd name="connsiteY61" fmla="*/ 16668 h 1507522"/>
              <a:gd name="connsiteX62" fmla="*/ 2561805 w 3577471"/>
              <a:gd name="connsiteY62" fmla="*/ 30956 h 1507522"/>
              <a:gd name="connsiteX63" fmla="*/ 2645149 w 3577471"/>
              <a:gd name="connsiteY63" fmla="*/ 47625 h 1507522"/>
              <a:gd name="connsiteX64" fmla="*/ 2695155 w 3577471"/>
              <a:gd name="connsiteY64" fmla="*/ 66675 h 1507522"/>
              <a:gd name="connsiteX65" fmla="*/ 2745162 w 3577471"/>
              <a:gd name="connsiteY65" fmla="*/ 61912 h 1507522"/>
              <a:gd name="connsiteX66" fmla="*/ 2792787 w 3577471"/>
              <a:gd name="connsiteY66" fmla="*/ 92868 h 1507522"/>
              <a:gd name="connsiteX67" fmla="*/ 2835649 w 3577471"/>
              <a:gd name="connsiteY67" fmla="*/ 119062 h 1507522"/>
              <a:gd name="connsiteX68" fmla="*/ 2857080 w 3577471"/>
              <a:gd name="connsiteY68" fmla="*/ 150018 h 1507522"/>
              <a:gd name="connsiteX69" fmla="*/ 2907087 w 3577471"/>
              <a:gd name="connsiteY69" fmla="*/ 157162 h 1507522"/>
              <a:gd name="connsiteX70" fmla="*/ 2933280 w 3577471"/>
              <a:gd name="connsiteY70" fmla="*/ 202406 h 1507522"/>
              <a:gd name="connsiteX71" fmla="*/ 2959474 w 3577471"/>
              <a:gd name="connsiteY71" fmla="*/ 233362 h 1507522"/>
              <a:gd name="connsiteX72" fmla="*/ 2976143 w 3577471"/>
              <a:gd name="connsiteY72" fmla="*/ 278606 h 1507522"/>
              <a:gd name="connsiteX73" fmla="*/ 3035674 w 3577471"/>
              <a:gd name="connsiteY73" fmla="*/ 295275 h 1507522"/>
              <a:gd name="connsiteX74" fmla="*/ 3064249 w 3577471"/>
              <a:gd name="connsiteY74" fmla="*/ 326231 h 1507522"/>
              <a:gd name="connsiteX75" fmla="*/ 3085680 w 3577471"/>
              <a:gd name="connsiteY75" fmla="*/ 335756 h 1507522"/>
              <a:gd name="connsiteX76" fmla="*/ 3097587 w 3577471"/>
              <a:gd name="connsiteY76" fmla="*/ 376237 h 1507522"/>
              <a:gd name="connsiteX77" fmla="*/ 3128543 w 3577471"/>
              <a:gd name="connsiteY77" fmla="*/ 383381 h 1507522"/>
              <a:gd name="connsiteX78" fmla="*/ 3166643 w 3577471"/>
              <a:gd name="connsiteY78" fmla="*/ 447675 h 1507522"/>
              <a:gd name="connsiteX79" fmla="*/ 3161880 w 3577471"/>
              <a:gd name="connsiteY79" fmla="*/ 502443 h 1507522"/>
              <a:gd name="connsiteX80" fmla="*/ 3149974 w 3577471"/>
              <a:gd name="connsiteY80" fmla="*/ 531018 h 1507522"/>
              <a:gd name="connsiteX81" fmla="*/ 3190455 w 3577471"/>
              <a:gd name="connsiteY81" fmla="*/ 564356 h 1507522"/>
              <a:gd name="connsiteX82" fmla="*/ 3188074 w 3577471"/>
              <a:gd name="connsiteY82" fmla="*/ 647700 h 1507522"/>
              <a:gd name="connsiteX83" fmla="*/ 3169024 w 3577471"/>
              <a:gd name="connsiteY83" fmla="*/ 664368 h 1507522"/>
              <a:gd name="connsiteX84" fmla="*/ 3152355 w 3577471"/>
              <a:gd name="connsiteY84" fmla="*/ 738187 h 1507522"/>
              <a:gd name="connsiteX85" fmla="*/ 3173787 w 3577471"/>
              <a:gd name="connsiteY85" fmla="*/ 773906 h 1507522"/>
              <a:gd name="connsiteX86" fmla="*/ 3228555 w 3577471"/>
              <a:gd name="connsiteY86" fmla="*/ 797718 h 1507522"/>
              <a:gd name="connsiteX87" fmla="*/ 3266655 w 3577471"/>
              <a:gd name="connsiteY87" fmla="*/ 778668 h 1507522"/>
              <a:gd name="connsiteX88" fmla="*/ 3309518 w 3577471"/>
              <a:gd name="connsiteY88" fmla="*/ 797718 h 1507522"/>
              <a:gd name="connsiteX89" fmla="*/ 3345237 w 3577471"/>
              <a:gd name="connsiteY89" fmla="*/ 783431 h 1507522"/>
              <a:gd name="connsiteX90" fmla="*/ 3383337 w 3577471"/>
              <a:gd name="connsiteY90" fmla="*/ 826293 h 1507522"/>
              <a:gd name="connsiteX91" fmla="*/ 3461918 w 3577471"/>
              <a:gd name="connsiteY91" fmla="*/ 902493 h 1507522"/>
              <a:gd name="connsiteX92" fmla="*/ 3530974 w 3577471"/>
              <a:gd name="connsiteY92" fmla="*/ 916781 h 1507522"/>
              <a:gd name="connsiteX93" fmla="*/ 3577471 w 3577471"/>
              <a:gd name="connsiteY93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178480 w 3577471"/>
              <a:gd name="connsiteY4" fmla="*/ 1412170 h 1507522"/>
              <a:gd name="connsiteX5" fmla="*/ 899693 w 3577471"/>
              <a:gd name="connsiteY5" fmla="*/ 1012031 h 1507522"/>
              <a:gd name="connsiteX6" fmla="*/ 921124 w 3577471"/>
              <a:gd name="connsiteY6" fmla="*/ 988218 h 1507522"/>
              <a:gd name="connsiteX7" fmla="*/ 1002087 w 3577471"/>
              <a:gd name="connsiteY7" fmla="*/ 966787 h 1507522"/>
              <a:gd name="connsiteX8" fmla="*/ 1016374 w 3577471"/>
              <a:gd name="connsiteY8" fmla="*/ 952500 h 1507522"/>
              <a:gd name="connsiteX9" fmla="*/ 1025899 w 3577471"/>
              <a:gd name="connsiteY9" fmla="*/ 919162 h 1507522"/>
              <a:gd name="connsiteX10" fmla="*/ 1106862 w 3577471"/>
              <a:gd name="connsiteY10" fmla="*/ 878681 h 1507522"/>
              <a:gd name="connsiteX11" fmla="*/ 1125912 w 3577471"/>
              <a:gd name="connsiteY11" fmla="*/ 873918 h 1507522"/>
              <a:gd name="connsiteX12" fmla="*/ 1185443 w 3577471"/>
              <a:gd name="connsiteY12" fmla="*/ 809625 h 1507522"/>
              <a:gd name="connsiteX13" fmla="*/ 1190205 w 3577471"/>
              <a:gd name="connsiteY13" fmla="*/ 759618 h 1507522"/>
              <a:gd name="connsiteX14" fmla="*/ 1216399 w 3577471"/>
              <a:gd name="connsiteY14" fmla="*/ 733425 h 1507522"/>
              <a:gd name="connsiteX15" fmla="*/ 1242593 w 3577471"/>
              <a:gd name="connsiteY15" fmla="*/ 728662 h 1507522"/>
              <a:gd name="connsiteX16" fmla="*/ 1304505 w 3577471"/>
              <a:gd name="connsiteY16" fmla="*/ 683418 h 1507522"/>
              <a:gd name="connsiteX17" fmla="*/ 1390230 w 3577471"/>
              <a:gd name="connsiteY17" fmla="*/ 640556 h 1507522"/>
              <a:gd name="connsiteX18" fmla="*/ 1425949 w 3577471"/>
              <a:gd name="connsiteY18" fmla="*/ 600075 h 1507522"/>
              <a:gd name="connsiteX19" fmla="*/ 1454524 w 3577471"/>
              <a:gd name="connsiteY19" fmla="*/ 585787 h 1507522"/>
              <a:gd name="connsiteX20" fmla="*/ 1461668 w 3577471"/>
              <a:gd name="connsiteY20" fmla="*/ 519112 h 1507522"/>
              <a:gd name="connsiteX21" fmla="*/ 1478337 w 3577471"/>
              <a:gd name="connsiteY21" fmla="*/ 473868 h 1507522"/>
              <a:gd name="connsiteX22" fmla="*/ 1464049 w 3577471"/>
              <a:gd name="connsiteY22" fmla="*/ 433387 h 1507522"/>
              <a:gd name="connsiteX23" fmla="*/ 1468812 w 3577471"/>
              <a:gd name="connsiteY23" fmla="*/ 347662 h 1507522"/>
              <a:gd name="connsiteX24" fmla="*/ 1464049 w 3577471"/>
              <a:gd name="connsiteY24" fmla="*/ 307181 h 1507522"/>
              <a:gd name="connsiteX25" fmla="*/ 1464049 w 3577471"/>
              <a:gd name="connsiteY25" fmla="*/ 264318 h 1507522"/>
              <a:gd name="connsiteX26" fmla="*/ 1490243 w 3577471"/>
              <a:gd name="connsiteY26" fmla="*/ 254793 h 1507522"/>
              <a:gd name="connsiteX27" fmla="*/ 1511674 w 3577471"/>
              <a:gd name="connsiteY27" fmla="*/ 271462 h 1507522"/>
              <a:gd name="connsiteX28" fmla="*/ 1525962 w 3577471"/>
              <a:gd name="connsiteY28" fmla="*/ 297656 h 1507522"/>
              <a:gd name="connsiteX29" fmla="*/ 1554537 w 3577471"/>
              <a:gd name="connsiteY29" fmla="*/ 300037 h 1507522"/>
              <a:gd name="connsiteX30" fmla="*/ 1575968 w 3577471"/>
              <a:gd name="connsiteY30" fmla="*/ 278606 h 1507522"/>
              <a:gd name="connsiteX31" fmla="*/ 1661693 w 3577471"/>
              <a:gd name="connsiteY31" fmla="*/ 280987 h 1507522"/>
              <a:gd name="connsiteX32" fmla="*/ 1714080 w 3577471"/>
              <a:gd name="connsiteY32" fmla="*/ 290512 h 1507522"/>
              <a:gd name="connsiteX33" fmla="*/ 1761705 w 3577471"/>
              <a:gd name="connsiteY33" fmla="*/ 266700 h 1507522"/>
              <a:gd name="connsiteX34" fmla="*/ 1773612 w 3577471"/>
              <a:gd name="connsiteY34" fmla="*/ 233362 h 1507522"/>
              <a:gd name="connsiteX35" fmla="*/ 1814093 w 3577471"/>
              <a:gd name="connsiteY35" fmla="*/ 200025 h 1507522"/>
              <a:gd name="connsiteX36" fmla="*/ 1804568 w 3577471"/>
              <a:gd name="connsiteY36" fmla="*/ 173831 h 1507522"/>
              <a:gd name="connsiteX37" fmla="*/ 1821237 w 3577471"/>
              <a:gd name="connsiteY37" fmla="*/ 147637 h 1507522"/>
              <a:gd name="connsiteX38" fmla="*/ 1876005 w 3577471"/>
              <a:gd name="connsiteY38" fmla="*/ 169068 h 1507522"/>
              <a:gd name="connsiteX39" fmla="*/ 1923630 w 3577471"/>
              <a:gd name="connsiteY39" fmla="*/ 173831 h 1507522"/>
              <a:gd name="connsiteX40" fmla="*/ 1959349 w 3577471"/>
              <a:gd name="connsiteY40" fmla="*/ 209550 h 1507522"/>
              <a:gd name="connsiteX41" fmla="*/ 1987924 w 3577471"/>
              <a:gd name="connsiteY41" fmla="*/ 223837 h 1507522"/>
              <a:gd name="connsiteX42" fmla="*/ 2006974 w 3577471"/>
              <a:gd name="connsiteY42" fmla="*/ 280987 h 1507522"/>
              <a:gd name="connsiteX43" fmla="*/ 2076030 w 3577471"/>
              <a:gd name="connsiteY43" fmla="*/ 316706 h 1507522"/>
              <a:gd name="connsiteX44" fmla="*/ 2145087 w 3577471"/>
              <a:gd name="connsiteY44" fmla="*/ 307181 h 1507522"/>
              <a:gd name="connsiteX45" fmla="*/ 2192712 w 3577471"/>
              <a:gd name="connsiteY45" fmla="*/ 295275 h 1507522"/>
              <a:gd name="connsiteX46" fmla="*/ 2230812 w 3577471"/>
              <a:gd name="connsiteY46" fmla="*/ 307181 h 1507522"/>
              <a:gd name="connsiteX47" fmla="*/ 2280818 w 3577471"/>
              <a:gd name="connsiteY47" fmla="*/ 304800 h 1507522"/>
              <a:gd name="connsiteX48" fmla="*/ 2326062 w 3577471"/>
              <a:gd name="connsiteY48" fmla="*/ 316706 h 1507522"/>
              <a:gd name="connsiteX49" fmla="*/ 2371305 w 3577471"/>
              <a:gd name="connsiteY49" fmla="*/ 302418 h 1507522"/>
              <a:gd name="connsiteX50" fmla="*/ 2392737 w 3577471"/>
              <a:gd name="connsiteY50" fmla="*/ 276225 h 1507522"/>
              <a:gd name="connsiteX51" fmla="*/ 2471318 w 3577471"/>
              <a:gd name="connsiteY51" fmla="*/ 297656 h 1507522"/>
              <a:gd name="connsiteX52" fmla="*/ 2511799 w 3577471"/>
              <a:gd name="connsiteY52" fmla="*/ 283368 h 1507522"/>
              <a:gd name="connsiteX53" fmla="*/ 2518943 w 3577471"/>
              <a:gd name="connsiteY53" fmla="*/ 242887 h 1507522"/>
              <a:gd name="connsiteX54" fmla="*/ 2490368 w 3577471"/>
              <a:gd name="connsiteY54" fmla="*/ 195262 h 1507522"/>
              <a:gd name="connsiteX55" fmla="*/ 2473699 w 3577471"/>
              <a:gd name="connsiteY55" fmla="*/ 135731 h 1507522"/>
              <a:gd name="connsiteX56" fmla="*/ 2440362 w 3577471"/>
              <a:gd name="connsiteY56" fmla="*/ 102393 h 1507522"/>
              <a:gd name="connsiteX57" fmla="*/ 2416549 w 3577471"/>
              <a:gd name="connsiteY57" fmla="*/ 59531 h 1507522"/>
              <a:gd name="connsiteX58" fmla="*/ 2426074 w 3577471"/>
              <a:gd name="connsiteY58" fmla="*/ 38100 h 1507522"/>
              <a:gd name="connsiteX59" fmla="*/ 2461793 w 3577471"/>
              <a:gd name="connsiteY59" fmla="*/ 0 h 1507522"/>
              <a:gd name="connsiteX60" fmla="*/ 2480843 w 3577471"/>
              <a:gd name="connsiteY60" fmla="*/ 16668 h 1507522"/>
              <a:gd name="connsiteX61" fmla="*/ 2561805 w 3577471"/>
              <a:gd name="connsiteY61" fmla="*/ 30956 h 1507522"/>
              <a:gd name="connsiteX62" fmla="*/ 2645149 w 3577471"/>
              <a:gd name="connsiteY62" fmla="*/ 47625 h 1507522"/>
              <a:gd name="connsiteX63" fmla="*/ 2695155 w 3577471"/>
              <a:gd name="connsiteY63" fmla="*/ 66675 h 1507522"/>
              <a:gd name="connsiteX64" fmla="*/ 2745162 w 3577471"/>
              <a:gd name="connsiteY64" fmla="*/ 61912 h 1507522"/>
              <a:gd name="connsiteX65" fmla="*/ 2792787 w 3577471"/>
              <a:gd name="connsiteY65" fmla="*/ 92868 h 1507522"/>
              <a:gd name="connsiteX66" fmla="*/ 2835649 w 3577471"/>
              <a:gd name="connsiteY66" fmla="*/ 119062 h 1507522"/>
              <a:gd name="connsiteX67" fmla="*/ 2857080 w 3577471"/>
              <a:gd name="connsiteY67" fmla="*/ 150018 h 1507522"/>
              <a:gd name="connsiteX68" fmla="*/ 2907087 w 3577471"/>
              <a:gd name="connsiteY68" fmla="*/ 157162 h 1507522"/>
              <a:gd name="connsiteX69" fmla="*/ 2933280 w 3577471"/>
              <a:gd name="connsiteY69" fmla="*/ 202406 h 1507522"/>
              <a:gd name="connsiteX70" fmla="*/ 2959474 w 3577471"/>
              <a:gd name="connsiteY70" fmla="*/ 233362 h 1507522"/>
              <a:gd name="connsiteX71" fmla="*/ 2976143 w 3577471"/>
              <a:gd name="connsiteY71" fmla="*/ 278606 h 1507522"/>
              <a:gd name="connsiteX72" fmla="*/ 3035674 w 3577471"/>
              <a:gd name="connsiteY72" fmla="*/ 295275 h 1507522"/>
              <a:gd name="connsiteX73" fmla="*/ 3064249 w 3577471"/>
              <a:gd name="connsiteY73" fmla="*/ 326231 h 1507522"/>
              <a:gd name="connsiteX74" fmla="*/ 3085680 w 3577471"/>
              <a:gd name="connsiteY74" fmla="*/ 335756 h 1507522"/>
              <a:gd name="connsiteX75" fmla="*/ 3097587 w 3577471"/>
              <a:gd name="connsiteY75" fmla="*/ 376237 h 1507522"/>
              <a:gd name="connsiteX76" fmla="*/ 3128543 w 3577471"/>
              <a:gd name="connsiteY76" fmla="*/ 383381 h 1507522"/>
              <a:gd name="connsiteX77" fmla="*/ 3166643 w 3577471"/>
              <a:gd name="connsiteY77" fmla="*/ 447675 h 1507522"/>
              <a:gd name="connsiteX78" fmla="*/ 3161880 w 3577471"/>
              <a:gd name="connsiteY78" fmla="*/ 502443 h 1507522"/>
              <a:gd name="connsiteX79" fmla="*/ 3149974 w 3577471"/>
              <a:gd name="connsiteY79" fmla="*/ 531018 h 1507522"/>
              <a:gd name="connsiteX80" fmla="*/ 3190455 w 3577471"/>
              <a:gd name="connsiteY80" fmla="*/ 564356 h 1507522"/>
              <a:gd name="connsiteX81" fmla="*/ 3188074 w 3577471"/>
              <a:gd name="connsiteY81" fmla="*/ 647700 h 1507522"/>
              <a:gd name="connsiteX82" fmla="*/ 3169024 w 3577471"/>
              <a:gd name="connsiteY82" fmla="*/ 664368 h 1507522"/>
              <a:gd name="connsiteX83" fmla="*/ 3152355 w 3577471"/>
              <a:gd name="connsiteY83" fmla="*/ 738187 h 1507522"/>
              <a:gd name="connsiteX84" fmla="*/ 3173787 w 3577471"/>
              <a:gd name="connsiteY84" fmla="*/ 773906 h 1507522"/>
              <a:gd name="connsiteX85" fmla="*/ 3228555 w 3577471"/>
              <a:gd name="connsiteY85" fmla="*/ 797718 h 1507522"/>
              <a:gd name="connsiteX86" fmla="*/ 3266655 w 3577471"/>
              <a:gd name="connsiteY86" fmla="*/ 778668 h 1507522"/>
              <a:gd name="connsiteX87" fmla="*/ 3309518 w 3577471"/>
              <a:gd name="connsiteY87" fmla="*/ 797718 h 1507522"/>
              <a:gd name="connsiteX88" fmla="*/ 3345237 w 3577471"/>
              <a:gd name="connsiteY88" fmla="*/ 783431 h 1507522"/>
              <a:gd name="connsiteX89" fmla="*/ 3383337 w 3577471"/>
              <a:gd name="connsiteY89" fmla="*/ 826293 h 1507522"/>
              <a:gd name="connsiteX90" fmla="*/ 3461918 w 3577471"/>
              <a:gd name="connsiteY90" fmla="*/ 902493 h 1507522"/>
              <a:gd name="connsiteX91" fmla="*/ 3530974 w 3577471"/>
              <a:gd name="connsiteY91" fmla="*/ 916781 h 1507522"/>
              <a:gd name="connsiteX92" fmla="*/ 3577471 w 3577471"/>
              <a:gd name="connsiteY92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141806 w 3577471"/>
              <a:gd name="connsiteY3" fmla="*/ 1436619 h 1507522"/>
              <a:gd name="connsiteX4" fmla="*/ 899693 w 3577471"/>
              <a:gd name="connsiteY4" fmla="*/ 1012031 h 1507522"/>
              <a:gd name="connsiteX5" fmla="*/ 921124 w 3577471"/>
              <a:gd name="connsiteY5" fmla="*/ 988218 h 1507522"/>
              <a:gd name="connsiteX6" fmla="*/ 1002087 w 3577471"/>
              <a:gd name="connsiteY6" fmla="*/ 966787 h 1507522"/>
              <a:gd name="connsiteX7" fmla="*/ 1016374 w 3577471"/>
              <a:gd name="connsiteY7" fmla="*/ 952500 h 1507522"/>
              <a:gd name="connsiteX8" fmla="*/ 1025899 w 3577471"/>
              <a:gd name="connsiteY8" fmla="*/ 919162 h 1507522"/>
              <a:gd name="connsiteX9" fmla="*/ 1106862 w 3577471"/>
              <a:gd name="connsiteY9" fmla="*/ 878681 h 1507522"/>
              <a:gd name="connsiteX10" fmla="*/ 1125912 w 3577471"/>
              <a:gd name="connsiteY10" fmla="*/ 873918 h 1507522"/>
              <a:gd name="connsiteX11" fmla="*/ 1185443 w 3577471"/>
              <a:gd name="connsiteY11" fmla="*/ 809625 h 1507522"/>
              <a:gd name="connsiteX12" fmla="*/ 1190205 w 3577471"/>
              <a:gd name="connsiteY12" fmla="*/ 759618 h 1507522"/>
              <a:gd name="connsiteX13" fmla="*/ 1216399 w 3577471"/>
              <a:gd name="connsiteY13" fmla="*/ 733425 h 1507522"/>
              <a:gd name="connsiteX14" fmla="*/ 1242593 w 3577471"/>
              <a:gd name="connsiteY14" fmla="*/ 728662 h 1507522"/>
              <a:gd name="connsiteX15" fmla="*/ 1304505 w 3577471"/>
              <a:gd name="connsiteY15" fmla="*/ 683418 h 1507522"/>
              <a:gd name="connsiteX16" fmla="*/ 1390230 w 3577471"/>
              <a:gd name="connsiteY16" fmla="*/ 640556 h 1507522"/>
              <a:gd name="connsiteX17" fmla="*/ 1425949 w 3577471"/>
              <a:gd name="connsiteY17" fmla="*/ 600075 h 1507522"/>
              <a:gd name="connsiteX18" fmla="*/ 1454524 w 3577471"/>
              <a:gd name="connsiteY18" fmla="*/ 585787 h 1507522"/>
              <a:gd name="connsiteX19" fmla="*/ 1461668 w 3577471"/>
              <a:gd name="connsiteY19" fmla="*/ 519112 h 1507522"/>
              <a:gd name="connsiteX20" fmla="*/ 1478337 w 3577471"/>
              <a:gd name="connsiteY20" fmla="*/ 473868 h 1507522"/>
              <a:gd name="connsiteX21" fmla="*/ 1464049 w 3577471"/>
              <a:gd name="connsiteY21" fmla="*/ 433387 h 1507522"/>
              <a:gd name="connsiteX22" fmla="*/ 1468812 w 3577471"/>
              <a:gd name="connsiteY22" fmla="*/ 347662 h 1507522"/>
              <a:gd name="connsiteX23" fmla="*/ 1464049 w 3577471"/>
              <a:gd name="connsiteY23" fmla="*/ 307181 h 1507522"/>
              <a:gd name="connsiteX24" fmla="*/ 1464049 w 3577471"/>
              <a:gd name="connsiteY24" fmla="*/ 264318 h 1507522"/>
              <a:gd name="connsiteX25" fmla="*/ 1490243 w 3577471"/>
              <a:gd name="connsiteY25" fmla="*/ 254793 h 1507522"/>
              <a:gd name="connsiteX26" fmla="*/ 1511674 w 3577471"/>
              <a:gd name="connsiteY26" fmla="*/ 271462 h 1507522"/>
              <a:gd name="connsiteX27" fmla="*/ 1525962 w 3577471"/>
              <a:gd name="connsiteY27" fmla="*/ 297656 h 1507522"/>
              <a:gd name="connsiteX28" fmla="*/ 1554537 w 3577471"/>
              <a:gd name="connsiteY28" fmla="*/ 300037 h 1507522"/>
              <a:gd name="connsiteX29" fmla="*/ 1575968 w 3577471"/>
              <a:gd name="connsiteY29" fmla="*/ 278606 h 1507522"/>
              <a:gd name="connsiteX30" fmla="*/ 1661693 w 3577471"/>
              <a:gd name="connsiteY30" fmla="*/ 280987 h 1507522"/>
              <a:gd name="connsiteX31" fmla="*/ 1714080 w 3577471"/>
              <a:gd name="connsiteY31" fmla="*/ 290512 h 1507522"/>
              <a:gd name="connsiteX32" fmla="*/ 1761705 w 3577471"/>
              <a:gd name="connsiteY32" fmla="*/ 266700 h 1507522"/>
              <a:gd name="connsiteX33" fmla="*/ 1773612 w 3577471"/>
              <a:gd name="connsiteY33" fmla="*/ 233362 h 1507522"/>
              <a:gd name="connsiteX34" fmla="*/ 1814093 w 3577471"/>
              <a:gd name="connsiteY34" fmla="*/ 200025 h 1507522"/>
              <a:gd name="connsiteX35" fmla="*/ 1804568 w 3577471"/>
              <a:gd name="connsiteY35" fmla="*/ 173831 h 1507522"/>
              <a:gd name="connsiteX36" fmla="*/ 1821237 w 3577471"/>
              <a:gd name="connsiteY36" fmla="*/ 147637 h 1507522"/>
              <a:gd name="connsiteX37" fmla="*/ 1876005 w 3577471"/>
              <a:gd name="connsiteY37" fmla="*/ 169068 h 1507522"/>
              <a:gd name="connsiteX38" fmla="*/ 1923630 w 3577471"/>
              <a:gd name="connsiteY38" fmla="*/ 173831 h 1507522"/>
              <a:gd name="connsiteX39" fmla="*/ 1959349 w 3577471"/>
              <a:gd name="connsiteY39" fmla="*/ 209550 h 1507522"/>
              <a:gd name="connsiteX40" fmla="*/ 1987924 w 3577471"/>
              <a:gd name="connsiteY40" fmla="*/ 223837 h 1507522"/>
              <a:gd name="connsiteX41" fmla="*/ 2006974 w 3577471"/>
              <a:gd name="connsiteY41" fmla="*/ 280987 h 1507522"/>
              <a:gd name="connsiteX42" fmla="*/ 2076030 w 3577471"/>
              <a:gd name="connsiteY42" fmla="*/ 316706 h 1507522"/>
              <a:gd name="connsiteX43" fmla="*/ 2145087 w 3577471"/>
              <a:gd name="connsiteY43" fmla="*/ 307181 h 1507522"/>
              <a:gd name="connsiteX44" fmla="*/ 2192712 w 3577471"/>
              <a:gd name="connsiteY44" fmla="*/ 295275 h 1507522"/>
              <a:gd name="connsiteX45" fmla="*/ 2230812 w 3577471"/>
              <a:gd name="connsiteY45" fmla="*/ 307181 h 1507522"/>
              <a:gd name="connsiteX46" fmla="*/ 2280818 w 3577471"/>
              <a:gd name="connsiteY46" fmla="*/ 304800 h 1507522"/>
              <a:gd name="connsiteX47" fmla="*/ 2326062 w 3577471"/>
              <a:gd name="connsiteY47" fmla="*/ 316706 h 1507522"/>
              <a:gd name="connsiteX48" fmla="*/ 2371305 w 3577471"/>
              <a:gd name="connsiteY48" fmla="*/ 302418 h 1507522"/>
              <a:gd name="connsiteX49" fmla="*/ 2392737 w 3577471"/>
              <a:gd name="connsiteY49" fmla="*/ 276225 h 1507522"/>
              <a:gd name="connsiteX50" fmla="*/ 2471318 w 3577471"/>
              <a:gd name="connsiteY50" fmla="*/ 297656 h 1507522"/>
              <a:gd name="connsiteX51" fmla="*/ 2511799 w 3577471"/>
              <a:gd name="connsiteY51" fmla="*/ 283368 h 1507522"/>
              <a:gd name="connsiteX52" fmla="*/ 2518943 w 3577471"/>
              <a:gd name="connsiteY52" fmla="*/ 242887 h 1507522"/>
              <a:gd name="connsiteX53" fmla="*/ 2490368 w 3577471"/>
              <a:gd name="connsiteY53" fmla="*/ 195262 h 1507522"/>
              <a:gd name="connsiteX54" fmla="*/ 2473699 w 3577471"/>
              <a:gd name="connsiteY54" fmla="*/ 135731 h 1507522"/>
              <a:gd name="connsiteX55" fmla="*/ 2440362 w 3577471"/>
              <a:gd name="connsiteY55" fmla="*/ 102393 h 1507522"/>
              <a:gd name="connsiteX56" fmla="*/ 2416549 w 3577471"/>
              <a:gd name="connsiteY56" fmla="*/ 59531 h 1507522"/>
              <a:gd name="connsiteX57" fmla="*/ 2426074 w 3577471"/>
              <a:gd name="connsiteY57" fmla="*/ 38100 h 1507522"/>
              <a:gd name="connsiteX58" fmla="*/ 2461793 w 3577471"/>
              <a:gd name="connsiteY58" fmla="*/ 0 h 1507522"/>
              <a:gd name="connsiteX59" fmla="*/ 2480843 w 3577471"/>
              <a:gd name="connsiteY59" fmla="*/ 16668 h 1507522"/>
              <a:gd name="connsiteX60" fmla="*/ 2561805 w 3577471"/>
              <a:gd name="connsiteY60" fmla="*/ 30956 h 1507522"/>
              <a:gd name="connsiteX61" fmla="*/ 2645149 w 3577471"/>
              <a:gd name="connsiteY61" fmla="*/ 47625 h 1507522"/>
              <a:gd name="connsiteX62" fmla="*/ 2695155 w 3577471"/>
              <a:gd name="connsiteY62" fmla="*/ 66675 h 1507522"/>
              <a:gd name="connsiteX63" fmla="*/ 2745162 w 3577471"/>
              <a:gd name="connsiteY63" fmla="*/ 61912 h 1507522"/>
              <a:gd name="connsiteX64" fmla="*/ 2792787 w 3577471"/>
              <a:gd name="connsiteY64" fmla="*/ 92868 h 1507522"/>
              <a:gd name="connsiteX65" fmla="*/ 2835649 w 3577471"/>
              <a:gd name="connsiteY65" fmla="*/ 119062 h 1507522"/>
              <a:gd name="connsiteX66" fmla="*/ 2857080 w 3577471"/>
              <a:gd name="connsiteY66" fmla="*/ 150018 h 1507522"/>
              <a:gd name="connsiteX67" fmla="*/ 2907087 w 3577471"/>
              <a:gd name="connsiteY67" fmla="*/ 157162 h 1507522"/>
              <a:gd name="connsiteX68" fmla="*/ 2933280 w 3577471"/>
              <a:gd name="connsiteY68" fmla="*/ 202406 h 1507522"/>
              <a:gd name="connsiteX69" fmla="*/ 2959474 w 3577471"/>
              <a:gd name="connsiteY69" fmla="*/ 233362 h 1507522"/>
              <a:gd name="connsiteX70" fmla="*/ 2976143 w 3577471"/>
              <a:gd name="connsiteY70" fmla="*/ 278606 h 1507522"/>
              <a:gd name="connsiteX71" fmla="*/ 3035674 w 3577471"/>
              <a:gd name="connsiteY71" fmla="*/ 295275 h 1507522"/>
              <a:gd name="connsiteX72" fmla="*/ 3064249 w 3577471"/>
              <a:gd name="connsiteY72" fmla="*/ 326231 h 1507522"/>
              <a:gd name="connsiteX73" fmla="*/ 3085680 w 3577471"/>
              <a:gd name="connsiteY73" fmla="*/ 335756 h 1507522"/>
              <a:gd name="connsiteX74" fmla="*/ 3097587 w 3577471"/>
              <a:gd name="connsiteY74" fmla="*/ 376237 h 1507522"/>
              <a:gd name="connsiteX75" fmla="*/ 3128543 w 3577471"/>
              <a:gd name="connsiteY75" fmla="*/ 383381 h 1507522"/>
              <a:gd name="connsiteX76" fmla="*/ 3166643 w 3577471"/>
              <a:gd name="connsiteY76" fmla="*/ 447675 h 1507522"/>
              <a:gd name="connsiteX77" fmla="*/ 3161880 w 3577471"/>
              <a:gd name="connsiteY77" fmla="*/ 502443 h 1507522"/>
              <a:gd name="connsiteX78" fmla="*/ 3149974 w 3577471"/>
              <a:gd name="connsiteY78" fmla="*/ 531018 h 1507522"/>
              <a:gd name="connsiteX79" fmla="*/ 3190455 w 3577471"/>
              <a:gd name="connsiteY79" fmla="*/ 564356 h 1507522"/>
              <a:gd name="connsiteX80" fmla="*/ 3188074 w 3577471"/>
              <a:gd name="connsiteY80" fmla="*/ 647700 h 1507522"/>
              <a:gd name="connsiteX81" fmla="*/ 3169024 w 3577471"/>
              <a:gd name="connsiteY81" fmla="*/ 664368 h 1507522"/>
              <a:gd name="connsiteX82" fmla="*/ 3152355 w 3577471"/>
              <a:gd name="connsiteY82" fmla="*/ 738187 h 1507522"/>
              <a:gd name="connsiteX83" fmla="*/ 3173787 w 3577471"/>
              <a:gd name="connsiteY83" fmla="*/ 773906 h 1507522"/>
              <a:gd name="connsiteX84" fmla="*/ 3228555 w 3577471"/>
              <a:gd name="connsiteY84" fmla="*/ 797718 h 1507522"/>
              <a:gd name="connsiteX85" fmla="*/ 3266655 w 3577471"/>
              <a:gd name="connsiteY85" fmla="*/ 778668 h 1507522"/>
              <a:gd name="connsiteX86" fmla="*/ 3309518 w 3577471"/>
              <a:gd name="connsiteY86" fmla="*/ 797718 h 1507522"/>
              <a:gd name="connsiteX87" fmla="*/ 3345237 w 3577471"/>
              <a:gd name="connsiteY87" fmla="*/ 783431 h 1507522"/>
              <a:gd name="connsiteX88" fmla="*/ 3383337 w 3577471"/>
              <a:gd name="connsiteY88" fmla="*/ 826293 h 1507522"/>
              <a:gd name="connsiteX89" fmla="*/ 3461918 w 3577471"/>
              <a:gd name="connsiteY89" fmla="*/ 902493 h 1507522"/>
              <a:gd name="connsiteX90" fmla="*/ 3530974 w 3577471"/>
              <a:gd name="connsiteY90" fmla="*/ 916781 h 1507522"/>
              <a:gd name="connsiteX91" fmla="*/ 3577471 w 3577471"/>
              <a:gd name="connsiteY91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0683 w 3577471"/>
              <a:gd name="connsiteY2" fmla="*/ 1434174 h 1507522"/>
              <a:gd name="connsiteX3" fmla="*/ 899693 w 3577471"/>
              <a:gd name="connsiteY3" fmla="*/ 1012031 h 1507522"/>
              <a:gd name="connsiteX4" fmla="*/ 921124 w 3577471"/>
              <a:gd name="connsiteY4" fmla="*/ 988218 h 1507522"/>
              <a:gd name="connsiteX5" fmla="*/ 1002087 w 3577471"/>
              <a:gd name="connsiteY5" fmla="*/ 966787 h 1507522"/>
              <a:gd name="connsiteX6" fmla="*/ 1016374 w 3577471"/>
              <a:gd name="connsiteY6" fmla="*/ 952500 h 1507522"/>
              <a:gd name="connsiteX7" fmla="*/ 1025899 w 3577471"/>
              <a:gd name="connsiteY7" fmla="*/ 919162 h 1507522"/>
              <a:gd name="connsiteX8" fmla="*/ 1106862 w 3577471"/>
              <a:gd name="connsiteY8" fmla="*/ 878681 h 1507522"/>
              <a:gd name="connsiteX9" fmla="*/ 1125912 w 3577471"/>
              <a:gd name="connsiteY9" fmla="*/ 873918 h 1507522"/>
              <a:gd name="connsiteX10" fmla="*/ 1185443 w 3577471"/>
              <a:gd name="connsiteY10" fmla="*/ 809625 h 1507522"/>
              <a:gd name="connsiteX11" fmla="*/ 1190205 w 3577471"/>
              <a:gd name="connsiteY11" fmla="*/ 759618 h 1507522"/>
              <a:gd name="connsiteX12" fmla="*/ 1216399 w 3577471"/>
              <a:gd name="connsiteY12" fmla="*/ 733425 h 1507522"/>
              <a:gd name="connsiteX13" fmla="*/ 1242593 w 3577471"/>
              <a:gd name="connsiteY13" fmla="*/ 728662 h 1507522"/>
              <a:gd name="connsiteX14" fmla="*/ 1304505 w 3577471"/>
              <a:gd name="connsiteY14" fmla="*/ 683418 h 1507522"/>
              <a:gd name="connsiteX15" fmla="*/ 1390230 w 3577471"/>
              <a:gd name="connsiteY15" fmla="*/ 640556 h 1507522"/>
              <a:gd name="connsiteX16" fmla="*/ 1425949 w 3577471"/>
              <a:gd name="connsiteY16" fmla="*/ 600075 h 1507522"/>
              <a:gd name="connsiteX17" fmla="*/ 1454524 w 3577471"/>
              <a:gd name="connsiteY17" fmla="*/ 585787 h 1507522"/>
              <a:gd name="connsiteX18" fmla="*/ 1461668 w 3577471"/>
              <a:gd name="connsiteY18" fmla="*/ 519112 h 1507522"/>
              <a:gd name="connsiteX19" fmla="*/ 1478337 w 3577471"/>
              <a:gd name="connsiteY19" fmla="*/ 473868 h 1507522"/>
              <a:gd name="connsiteX20" fmla="*/ 1464049 w 3577471"/>
              <a:gd name="connsiteY20" fmla="*/ 433387 h 1507522"/>
              <a:gd name="connsiteX21" fmla="*/ 1468812 w 3577471"/>
              <a:gd name="connsiteY21" fmla="*/ 347662 h 1507522"/>
              <a:gd name="connsiteX22" fmla="*/ 1464049 w 3577471"/>
              <a:gd name="connsiteY22" fmla="*/ 307181 h 1507522"/>
              <a:gd name="connsiteX23" fmla="*/ 1464049 w 3577471"/>
              <a:gd name="connsiteY23" fmla="*/ 264318 h 1507522"/>
              <a:gd name="connsiteX24" fmla="*/ 1490243 w 3577471"/>
              <a:gd name="connsiteY24" fmla="*/ 254793 h 1507522"/>
              <a:gd name="connsiteX25" fmla="*/ 1511674 w 3577471"/>
              <a:gd name="connsiteY25" fmla="*/ 271462 h 1507522"/>
              <a:gd name="connsiteX26" fmla="*/ 1525962 w 3577471"/>
              <a:gd name="connsiteY26" fmla="*/ 297656 h 1507522"/>
              <a:gd name="connsiteX27" fmla="*/ 1554537 w 3577471"/>
              <a:gd name="connsiteY27" fmla="*/ 300037 h 1507522"/>
              <a:gd name="connsiteX28" fmla="*/ 1575968 w 3577471"/>
              <a:gd name="connsiteY28" fmla="*/ 278606 h 1507522"/>
              <a:gd name="connsiteX29" fmla="*/ 1661693 w 3577471"/>
              <a:gd name="connsiteY29" fmla="*/ 280987 h 1507522"/>
              <a:gd name="connsiteX30" fmla="*/ 1714080 w 3577471"/>
              <a:gd name="connsiteY30" fmla="*/ 290512 h 1507522"/>
              <a:gd name="connsiteX31" fmla="*/ 1761705 w 3577471"/>
              <a:gd name="connsiteY31" fmla="*/ 266700 h 1507522"/>
              <a:gd name="connsiteX32" fmla="*/ 1773612 w 3577471"/>
              <a:gd name="connsiteY32" fmla="*/ 233362 h 1507522"/>
              <a:gd name="connsiteX33" fmla="*/ 1814093 w 3577471"/>
              <a:gd name="connsiteY33" fmla="*/ 200025 h 1507522"/>
              <a:gd name="connsiteX34" fmla="*/ 1804568 w 3577471"/>
              <a:gd name="connsiteY34" fmla="*/ 173831 h 1507522"/>
              <a:gd name="connsiteX35" fmla="*/ 1821237 w 3577471"/>
              <a:gd name="connsiteY35" fmla="*/ 147637 h 1507522"/>
              <a:gd name="connsiteX36" fmla="*/ 1876005 w 3577471"/>
              <a:gd name="connsiteY36" fmla="*/ 169068 h 1507522"/>
              <a:gd name="connsiteX37" fmla="*/ 1923630 w 3577471"/>
              <a:gd name="connsiteY37" fmla="*/ 173831 h 1507522"/>
              <a:gd name="connsiteX38" fmla="*/ 1959349 w 3577471"/>
              <a:gd name="connsiteY38" fmla="*/ 209550 h 1507522"/>
              <a:gd name="connsiteX39" fmla="*/ 1987924 w 3577471"/>
              <a:gd name="connsiteY39" fmla="*/ 223837 h 1507522"/>
              <a:gd name="connsiteX40" fmla="*/ 2006974 w 3577471"/>
              <a:gd name="connsiteY40" fmla="*/ 280987 h 1507522"/>
              <a:gd name="connsiteX41" fmla="*/ 2076030 w 3577471"/>
              <a:gd name="connsiteY41" fmla="*/ 316706 h 1507522"/>
              <a:gd name="connsiteX42" fmla="*/ 2145087 w 3577471"/>
              <a:gd name="connsiteY42" fmla="*/ 307181 h 1507522"/>
              <a:gd name="connsiteX43" fmla="*/ 2192712 w 3577471"/>
              <a:gd name="connsiteY43" fmla="*/ 295275 h 1507522"/>
              <a:gd name="connsiteX44" fmla="*/ 2230812 w 3577471"/>
              <a:gd name="connsiteY44" fmla="*/ 307181 h 1507522"/>
              <a:gd name="connsiteX45" fmla="*/ 2280818 w 3577471"/>
              <a:gd name="connsiteY45" fmla="*/ 304800 h 1507522"/>
              <a:gd name="connsiteX46" fmla="*/ 2326062 w 3577471"/>
              <a:gd name="connsiteY46" fmla="*/ 316706 h 1507522"/>
              <a:gd name="connsiteX47" fmla="*/ 2371305 w 3577471"/>
              <a:gd name="connsiteY47" fmla="*/ 302418 h 1507522"/>
              <a:gd name="connsiteX48" fmla="*/ 2392737 w 3577471"/>
              <a:gd name="connsiteY48" fmla="*/ 276225 h 1507522"/>
              <a:gd name="connsiteX49" fmla="*/ 2471318 w 3577471"/>
              <a:gd name="connsiteY49" fmla="*/ 297656 h 1507522"/>
              <a:gd name="connsiteX50" fmla="*/ 2511799 w 3577471"/>
              <a:gd name="connsiteY50" fmla="*/ 283368 h 1507522"/>
              <a:gd name="connsiteX51" fmla="*/ 2518943 w 3577471"/>
              <a:gd name="connsiteY51" fmla="*/ 242887 h 1507522"/>
              <a:gd name="connsiteX52" fmla="*/ 2490368 w 3577471"/>
              <a:gd name="connsiteY52" fmla="*/ 195262 h 1507522"/>
              <a:gd name="connsiteX53" fmla="*/ 2473699 w 3577471"/>
              <a:gd name="connsiteY53" fmla="*/ 135731 h 1507522"/>
              <a:gd name="connsiteX54" fmla="*/ 2440362 w 3577471"/>
              <a:gd name="connsiteY54" fmla="*/ 102393 h 1507522"/>
              <a:gd name="connsiteX55" fmla="*/ 2416549 w 3577471"/>
              <a:gd name="connsiteY55" fmla="*/ 59531 h 1507522"/>
              <a:gd name="connsiteX56" fmla="*/ 2426074 w 3577471"/>
              <a:gd name="connsiteY56" fmla="*/ 38100 h 1507522"/>
              <a:gd name="connsiteX57" fmla="*/ 2461793 w 3577471"/>
              <a:gd name="connsiteY57" fmla="*/ 0 h 1507522"/>
              <a:gd name="connsiteX58" fmla="*/ 2480843 w 3577471"/>
              <a:gd name="connsiteY58" fmla="*/ 16668 h 1507522"/>
              <a:gd name="connsiteX59" fmla="*/ 2561805 w 3577471"/>
              <a:gd name="connsiteY59" fmla="*/ 30956 h 1507522"/>
              <a:gd name="connsiteX60" fmla="*/ 2645149 w 3577471"/>
              <a:gd name="connsiteY60" fmla="*/ 47625 h 1507522"/>
              <a:gd name="connsiteX61" fmla="*/ 2695155 w 3577471"/>
              <a:gd name="connsiteY61" fmla="*/ 66675 h 1507522"/>
              <a:gd name="connsiteX62" fmla="*/ 2745162 w 3577471"/>
              <a:gd name="connsiteY62" fmla="*/ 61912 h 1507522"/>
              <a:gd name="connsiteX63" fmla="*/ 2792787 w 3577471"/>
              <a:gd name="connsiteY63" fmla="*/ 92868 h 1507522"/>
              <a:gd name="connsiteX64" fmla="*/ 2835649 w 3577471"/>
              <a:gd name="connsiteY64" fmla="*/ 119062 h 1507522"/>
              <a:gd name="connsiteX65" fmla="*/ 2857080 w 3577471"/>
              <a:gd name="connsiteY65" fmla="*/ 150018 h 1507522"/>
              <a:gd name="connsiteX66" fmla="*/ 2907087 w 3577471"/>
              <a:gd name="connsiteY66" fmla="*/ 157162 h 1507522"/>
              <a:gd name="connsiteX67" fmla="*/ 2933280 w 3577471"/>
              <a:gd name="connsiteY67" fmla="*/ 202406 h 1507522"/>
              <a:gd name="connsiteX68" fmla="*/ 2959474 w 3577471"/>
              <a:gd name="connsiteY68" fmla="*/ 233362 h 1507522"/>
              <a:gd name="connsiteX69" fmla="*/ 2976143 w 3577471"/>
              <a:gd name="connsiteY69" fmla="*/ 278606 h 1507522"/>
              <a:gd name="connsiteX70" fmla="*/ 3035674 w 3577471"/>
              <a:gd name="connsiteY70" fmla="*/ 295275 h 1507522"/>
              <a:gd name="connsiteX71" fmla="*/ 3064249 w 3577471"/>
              <a:gd name="connsiteY71" fmla="*/ 326231 h 1507522"/>
              <a:gd name="connsiteX72" fmla="*/ 3085680 w 3577471"/>
              <a:gd name="connsiteY72" fmla="*/ 335756 h 1507522"/>
              <a:gd name="connsiteX73" fmla="*/ 3097587 w 3577471"/>
              <a:gd name="connsiteY73" fmla="*/ 376237 h 1507522"/>
              <a:gd name="connsiteX74" fmla="*/ 3128543 w 3577471"/>
              <a:gd name="connsiteY74" fmla="*/ 383381 h 1507522"/>
              <a:gd name="connsiteX75" fmla="*/ 3166643 w 3577471"/>
              <a:gd name="connsiteY75" fmla="*/ 447675 h 1507522"/>
              <a:gd name="connsiteX76" fmla="*/ 3161880 w 3577471"/>
              <a:gd name="connsiteY76" fmla="*/ 502443 h 1507522"/>
              <a:gd name="connsiteX77" fmla="*/ 3149974 w 3577471"/>
              <a:gd name="connsiteY77" fmla="*/ 531018 h 1507522"/>
              <a:gd name="connsiteX78" fmla="*/ 3190455 w 3577471"/>
              <a:gd name="connsiteY78" fmla="*/ 564356 h 1507522"/>
              <a:gd name="connsiteX79" fmla="*/ 3188074 w 3577471"/>
              <a:gd name="connsiteY79" fmla="*/ 647700 h 1507522"/>
              <a:gd name="connsiteX80" fmla="*/ 3169024 w 3577471"/>
              <a:gd name="connsiteY80" fmla="*/ 664368 h 1507522"/>
              <a:gd name="connsiteX81" fmla="*/ 3152355 w 3577471"/>
              <a:gd name="connsiteY81" fmla="*/ 738187 h 1507522"/>
              <a:gd name="connsiteX82" fmla="*/ 3173787 w 3577471"/>
              <a:gd name="connsiteY82" fmla="*/ 773906 h 1507522"/>
              <a:gd name="connsiteX83" fmla="*/ 3228555 w 3577471"/>
              <a:gd name="connsiteY83" fmla="*/ 797718 h 1507522"/>
              <a:gd name="connsiteX84" fmla="*/ 3266655 w 3577471"/>
              <a:gd name="connsiteY84" fmla="*/ 778668 h 1507522"/>
              <a:gd name="connsiteX85" fmla="*/ 3309518 w 3577471"/>
              <a:gd name="connsiteY85" fmla="*/ 797718 h 1507522"/>
              <a:gd name="connsiteX86" fmla="*/ 3345237 w 3577471"/>
              <a:gd name="connsiteY86" fmla="*/ 783431 h 1507522"/>
              <a:gd name="connsiteX87" fmla="*/ 3383337 w 3577471"/>
              <a:gd name="connsiteY87" fmla="*/ 826293 h 1507522"/>
              <a:gd name="connsiteX88" fmla="*/ 3461918 w 3577471"/>
              <a:gd name="connsiteY88" fmla="*/ 902493 h 1507522"/>
              <a:gd name="connsiteX89" fmla="*/ 3530974 w 3577471"/>
              <a:gd name="connsiteY89" fmla="*/ 916781 h 1507522"/>
              <a:gd name="connsiteX90" fmla="*/ 3577471 w 3577471"/>
              <a:gd name="connsiteY90" fmla="*/ 944470 h 1507522"/>
              <a:gd name="connsiteX0" fmla="*/ 0 w 3577471"/>
              <a:gd name="connsiteY0" fmla="*/ 1507522 h 1507522"/>
              <a:gd name="connsiteX1" fmla="*/ 26895 w 3577471"/>
              <a:gd name="connsiteY1" fmla="*/ 1443954 h 1507522"/>
              <a:gd name="connsiteX2" fmla="*/ 899693 w 3577471"/>
              <a:gd name="connsiteY2" fmla="*/ 1012031 h 1507522"/>
              <a:gd name="connsiteX3" fmla="*/ 921124 w 3577471"/>
              <a:gd name="connsiteY3" fmla="*/ 988218 h 1507522"/>
              <a:gd name="connsiteX4" fmla="*/ 1002087 w 3577471"/>
              <a:gd name="connsiteY4" fmla="*/ 966787 h 1507522"/>
              <a:gd name="connsiteX5" fmla="*/ 1016374 w 3577471"/>
              <a:gd name="connsiteY5" fmla="*/ 952500 h 1507522"/>
              <a:gd name="connsiteX6" fmla="*/ 1025899 w 3577471"/>
              <a:gd name="connsiteY6" fmla="*/ 919162 h 1507522"/>
              <a:gd name="connsiteX7" fmla="*/ 1106862 w 3577471"/>
              <a:gd name="connsiteY7" fmla="*/ 878681 h 1507522"/>
              <a:gd name="connsiteX8" fmla="*/ 1125912 w 3577471"/>
              <a:gd name="connsiteY8" fmla="*/ 873918 h 1507522"/>
              <a:gd name="connsiteX9" fmla="*/ 1185443 w 3577471"/>
              <a:gd name="connsiteY9" fmla="*/ 809625 h 1507522"/>
              <a:gd name="connsiteX10" fmla="*/ 1190205 w 3577471"/>
              <a:gd name="connsiteY10" fmla="*/ 759618 h 1507522"/>
              <a:gd name="connsiteX11" fmla="*/ 1216399 w 3577471"/>
              <a:gd name="connsiteY11" fmla="*/ 733425 h 1507522"/>
              <a:gd name="connsiteX12" fmla="*/ 1242593 w 3577471"/>
              <a:gd name="connsiteY12" fmla="*/ 728662 h 1507522"/>
              <a:gd name="connsiteX13" fmla="*/ 1304505 w 3577471"/>
              <a:gd name="connsiteY13" fmla="*/ 683418 h 1507522"/>
              <a:gd name="connsiteX14" fmla="*/ 1390230 w 3577471"/>
              <a:gd name="connsiteY14" fmla="*/ 640556 h 1507522"/>
              <a:gd name="connsiteX15" fmla="*/ 1425949 w 3577471"/>
              <a:gd name="connsiteY15" fmla="*/ 600075 h 1507522"/>
              <a:gd name="connsiteX16" fmla="*/ 1454524 w 3577471"/>
              <a:gd name="connsiteY16" fmla="*/ 585787 h 1507522"/>
              <a:gd name="connsiteX17" fmla="*/ 1461668 w 3577471"/>
              <a:gd name="connsiteY17" fmla="*/ 519112 h 1507522"/>
              <a:gd name="connsiteX18" fmla="*/ 1478337 w 3577471"/>
              <a:gd name="connsiteY18" fmla="*/ 473868 h 1507522"/>
              <a:gd name="connsiteX19" fmla="*/ 1464049 w 3577471"/>
              <a:gd name="connsiteY19" fmla="*/ 433387 h 1507522"/>
              <a:gd name="connsiteX20" fmla="*/ 1468812 w 3577471"/>
              <a:gd name="connsiteY20" fmla="*/ 347662 h 1507522"/>
              <a:gd name="connsiteX21" fmla="*/ 1464049 w 3577471"/>
              <a:gd name="connsiteY21" fmla="*/ 307181 h 1507522"/>
              <a:gd name="connsiteX22" fmla="*/ 1464049 w 3577471"/>
              <a:gd name="connsiteY22" fmla="*/ 264318 h 1507522"/>
              <a:gd name="connsiteX23" fmla="*/ 1490243 w 3577471"/>
              <a:gd name="connsiteY23" fmla="*/ 254793 h 1507522"/>
              <a:gd name="connsiteX24" fmla="*/ 1511674 w 3577471"/>
              <a:gd name="connsiteY24" fmla="*/ 271462 h 1507522"/>
              <a:gd name="connsiteX25" fmla="*/ 1525962 w 3577471"/>
              <a:gd name="connsiteY25" fmla="*/ 297656 h 1507522"/>
              <a:gd name="connsiteX26" fmla="*/ 1554537 w 3577471"/>
              <a:gd name="connsiteY26" fmla="*/ 300037 h 1507522"/>
              <a:gd name="connsiteX27" fmla="*/ 1575968 w 3577471"/>
              <a:gd name="connsiteY27" fmla="*/ 278606 h 1507522"/>
              <a:gd name="connsiteX28" fmla="*/ 1661693 w 3577471"/>
              <a:gd name="connsiteY28" fmla="*/ 280987 h 1507522"/>
              <a:gd name="connsiteX29" fmla="*/ 1714080 w 3577471"/>
              <a:gd name="connsiteY29" fmla="*/ 290512 h 1507522"/>
              <a:gd name="connsiteX30" fmla="*/ 1761705 w 3577471"/>
              <a:gd name="connsiteY30" fmla="*/ 266700 h 1507522"/>
              <a:gd name="connsiteX31" fmla="*/ 1773612 w 3577471"/>
              <a:gd name="connsiteY31" fmla="*/ 233362 h 1507522"/>
              <a:gd name="connsiteX32" fmla="*/ 1814093 w 3577471"/>
              <a:gd name="connsiteY32" fmla="*/ 200025 h 1507522"/>
              <a:gd name="connsiteX33" fmla="*/ 1804568 w 3577471"/>
              <a:gd name="connsiteY33" fmla="*/ 173831 h 1507522"/>
              <a:gd name="connsiteX34" fmla="*/ 1821237 w 3577471"/>
              <a:gd name="connsiteY34" fmla="*/ 147637 h 1507522"/>
              <a:gd name="connsiteX35" fmla="*/ 1876005 w 3577471"/>
              <a:gd name="connsiteY35" fmla="*/ 169068 h 1507522"/>
              <a:gd name="connsiteX36" fmla="*/ 1923630 w 3577471"/>
              <a:gd name="connsiteY36" fmla="*/ 173831 h 1507522"/>
              <a:gd name="connsiteX37" fmla="*/ 1959349 w 3577471"/>
              <a:gd name="connsiteY37" fmla="*/ 209550 h 1507522"/>
              <a:gd name="connsiteX38" fmla="*/ 1987924 w 3577471"/>
              <a:gd name="connsiteY38" fmla="*/ 223837 h 1507522"/>
              <a:gd name="connsiteX39" fmla="*/ 2006974 w 3577471"/>
              <a:gd name="connsiteY39" fmla="*/ 280987 h 1507522"/>
              <a:gd name="connsiteX40" fmla="*/ 2076030 w 3577471"/>
              <a:gd name="connsiteY40" fmla="*/ 316706 h 1507522"/>
              <a:gd name="connsiteX41" fmla="*/ 2145087 w 3577471"/>
              <a:gd name="connsiteY41" fmla="*/ 307181 h 1507522"/>
              <a:gd name="connsiteX42" fmla="*/ 2192712 w 3577471"/>
              <a:gd name="connsiteY42" fmla="*/ 295275 h 1507522"/>
              <a:gd name="connsiteX43" fmla="*/ 2230812 w 3577471"/>
              <a:gd name="connsiteY43" fmla="*/ 307181 h 1507522"/>
              <a:gd name="connsiteX44" fmla="*/ 2280818 w 3577471"/>
              <a:gd name="connsiteY44" fmla="*/ 304800 h 1507522"/>
              <a:gd name="connsiteX45" fmla="*/ 2326062 w 3577471"/>
              <a:gd name="connsiteY45" fmla="*/ 316706 h 1507522"/>
              <a:gd name="connsiteX46" fmla="*/ 2371305 w 3577471"/>
              <a:gd name="connsiteY46" fmla="*/ 302418 h 1507522"/>
              <a:gd name="connsiteX47" fmla="*/ 2392737 w 3577471"/>
              <a:gd name="connsiteY47" fmla="*/ 276225 h 1507522"/>
              <a:gd name="connsiteX48" fmla="*/ 2471318 w 3577471"/>
              <a:gd name="connsiteY48" fmla="*/ 297656 h 1507522"/>
              <a:gd name="connsiteX49" fmla="*/ 2511799 w 3577471"/>
              <a:gd name="connsiteY49" fmla="*/ 283368 h 1507522"/>
              <a:gd name="connsiteX50" fmla="*/ 2518943 w 3577471"/>
              <a:gd name="connsiteY50" fmla="*/ 242887 h 1507522"/>
              <a:gd name="connsiteX51" fmla="*/ 2490368 w 3577471"/>
              <a:gd name="connsiteY51" fmla="*/ 195262 h 1507522"/>
              <a:gd name="connsiteX52" fmla="*/ 2473699 w 3577471"/>
              <a:gd name="connsiteY52" fmla="*/ 135731 h 1507522"/>
              <a:gd name="connsiteX53" fmla="*/ 2440362 w 3577471"/>
              <a:gd name="connsiteY53" fmla="*/ 102393 h 1507522"/>
              <a:gd name="connsiteX54" fmla="*/ 2416549 w 3577471"/>
              <a:gd name="connsiteY54" fmla="*/ 59531 h 1507522"/>
              <a:gd name="connsiteX55" fmla="*/ 2426074 w 3577471"/>
              <a:gd name="connsiteY55" fmla="*/ 38100 h 1507522"/>
              <a:gd name="connsiteX56" fmla="*/ 2461793 w 3577471"/>
              <a:gd name="connsiteY56" fmla="*/ 0 h 1507522"/>
              <a:gd name="connsiteX57" fmla="*/ 2480843 w 3577471"/>
              <a:gd name="connsiteY57" fmla="*/ 16668 h 1507522"/>
              <a:gd name="connsiteX58" fmla="*/ 2561805 w 3577471"/>
              <a:gd name="connsiteY58" fmla="*/ 30956 h 1507522"/>
              <a:gd name="connsiteX59" fmla="*/ 2645149 w 3577471"/>
              <a:gd name="connsiteY59" fmla="*/ 47625 h 1507522"/>
              <a:gd name="connsiteX60" fmla="*/ 2695155 w 3577471"/>
              <a:gd name="connsiteY60" fmla="*/ 66675 h 1507522"/>
              <a:gd name="connsiteX61" fmla="*/ 2745162 w 3577471"/>
              <a:gd name="connsiteY61" fmla="*/ 61912 h 1507522"/>
              <a:gd name="connsiteX62" fmla="*/ 2792787 w 3577471"/>
              <a:gd name="connsiteY62" fmla="*/ 92868 h 1507522"/>
              <a:gd name="connsiteX63" fmla="*/ 2835649 w 3577471"/>
              <a:gd name="connsiteY63" fmla="*/ 119062 h 1507522"/>
              <a:gd name="connsiteX64" fmla="*/ 2857080 w 3577471"/>
              <a:gd name="connsiteY64" fmla="*/ 150018 h 1507522"/>
              <a:gd name="connsiteX65" fmla="*/ 2907087 w 3577471"/>
              <a:gd name="connsiteY65" fmla="*/ 157162 h 1507522"/>
              <a:gd name="connsiteX66" fmla="*/ 2933280 w 3577471"/>
              <a:gd name="connsiteY66" fmla="*/ 202406 h 1507522"/>
              <a:gd name="connsiteX67" fmla="*/ 2959474 w 3577471"/>
              <a:gd name="connsiteY67" fmla="*/ 233362 h 1507522"/>
              <a:gd name="connsiteX68" fmla="*/ 2976143 w 3577471"/>
              <a:gd name="connsiteY68" fmla="*/ 278606 h 1507522"/>
              <a:gd name="connsiteX69" fmla="*/ 3035674 w 3577471"/>
              <a:gd name="connsiteY69" fmla="*/ 295275 h 1507522"/>
              <a:gd name="connsiteX70" fmla="*/ 3064249 w 3577471"/>
              <a:gd name="connsiteY70" fmla="*/ 326231 h 1507522"/>
              <a:gd name="connsiteX71" fmla="*/ 3085680 w 3577471"/>
              <a:gd name="connsiteY71" fmla="*/ 335756 h 1507522"/>
              <a:gd name="connsiteX72" fmla="*/ 3097587 w 3577471"/>
              <a:gd name="connsiteY72" fmla="*/ 376237 h 1507522"/>
              <a:gd name="connsiteX73" fmla="*/ 3128543 w 3577471"/>
              <a:gd name="connsiteY73" fmla="*/ 383381 h 1507522"/>
              <a:gd name="connsiteX74" fmla="*/ 3166643 w 3577471"/>
              <a:gd name="connsiteY74" fmla="*/ 447675 h 1507522"/>
              <a:gd name="connsiteX75" fmla="*/ 3161880 w 3577471"/>
              <a:gd name="connsiteY75" fmla="*/ 502443 h 1507522"/>
              <a:gd name="connsiteX76" fmla="*/ 3149974 w 3577471"/>
              <a:gd name="connsiteY76" fmla="*/ 531018 h 1507522"/>
              <a:gd name="connsiteX77" fmla="*/ 3190455 w 3577471"/>
              <a:gd name="connsiteY77" fmla="*/ 564356 h 1507522"/>
              <a:gd name="connsiteX78" fmla="*/ 3188074 w 3577471"/>
              <a:gd name="connsiteY78" fmla="*/ 647700 h 1507522"/>
              <a:gd name="connsiteX79" fmla="*/ 3169024 w 3577471"/>
              <a:gd name="connsiteY79" fmla="*/ 664368 h 1507522"/>
              <a:gd name="connsiteX80" fmla="*/ 3152355 w 3577471"/>
              <a:gd name="connsiteY80" fmla="*/ 738187 h 1507522"/>
              <a:gd name="connsiteX81" fmla="*/ 3173787 w 3577471"/>
              <a:gd name="connsiteY81" fmla="*/ 773906 h 1507522"/>
              <a:gd name="connsiteX82" fmla="*/ 3228555 w 3577471"/>
              <a:gd name="connsiteY82" fmla="*/ 797718 h 1507522"/>
              <a:gd name="connsiteX83" fmla="*/ 3266655 w 3577471"/>
              <a:gd name="connsiteY83" fmla="*/ 778668 h 1507522"/>
              <a:gd name="connsiteX84" fmla="*/ 3309518 w 3577471"/>
              <a:gd name="connsiteY84" fmla="*/ 797718 h 1507522"/>
              <a:gd name="connsiteX85" fmla="*/ 3345237 w 3577471"/>
              <a:gd name="connsiteY85" fmla="*/ 783431 h 1507522"/>
              <a:gd name="connsiteX86" fmla="*/ 3383337 w 3577471"/>
              <a:gd name="connsiteY86" fmla="*/ 826293 h 1507522"/>
              <a:gd name="connsiteX87" fmla="*/ 3461918 w 3577471"/>
              <a:gd name="connsiteY87" fmla="*/ 902493 h 1507522"/>
              <a:gd name="connsiteX88" fmla="*/ 3530974 w 3577471"/>
              <a:gd name="connsiteY88" fmla="*/ 916781 h 1507522"/>
              <a:gd name="connsiteX89" fmla="*/ 3577471 w 3577471"/>
              <a:gd name="connsiteY89" fmla="*/ 944470 h 1507522"/>
              <a:gd name="connsiteX0" fmla="*/ 0 w 3577471"/>
              <a:gd name="connsiteY0" fmla="*/ 1507522 h 1507522"/>
              <a:gd name="connsiteX1" fmla="*/ 899693 w 3577471"/>
              <a:gd name="connsiteY1" fmla="*/ 1012031 h 1507522"/>
              <a:gd name="connsiteX2" fmla="*/ 921124 w 3577471"/>
              <a:gd name="connsiteY2" fmla="*/ 988218 h 1507522"/>
              <a:gd name="connsiteX3" fmla="*/ 1002087 w 3577471"/>
              <a:gd name="connsiteY3" fmla="*/ 966787 h 1507522"/>
              <a:gd name="connsiteX4" fmla="*/ 1016374 w 3577471"/>
              <a:gd name="connsiteY4" fmla="*/ 952500 h 1507522"/>
              <a:gd name="connsiteX5" fmla="*/ 1025899 w 3577471"/>
              <a:gd name="connsiteY5" fmla="*/ 919162 h 1507522"/>
              <a:gd name="connsiteX6" fmla="*/ 1106862 w 3577471"/>
              <a:gd name="connsiteY6" fmla="*/ 878681 h 1507522"/>
              <a:gd name="connsiteX7" fmla="*/ 1125912 w 3577471"/>
              <a:gd name="connsiteY7" fmla="*/ 873918 h 1507522"/>
              <a:gd name="connsiteX8" fmla="*/ 1185443 w 3577471"/>
              <a:gd name="connsiteY8" fmla="*/ 809625 h 1507522"/>
              <a:gd name="connsiteX9" fmla="*/ 1190205 w 3577471"/>
              <a:gd name="connsiteY9" fmla="*/ 759618 h 1507522"/>
              <a:gd name="connsiteX10" fmla="*/ 1216399 w 3577471"/>
              <a:gd name="connsiteY10" fmla="*/ 733425 h 1507522"/>
              <a:gd name="connsiteX11" fmla="*/ 1242593 w 3577471"/>
              <a:gd name="connsiteY11" fmla="*/ 728662 h 1507522"/>
              <a:gd name="connsiteX12" fmla="*/ 1304505 w 3577471"/>
              <a:gd name="connsiteY12" fmla="*/ 683418 h 1507522"/>
              <a:gd name="connsiteX13" fmla="*/ 1390230 w 3577471"/>
              <a:gd name="connsiteY13" fmla="*/ 640556 h 1507522"/>
              <a:gd name="connsiteX14" fmla="*/ 1425949 w 3577471"/>
              <a:gd name="connsiteY14" fmla="*/ 600075 h 1507522"/>
              <a:gd name="connsiteX15" fmla="*/ 1454524 w 3577471"/>
              <a:gd name="connsiteY15" fmla="*/ 585787 h 1507522"/>
              <a:gd name="connsiteX16" fmla="*/ 1461668 w 3577471"/>
              <a:gd name="connsiteY16" fmla="*/ 519112 h 1507522"/>
              <a:gd name="connsiteX17" fmla="*/ 1478337 w 3577471"/>
              <a:gd name="connsiteY17" fmla="*/ 473868 h 1507522"/>
              <a:gd name="connsiteX18" fmla="*/ 1464049 w 3577471"/>
              <a:gd name="connsiteY18" fmla="*/ 433387 h 1507522"/>
              <a:gd name="connsiteX19" fmla="*/ 1468812 w 3577471"/>
              <a:gd name="connsiteY19" fmla="*/ 347662 h 1507522"/>
              <a:gd name="connsiteX20" fmla="*/ 1464049 w 3577471"/>
              <a:gd name="connsiteY20" fmla="*/ 307181 h 1507522"/>
              <a:gd name="connsiteX21" fmla="*/ 1464049 w 3577471"/>
              <a:gd name="connsiteY21" fmla="*/ 264318 h 1507522"/>
              <a:gd name="connsiteX22" fmla="*/ 1490243 w 3577471"/>
              <a:gd name="connsiteY22" fmla="*/ 254793 h 1507522"/>
              <a:gd name="connsiteX23" fmla="*/ 1511674 w 3577471"/>
              <a:gd name="connsiteY23" fmla="*/ 271462 h 1507522"/>
              <a:gd name="connsiteX24" fmla="*/ 1525962 w 3577471"/>
              <a:gd name="connsiteY24" fmla="*/ 297656 h 1507522"/>
              <a:gd name="connsiteX25" fmla="*/ 1554537 w 3577471"/>
              <a:gd name="connsiteY25" fmla="*/ 300037 h 1507522"/>
              <a:gd name="connsiteX26" fmla="*/ 1575968 w 3577471"/>
              <a:gd name="connsiteY26" fmla="*/ 278606 h 1507522"/>
              <a:gd name="connsiteX27" fmla="*/ 1661693 w 3577471"/>
              <a:gd name="connsiteY27" fmla="*/ 280987 h 1507522"/>
              <a:gd name="connsiteX28" fmla="*/ 1714080 w 3577471"/>
              <a:gd name="connsiteY28" fmla="*/ 290512 h 1507522"/>
              <a:gd name="connsiteX29" fmla="*/ 1761705 w 3577471"/>
              <a:gd name="connsiteY29" fmla="*/ 266700 h 1507522"/>
              <a:gd name="connsiteX30" fmla="*/ 1773612 w 3577471"/>
              <a:gd name="connsiteY30" fmla="*/ 233362 h 1507522"/>
              <a:gd name="connsiteX31" fmla="*/ 1814093 w 3577471"/>
              <a:gd name="connsiteY31" fmla="*/ 200025 h 1507522"/>
              <a:gd name="connsiteX32" fmla="*/ 1804568 w 3577471"/>
              <a:gd name="connsiteY32" fmla="*/ 173831 h 1507522"/>
              <a:gd name="connsiteX33" fmla="*/ 1821237 w 3577471"/>
              <a:gd name="connsiteY33" fmla="*/ 147637 h 1507522"/>
              <a:gd name="connsiteX34" fmla="*/ 1876005 w 3577471"/>
              <a:gd name="connsiteY34" fmla="*/ 169068 h 1507522"/>
              <a:gd name="connsiteX35" fmla="*/ 1923630 w 3577471"/>
              <a:gd name="connsiteY35" fmla="*/ 173831 h 1507522"/>
              <a:gd name="connsiteX36" fmla="*/ 1959349 w 3577471"/>
              <a:gd name="connsiteY36" fmla="*/ 209550 h 1507522"/>
              <a:gd name="connsiteX37" fmla="*/ 1987924 w 3577471"/>
              <a:gd name="connsiteY37" fmla="*/ 223837 h 1507522"/>
              <a:gd name="connsiteX38" fmla="*/ 2006974 w 3577471"/>
              <a:gd name="connsiteY38" fmla="*/ 280987 h 1507522"/>
              <a:gd name="connsiteX39" fmla="*/ 2076030 w 3577471"/>
              <a:gd name="connsiteY39" fmla="*/ 316706 h 1507522"/>
              <a:gd name="connsiteX40" fmla="*/ 2145087 w 3577471"/>
              <a:gd name="connsiteY40" fmla="*/ 307181 h 1507522"/>
              <a:gd name="connsiteX41" fmla="*/ 2192712 w 3577471"/>
              <a:gd name="connsiteY41" fmla="*/ 295275 h 1507522"/>
              <a:gd name="connsiteX42" fmla="*/ 2230812 w 3577471"/>
              <a:gd name="connsiteY42" fmla="*/ 307181 h 1507522"/>
              <a:gd name="connsiteX43" fmla="*/ 2280818 w 3577471"/>
              <a:gd name="connsiteY43" fmla="*/ 304800 h 1507522"/>
              <a:gd name="connsiteX44" fmla="*/ 2326062 w 3577471"/>
              <a:gd name="connsiteY44" fmla="*/ 316706 h 1507522"/>
              <a:gd name="connsiteX45" fmla="*/ 2371305 w 3577471"/>
              <a:gd name="connsiteY45" fmla="*/ 302418 h 1507522"/>
              <a:gd name="connsiteX46" fmla="*/ 2392737 w 3577471"/>
              <a:gd name="connsiteY46" fmla="*/ 276225 h 1507522"/>
              <a:gd name="connsiteX47" fmla="*/ 2471318 w 3577471"/>
              <a:gd name="connsiteY47" fmla="*/ 297656 h 1507522"/>
              <a:gd name="connsiteX48" fmla="*/ 2511799 w 3577471"/>
              <a:gd name="connsiteY48" fmla="*/ 283368 h 1507522"/>
              <a:gd name="connsiteX49" fmla="*/ 2518943 w 3577471"/>
              <a:gd name="connsiteY49" fmla="*/ 242887 h 1507522"/>
              <a:gd name="connsiteX50" fmla="*/ 2490368 w 3577471"/>
              <a:gd name="connsiteY50" fmla="*/ 195262 h 1507522"/>
              <a:gd name="connsiteX51" fmla="*/ 2473699 w 3577471"/>
              <a:gd name="connsiteY51" fmla="*/ 135731 h 1507522"/>
              <a:gd name="connsiteX52" fmla="*/ 2440362 w 3577471"/>
              <a:gd name="connsiteY52" fmla="*/ 102393 h 1507522"/>
              <a:gd name="connsiteX53" fmla="*/ 2416549 w 3577471"/>
              <a:gd name="connsiteY53" fmla="*/ 59531 h 1507522"/>
              <a:gd name="connsiteX54" fmla="*/ 2426074 w 3577471"/>
              <a:gd name="connsiteY54" fmla="*/ 38100 h 1507522"/>
              <a:gd name="connsiteX55" fmla="*/ 2461793 w 3577471"/>
              <a:gd name="connsiteY55" fmla="*/ 0 h 1507522"/>
              <a:gd name="connsiteX56" fmla="*/ 2480843 w 3577471"/>
              <a:gd name="connsiteY56" fmla="*/ 16668 h 1507522"/>
              <a:gd name="connsiteX57" fmla="*/ 2561805 w 3577471"/>
              <a:gd name="connsiteY57" fmla="*/ 30956 h 1507522"/>
              <a:gd name="connsiteX58" fmla="*/ 2645149 w 3577471"/>
              <a:gd name="connsiteY58" fmla="*/ 47625 h 1507522"/>
              <a:gd name="connsiteX59" fmla="*/ 2695155 w 3577471"/>
              <a:gd name="connsiteY59" fmla="*/ 66675 h 1507522"/>
              <a:gd name="connsiteX60" fmla="*/ 2745162 w 3577471"/>
              <a:gd name="connsiteY60" fmla="*/ 61912 h 1507522"/>
              <a:gd name="connsiteX61" fmla="*/ 2792787 w 3577471"/>
              <a:gd name="connsiteY61" fmla="*/ 92868 h 1507522"/>
              <a:gd name="connsiteX62" fmla="*/ 2835649 w 3577471"/>
              <a:gd name="connsiteY62" fmla="*/ 119062 h 1507522"/>
              <a:gd name="connsiteX63" fmla="*/ 2857080 w 3577471"/>
              <a:gd name="connsiteY63" fmla="*/ 150018 h 1507522"/>
              <a:gd name="connsiteX64" fmla="*/ 2907087 w 3577471"/>
              <a:gd name="connsiteY64" fmla="*/ 157162 h 1507522"/>
              <a:gd name="connsiteX65" fmla="*/ 2933280 w 3577471"/>
              <a:gd name="connsiteY65" fmla="*/ 202406 h 1507522"/>
              <a:gd name="connsiteX66" fmla="*/ 2959474 w 3577471"/>
              <a:gd name="connsiteY66" fmla="*/ 233362 h 1507522"/>
              <a:gd name="connsiteX67" fmla="*/ 2976143 w 3577471"/>
              <a:gd name="connsiteY67" fmla="*/ 278606 h 1507522"/>
              <a:gd name="connsiteX68" fmla="*/ 3035674 w 3577471"/>
              <a:gd name="connsiteY68" fmla="*/ 295275 h 1507522"/>
              <a:gd name="connsiteX69" fmla="*/ 3064249 w 3577471"/>
              <a:gd name="connsiteY69" fmla="*/ 326231 h 1507522"/>
              <a:gd name="connsiteX70" fmla="*/ 3085680 w 3577471"/>
              <a:gd name="connsiteY70" fmla="*/ 335756 h 1507522"/>
              <a:gd name="connsiteX71" fmla="*/ 3097587 w 3577471"/>
              <a:gd name="connsiteY71" fmla="*/ 376237 h 1507522"/>
              <a:gd name="connsiteX72" fmla="*/ 3128543 w 3577471"/>
              <a:gd name="connsiteY72" fmla="*/ 383381 h 1507522"/>
              <a:gd name="connsiteX73" fmla="*/ 3166643 w 3577471"/>
              <a:gd name="connsiteY73" fmla="*/ 447675 h 1507522"/>
              <a:gd name="connsiteX74" fmla="*/ 3161880 w 3577471"/>
              <a:gd name="connsiteY74" fmla="*/ 502443 h 1507522"/>
              <a:gd name="connsiteX75" fmla="*/ 3149974 w 3577471"/>
              <a:gd name="connsiteY75" fmla="*/ 531018 h 1507522"/>
              <a:gd name="connsiteX76" fmla="*/ 3190455 w 3577471"/>
              <a:gd name="connsiteY76" fmla="*/ 564356 h 1507522"/>
              <a:gd name="connsiteX77" fmla="*/ 3188074 w 3577471"/>
              <a:gd name="connsiteY77" fmla="*/ 647700 h 1507522"/>
              <a:gd name="connsiteX78" fmla="*/ 3169024 w 3577471"/>
              <a:gd name="connsiteY78" fmla="*/ 664368 h 1507522"/>
              <a:gd name="connsiteX79" fmla="*/ 3152355 w 3577471"/>
              <a:gd name="connsiteY79" fmla="*/ 738187 h 1507522"/>
              <a:gd name="connsiteX80" fmla="*/ 3173787 w 3577471"/>
              <a:gd name="connsiteY80" fmla="*/ 773906 h 1507522"/>
              <a:gd name="connsiteX81" fmla="*/ 3228555 w 3577471"/>
              <a:gd name="connsiteY81" fmla="*/ 797718 h 1507522"/>
              <a:gd name="connsiteX82" fmla="*/ 3266655 w 3577471"/>
              <a:gd name="connsiteY82" fmla="*/ 778668 h 1507522"/>
              <a:gd name="connsiteX83" fmla="*/ 3309518 w 3577471"/>
              <a:gd name="connsiteY83" fmla="*/ 797718 h 1507522"/>
              <a:gd name="connsiteX84" fmla="*/ 3345237 w 3577471"/>
              <a:gd name="connsiteY84" fmla="*/ 783431 h 1507522"/>
              <a:gd name="connsiteX85" fmla="*/ 3383337 w 3577471"/>
              <a:gd name="connsiteY85" fmla="*/ 826293 h 1507522"/>
              <a:gd name="connsiteX86" fmla="*/ 3461918 w 3577471"/>
              <a:gd name="connsiteY86" fmla="*/ 902493 h 1507522"/>
              <a:gd name="connsiteX87" fmla="*/ 3530974 w 3577471"/>
              <a:gd name="connsiteY87" fmla="*/ 916781 h 1507522"/>
              <a:gd name="connsiteX88" fmla="*/ 3577471 w 3577471"/>
              <a:gd name="connsiteY88" fmla="*/ 944470 h 1507522"/>
              <a:gd name="connsiteX0" fmla="*/ 0 w 2677778"/>
              <a:gd name="connsiteY0" fmla="*/ 1012031 h 1012031"/>
              <a:gd name="connsiteX1" fmla="*/ 21431 w 2677778"/>
              <a:gd name="connsiteY1" fmla="*/ 988218 h 1012031"/>
              <a:gd name="connsiteX2" fmla="*/ 102394 w 2677778"/>
              <a:gd name="connsiteY2" fmla="*/ 966787 h 1012031"/>
              <a:gd name="connsiteX3" fmla="*/ 116681 w 2677778"/>
              <a:gd name="connsiteY3" fmla="*/ 952500 h 1012031"/>
              <a:gd name="connsiteX4" fmla="*/ 126206 w 2677778"/>
              <a:gd name="connsiteY4" fmla="*/ 919162 h 1012031"/>
              <a:gd name="connsiteX5" fmla="*/ 207169 w 2677778"/>
              <a:gd name="connsiteY5" fmla="*/ 878681 h 1012031"/>
              <a:gd name="connsiteX6" fmla="*/ 226219 w 2677778"/>
              <a:gd name="connsiteY6" fmla="*/ 873918 h 1012031"/>
              <a:gd name="connsiteX7" fmla="*/ 285750 w 2677778"/>
              <a:gd name="connsiteY7" fmla="*/ 809625 h 1012031"/>
              <a:gd name="connsiteX8" fmla="*/ 290512 w 2677778"/>
              <a:gd name="connsiteY8" fmla="*/ 759618 h 1012031"/>
              <a:gd name="connsiteX9" fmla="*/ 316706 w 2677778"/>
              <a:gd name="connsiteY9" fmla="*/ 733425 h 1012031"/>
              <a:gd name="connsiteX10" fmla="*/ 342900 w 2677778"/>
              <a:gd name="connsiteY10" fmla="*/ 728662 h 1012031"/>
              <a:gd name="connsiteX11" fmla="*/ 404812 w 2677778"/>
              <a:gd name="connsiteY11" fmla="*/ 683418 h 1012031"/>
              <a:gd name="connsiteX12" fmla="*/ 490537 w 2677778"/>
              <a:gd name="connsiteY12" fmla="*/ 640556 h 1012031"/>
              <a:gd name="connsiteX13" fmla="*/ 526256 w 2677778"/>
              <a:gd name="connsiteY13" fmla="*/ 600075 h 1012031"/>
              <a:gd name="connsiteX14" fmla="*/ 554831 w 2677778"/>
              <a:gd name="connsiteY14" fmla="*/ 585787 h 1012031"/>
              <a:gd name="connsiteX15" fmla="*/ 561975 w 2677778"/>
              <a:gd name="connsiteY15" fmla="*/ 519112 h 1012031"/>
              <a:gd name="connsiteX16" fmla="*/ 578644 w 2677778"/>
              <a:gd name="connsiteY16" fmla="*/ 473868 h 1012031"/>
              <a:gd name="connsiteX17" fmla="*/ 564356 w 2677778"/>
              <a:gd name="connsiteY17" fmla="*/ 433387 h 1012031"/>
              <a:gd name="connsiteX18" fmla="*/ 569119 w 2677778"/>
              <a:gd name="connsiteY18" fmla="*/ 347662 h 1012031"/>
              <a:gd name="connsiteX19" fmla="*/ 564356 w 2677778"/>
              <a:gd name="connsiteY19" fmla="*/ 307181 h 1012031"/>
              <a:gd name="connsiteX20" fmla="*/ 564356 w 2677778"/>
              <a:gd name="connsiteY20" fmla="*/ 264318 h 1012031"/>
              <a:gd name="connsiteX21" fmla="*/ 590550 w 2677778"/>
              <a:gd name="connsiteY21" fmla="*/ 254793 h 1012031"/>
              <a:gd name="connsiteX22" fmla="*/ 611981 w 2677778"/>
              <a:gd name="connsiteY22" fmla="*/ 271462 h 1012031"/>
              <a:gd name="connsiteX23" fmla="*/ 626269 w 2677778"/>
              <a:gd name="connsiteY23" fmla="*/ 297656 h 1012031"/>
              <a:gd name="connsiteX24" fmla="*/ 654844 w 2677778"/>
              <a:gd name="connsiteY24" fmla="*/ 300037 h 1012031"/>
              <a:gd name="connsiteX25" fmla="*/ 676275 w 2677778"/>
              <a:gd name="connsiteY25" fmla="*/ 278606 h 1012031"/>
              <a:gd name="connsiteX26" fmla="*/ 762000 w 2677778"/>
              <a:gd name="connsiteY26" fmla="*/ 280987 h 1012031"/>
              <a:gd name="connsiteX27" fmla="*/ 814387 w 2677778"/>
              <a:gd name="connsiteY27" fmla="*/ 290512 h 1012031"/>
              <a:gd name="connsiteX28" fmla="*/ 862012 w 2677778"/>
              <a:gd name="connsiteY28" fmla="*/ 266700 h 1012031"/>
              <a:gd name="connsiteX29" fmla="*/ 873919 w 2677778"/>
              <a:gd name="connsiteY29" fmla="*/ 233362 h 1012031"/>
              <a:gd name="connsiteX30" fmla="*/ 914400 w 2677778"/>
              <a:gd name="connsiteY30" fmla="*/ 200025 h 1012031"/>
              <a:gd name="connsiteX31" fmla="*/ 904875 w 2677778"/>
              <a:gd name="connsiteY31" fmla="*/ 173831 h 1012031"/>
              <a:gd name="connsiteX32" fmla="*/ 921544 w 2677778"/>
              <a:gd name="connsiteY32" fmla="*/ 147637 h 1012031"/>
              <a:gd name="connsiteX33" fmla="*/ 976312 w 2677778"/>
              <a:gd name="connsiteY33" fmla="*/ 169068 h 1012031"/>
              <a:gd name="connsiteX34" fmla="*/ 1023937 w 2677778"/>
              <a:gd name="connsiteY34" fmla="*/ 173831 h 1012031"/>
              <a:gd name="connsiteX35" fmla="*/ 1059656 w 2677778"/>
              <a:gd name="connsiteY35" fmla="*/ 209550 h 1012031"/>
              <a:gd name="connsiteX36" fmla="*/ 1088231 w 2677778"/>
              <a:gd name="connsiteY36" fmla="*/ 223837 h 1012031"/>
              <a:gd name="connsiteX37" fmla="*/ 1107281 w 2677778"/>
              <a:gd name="connsiteY37" fmla="*/ 280987 h 1012031"/>
              <a:gd name="connsiteX38" fmla="*/ 1176337 w 2677778"/>
              <a:gd name="connsiteY38" fmla="*/ 316706 h 1012031"/>
              <a:gd name="connsiteX39" fmla="*/ 1245394 w 2677778"/>
              <a:gd name="connsiteY39" fmla="*/ 307181 h 1012031"/>
              <a:gd name="connsiteX40" fmla="*/ 1293019 w 2677778"/>
              <a:gd name="connsiteY40" fmla="*/ 295275 h 1012031"/>
              <a:gd name="connsiteX41" fmla="*/ 1331119 w 2677778"/>
              <a:gd name="connsiteY41" fmla="*/ 307181 h 1012031"/>
              <a:gd name="connsiteX42" fmla="*/ 1381125 w 2677778"/>
              <a:gd name="connsiteY42" fmla="*/ 304800 h 1012031"/>
              <a:gd name="connsiteX43" fmla="*/ 1426369 w 2677778"/>
              <a:gd name="connsiteY43" fmla="*/ 316706 h 1012031"/>
              <a:gd name="connsiteX44" fmla="*/ 1471612 w 2677778"/>
              <a:gd name="connsiteY44" fmla="*/ 302418 h 1012031"/>
              <a:gd name="connsiteX45" fmla="*/ 1493044 w 2677778"/>
              <a:gd name="connsiteY45" fmla="*/ 276225 h 1012031"/>
              <a:gd name="connsiteX46" fmla="*/ 1571625 w 2677778"/>
              <a:gd name="connsiteY46" fmla="*/ 297656 h 1012031"/>
              <a:gd name="connsiteX47" fmla="*/ 1612106 w 2677778"/>
              <a:gd name="connsiteY47" fmla="*/ 283368 h 1012031"/>
              <a:gd name="connsiteX48" fmla="*/ 1619250 w 2677778"/>
              <a:gd name="connsiteY48" fmla="*/ 242887 h 1012031"/>
              <a:gd name="connsiteX49" fmla="*/ 1590675 w 2677778"/>
              <a:gd name="connsiteY49" fmla="*/ 195262 h 1012031"/>
              <a:gd name="connsiteX50" fmla="*/ 1574006 w 2677778"/>
              <a:gd name="connsiteY50" fmla="*/ 135731 h 1012031"/>
              <a:gd name="connsiteX51" fmla="*/ 1540669 w 2677778"/>
              <a:gd name="connsiteY51" fmla="*/ 102393 h 1012031"/>
              <a:gd name="connsiteX52" fmla="*/ 1516856 w 2677778"/>
              <a:gd name="connsiteY52" fmla="*/ 59531 h 1012031"/>
              <a:gd name="connsiteX53" fmla="*/ 1526381 w 2677778"/>
              <a:gd name="connsiteY53" fmla="*/ 38100 h 1012031"/>
              <a:gd name="connsiteX54" fmla="*/ 1562100 w 2677778"/>
              <a:gd name="connsiteY54" fmla="*/ 0 h 1012031"/>
              <a:gd name="connsiteX55" fmla="*/ 1581150 w 2677778"/>
              <a:gd name="connsiteY55" fmla="*/ 16668 h 1012031"/>
              <a:gd name="connsiteX56" fmla="*/ 1662112 w 2677778"/>
              <a:gd name="connsiteY56" fmla="*/ 30956 h 1012031"/>
              <a:gd name="connsiteX57" fmla="*/ 1745456 w 2677778"/>
              <a:gd name="connsiteY57" fmla="*/ 47625 h 1012031"/>
              <a:gd name="connsiteX58" fmla="*/ 1795462 w 2677778"/>
              <a:gd name="connsiteY58" fmla="*/ 66675 h 1012031"/>
              <a:gd name="connsiteX59" fmla="*/ 1845469 w 2677778"/>
              <a:gd name="connsiteY59" fmla="*/ 61912 h 1012031"/>
              <a:gd name="connsiteX60" fmla="*/ 1893094 w 2677778"/>
              <a:gd name="connsiteY60" fmla="*/ 92868 h 1012031"/>
              <a:gd name="connsiteX61" fmla="*/ 1935956 w 2677778"/>
              <a:gd name="connsiteY61" fmla="*/ 119062 h 1012031"/>
              <a:gd name="connsiteX62" fmla="*/ 1957387 w 2677778"/>
              <a:gd name="connsiteY62" fmla="*/ 150018 h 1012031"/>
              <a:gd name="connsiteX63" fmla="*/ 2007394 w 2677778"/>
              <a:gd name="connsiteY63" fmla="*/ 157162 h 1012031"/>
              <a:gd name="connsiteX64" fmla="*/ 2033587 w 2677778"/>
              <a:gd name="connsiteY64" fmla="*/ 202406 h 1012031"/>
              <a:gd name="connsiteX65" fmla="*/ 2059781 w 2677778"/>
              <a:gd name="connsiteY65" fmla="*/ 233362 h 1012031"/>
              <a:gd name="connsiteX66" fmla="*/ 2076450 w 2677778"/>
              <a:gd name="connsiteY66" fmla="*/ 278606 h 1012031"/>
              <a:gd name="connsiteX67" fmla="*/ 2135981 w 2677778"/>
              <a:gd name="connsiteY67" fmla="*/ 295275 h 1012031"/>
              <a:gd name="connsiteX68" fmla="*/ 2164556 w 2677778"/>
              <a:gd name="connsiteY68" fmla="*/ 326231 h 1012031"/>
              <a:gd name="connsiteX69" fmla="*/ 2185987 w 2677778"/>
              <a:gd name="connsiteY69" fmla="*/ 335756 h 1012031"/>
              <a:gd name="connsiteX70" fmla="*/ 2197894 w 2677778"/>
              <a:gd name="connsiteY70" fmla="*/ 376237 h 1012031"/>
              <a:gd name="connsiteX71" fmla="*/ 2228850 w 2677778"/>
              <a:gd name="connsiteY71" fmla="*/ 383381 h 1012031"/>
              <a:gd name="connsiteX72" fmla="*/ 2266950 w 2677778"/>
              <a:gd name="connsiteY72" fmla="*/ 447675 h 1012031"/>
              <a:gd name="connsiteX73" fmla="*/ 2262187 w 2677778"/>
              <a:gd name="connsiteY73" fmla="*/ 502443 h 1012031"/>
              <a:gd name="connsiteX74" fmla="*/ 2250281 w 2677778"/>
              <a:gd name="connsiteY74" fmla="*/ 531018 h 1012031"/>
              <a:gd name="connsiteX75" fmla="*/ 2290762 w 2677778"/>
              <a:gd name="connsiteY75" fmla="*/ 564356 h 1012031"/>
              <a:gd name="connsiteX76" fmla="*/ 2288381 w 2677778"/>
              <a:gd name="connsiteY76" fmla="*/ 647700 h 1012031"/>
              <a:gd name="connsiteX77" fmla="*/ 2269331 w 2677778"/>
              <a:gd name="connsiteY77" fmla="*/ 664368 h 1012031"/>
              <a:gd name="connsiteX78" fmla="*/ 2252662 w 2677778"/>
              <a:gd name="connsiteY78" fmla="*/ 738187 h 1012031"/>
              <a:gd name="connsiteX79" fmla="*/ 2274094 w 2677778"/>
              <a:gd name="connsiteY79" fmla="*/ 773906 h 1012031"/>
              <a:gd name="connsiteX80" fmla="*/ 2328862 w 2677778"/>
              <a:gd name="connsiteY80" fmla="*/ 797718 h 1012031"/>
              <a:gd name="connsiteX81" fmla="*/ 2366962 w 2677778"/>
              <a:gd name="connsiteY81" fmla="*/ 778668 h 1012031"/>
              <a:gd name="connsiteX82" fmla="*/ 2409825 w 2677778"/>
              <a:gd name="connsiteY82" fmla="*/ 797718 h 1012031"/>
              <a:gd name="connsiteX83" fmla="*/ 2445544 w 2677778"/>
              <a:gd name="connsiteY83" fmla="*/ 783431 h 1012031"/>
              <a:gd name="connsiteX84" fmla="*/ 2483644 w 2677778"/>
              <a:gd name="connsiteY84" fmla="*/ 826293 h 1012031"/>
              <a:gd name="connsiteX85" fmla="*/ 2562225 w 2677778"/>
              <a:gd name="connsiteY85" fmla="*/ 902493 h 1012031"/>
              <a:gd name="connsiteX86" fmla="*/ 2631281 w 2677778"/>
              <a:gd name="connsiteY86" fmla="*/ 916781 h 1012031"/>
              <a:gd name="connsiteX87" fmla="*/ 2677778 w 2677778"/>
              <a:gd name="connsiteY87" fmla="*/ 944470 h 1012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2677778" h="1012031">
                <a:moveTo>
                  <a:pt x="0" y="1012031"/>
                </a:moveTo>
                <a:lnTo>
                  <a:pt x="21431" y="988218"/>
                </a:lnTo>
                <a:lnTo>
                  <a:pt x="102394" y="966787"/>
                </a:lnTo>
                <a:lnTo>
                  <a:pt x="116681" y="952500"/>
                </a:lnTo>
                <a:lnTo>
                  <a:pt x="126206" y="919162"/>
                </a:lnTo>
                <a:lnTo>
                  <a:pt x="207169" y="878681"/>
                </a:lnTo>
                <a:lnTo>
                  <a:pt x="226219" y="873918"/>
                </a:lnTo>
                <a:lnTo>
                  <a:pt x="285750" y="809625"/>
                </a:lnTo>
                <a:lnTo>
                  <a:pt x="290512" y="759618"/>
                </a:lnTo>
                <a:lnTo>
                  <a:pt x="316706" y="733425"/>
                </a:lnTo>
                <a:lnTo>
                  <a:pt x="342900" y="728662"/>
                </a:lnTo>
                <a:lnTo>
                  <a:pt x="404812" y="683418"/>
                </a:lnTo>
                <a:lnTo>
                  <a:pt x="490537" y="640556"/>
                </a:lnTo>
                <a:lnTo>
                  <a:pt x="526256" y="600075"/>
                </a:lnTo>
                <a:lnTo>
                  <a:pt x="554831" y="585787"/>
                </a:lnTo>
                <a:lnTo>
                  <a:pt x="561975" y="519112"/>
                </a:lnTo>
                <a:lnTo>
                  <a:pt x="578644" y="473868"/>
                </a:lnTo>
                <a:lnTo>
                  <a:pt x="564356" y="433387"/>
                </a:lnTo>
                <a:lnTo>
                  <a:pt x="569119" y="347662"/>
                </a:lnTo>
                <a:lnTo>
                  <a:pt x="564356" y="307181"/>
                </a:lnTo>
                <a:lnTo>
                  <a:pt x="564356" y="264318"/>
                </a:lnTo>
                <a:lnTo>
                  <a:pt x="590550" y="254793"/>
                </a:lnTo>
                <a:lnTo>
                  <a:pt x="611981" y="271462"/>
                </a:lnTo>
                <a:lnTo>
                  <a:pt x="626269" y="297656"/>
                </a:lnTo>
                <a:lnTo>
                  <a:pt x="654844" y="300037"/>
                </a:lnTo>
                <a:lnTo>
                  <a:pt x="676275" y="278606"/>
                </a:lnTo>
                <a:lnTo>
                  <a:pt x="762000" y="280987"/>
                </a:lnTo>
                <a:lnTo>
                  <a:pt x="814387" y="290512"/>
                </a:lnTo>
                <a:lnTo>
                  <a:pt x="862012" y="266700"/>
                </a:lnTo>
                <a:lnTo>
                  <a:pt x="873919" y="233362"/>
                </a:lnTo>
                <a:lnTo>
                  <a:pt x="914400" y="200025"/>
                </a:lnTo>
                <a:lnTo>
                  <a:pt x="904875" y="173831"/>
                </a:lnTo>
                <a:lnTo>
                  <a:pt x="921544" y="147637"/>
                </a:lnTo>
                <a:lnTo>
                  <a:pt x="976312" y="169068"/>
                </a:lnTo>
                <a:lnTo>
                  <a:pt x="1023937" y="173831"/>
                </a:lnTo>
                <a:lnTo>
                  <a:pt x="1059656" y="209550"/>
                </a:lnTo>
                <a:lnTo>
                  <a:pt x="1088231" y="223837"/>
                </a:lnTo>
                <a:lnTo>
                  <a:pt x="1107281" y="280987"/>
                </a:lnTo>
                <a:lnTo>
                  <a:pt x="1176337" y="316706"/>
                </a:lnTo>
                <a:lnTo>
                  <a:pt x="1245394" y="307181"/>
                </a:lnTo>
                <a:lnTo>
                  <a:pt x="1293019" y="295275"/>
                </a:lnTo>
                <a:lnTo>
                  <a:pt x="1331119" y="307181"/>
                </a:lnTo>
                <a:lnTo>
                  <a:pt x="1381125" y="304800"/>
                </a:lnTo>
                <a:lnTo>
                  <a:pt x="1426369" y="316706"/>
                </a:lnTo>
                <a:lnTo>
                  <a:pt x="1471612" y="302418"/>
                </a:lnTo>
                <a:lnTo>
                  <a:pt x="1493044" y="276225"/>
                </a:lnTo>
                <a:lnTo>
                  <a:pt x="1571625" y="297656"/>
                </a:lnTo>
                <a:lnTo>
                  <a:pt x="1612106" y="283368"/>
                </a:lnTo>
                <a:lnTo>
                  <a:pt x="1619250" y="242887"/>
                </a:lnTo>
                <a:lnTo>
                  <a:pt x="1590675" y="195262"/>
                </a:lnTo>
                <a:lnTo>
                  <a:pt x="1574006" y="135731"/>
                </a:lnTo>
                <a:lnTo>
                  <a:pt x="1540669" y="102393"/>
                </a:lnTo>
                <a:lnTo>
                  <a:pt x="1516856" y="59531"/>
                </a:lnTo>
                <a:lnTo>
                  <a:pt x="1526381" y="38100"/>
                </a:lnTo>
                <a:lnTo>
                  <a:pt x="1562100" y="0"/>
                </a:lnTo>
                <a:lnTo>
                  <a:pt x="1581150" y="16668"/>
                </a:lnTo>
                <a:lnTo>
                  <a:pt x="1662112" y="30956"/>
                </a:lnTo>
                <a:lnTo>
                  <a:pt x="1745456" y="47625"/>
                </a:lnTo>
                <a:lnTo>
                  <a:pt x="1795462" y="66675"/>
                </a:lnTo>
                <a:lnTo>
                  <a:pt x="1845469" y="61912"/>
                </a:lnTo>
                <a:lnTo>
                  <a:pt x="1893094" y="92868"/>
                </a:lnTo>
                <a:lnTo>
                  <a:pt x="1935956" y="119062"/>
                </a:lnTo>
                <a:lnTo>
                  <a:pt x="1957387" y="150018"/>
                </a:lnTo>
                <a:lnTo>
                  <a:pt x="2007394" y="157162"/>
                </a:lnTo>
                <a:lnTo>
                  <a:pt x="2033587" y="202406"/>
                </a:lnTo>
                <a:lnTo>
                  <a:pt x="2059781" y="233362"/>
                </a:lnTo>
                <a:lnTo>
                  <a:pt x="2076450" y="278606"/>
                </a:lnTo>
                <a:lnTo>
                  <a:pt x="2135981" y="295275"/>
                </a:lnTo>
                <a:lnTo>
                  <a:pt x="2164556" y="326231"/>
                </a:lnTo>
                <a:lnTo>
                  <a:pt x="2185987" y="335756"/>
                </a:lnTo>
                <a:lnTo>
                  <a:pt x="2197894" y="376237"/>
                </a:lnTo>
                <a:lnTo>
                  <a:pt x="2228850" y="383381"/>
                </a:lnTo>
                <a:lnTo>
                  <a:pt x="2266950" y="447675"/>
                </a:lnTo>
                <a:lnTo>
                  <a:pt x="2262187" y="502443"/>
                </a:lnTo>
                <a:lnTo>
                  <a:pt x="2250281" y="531018"/>
                </a:lnTo>
                <a:lnTo>
                  <a:pt x="2290762" y="564356"/>
                </a:lnTo>
                <a:cubicBezTo>
                  <a:pt x="2289968" y="592137"/>
                  <a:pt x="2289175" y="619919"/>
                  <a:pt x="2288381" y="647700"/>
                </a:cubicBezTo>
                <a:lnTo>
                  <a:pt x="2269331" y="664368"/>
                </a:lnTo>
                <a:lnTo>
                  <a:pt x="2252662" y="738187"/>
                </a:lnTo>
                <a:lnTo>
                  <a:pt x="2274094" y="773906"/>
                </a:lnTo>
                <a:lnTo>
                  <a:pt x="2328862" y="797718"/>
                </a:lnTo>
                <a:lnTo>
                  <a:pt x="2366962" y="778668"/>
                </a:lnTo>
                <a:lnTo>
                  <a:pt x="2409825" y="797718"/>
                </a:lnTo>
                <a:lnTo>
                  <a:pt x="2445544" y="783431"/>
                </a:lnTo>
                <a:lnTo>
                  <a:pt x="2483644" y="826293"/>
                </a:lnTo>
                <a:lnTo>
                  <a:pt x="2562225" y="902493"/>
                </a:lnTo>
                <a:lnTo>
                  <a:pt x="2631281" y="916781"/>
                </a:lnTo>
                <a:lnTo>
                  <a:pt x="2677778" y="944470"/>
                </a:lnTo>
              </a:path>
            </a:pathLst>
          </a:custGeom>
          <a:noFill/>
          <a:ln w="19050">
            <a:solidFill>
              <a:srgbClr val="00AE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 30"/>
          <p:cNvSpPr/>
          <p:nvPr/>
        </p:nvSpPr>
        <p:spPr bwMode="auto">
          <a:xfrm>
            <a:off x="8237466" y="1143691"/>
            <a:ext cx="1638634" cy="1890838"/>
          </a:xfrm>
          <a:custGeom>
            <a:avLst/>
            <a:gdLst>
              <a:gd name="connsiteX0" fmla="*/ 5508 w 2858877"/>
              <a:gd name="connsiteY0" fmla="*/ 0 h 2550405"/>
              <a:gd name="connsiteX1" fmla="*/ 0 w 2858877"/>
              <a:gd name="connsiteY1" fmla="*/ 46822 h 2550405"/>
              <a:gd name="connsiteX2" fmla="*/ 33051 w 2858877"/>
              <a:gd name="connsiteY2" fmla="*/ 82627 h 2550405"/>
              <a:gd name="connsiteX3" fmla="*/ 63347 w 2858877"/>
              <a:gd name="connsiteY3" fmla="*/ 112923 h 2550405"/>
              <a:gd name="connsiteX4" fmla="*/ 90889 w 2858877"/>
              <a:gd name="connsiteY4" fmla="*/ 162499 h 2550405"/>
              <a:gd name="connsiteX5" fmla="*/ 129448 w 2858877"/>
              <a:gd name="connsiteY5" fmla="*/ 168008 h 2550405"/>
              <a:gd name="connsiteX6" fmla="*/ 145973 w 2858877"/>
              <a:gd name="connsiteY6" fmla="*/ 190041 h 2550405"/>
              <a:gd name="connsiteX7" fmla="*/ 179024 w 2858877"/>
              <a:gd name="connsiteY7" fmla="*/ 234109 h 2550405"/>
              <a:gd name="connsiteX8" fmla="*/ 223091 w 2858877"/>
              <a:gd name="connsiteY8" fmla="*/ 245126 h 2550405"/>
              <a:gd name="connsiteX9" fmla="*/ 267159 w 2858877"/>
              <a:gd name="connsiteY9" fmla="*/ 308473 h 2550405"/>
              <a:gd name="connsiteX10" fmla="*/ 327752 w 2858877"/>
              <a:gd name="connsiteY10" fmla="*/ 336015 h 2550405"/>
              <a:gd name="connsiteX11" fmla="*/ 324998 w 2858877"/>
              <a:gd name="connsiteY11" fmla="*/ 374574 h 2550405"/>
              <a:gd name="connsiteX12" fmla="*/ 302964 w 2858877"/>
              <a:gd name="connsiteY12" fmla="*/ 404870 h 2550405"/>
              <a:gd name="connsiteX13" fmla="*/ 291947 w 2858877"/>
              <a:gd name="connsiteY13" fmla="*/ 468217 h 2550405"/>
              <a:gd name="connsiteX14" fmla="*/ 308472 w 2858877"/>
              <a:gd name="connsiteY14" fmla="*/ 556352 h 2550405"/>
              <a:gd name="connsiteX15" fmla="*/ 349785 w 2858877"/>
              <a:gd name="connsiteY15" fmla="*/ 600420 h 2550405"/>
              <a:gd name="connsiteX16" fmla="*/ 391099 w 2858877"/>
              <a:gd name="connsiteY16" fmla="*/ 663767 h 2550405"/>
              <a:gd name="connsiteX17" fmla="*/ 462708 w 2858877"/>
              <a:gd name="connsiteY17" fmla="*/ 718851 h 2550405"/>
              <a:gd name="connsiteX18" fmla="*/ 542581 w 2858877"/>
              <a:gd name="connsiteY18" fmla="*/ 743639 h 2550405"/>
              <a:gd name="connsiteX19" fmla="*/ 616944 w 2858877"/>
              <a:gd name="connsiteY19" fmla="*/ 768427 h 2550405"/>
              <a:gd name="connsiteX20" fmla="*/ 638978 w 2858877"/>
              <a:gd name="connsiteY20" fmla="*/ 798723 h 2550405"/>
              <a:gd name="connsiteX21" fmla="*/ 721605 w 2858877"/>
              <a:gd name="connsiteY21" fmla="*/ 834528 h 2550405"/>
              <a:gd name="connsiteX22" fmla="*/ 757410 w 2858877"/>
              <a:gd name="connsiteY22" fmla="*/ 906138 h 2550405"/>
              <a:gd name="connsiteX23" fmla="*/ 782198 w 2858877"/>
              <a:gd name="connsiteY23" fmla="*/ 919909 h 2550405"/>
              <a:gd name="connsiteX24" fmla="*/ 801477 w 2858877"/>
              <a:gd name="connsiteY24" fmla="*/ 972239 h 2550405"/>
              <a:gd name="connsiteX25" fmla="*/ 840036 w 2858877"/>
              <a:gd name="connsiteY25" fmla="*/ 991518 h 2550405"/>
              <a:gd name="connsiteX26" fmla="*/ 884104 w 2858877"/>
              <a:gd name="connsiteY26" fmla="*/ 1008044 h 2550405"/>
              <a:gd name="connsiteX27" fmla="*/ 889612 w 2858877"/>
              <a:gd name="connsiteY27" fmla="*/ 1043849 h 2550405"/>
              <a:gd name="connsiteX28" fmla="*/ 917154 w 2858877"/>
              <a:gd name="connsiteY28" fmla="*/ 1054865 h 2550405"/>
              <a:gd name="connsiteX29" fmla="*/ 939188 w 2858877"/>
              <a:gd name="connsiteY29" fmla="*/ 1096179 h 2550405"/>
              <a:gd name="connsiteX30" fmla="*/ 1021814 w 2858877"/>
              <a:gd name="connsiteY30" fmla="*/ 1143000 h 2550405"/>
              <a:gd name="connsiteX31" fmla="*/ 1109949 w 2858877"/>
              <a:gd name="connsiteY31" fmla="*/ 1143000 h 2550405"/>
              <a:gd name="connsiteX32" fmla="*/ 1159525 w 2858877"/>
              <a:gd name="connsiteY32" fmla="*/ 1159526 h 2550405"/>
              <a:gd name="connsiteX33" fmla="*/ 1173296 w 2858877"/>
              <a:gd name="connsiteY33" fmla="*/ 1198085 h 2550405"/>
              <a:gd name="connsiteX34" fmla="*/ 1261431 w 2858877"/>
              <a:gd name="connsiteY34" fmla="*/ 1244906 h 2550405"/>
              <a:gd name="connsiteX35" fmla="*/ 1297236 w 2858877"/>
              <a:gd name="connsiteY35" fmla="*/ 1225627 h 2550405"/>
              <a:gd name="connsiteX36" fmla="*/ 1311007 w 2858877"/>
              <a:gd name="connsiteY36" fmla="*/ 1253169 h 2550405"/>
              <a:gd name="connsiteX37" fmla="*/ 1399142 w 2858877"/>
              <a:gd name="connsiteY37" fmla="*/ 1288974 h 2550405"/>
              <a:gd name="connsiteX38" fmla="*/ 1443210 w 2858877"/>
              <a:gd name="connsiteY38" fmla="*/ 1266940 h 2550405"/>
              <a:gd name="connsiteX39" fmla="*/ 1467998 w 2858877"/>
              <a:gd name="connsiteY39" fmla="*/ 1288974 h 2550405"/>
              <a:gd name="connsiteX40" fmla="*/ 1481769 w 2858877"/>
              <a:gd name="connsiteY40" fmla="*/ 1322024 h 2550405"/>
              <a:gd name="connsiteX41" fmla="*/ 1561641 w 2858877"/>
              <a:gd name="connsiteY41" fmla="*/ 1363338 h 2550405"/>
              <a:gd name="connsiteX42" fmla="*/ 1636005 w 2858877"/>
              <a:gd name="connsiteY42" fmla="*/ 1355075 h 2550405"/>
              <a:gd name="connsiteX43" fmla="*/ 1729648 w 2858877"/>
              <a:gd name="connsiteY43" fmla="*/ 1407405 h 2550405"/>
              <a:gd name="connsiteX44" fmla="*/ 1823291 w 2858877"/>
              <a:gd name="connsiteY44" fmla="*/ 1495540 h 2550405"/>
              <a:gd name="connsiteX45" fmla="*/ 1856342 w 2858877"/>
              <a:gd name="connsiteY45" fmla="*/ 1575412 h 2550405"/>
              <a:gd name="connsiteX46" fmla="*/ 1897655 w 2858877"/>
              <a:gd name="connsiteY46" fmla="*/ 1636005 h 2550405"/>
              <a:gd name="connsiteX47" fmla="*/ 1903164 w 2858877"/>
              <a:gd name="connsiteY47" fmla="*/ 1666302 h 2550405"/>
              <a:gd name="connsiteX48" fmla="*/ 1955494 w 2858877"/>
              <a:gd name="connsiteY48" fmla="*/ 1702106 h 2550405"/>
              <a:gd name="connsiteX49" fmla="*/ 2018841 w 2858877"/>
              <a:gd name="connsiteY49" fmla="*/ 1798504 h 2550405"/>
              <a:gd name="connsiteX50" fmla="*/ 2087696 w 2858877"/>
              <a:gd name="connsiteY50" fmla="*/ 1839817 h 2550405"/>
              <a:gd name="connsiteX51" fmla="*/ 2145535 w 2858877"/>
              <a:gd name="connsiteY51" fmla="*/ 1908673 h 2550405"/>
              <a:gd name="connsiteX52" fmla="*/ 2192357 w 2858877"/>
              <a:gd name="connsiteY52" fmla="*/ 1958249 h 2550405"/>
              <a:gd name="connsiteX53" fmla="*/ 2258458 w 2858877"/>
              <a:gd name="connsiteY53" fmla="*/ 2005070 h 2550405"/>
              <a:gd name="connsiteX54" fmla="*/ 2250195 w 2858877"/>
              <a:gd name="connsiteY54" fmla="*/ 2051892 h 2550405"/>
              <a:gd name="connsiteX55" fmla="*/ 2250195 w 2858877"/>
              <a:gd name="connsiteY55" fmla="*/ 2051892 h 2550405"/>
              <a:gd name="connsiteX56" fmla="*/ 2299771 w 2858877"/>
              <a:gd name="connsiteY56" fmla="*/ 2065663 h 2550405"/>
              <a:gd name="connsiteX57" fmla="*/ 2327313 w 2858877"/>
              <a:gd name="connsiteY57" fmla="*/ 2104222 h 2550405"/>
              <a:gd name="connsiteX58" fmla="*/ 2313542 w 2858877"/>
              <a:gd name="connsiteY58" fmla="*/ 2184094 h 2550405"/>
              <a:gd name="connsiteX59" fmla="*/ 2398923 w 2858877"/>
              <a:gd name="connsiteY59" fmla="*/ 2266721 h 2550405"/>
              <a:gd name="connsiteX60" fmla="*/ 2462270 w 2858877"/>
              <a:gd name="connsiteY60" fmla="*/ 2319051 h 2550405"/>
              <a:gd name="connsiteX61" fmla="*/ 2531125 w 2858877"/>
              <a:gd name="connsiteY61" fmla="*/ 2335576 h 2550405"/>
              <a:gd name="connsiteX62" fmla="*/ 2580701 w 2858877"/>
              <a:gd name="connsiteY62" fmla="*/ 2374135 h 2550405"/>
              <a:gd name="connsiteX63" fmla="*/ 2586210 w 2858877"/>
              <a:gd name="connsiteY63" fmla="*/ 2407186 h 2550405"/>
              <a:gd name="connsiteX64" fmla="*/ 2638540 w 2858877"/>
              <a:gd name="connsiteY64" fmla="*/ 2445745 h 2550405"/>
              <a:gd name="connsiteX65" fmla="*/ 2721166 w 2858877"/>
              <a:gd name="connsiteY65" fmla="*/ 2465024 h 2550405"/>
              <a:gd name="connsiteX66" fmla="*/ 2754217 w 2858877"/>
              <a:gd name="connsiteY66" fmla="*/ 2489812 h 2550405"/>
              <a:gd name="connsiteX67" fmla="*/ 2762479 w 2858877"/>
              <a:gd name="connsiteY67" fmla="*/ 2514600 h 2550405"/>
              <a:gd name="connsiteX68" fmla="*/ 2781759 w 2858877"/>
              <a:gd name="connsiteY68" fmla="*/ 2536634 h 2550405"/>
              <a:gd name="connsiteX69" fmla="*/ 2858877 w 2858877"/>
              <a:gd name="connsiteY69" fmla="*/ 2550405 h 2550405"/>
              <a:gd name="connsiteX0" fmla="*/ 5508 w 3068197"/>
              <a:gd name="connsiteY0" fmla="*/ 0 h 2542142"/>
              <a:gd name="connsiteX1" fmla="*/ 0 w 3068197"/>
              <a:gd name="connsiteY1" fmla="*/ 46822 h 2542142"/>
              <a:gd name="connsiteX2" fmla="*/ 33051 w 3068197"/>
              <a:gd name="connsiteY2" fmla="*/ 82627 h 2542142"/>
              <a:gd name="connsiteX3" fmla="*/ 63347 w 3068197"/>
              <a:gd name="connsiteY3" fmla="*/ 112923 h 2542142"/>
              <a:gd name="connsiteX4" fmla="*/ 90889 w 3068197"/>
              <a:gd name="connsiteY4" fmla="*/ 162499 h 2542142"/>
              <a:gd name="connsiteX5" fmla="*/ 129448 w 3068197"/>
              <a:gd name="connsiteY5" fmla="*/ 168008 h 2542142"/>
              <a:gd name="connsiteX6" fmla="*/ 145973 w 3068197"/>
              <a:gd name="connsiteY6" fmla="*/ 190041 h 2542142"/>
              <a:gd name="connsiteX7" fmla="*/ 179024 w 3068197"/>
              <a:gd name="connsiteY7" fmla="*/ 234109 h 2542142"/>
              <a:gd name="connsiteX8" fmla="*/ 223091 w 3068197"/>
              <a:gd name="connsiteY8" fmla="*/ 245126 h 2542142"/>
              <a:gd name="connsiteX9" fmla="*/ 267159 w 3068197"/>
              <a:gd name="connsiteY9" fmla="*/ 308473 h 2542142"/>
              <a:gd name="connsiteX10" fmla="*/ 327752 w 3068197"/>
              <a:gd name="connsiteY10" fmla="*/ 336015 h 2542142"/>
              <a:gd name="connsiteX11" fmla="*/ 324998 w 3068197"/>
              <a:gd name="connsiteY11" fmla="*/ 374574 h 2542142"/>
              <a:gd name="connsiteX12" fmla="*/ 302964 w 3068197"/>
              <a:gd name="connsiteY12" fmla="*/ 404870 h 2542142"/>
              <a:gd name="connsiteX13" fmla="*/ 291947 w 3068197"/>
              <a:gd name="connsiteY13" fmla="*/ 468217 h 2542142"/>
              <a:gd name="connsiteX14" fmla="*/ 308472 w 3068197"/>
              <a:gd name="connsiteY14" fmla="*/ 556352 h 2542142"/>
              <a:gd name="connsiteX15" fmla="*/ 349785 w 3068197"/>
              <a:gd name="connsiteY15" fmla="*/ 600420 h 2542142"/>
              <a:gd name="connsiteX16" fmla="*/ 391099 w 3068197"/>
              <a:gd name="connsiteY16" fmla="*/ 663767 h 2542142"/>
              <a:gd name="connsiteX17" fmla="*/ 462708 w 3068197"/>
              <a:gd name="connsiteY17" fmla="*/ 718851 h 2542142"/>
              <a:gd name="connsiteX18" fmla="*/ 542581 w 3068197"/>
              <a:gd name="connsiteY18" fmla="*/ 743639 h 2542142"/>
              <a:gd name="connsiteX19" fmla="*/ 616944 w 3068197"/>
              <a:gd name="connsiteY19" fmla="*/ 768427 h 2542142"/>
              <a:gd name="connsiteX20" fmla="*/ 638978 w 3068197"/>
              <a:gd name="connsiteY20" fmla="*/ 798723 h 2542142"/>
              <a:gd name="connsiteX21" fmla="*/ 721605 w 3068197"/>
              <a:gd name="connsiteY21" fmla="*/ 834528 h 2542142"/>
              <a:gd name="connsiteX22" fmla="*/ 757410 w 3068197"/>
              <a:gd name="connsiteY22" fmla="*/ 906138 h 2542142"/>
              <a:gd name="connsiteX23" fmla="*/ 782198 w 3068197"/>
              <a:gd name="connsiteY23" fmla="*/ 919909 h 2542142"/>
              <a:gd name="connsiteX24" fmla="*/ 801477 w 3068197"/>
              <a:gd name="connsiteY24" fmla="*/ 972239 h 2542142"/>
              <a:gd name="connsiteX25" fmla="*/ 840036 w 3068197"/>
              <a:gd name="connsiteY25" fmla="*/ 991518 h 2542142"/>
              <a:gd name="connsiteX26" fmla="*/ 884104 w 3068197"/>
              <a:gd name="connsiteY26" fmla="*/ 1008044 h 2542142"/>
              <a:gd name="connsiteX27" fmla="*/ 889612 w 3068197"/>
              <a:gd name="connsiteY27" fmla="*/ 1043849 h 2542142"/>
              <a:gd name="connsiteX28" fmla="*/ 917154 w 3068197"/>
              <a:gd name="connsiteY28" fmla="*/ 1054865 h 2542142"/>
              <a:gd name="connsiteX29" fmla="*/ 939188 w 3068197"/>
              <a:gd name="connsiteY29" fmla="*/ 1096179 h 2542142"/>
              <a:gd name="connsiteX30" fmla="*/ 1021814 w 3068197"/>
              <a:gd name="connsiteY30" fmla="*/ 1143000 h 2542142"/>
              <a:gd name="connsiteX31" fmla="*/ 1109949 w 3068197"/>
              <a:gd name="connsiteY31" fmla="*/ 1143000 h 2542142"/>
              <a:gd name="connsiteX32" fmla="*/ 1159525 w 3068197"/>
              <a:gd name="connsiteY32" fmla="*/ 1159526 h 2542142"/>
              <a:gd name="connsiteX33" fmla="*/ 1173296 w 3068197"/>
              <a:gd name="connsiteY33" fmla="*/ 1198085 h 2542142"/>
              <a:gd name="connsiteX34" fmla="*/ 1261431 w 3068197"/>
              <a:gd name="connsiteY34" fmla="*/ 1244906 h 2542142"/>
              <a:gd name="connsiteX35" fmla="*/ 1297236 w 3068197"/>
              <a:gd name="connsiteY35" fmla="*/ 1225627 h 2542142"/>
              <a:gd name="connsiteX36" fmla="*/ 1311007 w 3068197"/>
              <a:gd name="connsiteY36" fmla="*/ 1253169 h 2542142"/>
              <a:gd name="connsiteX37" fmla="*/ 1399142 w 3068197"/>
              <a:gd name="connsiteY37" fmla="*/ 1288974 h 2542142"/>
              <a:gd name="connsiteX38" fmla="*/ 1443210 w 3068197"/>
              <a:gd name="connsiteY38" fmla="*/ 1266940 h 2542142"/>
              <a:gd name="connsiteX39" fmla="*/ 1467998 w 3068197"/>
              <a:gd name="connsiteY39" fmla="*/ 1288974 h 2542142"/>
              <a:gd name="connsiteX40" fmla="*/ 1481769 w 3068197"/>
              <a:gd name="connsiteY40" fmla="*/ 1322024 h 2542142"/>
              <a:gd name="connsiteX41" fmla="*/ 1561641 w 3068197"/>
              <a:gd name="connsiteY41" fmla="*/ 1363338 h 2542142"/>
              <a:gd name="connsiteX42" fmla="*/ 1636005 w 3068197"/>
              <a:gd name="connsiteY42" fmla="*/ 1355075 h 2542142"/>
              <a:gd name="connsiteX43" fmla="*/ 1729648 w 3068197"/>
              <a:gd name="connsiteY43" fmla="*/ 1407405 h 2542142"/>
              <a:gd name="connsiteX44" fmla="*/ 1823291 w 3068197"/>
              <a:gd name="connsiteY44" fmla="*/ 1495540 h 2542142"/>
              <a:gd name="connsiteX45" fmla="*/ 1856342 w 3068197"/>
              <a:gd name="connsiteY45" fmla="*/ 1575412 h 2542142"/>
              <a:gd name="connsiteX46" fmla="*/ 1897655 w 3068197"/>
              <a:gd name="connsiteY46" fmla="*/ 1636005 h 2542142"/>
              <a:gd name="connsiteX47" fmla="*/ 1903164 w 3068197"/>
              <a:gd name="connsiteY47" fmla="*/ 1666302 h 2542142"/>
              <a:gd name="connsiteX48" fmla="*/ 1955494 w 3068197"/>
              <a:gd name="connsiteY48" fmla="*/ 1702106 h 2542142"/>
              <a:gd name="connsiteX49" fmla="*/ 2018841 w 3068197"/>
              <a:gd name="connsiteY49" fmla="*/ 1798504 h 2542142"/>
              <a:gd name="connsiteX50" fmla="*/ 2087696 w 3068197"/>
              <a:gd name="connsiteY50" fmla="*/ 1839817 h 2542142"/>
              <a:gd name="connsiteX51" fmla="*/ 2145535 w 3068197"/>
              <a:gd name="connsiteY51" fmla="*/ 1908673 h 2542142"/>
              <a:gd name="connsiteX52" fmla="*/ 2192357 w 3068197"/>
              <a:gd name="connsiteY52" fmla="*/ 1958249 h 2542142"/>
              <a:gd name="connsiteX53" fmla="*/ 2258458 w 3068197"/>
              <a:gd name="connsiteY53" fmla="*/ 2005070 h 2542142"/>
              <a:gd name="connsiteX54" fmla="*/ 2250195 w 3068197"/>
              <a:gd name="connsiteY54" fmla="*/ 2051892 h 2542142"/>
              <a:gd name="connsiteX55" fmla="*/ 2250195 w 3068197"/>
              <a:gd name="connsiteY55" fmla="*/ 2051892 h 2542142"/>
              <a:gd name="connsiteX56" fmla="*/ 2299771 w 3068197"/>
              <a:gd name="connsiteY56" fmla="*/ 2065663 h 2542142"/>
              <a:gd name="connsiteX57" fmla="*/ 2327313 w 3068197"/>
              <a:gd name="connsiteY57" fmla="*/ 2104222 h 2542142"/>
              <a:gd name="connsiteX58" fmla="*/ 2313542 w 3068197"/>
              <a:gd name="connsiteY58" fmla="*/ 2184094 h 2542142"/>
              <a:gd name="connsiteX59" fmla="*/ 2398923 w 3068197"/>
              <a:gd name="connsiteY59" fmla="*/ 2266721 h 2542142"/>
              <a:gd name="connsiteX60" fmla="*/ 2462270 w 3068197"/>
              <a:gd name="connsiteY60" fmla="*/ 2319051 h 2542142"/>
              <a:gd name="connsiteX61" fmla="*/ 2531125 w 3068197"/>
              <a:gd name="connsiteY61" fmla="*/ 2335576 h 2542142"/>
              <a:gd name="connsiteX62" fmla="*/ 2580701 w 3068197"/>
              <a:gd name="connsiteY62" fmla="*/ 2374135 h 2542142"/>
              <a:gd name="connsiteX63" fmla="*/ 2586210 w 3068197"/>
              <a:gd name="connsiteY63" fmla="*/ 2407186 h 2542142"/>
              <a:gd name="connsiteX64" fmla="*/ 2638540 w 3068197"/>
              <a:gd name="connsiteY64" fmla="*/ 2445745 h 2542142"/>
              <a:gd name="connsiteX65" fmla="*/ 2721166 w 3068197"/>
              <a:gd name="connsiteY65" fmla="*/ 2465024 h 2542142"/>
              <a:gd name="connsiteX66" fmla="*/ 2754217 w 3068197"/>
              <a:gd name="connsiteY66" fmla="*/ 2489812 h 2542142"/>
              <a:gd name="connsiteX67" fmla="*/ 2762479 w 3068197"/>
              <a:gd name="connsiteY67" fmla="*/ 2514600 h 2542142"/>
              <a:gd name="connsiteX68" fmla="*/ 2781759 w 3068197"/>
              <a:gd name="connsiteY68" fmla="*/ 2536634 h 2542142"/>
              <a:gd name="connsiteX69" fmla="*/ 3068197 w 3068197"/>
              <a:gd name="connsiteY69" fmla="*/ 2542142 h 2542142"/>
              <a:gd name="connsiteX0" fmla="*/ 5508 w 3068197"/>
              <a:gd name="connsiteY0" fmla="*/ 0 h 2542142"/>
              <a:gd name="connsiteX1" fmla="*/ 0 w 3068197"/>
              <a:gd name="connsiteY1" fmla="*/ 46822 h 2542142"/>
              <a:gd name="connsiteX2" fmla="*/ 33051 w 3068197"/>
              <a:gd name="connsiteY2" fmla="*/ 82627 h 2542142"/>
              <a:gd name="connsiteX3" fmla="*/ 63347 w 3068197"/>
              <a:gd name="connsiteY3" fmla="*/ 112923 h 2542142"/>
              <a:gd name="connsiteX4" fmla="*/ 90889 w 3068197"/>
              <a:gd name="connsiteY4" fmla="*/ 162499 h 2542142"/>
              <a:gd name="connsiteX5" fmla="*/ 129448 w 3068197"/>
              <a:gd name="connsiteY5" fmla="*/ 168008 h 2542142"/>
              <a:gd name="connsiteX6" fmla="*/ 145973 w 3068197"/>
              <a:gd name="connsiteY6" fmla="*/ 190041 h 2542142"/>
              <a:gd name="connsiteX7" fmla="*/ 179024 w 3068197"/>
              <a:gd name="connsiteY7" fmla="*/ 234109 h 2542142"/>
              <a:gd name="connsiteX8" fmla="*/ 223091 w 3068197"/>
              <a:gd name="connsiteY8" fmla="*/ 245126 h 2542142"/>
              <a:gd name="connsiteX9" fmla="*/ 267159 w 3068197"/>
              <a:gd name="connsiteY9" fmla="*/ 308473 h 2542142"/>
              <a:gd name="connsiteX10" fmla="*/ 327752 w 3068197"/>
              <a:gd name="connsiteY10" fmla="*/ 336015 h 2542142"/>
              <a:gd name="connsiteX11" fmla="*/ 324998 w 3068197"/>
              <a:gd name="connsiteY11" fmla="*/ 374574 h 2542142"/>
              <a:gd name="connsiteX12" fmla="*/ 302964 w 3068197"/>
              <a:gd name="connsiteY12" fmla="*/ 404870 h 2542142"/>
              <a:gd name="connsiteX13" fmla="*/ 291947 w 3068197"/>
              <a:gd name="connsiteY13" fmla="*/ 468217 h 2542142"/>
              <a:gd name="connsiteX14" fmla="*/ 308472 w 3068197"/>
              <a:gd name="connsiteY14" fmla="*/ 556352 h 2542142"/>
              <a:gd name="connsiteX15" fmla="*/ 349785 w 3068197"/>
              <a:gd name="connsiteY15" fmla="*/ 600420 h 2542142"/>
              <a:gd name="connsiteX16" fmla="*/ 391099 w 3068197"/>
              <a:gd name="connsiteY16" fmla="*/ 663767 h 2542142"/>
              <a:gd name="connsiteX17" fmla="*/ 462708 w 3068197"/>
              <a:gd name="connsiteY17" fmla="*/ 718851 h 2542142"/>
              <a:gd name="connsiteX18" fmla="*/ 542581 w 3068197"/>
              <a:gd name="connsiteY18" fmla="*/ 743639 h 2542142"/>
              <a:gd name="connsiteX19" fmla="*/ 616944 w 3068197"/>
              <a:gd name="connsiteY19" fmla="*/ 768427 h 2542142"/>
              <a:gd name="connsiteX20" fmla="*/ 638978 w 3068197"/>
              <a:gd name="connsiteY20" fmla="*/ 798723 h 2542142"/>
              <a:gd name="connsiteX21" fmla="*/ 721605 w 3068197"/>
              <a:gd name="connsiteY21" fmla="*/ 834528 h 2542142"/>
              <a:gd name="connsiteX22" fmla="*/ 757410 w 3068197"/>
              <a:gd name="connsiteY22" fmla="*/ 906138 h 2542142"/>
              <a:gd name="connsiteX23" fmla="*/ 782198 w 3068197"/>
              <a:gd name="connsiteY23" fmla="*/ 919909 h 2542142"/>
              <a:gd name="connsiteX24" fmla="*/ 801477 w 3068197"/>
              <a:gd name="connsiteY24" fmla="*/ 972239 h 2542142"/>
              <a:gd name="connsiteX25" fmla="*/ 840036 w 3068197"/>
              <a:gd name="connsiteY25" fmla="*/ 991518 h 2542142"/>
              <a:gd name="connsiteX26" fmla="*/ 884104 w 3068197"/>
              <a:gd name="connsiteY26" fmla="*/ 1008044 h 2542142"/>
              <a:gd name="connsiteX27" fmla="*/ 889612 w 3068197"/>
              <a:gd name="connsiteY27" fmla="*/ 1043849 h 2542142"/>
              <a:gd name="connsiteX28" fmla="*/ 917154 w 3068197"/>
              <a:gd name="connsiteY28" fmla="*/ 1054865 h 2542142"/>
              <a:gd name="connsiteX29" fmla="*/ 939188 w 3068197"/>
              <a:gd name="connsiteY29" fmla="*/ 1096179 h 2542142"/>
              <a:gd name="connsiteX30" fmla="*/ 1021814 w 3068197"/>
              <a:gd name="connsiteY30" fmla="*/ 1143000 h 2542142"/>
              <a:gd name="connsiteX31" fmla="*/ 1109949 w 3068197"/>
              <a:gd name="connsiteY31" fmla="*/ 1143000 h 2542142"/>
              <a:gd name="connsiteX32" fmla="*/ 1159525 w 3068197"/>
              <a:gd name="connsiteY32" fmla="*/ 1159526 h 2542142"/>
              <a:gd name="connsiteX33" fmla="*/ 1173296 w 3068197"/>
              <a:gd name="connsiteY33" fmla="*/ 1198085 h 2542142"/>
              <a:gd name="connsiteX34" fmla="*/ 1261431 w 3068197"/>
              <a:gd name="connsiteY34" fmla="*/ 1244906 h 2542142"/>
              <a:gd name="connsiteX35" fmla="*/ 1297236 w 3068197"/>
              <a:gd name="connsiteY35" fmla="*/ 1225627 h 2542142"/>
              <a:gd name="connsiteX36" fmla="*/ 1311007 w 3068197"/>
              <a:gd name="connsiteY36" fmla="*/ 1253169 h 2542142"/>
              <a:gd name="connsiteX37" fmla="*/ 1399142 w 3068197"/>
              <a:gd name="connsiteY37" fmla="*/ 1288974 h 2542142"/>
              <a:gd name="connsiteX38" fmla="*/ 1443210 w 3068197"/>
              <a:gd name="connsiteY38" fmla="*/ 1266940 h 2542142"/>
              <a:gd name="connsiteX39" fmla="*/ 1467998 w 3068197"/>
              <a:gd name="connsiteY39" fmla="*/ 1288974 h 2542142"/>
              <a:gd name="connsiteX40" fmla="*/ 1481769 w 3068197"/>
              <a:gd name="connsiteY40" fmla="*/ 1322024 h 2542142"/>
              <a:gd name="connsiteX41" fmla="*/ 1561641 w 3068197"/>
              <a:gd name="connsiteY41" fmla="*/ 1363338 h 2542142"/>
              <a:gd name="connsiteX42" fmla="*/ 1636005 w 3068197"/>
              <a:gd name="connsiteY42" fmla="*/ 1355075 h 2542142"/>
              <a:gd name="connsiteX43" fmla="*/ 1729648 w 3068197"/>
              <a:gd name="connsiteY43" fmla="*/ 1407405 h 2542142"/>
              <a:gd name="connsiteX44" fmla="*/ 1823291 w 3068197"/>
              <a:gd name="connsiteY44" fmla="*/ 1495540 h 2542142"/>
              <a:gd name="connsiteX45" fmla="*/ 1856342 w 3068197"/>
              <a:gd name="connsiteY45" fmla="*/ 1575412 h 2542142"/>
              <a:gd name="connsiteX46" fmla="*/ 1897655 w 3068197"/>
              <a:gd name="connsiteY46" fmla="*/ 1636005 h 2542142"/>
              <a:gd name="connsiteX47" fmla="*/ 1903164 w 3068197"/>
              <a:gd name="connsiteY47" fmla="*/ 1666302 h 2542142"/>
              <a:gd name="connsiteX48" fmla="*/ 1955494 w 3068197"/>
              <a:gd name="connsiteY48" fmla="*/ 1702106 h 2542142"/>
              <a:gd name="connsiteX49" fmla="*/ 2018841 w 3068197"/>
              <a:gd name="connsiteY49" fmla="*/ 1798504 h 2542142"/>
              <a:gd name="connsiteX50" fmla="*/ 2087696 w 3068197"/>
              <a:gd name="connsiteY50" fmla="*/ 1839817 h 2542142"/>
              <a:gd name="connsiteX51" fmla="*/ 2145535 w 3068197"/>
              <a:gd name="connsiteY51" fmla="*/ 1908673 h 2542142"/>
              <a:gd name="connsiteX52" fmla="*/ 2192357 w 3068197"/>
              <a:gd name="connsiteY52" fmla="*/ 1958249 h 2542142"/>
              <a:gd name="connsiteX53" fmla="*/ 2258458 w 3068197"/>
              <a:gd name="connsiteY53" fmla="*/ 2005070 h 2542142"/>
              <a:gd name="connsiteX54" fmla="*/ 2250195 w 3068197"/>
              <a:gd name="connsiteY54" fmla="*/ 2051892 h 2542142"/>
              <a:gd name="connsiteX55" fmla="*/ 2250195 w 3068197"/>
              <a:gd name="connsiteY55" fmla="*/ 2051892 h 2542142"/>
              <a:gd name="connsiteX56" fmla="*/ 2299771 w 3068197"/>
              <a:gd name="connsiteY56" fmla="*/ 2065663 h 2542142"/>
              <a:gd name="connsiteX57" fmla="*/ 2327313 w 3068197"/>
              <a:gd name="connsiteY57" fmla="*/ 2104222 h 2542142"/>
              <a:gd name="connsiteX58" fmla="*/ 2313542 w 3068197"/>
              <a:gd name="connsiteY58" fmla="*/ 2184094 h 2542142"/>
              <a:gd name="connsiteX59" fmla="*/ 2398923 w 3068197"/>
              <a:gd name="connsiteY59" fmla="*/ 2266721 h 2542142"/>
              <a:gd name="connsiteX60" fmla="*/ 2462270 w 3068197"/>
              <a:gd name="connsiteY60" fmla="*/ 2319051 h 2542142"/>
              <a:gd name="connsiteX61" fmla="*/ 2531125 w 3068197"/>
              <a:gd name="connsiteY61" fmla="*/ 2335576 h 2542142"/>
              <a:gd name="connsiteX62" fmla="*/ 2580701 w 3068197"/>
              <a:gd name="connsiteY62" fmla="*/ 2374135 h 2542142"/>
              <a:gd name="connsiteX63" fmla="*/ 2586210 w 3068197"/>
              <a:gd name="connsiteY63" fmla="*/ 2407186 h 2542142"/>
              <a:gd name="connsiteX64" fmla="*/ 2638540 w 3068197"/>
              <a:gd name="connsiteY64" fmla="*/ 2445745 h 2542142"/>
              <a:gd name="connsiteX65" fmla="*/ 2721166 w 3068197"/>
              <a:gd name="connsiteY65" fmla="*/ 2465024 h 2542142"/>
              <a:gd name="connsiteX66" fmla="*/ 2754217 w 3068197"/>
              <a:gd name="connsiteY66" fmla="*/ 2489812 h 2542142"/>
              <a:gd name="connsiteX67" fmla="*/ 2762479 w 3068197"/>
              <a:gd name="connsiteY67" fmla="*/ 2514600 h 2542142"/>
              <a:gd name="connsiteX68" fmla="*/ 2781759 w 3068197"/>
              <a:gd name="connsiteY68" fmla="*/ 2536634 h 2542142"/>
              <a:gd name="connsiteX69" fmla="*/ 2913961 w 3068197"/>
              <a:gd name="connsiteY69" fmla="*/ 2539388 h 2542142"/>
              <a:gd name="connsiteX70" fmla="*/ 3068197 w 3068197"/>
              <a:gd name="connsiteY70" fmla="*/ 2542142 h 2542142"/>
              <a:gd name="connsiteX0" fmla="*/ 5508 w 3068197"/>
              <a:gd name="connsiteY0" fmla="*/ 0 h 2580702"/>
              <a:gd name="connsiteX1" fmla="*/ 0 w 3068197"/>
              <a:gd name="connsiteY1" fmla="*/ 46822 h 2580702"/>
              <a:gd name="connsiteX2" fmla="*/ 33051 w 3068197"/>
              <a:gd name="connsiteY2" fmla="*/ 82627 h 2580702"/>
              <a:gd name="connsiteX3" fmla="*/ 63347 w 3068197"/>
              <a:gd name="connsiteY3" fmla="*/ 112923 h 2580702"/>
              <a:gd name="connsiteX4" fmla="*/ 90889 w 3068197"/>
              <a:gd name="connsiteY4" fmla="*/ 162499 h 2580702"/>
              <a:gd name="connsiteX5" fmla="*/ 129448 w 3068197"/>
              <a:gd name="connsiteY5" fmla="*/ 168008 h 2580702"/>
              <a:gd name="connsiteX6" fmla="*/ 145973 w 3068197"/>
              <a:gd name="connsiteY6" fmla="*/ 190041 h 2580702"/>
              <a:gd name="connsiteX7" fmla="*/ 179024 w 3068197"/>
              <a:gd name="connsiteY7" fmla="*/ 234109 h 2580702"/>
              <a:gd name="connsiteX8" fmla="*/ 223091 w 3068197"/>
              <a:gd name="connsiteY8" fmla="*/ 245126 h 2580702"/>
              <a:gd name="connsiteX9" fmla="*/ 267159 w 3068197"/>
              <a:gd name="connsiteY9" fmla="*/ 308473 h 2580702"/>
              <a:gd name="connsiteX10" fmla="*/ 327752 w 3068197"/>
              <a:gd name="connsiteY10" fmla="*/ 336015 h 2580702"/>
              <a:gd name="connsiteX11" fmla="*/ 324998 w 3068197"/>
              <a:gd name="connsiteY11" fmla="*/ 374574 h 2580702"/>
              <a:gd name="connsiteX12" fmla="*/ 302964 w 3068197"/>
              <a:gd name="connsiteY12" fmla="*/ 404870 h 2580702"/>
              <a:gd name="connsiteX13" fmla="*/ 291947 w 3068197"/>
              <a:gd name="connsiteY13" fmla="*/ 468217 h 2580702"/>
              <a:gd name="connsiteX14" fmla="*/ 308472 w 3068197"/>
              <a:gd name="connsiteY14" fmla="*/ 556352 h 2580702"/>
              <a:gd name="connsiteX15" fmla="*/ 349785 w 3068197"/>
              <a:gd name="connsiteY15" fmla="*/ 600420 h 2580702"/>
              <a:gd name="connsiteX16" fmla="*/ 391099 w 3068197"/>
              <a:gd name="connsiteY16" fmla="*/ 663767 h 2580702"/>
              <a:gd name="connsiteX17" fmla="*/ 462708 w 3068197"/>
              <a:gd name="connsiteY17" fmla="*/ 718851 h 2580702"/>
              <a:gd name="connsiteX18" fmla="*/ 542581 w 3068197"/>
              <a:gd name="connsiteY18" fmla="*/ 743639 h 2580702"/>
              <a:gd name="connsiteX19" fmla="*/ 616944 w 3068197"/>
              <a:gd name="connsiteY19" fmla="*/ 768427 h 2580702"/>
              <a:gd name="connsiteX20" fmla="*/ 638978 w 3068197"/>
              <a:gd name="connsiteY20" fmla="*/ 798723 h 2580702"/>
              <a:gd name="connsiteX21" fmla="*/ 721605 w 3068197"/>
              <a:gd name="connsiteY21" fmla="*/ 834528 h 2580702"/>
              <a:gd name="connsiteX22" fmla="*/ 757410 w 3068197"/>
              <a:gd name="connsiteY22" fmla="*/ 906138 h 2580702"/>
              <a:gd name="connsiteX23" fmla="*/ 782198 w 3068197"/>
              <a:gd name="connsiteY23" fmla="*/ 919909 h 2580702"/>
              <a:gd name="connsiteX24" fmla="*/ 801477 w 3068197"/>
              <a:gd name="connsiteY24" fmla="*/ 972239 h 2580702"/>
              <a:gd name="connsiteX25" fmla="*/ 840036 w 3068197"/>
              <a:gd name="connsiteY25" fmla="*/ 991518 h 2580702"/>
              <a:gd name="connsiteX26" fmla="*/ 884104 w 3068197"/>
              <a:gd name="connsiteY26" fmla="*/ 1008044 h 2580702"/>
              <a:gd name="connsiteX27" fmla="*/ 889612 w 3068197"/>
              <a:gd name="connsiteY27" fmla="*/ 1043849 h 2580702"/>
              <a:gd name="connsiteX28" fmla="*/ 917154 w 3068197"/>
              <a:gd name="connsiteY28" fmla="*/ 1054865 h 2580702"/>
              <a:gd name="connsiteX29" fmla="*/ 939188 w 3068197"/>
              <a:gd name="connsiteY29" fmla="*/ 1096179 h 2580702"/>
              <a:gd name="connsiteX30" fmla="*/ 1021814 w 3068197"/>
              <a:gd name="connsiteY30" fmla="*/ 1143000 h 2580702"/>
              <a:gd name="connsiteX31" fmla="*/ 1109949 w 3068197"/>
              <a:gd name="connsiteY31" fmla="*/ 1143000 h 2580702"/>
              <a:gd name="connsiteX32" fmla="*/ 1159525 w 3068197"/>
              <a:gd name="connsiteY32" fmla="*/ 1159526 h 2580702"/>
              <a:gd name="connsiteX33" fmla="*/ 1173296 w 3068197"/>
              <a:gd name="connsiteY33" fmla="*/ 1198085 h 2580702"/>
              <a:gd name="connsiteX34" fmla="*/ 1261431 w 3068197"/>
              <a:gd name="connsiteY34" fmla="*/ 1244906 h 2580702"/>
              <a:gd name="connsiteX35" fmla="*/ 1297236 w 3068197"/>
              <a:gd name="connsiteY35" fmla="*/ 1225627 h 2580702"/>
              <a:gd name="connsiteX36" fmla="*/ 1311007 w 3068197"/>
              <a:gd name="connsiteY36" fmla="*/ 1253169 h 2580702"/>
              <a:gd name="connsiteX37" fmla="*/ 1399142 w 3068197"/>
              <a:gd name="connsiteY37" fmla="*/ 1288974 h 2580702"/>
              <a:gd name="connsiteX38" fmla="*/ 1443210 w 3068197"/>
              <a:gd name="connsiteY38" fmla="*/ 1266940 h 2580702"/>
              <a:gd name="connsiteX39" fmla="*/ 1467998 w 3068197"/>
              <a:gd name="connsiteY39" fmla="*/ 1288974 h 2580702"/>
              <a:gd name="connsiteX40" fmla="*/ 1481769 w 3068197"/>
              <a:gd name="connsiteY40" fmla="*/ 1322024 h 2580702"/>
              <a:gd name="connsiteX41" fmla="*/ 1561641 w 3068197"/>
              <a:gd name="connsiteY41" fmla="*/ 1363338 h 2580702"/>
              <a:gd name="connsiteX42" fmla="*/ 1636005 w 3068197"/>
              <a:gd name="connsiteY42" fmla="*/ 1355075 h 2580702"/>
              <a:gd name="connsiteX43" fmla="*/ 1729648 w 3068197"/>
              <a:gd name="connsiteY43" fmla="*/ 1407405 h 2580702"/>
              <a:gd name="connsiteX44" fmla="*/ 1823291 w 3068197"/>
              <a:gd name="connsiteY44" fmla="*/ 1495540 h 2580702"/>
              <a:gd name="connsiteX45" fmla="*/ 1856342 w 3068197"/>
              <a:gd name="connsiteY45" fmla="*/ 1575412 h 2580702"/>
              <a:gd name="connsiteX46" fmla="*/ 1897655 w 3068197"/>
              <a:gd name="connsiteY46" fmla="*/ 1636005 h 2580702"/>
              <a:gd name="connsiteX47" fmla="*/ 1903164 w 3068197"/>
              <a:gd name="connsiteY47" fmla="*/ 1666302 h 2580702"/>
              <a:gd name="connsiteX48" fmla="*/ 1955494 w 3068197"/>
              <a:gd name="connsiteY48" fmla="*/ 1702106 h 2580702"/>
              <a:gd name="connsiteX49" fmla="*/ 2018841 w 3068197"/>
              <a:gd name="connsiteY49" fmla="*/ 1798504 h 2580702"/>
              <a:gd name="connsiteX50" fmla="*/ 2087696 w 3068197"/>
              <a:gd name="connsiteY50" fmla="*/ 1839817 h 2580702"/>
              <a:gd name="connsiteX51" fmla="*/ 2145535 w 3068197"/>
              <a:gd name="connsiteY51" fmla="*/ 1908673 h 2580702"/>
              <a:gd name="connsiteX52" fmla="*/ 2192357 w 3068197"/>
              <a:gd name="connsiteY52" fmla="*/ 1958249 h 2580702"/>
              <a:gd name="connsiteX53" fmla="*/ 2258458 w 3068197"/>
              <a:gd name="connsiteY53" fmla="*/ 2005070 h 2580702"/>
              <a:gd name="connsiteX54" fmla="*/ 2250195 w 3068197"/>
              <a:gd name="connsiteY54" fmla="*/ 2051892 h 2580702"/>
              <a:gd name="connsiteX55" fmla="*/ 2250195 w 3068197"/>
              <a:gd name="connsiteY55" fmla="*/ 2051892 h 2580702"/>
              <a:gd name="connsiteX56" fmla="*/ 2299771 w 3068197"/>
              <a:gd name="connsiteY56" fmla="*/ 2065663 h 2580702"/>
              <a:gd name="connsiteX57" fmla="*/ 2327313 w 3068197"/>
              <a:gd name="connsiteY57" fmla="*/ 2104222 h 2580702"/>
              <a:gd name="connsiteX58" fmla="*/ 2313542 w 3068197"/>
              <a:gd name="connsiteY58" fmla="*/ 2184094 h 2580702"/>
              <a:gd name="connsiteX59" fmla="*/ 2398923 w 3068197"/>
              <a:gd name="connsiteY59" fmla="*/ 2266721 h 2580702"/>
              <a:gd name="connsiteX60" fmla="*/ 2462270 w 3068197"/>
              <a:gd name="connsiteY60" fmla="*/ 2319051 h 2580702"/>
              <a:gd name="connsiteX61" fmla="*/ 2531125 w 3068197"/>
              <a:gd name="connsiteY61" fmla="*/ 2335576 h 2580702"/>
              <a:gd name="connsiteX62" fmla="*/ 2580701 w 3068197"/>
              <a:gd name="connsiteY62" fmla="*/ 2374135 h 2580702"/>
              <a:gd name="connsiteX63" fmla="*/ 2586210 w 3068197"/>
              <a:gd name="connsiteY63" fmla="*/ 2407186 h 2580702"/>
              <a:gd name="connsiteX64" fmla="*/ 2638540 w 3068197"/>
              <a:gd name="connsiteY64" fmla="*/ 2445745 h 2580702"/>
              <a:gd name="connsiteX65" fmla="*/ 2721166 w 3068197"/>
              <a:gd name="connsiteY65" fmla="*/ 2465024 h 2580702"/>
              <a:gd name="connsiteX66" fmla="*/ 2754217 w 3068197"/>
              <a:gd name="connsiteY66" fmla="*/ 2489812 h 2580702"/>
              <a:gd name="connsiteX67" fmla="*/ 2762479 w 3068197"/>
              <a:gd name="connsiteY67" fmla="*/ 2514600 h 2580702"/>
              <a:gd name="connsiteX68" fmla="*/ 2781759 w 3068197"/>
              <a:gd name="connsiteY68" fmla="*/ 2536634 h 2580702"/>
              <a:gd name="connsiteX69" fmla="*/ 2919470 w 3068197"/>
              <a:gd name="connsiteY69" fmla="*/ 2580702 h 2580702"/>
              <a:gd name="connsiteX70" fmla="*/ 3068197 w 3068197"/>
              <a:gd name="connsiteY70" fmla="*/ 2542142 h 2580702"/>
              <a:gd name="connsiteX0" fmla="*/ 5508 w 3068197"/>
              <a:gd name="connsiteY0" fmla="*/ 0 h 2580702"/>
              <a:gd name="connsiteX1" fmla="*/ 0 w 3068197"/>
              <a:gd name="connsiteY1" fmla="*/ 46822 h 2580702"/>
              <a:gd name="connsiteX2" fmla="*/ 33051 w 3068197"/>
              <a:gd name="connsiteY2" fmla="*/ 82627 h 2580702"/>
              <a:gd name="connsiteX3" fmla="*/ 63347 w 3068197"/>
              <a:gd name="connsiteY3" fmla="*/ 112923 h 2580702"/>
              <a:gd name="connsiteX4" fmla="*/ 90889 w 3068197"/>
              <a:gd name="connsiteY4" fmla="*/ 162499 h 2580702"/>
              <a:gd name="connsiteX5" fmla="*/ 129448 w 3068197"/>
              <a:gd name="connsiteY5" fmla="*/ 168008 h 2580702"/>
              <a:gd name="connsiteX6" fmla="*/ 145973 w 3068197"/>
              <a:gd name="connsiteY6" fmla="*/ 190041 h 2580702"/>
              <a:gd name="connsiteX7" fmla="*/ 179024 w 3068197"/>
              <a:gd name="connsiteY7" fmla="*/ 234109 h 2580702"/>
              <a:gd name="connsiteX8" fmla="*/ 223091 w 3068197"/>
              <a:gd name="connsiteY8" fmla="*/ 245126 h 2580702"/>
              <a:gd name="connsiteX9" fmla="*/ 267159 w 3068197"/>
              <a:gd name="connsiteY9" fmla="*/ 308473 h 2580702"/>
              <a:gd name="connsiteX10" fmla="*/ 327752 w 3068197"/>
              <a:gd name="connsiteY10" fmla="*/ 336015 h 2580702"/>
              <a:gd name="connsiteX11" fmla="*/ 324998 w 3068197"/>
              <a:gd name="connsiteY11" fmla="*/ 374574 h 2580702"/>
              <a:gd name="connsiteX12" fmla="*/ 302964 w 3068197"/>
              <a:gd name="connsiteY12" fmla="*/ 404870 h 2580702"/>
              <a:gd name="connsiteX13" fmla="*/ 291947 w 3068197"/>
              <a:gd name="connsiteY13" fmla="*/ 468217 h 2580702"/>
              <a:gd name="connsiteX14" fmla="*/ 308472 w 3068197"/>
              <a:gd name="connsiteY14" fmla="*/ 556352 h 2580702"/>
              <a:gd name="connsiteX15" fmla="*/ 349785 w 3068197"/>
              <a:gd name="connsiteY15" fmla="*/ 600420 h 2580702"/>
              <a:gd name="connsiteX16" fmla="*/ 391099 w 3068197"/>
              <a:gd name="connsiteY16" fmla="*/ 663767 h 2580702"/>
              <a:gd name="connsiteX17" fmla="*/ 462708 w 3068197"/>
              <a:gd name="connsiteY17" fmla="*/ 718851 h 2580702"/>
              <a:gd name="connsiteX18" fmla="*/ 542581 w 3068197"/>
              <a:gd name="connsiteY18" fmla="*/ 743639 h 2580702"/>
              <a:gd name="connsiteX19" fmla="*/ 616944 w 3068197"/>
              <a:gd name="connsiteY19" fmla="*/ 768427 h 2580702"/>
              <a:gd name="connsiteX20" fmla="*/ 638978 w 3068197"/>
              <a:gd name="connsiteY20" fmla="*/ 798723 h 2580702"/>
              <a:gd name="connsiteX21" fmla="*/ 721605 w 3068197"/>
              <a:gd name="connsiteY21" fmla="*/ 834528 h 2580702"/>
              <a:gd name="connsiteX22" fmla="*/ 757410 w 3068197"/>
              <a:gd name="connsiteY22" fmla="*/ 906138 h 2580702"/>
              <a:gd name="connsiteX23" fmla="*/ 782198 w 3068197"/>
              <a:gd name="connsiteY23" fmla="*/ 919909 h 2580702"/>
              <a:gd name="connsiteX24" fmla="*/ 801477 w 3068197"/>
              <a:gd name="connsiteY24" fmla="*/ 972239 h 2580702"/>
              <a:gd name="connsiteX25" fmla="*/ 840036 w 3068197"/>
              <a:gd name="connsiteY25" fmla="*/ 991518 h 2580702"/>
              <a:gd name="connsiteX26" fmla="*/ 884104 w 3068197"/>
              <a:gd name="connsiteY26" fmla="*/ 1008044 h 2580702"/>
              <a:gd name="connsiteX27" fmla="*/ 889612 w 3068197"/>
              <a:gd name="connsiteY27" fmla="*/ 1043849 h 2580702"/>
              <a:gd name="connsiteX28" fmla="*/ 917154 w 3068197"/>
              <a:gd name="connsiteY28" fmla="*/ 1054865 h 2580702"/>
              <a:gd name="connsiteX29" fmla="*/ 939188 w 3068197"/>
              <a:gd name="connsiteY29" fmla="*/ 1096179 h 2580702"/>
              <a:gd name="connsiteX30" fmla="*/ 1021814 w 3068197"/>
              <a:gd name="connsiteY30" fmla="*/ 1143000 h 2580702"/>
              <a:gd name="connsiteX31" fmla="*/ 1109949 w 3068197"/>
              <a:gd name="connsiteY31" fmla="*/ 1143000 h 2580702"/>
              <a:gd name="connsiteX32" fmla="*/ 1159525 w 3068197"/>
              <a:gd name="connsiteY32" fmla="*/ 1159526 h 2580702"/>
              <a:gd name="connsiteX33" fmla="*/ 1173296 w 3068197"/>
              <a:gd name="connsiteY33" fmla="*/ 1198085 h 2580702"/>
              <a:gd name="connsiteX34" fmla="*/ 1261431 w 3068197"/>
              <a:gd name="connsiteY34" fmla="*/ 1244906 h 2580702"/>
              <a:gd name="connsiteX35" fmla="*/ 1297236 w 3068197"/>
              <a:gd name="connsiteY35" fmla="*/ 1225627 h 2580702"/>
              <a:gd name="connsiteX36" fmla="*/ 1311007 w 3068197"/>
              <a:gd name="connsiteY36" fmla="*/ 1253169 h 2580702"/>
              <a:gd name="connsiteX37" fmla="*/ 1399142 w 3068197"/>
              <a:gd name="connsiteY37" fmla="*/ 1288974 h 2580702"/>
              <a:gd name="connsiteX38" fmla="*/ 1443210 w 3068197"/>
              <a:gd name="connsiteY38" fmla="*/ 1266940 h 2580702"/>
              <a:gd name="connsiteX39" fmla="*/ 1467998 w 3068197"/>
              <a:gd name="connsiteY39" fmla="*/ 1288974 h 2580702"/>
              <a:gd name="connsiteX40" fmla="*/ 1481769 w 3068197"/>
              <a:gd name="connsiteY40" fmla="*/ 1322024 h 2580702"/>
              <a:gd name="connsiteX41" fmla="*/ 1561641 w 3068197"/>
              <a:gd name="connsiteY41" fmla="*/ 1363338 h 2580702"/>
              <a:gd name="connsiteX42" fmla="*/ 1636005 w 3068197"/>
              <a:gd name="connsiteY42" fmla="*/ 1355075 h 2580702"/>
              <a:gd name="connsiteX43" fmla="*/ 1729648 w 3068197"/>
              <a:gd name="connsiteY43" fmla="*/ 1407405 h 2580702"/>
              <a:gd name="connsiteX44" fmla="*/ 1823291 w 3068197"/>
              <a:gd name="connsiteY44" fmla="*/ 1495540 h 2580702"/>
              <a:gd name="connsiteX45" fmla="*/ 1856342 w 3068197"/>
              <a:gd name="connsiteY45" fmla="*/ 1575412 h 2580702"/>
              <a:gd name="connsiteX46" fmla="*/ 1897655 w 3068197"/>
              <a:gd name="connsiteY46" fmla="*/ 1636005 h 2580702"/>
              <a:gd name="connsiteX47" fmla="*/ 1903164 w 3068197"/>
              <a:gd name="connsiteY47" fmla="*/ 1666302 h 2580702"/>
              <a:gd name="connsiteX48" fmla="*/ 1955494 w 3068197"/>
              <a:gd name="connsiteY48" fmla="*/ 1702106 h 2580702"/>
              <a:gd name="connsiteX49" fmla="*/ 2018841 w 3068197"/>
              <a:gd name="connsiteY49" fmla="*/ 1798504 h 2580702"/>
              <a:gd name="connsiteX50" fmla="*/ 2087696 w 3068197"/>
              <a:gd name="connsiteY50" fmla="*/ 1839817 h 2580702"/>
              <a:gd name="connsiteX51" fmla="*/ 2145535 w 3068197"/>
              <a:gd name="connsiteY51" fmla="*/ 1908673 h 2580702"/>
              <a:gd name="connsiteX52" fmla="*/ 2192357 w 3068197"/>
              <a:gd name="connsiteY52" fmla="*/ 1958249 h 2580702"/>
              <a:gd name="connsiteX53" fmla="*/ 2258458 w 3068197"/>
              <a:gd name="connsiteY53" fmla="*/ 2005070 h 2580702"/>
              <a:gd name="connsiteX54" fmla="*/ 2250195 w 3068197"/>
              <a:gd name="connsiteY54" fmla="*/ 2051892 h 2580702"/>
              <a:gd name="connsiteX55" fmla="*/ 2250195 w 3068197"/>
              <a:gd name="connsiteY55" fmla="*/ 2051892 h 2580702"/>
              <a:gd name="connsiteX56" fmla="*/ 2299771 w 3068197"/>
              <a:gd name="connsiteY56" fmla="*/ 2065663 h 2580702"/>
              <a:gd name="connsiteX57" fmla="*/ 2327313 w 3068197"/>
              <a:gd name="connsiteY57" fmla="*/ 2104222 h 2580702"/>
              <a:gd name="connsiteX58" fmla="*/ 2313542 w 3068197"/>
              <a:gd name="connsiteY58" fmla="*/ 2184094 h 2580702"/>
              <a:gd name="connsiteX59" fmla="*/ 2398923 w 3068197"/>
              <a:gd name="connsiteY59" fmla="*/ 2266721 h 2580702"/>
              <a:gd name="connsiteX60" fmla="*/ 2462270 w 3068197"/>
              <a:gd name="connsiteY60" fmla="*/ 2319051 h 2580702"/>
              <a:gd name="connsiteX61" fmla="*/ 2531125 w 3068197"/>
              <a:gd name="connsiteY61" fmla="*/ 2335576 h 2580702"/>
              <a:gd name="connsiteX62" fmla="*/ 2580701 w 3068197"/>
              <a:gd name="connsiteY62" fmla="*/ 2374135 h 2580702"/>
              <a:gd name="connsiteX63" fmla="*/ 2586210 w 3068197"/>
              <a:gd name="connsiteY63" fmla="*/ 2407186 h 2580702"/>
              <a:gd name="connsiteX64" fmla="*/ 2638540 w 3068197"/>
              <a:gd name="connsiteY64" fmla="*/ 2445745 h 2580702"/>
              <a:gd name="connsiteX65" fmla="*/ 2721166 w 3068197"/>
              <a:gd name="connsiteY65" fmla="*/ 2465024 h 2580702"/>
              <a:gd name="connsiteX66" fmla="*/ 2754217 w 3068197"/>
              <a:gd name="connsiteY66" fmla="*/ 2489812 h 2580702"/>
              <a:gd name="connsiteX67" fmla="*/ 2762479 w 3068197"/>
              <a:gd name="connsiteY67" fmla="*/ 2514600 h 2580702"/>
              <a:gd name="connsiteX68" fmla="*/ 2781759 w 3068197"/>
              <a:gd name="connsiteY68" fmla="*/ 2536634 h 2580702"/>
              <a:gd name="connsiteX69" fmla="*/ 2919470 w 3068197"/>
              <a:gd name="connsiteY69" fmla="*/ 2580702 h 2580702"/>
              <a:gd name="connsiteX70" fmla="*/ 2988325 w 3068197"/>
              <a:gd name="connsiteY70" fmla="*/ 2558668 h 2580702"/>
              <a:gd name="connsiteX71" fmla="*/ 3068197 w 3068197"/>
              <a:gd name="connsiteY71" fmla="*/ 2542142 h 2580702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021814 w 3068197"/>
              <a:gd name="connsiteY30" fmla="*/ 1143000 h 2591718"/>
              <a:gd name="connsiteX31" fmla="*/ 1109949 w 3068197"/>
              <a:gd name="connsiteY31" fmla="*/ 1143000 h 2591718"/>
              <a:gd name="connsiteX32" fmla="*/ 1159525 w 3068197"/>
              <a:gd name="connsiteY32" fmla="*/ 1159526 h 2591718"/>
              <a:gd name="connsiteX33" fmla="*/ 1173296 w 3068197"/>
              <a:gd name="connsiteY33" fmla="*/ 1198085 h 2591718"/>
              <a:gd name="connsiteX34" fmla="*/ 1261431 w 3068197"/>
              <a:gd name="connsiteY34" fmla="*/ 1244906 h 2591718"/>
              <a:gd name="connsiteX35" fmla="*/ 1297236 w 3068197"/>
              <a:gd name="connsiteY35" fmla="*/ 1225627 h 2591718"/>
              <a:gd name="connsiteX36" fmla="*/ 1311007 w 3068197"/>
              <a:gd name="connsiteY36" fmla="*/ 1253169 h 2591718"/>
              <a:gd name="connsiteX37" fmla="*/ 1399142 w 3068197"/>
              <a:gd name="connsiteY37" fmla="*/ 1288974 h 2591718"/>
              <a:gd name="connsiteX38" fmla="*/ 1443210 w 3068197"/>
              <a:gd name="connsiteY38" fmla="*/ 1266940 h 2591718"/>
              <a:gd name="connsiteX39" fmla="*/ 1467998 w 3068197"/>
              <a:gd name="connsiteY39" fmla="*/ 1288974 h 2591718"/>
              <a:gd name="connsiteX40" fmla="*/ 1481769 w 3068197"/>
              <a:gd name="connsiteY40" fmla="*/ 1322024 h 2591718"/>
              <a:gd name="connsiteX41" fmla="*/ 1561641 w 3068197"/>
              <a:gd name="connsiteY41" fmla="*/ 1363338 h 2591718"/>
              <a:gd name="connsiteX42" fmla="*/ 1636005 w 3068197"/>
              <a:gd name="connsiteY42" fmla="*/ 1355075 h 2591718"/>
              <a:gd name="connsiteX43" fmla="*/ 1729648 w 3068197"/>
              <a:gd name="connsiteY43" fmla="*/ 1407405 h 2591718"/>
              <a:gd name="connsiteX44" fmla="*/ 1823291 w 3068197"/>
              <a:gd name="connsiteY44" fmla="*/ 1495540 h 2591718"/>
              <a:gd name="connsiteX45" fmla="*/ 1856342 w 3068197"/>
              <a:gd name="connsiteY45" fmla="*/ 1575412 h 2591718"/>
              <a:gd name="connsiteX46" fmla="*/ 1897655 w 3068197"/>
              <a:gd name="connsiteY46" fmla="*/ 1636005 h 2591718"/>
              <a:gd name="connsiteX47" fmla="*/ 1903164 w 3068197"/>
              <a:gd name="connsiteY47" fmla="*/ 1666302 h 2591718"/>
              <a:gd name="connsiteX48" fmla="*/ 1955494 w 3068197"/>
              <a:gd name="connsiteY48" fmla="*/ 1702106 h 2591718"/>
              <a:gd name="connsiteX49" fmla="*/ 2018841 w 3068197"/>
              <a:gd name="connsiteY49" fmla="*/ 1798504 h 2591718"/>
              <a:gd name="connsiteX50" fmla="*/ 2087696 w 3068197"/>
              <a:gd name="connsiteY50" fmla="*/ 1839817 h 2591718"/>
              <a:gd name="connsiteX51" fmla="*/ 2145535 w 3068197"/>
              <a:gd name="connsiteY51" fmla="*/ 1908673 h 2591718"/>
              <a:gd name="connsiteX52" fmla="*/ 2192357 w 3068197"/>
              <a:gd name="connsiteY52" fmla="*/ 1958249 h 2591718"/>
              <a:gd name="connsiteX53" fmla="*/ 2258458 w 3068197"/>
              <a:gd name="connsiteY53" fmla="*/ 2005070 h 2591718"/>
              <a:gd name="connsiteX54" fmla="*/ 2250195 w 3068197"/>
              <a:gd name="connsiteY54" fmla="*/ 2051892 h 2591718"/>
              <a:gd name="connsiteX55" fmla="*/ 2250195 w 3068197"/>
              <a:gd name="connsiteY55" fmla="*/ 2051892 h 2591718"/>
              <a:gd name="connsiteX56" fmla="*/ 2299771 w 3068197"/>
              <a:gd name="connsiteY56" fmla="*/ 2065663 h 2591718"/>
              <a:gd name="connsiteX57" fmla="*/ 2327313 w 3068197"/>
              <a:gd name="connsiteY57" fmla="*/ 2104222 h 2591718"/>
              <a:gd name="connsiteX58" fmla="*/ 2313542 w 3068197"/>
              <a:gd name="connsiteY58" fmla="*/ 2184094 h 2591718"/>
              <a:gd name="connsiteX59" fmla="*/ 2398923 w 3068197"/>
              <a:gd name="connsiteY59" fmla="*/ 2266721 h 2591718"/>
              <a:gd name="connsiteX60" fmla="*/ 2462270 w 3068197"/>
              <a:gd name="connsiteY60" fmla="*/ 2319051 h 2591718"/>
              <a:gd name="connsiteX61" fmla="*/ 2531125 w 3068197"/>
              <a:gd name="connsiteY61" fmla="*/ 2335576 h 2591718"/>
              <a:gd name="connsiteX62" fmla="*/ 2580701 w 3068197"/>
              <a:gd name="connsiteY62" fmla="*/ 2374135 h 2591718"/>
              <a:gd name="connsiteX63" fmla="*/ 2586210 w 3068197"/>
              <a:gd name="connsiteY63" fmla="*/ 2407186 h 2591718"/>
              <a:gd name="connsiteX64" fmla="*/ 2638540 w 3068197"/>
              <a:gd name="connsiteY64" fmla="*/ 2445745 h 2591718"/>
              <a:gd name="connsiteX65" fmla="*/ 2721166 w 3068197"/>
              <a:gd name="connsiteY65" fmla="*/ 2465024 h 2591718"/>
              <a:gd name="connsiteX66" fmla="*/ 2754217 w 3068197"/>
              <a:gd name="connsiteY66" fmla="*/ 2489812 h 2591718"/>
              <a:gd name="connsiteX67" fmla="*/ 2762479 w 3068197"/>
              <a:gd name="connsiteY67" fmla="*/ 2514600 h 2591718"/>
              <a:gd name="connsiteX68" fmla="*/ 2781759 w 3068197"/>
              <a:gd name="connsiteY68" fmla="*/ 2536634 h 2591718"/>
              <a:gd name="connsiteX69" fmla="*/ 2919470 w 3068197"/>
              <a:gd name="connsiteY69" fmla="*/ 2580702 h 2591718"/>
              <a:gd name="connsiteX70" fmla="*/ 2988325 w 3068197"/>
              <a:gd name="connsiteY70" fmla="*/ 2591718 h 2591718"/>
              <a:gd name="connsiteX71" fmla="*/ 3068197 w 3068197"/>
              <a:gd name="connsiteY71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109949 w 3068197"/>
              <a:gd name="connsiteY30" fmla="*/ 1143000 h 2591718"/>
              <a:gd name="connsiteX31" fmla="*/ 1159525 w 3068197"/>
              <a:gd name="connsiteY31" fmla="*/ 1159526 h 2591718"/>
              <a:gd name="connsiteX32" fmla="*/ 1173296 w 3068197"/>
              <a:gd name="connsiteY32" fmla="*/ 1198085 h 2591718"/>
              <a:gd name="connsiteX33" fmla="*/ 1261431 w 3068197"/>
              <a:gd name="connsiteY33" fmla="*/ 1244906 h 2591718"/>
              <a:gd name="connsiteX34" fmla="*/ 1297236 w 3068197"/>
              <a:gd name="connsiteY34" fmla="*/ 1225627 h 2591718"/>
              <a:gd name="connsiteX35" fmla="*/ 1311007 w 3068197"/>
              <a:gd name="connsiteY35" fmla="*/ 1253169 h 2591718"/>
              <a:gd name="connsiteX36" fmla="*/ 1399142 w 3068197"/>
              <a:gd name="connsiteY36" fmla="*/ 1288974 h 2591718"/>
              <a:gd name="connsiteX37" fmla="*/ 1443210 w 3068197"/>
              <a:gd name="connsiteY37" fmla="*/ 1266940 h 2591718"/>
              <a:gd name="connsiteX38" fmla="*/ 1467998 w 3068197"/>
              <a:gd name="connsiteY38" fmla="*/ 1288974 h 2591718"/>
              <a:gd name="connsiteX39" fmla="*/ 1481769 w 3068197"/>
              <a:gd name="connsiteY39" fmla="*/ 1322024 h 2591718"/>
              <a:gd name="connsiteX40" fmla="*/ 1561641 w 3068197"/>
              <a:gd name="connsiteY40" fmla="*/ 1363338 h 2591718"/>
              <a:gd name="connsiteX41" fmla="*/ 1636005 w 3068197"/>
              <a:gd name="connsiteY41" fmla="*/ 1355075 h 2591718"/>
              <a:gd name="connsiteX42" fmla="*/ 1729648 w 3068197"/>
              <a:gd name="connsiteY42" fmla="*/ 1407405 h 2591718"/>
              <a:gd name="connsiteX43" fmla="*/ 1823291 w 3068197"/>
              <a:gd name="connsiteY43" fmla="*/ 1495540 h 2591718"/>
              <a:gd name="connsiteX44" fmla="*/ 1856342 w 3068197"/>
              <a:gd name="connsiteY44" fmla="*/ 1575412 h 2591718"/>
              <a:gd name="connsiteX45" fmla="*/ 1897655 w 3068197"/>
              <a:gd name="connsiteY45" fmla="*/ 1636005 h 2591718"/>
              <a:gd name="connsiteX46" fmla="*/ 1903164 w 3068197"/>
              <a:gd name="connsiteY46" fmla="*/ 1666302 h 2591718"/>
              <a:gd name="connsiteX47" fmla="*/ 1955494 w 3068197"/>
              <a:gd name="connsiteY47" fmla="*/ 1702106 h 2591718"/>
              <a:gd name="connsiteX48" fmla="*/ 2018841 w 3068197"/>
              <a:gd name="connsiteY48" fmla="*/ 1798504 h 2591718"/>
              <a:gd name="connsiteX49" fmla="*/ 2087696 w 3068197"/>
              <a:gd name="connsiteY49" fmla="*/ 1839817 h 2591718"/>
              <a:gd name="connsiteX50" fmla="*/ 2145535 w 3068197"/>
              <a:gd name="connsiteY50" fmla="*/ 1908673 h 2591718"/>
              <a:gd name="connsiteX51" fmla="*/ 2192357 w 3068197"/>
              <a:gd name="connsiteY51" fmla="*/ 1958249 h 2591718"/>
              <a:gd name="connsiteX52" fmla="*/ 2258458 w 3068197"/>
              <a:gd name="connsiteY52" fmla="*/ 2005070 h 2591718"/>
              <a:gd name="connsiteX53" fmla="*/ 2250195 w 3068197"/>
              <a:gd name="connsiteY53" fmla="*/ 2051892 h 2591718"/>
              <a:gd name="connsiteX54" fmla="*/ 2250195 w 3068197"/>
              <a:gd name="connsiteY54" fmla="*/ 2051892 h 2591718"/>
              <a:gd name="connsiteX55" fmla="*/ 2299771 w 3068197"/>
              <a:gd name="connsiteY55" fmla="*/ 2065663 h 2591718"/>
              <a:gd name="connsiteX56" fmla="*/ 2327313 w 3068197"/>
              <a:gd name="connsiteY56" fmla="*/ 2104222 h 2591718"/>
              <a:gd name="connsiteX57" fmla="*/ 2313542 w 3068197"/>
              <a:gd name="connsiteY57" fmla="*/ 2184094 h 2591718"/>
              <a:gd name="connsiteX58" fmla="*/ 2398923 w 3068197"/>
              <a:gd name="connsiteY58" fmla="*/ 2266721 h 2591718"/>
              <a:gd name="connsiteX59" fmla="*/ 2462270 w 3068197"/>
              <a:gd name="connsiteY59" fmla="*/ 2319051 h 2591718"/>
              <a:gd name="connsiteX60" fmla="*/ 2531125 w 3068197"/>
              <a:gd name="connsiteY60" fmla="*/ 2335576 h 2591718"/>
              <a:gd name="connsiteX61" fmla="*/ 2580701 w 3068197"/>
              <a:gd name="connsiteY61" fmla="*/ 2374135 h 2591718"/>
              <a:gd name="connsiteX62" fmla="*/ 2586210 w 3068197"/>
              <a:gd name="connsiteY62" fmla="*/ 2407186 h 2591718"/>
              <a:gd name="connsiteX63" fmla="*/ 2638540 w 3068197"/>
              <a:gd name="connsiteY63" fmla="*/ 2445745 h 2591718"/>
              <a:gd name="connsiteX64" fmla="*/ 2721166 w 3068197"/>
              <a:gd name="connsiteY64" fmla="*/ 2465024 h 2591718"/>
              <a:gd name="connsiteX65" fmla="*/ 2754217 w 3068197"/>
              <a:gd name="connsiteY65" fmla="*/ 2489812 h 2591718"/>
              <a:gd name="connsiteX66" fmla="*/ 2762479 w 3068197"/>
              <a:gd name="connsiteY66" fmla="*/ 2514600 h 2591718"/>
              <a:gd name="connsiteX67" fmla="*/ 2781759 w 3068197"/>
              <a:gd name="connsiteY67" fmla="*/ 2536634 h 2591718"/>
              <a:gd name="connsiteX68" fmla="*/ 2919470 w 3068197"/>
              <a:gd name="connsiteY68" fmla="*/ 2580702 h 2591718"/>
              <a:gd name="connsiteX69" fmla="*/ 2988325 w 3068197"/>
              <a:gd name="connsiteY69" fmla="*/ 2591718 h 2591718"/>
              <a:gd name="connsiteX70" fmla="*/ 3068197 w 3068197"/>
              <a:gd name="connsiteY70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159525 w 3068197"/>
              <a:gd name="connsiteY30" fmla="*/ 1159526 h 2591718"/>
              <a:gd name="connsiteX31" fmla="*/ 1173296 w 3068197"/>
              <a:gd name="connsiteY31" fmla="*/ 1198085 h 2591718"/>
              <a:gd name="connsiteX32" fmla="*/ 1261431 w 3068197"/>
              <a:gd name="connsiteY32" fmla="*/ 1244906 h 2591718"/>
              <a:gd name="connsiteX33" fmla="*/ 1297236 w 3068197"/>
              <a:gd name="connsiteY33" fmla="*/ 1225627 h 2591718"/>
              <a:gd name="connsiteX34" fmla="*/ 1311007 w 3068197"/>
              <a:gd name="connsiteY34" fmla="*/ 1253169 h 2591718"/>
              <a:gd name="connsiteX35" fmla="*/ 1399142 w 3068197"/>
              <a:gd name="connsiteY35" fmla="*/ 1288974 h 2591718"/>
              <a:gd name="connsiteX36" fmla="*/ 1443210 w 3068197"/>
              <a:gd name="connsiteY36" fmla="*/ 1266940 h 2591718"/>
              <a:gd name="connsiteX37" fmla="*/ 1467998 w 3068197"/>
              <a:gd name="connsiteY37" fmla="*/ 1288974 h 2591718"/>
              <a:gd name="connsiteX38" fmla="*/ 1481769 w 3068197"/>
              <a:gd name="connsiteY38" fmla="*/ 1322024 h 2591718"/>
              <a:gd name="connsiteX39" fmla="*/ 1561641 w 3068197"/>
              <a:gd name="connsiteY39" fmla="*/ 1363338 h 2591718"/>
              <a:gd name="connsiteX40" fmla="*/ 1636005 w 3068197"/>
              <a:gd name="connsiteY40" fmla="*/ 1355075 h 2591718"/>
              <a:gd name="connsiteX41" fmla="*/ 1729648 w 3068197"/>
              <a:gd name="connsiteY41" fmla="*/ 1407405 h 2591718"/>
              <a:gd name="connsiteX42" fmla="*/ 1823291 w 3068197"/>
              <a:gd name="connsiteY42" fmla="*/ 1495540 h 2591718"/>
              <a:gd name="connsiteX43" fmla="*/ 1856342 w 3068197"/>
              <a:gd name="connsiteY43" fmla="*/ 1575412 h 2591718"/>
              <a:gd name="connsiteX44" fmla="*/ 1897655 w 3068197"/>
              <a:gd name="connsiteY44" fmla="*/ 1636005 h 2591718"/>
              <a:gd name="connsiteX45" fmla="*/ 1903164 w 3068197"/>
              <a:gd name="connsiteY45" fmla="*/ 1666302 h 2591718"/>
              <a:gd name="connsiteX46" fmla="*/ 1955494 w 3068197"/>
              <a:gd name="connsiteY46" fmla="*/ 1702106 h 2591718"/>
              <a:gd name="connsiteX47" fmla="*/ 2018841 w 3068197"/>
              <a:gd name="connsiteY47" fmla="*/ 1798504 h 2591718"/>
              <a:gd name="connsiteX48" fmla="*/ 2087696 w 3068197"/>
              <a:gd name="connsiteY48" fmla="*/ 1839817 h 2591718"/>
              <a:gd name="connsiteX49" fmla="*/ 2145535 w 3068197"/>
              <a:gd name="connsiteY49" fmla="*/ 1908673 h 2591718"/>
              <a:gd name="connsiteX50" fmla="*/ 2192357 w 3068197"/>
              <a:gd name="connsiteY50" fmla="*/ 1958249 h 2591718"/>
              <a:gd name="connsiteX51" fmla="*/ 2258458 w 3068197"/>
              <a:gd name="connsiteY51" fmla="*/ 2005070 h 2591718"/>
              <a:gd name="connsiteX52" fmla="*/ 2250195 w 3068197"/>
              <a:gd name="connsiteY52" fmla="*/ 2051892 h 2591718"/>
              <a:gd name="connsiteX53" fmla="*/ 2250195 w 3068197"/>
              <a:gd name="connsiteY53" fmla="*/ 2051892 h 2591718"/>
              <a:gd name="connsiteX54" fmla="*/ 2299771 w 3068197"/>
              <a:gd name="connsiteY54" fmla="*/ 2065663 h 2591718"/>
              <a:gd name="connsiteX55" fmla="*/ 2327313 w 3068197"/>
              <a:gd name="connsiteY55" fmla="*/ 2104222 h 2591718"/>
              <a:gd name="connsiteX56" fmla="*/ 2313542 w 3068197"/>
              <a:gd name="connsiteY56" fmla="*/ 2184094 h 2591718"/>
              <a:gd name="connsiteX57" fmla="*/ 2398923 w 3068197"/>
              <a:gd name="connsiteY57" fmla="*/ 2266721 h 2591718"/>
              <a:gd name="connsiteX58" fmla="*/ 2462270 w 3068197"/>
              <a:gd name="connsiteY58" fmla="*/ 2319051 h 2591718"/>
              <a:gd name="connsiteX59" fmla="*/ 2531125 w 3068197"/>
              <a:gd name="connsiteY59" fmla="*/ 2335576 h 2591718"/>
              <a:gd name="connsiteX60" fmla="*/ 2580701 w 3068197"/>
              <a:gd name="connsiteY60" fmla="*/ 2374135 h 2591718"/>
              <a:gd name="connsiteX61" fmla="*/ 2586210 w 3068197"/>
              <a:gd name="connsiteY61" fmla="*/ 2407186 h 2591718"/>
              <a:gd name="connsiteX62" fmla="*/ 2638540 w 3068197"/>
              <a:gd name="connsiteY62" fmla="*/ 2445745 h 2591718"/>
              <a:gd name="connsiteX63" fmla="*/ 2721166 w 3068197"/>
              <a:gd name="connsiteY63" fmla="*/ 2465024 h 2591718"/>
              <a:gd name="connsiteX64" fmla="*/ 2754217 w 3068197"/>
              <a:gd name="connsiteY64" fmla="*/ 2489812 h 2591718"/>
              <a:gd name="connsiteX65" fmla="*/ 2762479 w 3068197"/>
              <a:gd name="connsiteY65" fmla="*/ 2514600 h 2591718"/>
              <a:gd name="connsiteX66" fmla="*/ 2781759 w 3068197"/>
              <a:gd name="connsiteY66" fmla="*/ 2536634 h 2591718"/>
              <a:gd name="connsiteX67" fmla="*/ 2919470 w 3068197"/>
              <a:gd name="connsiteY67" fmla="*/ 2580702 h 2591718"/>
              <a:gd name="connsiteX68" fmla="*/ 2988325 w 3068197"/>
              <a:gd name="connsiteY68" fmla="*/ 2591718 h 2591718"/>
              <a:gd name="connsiteX69" fmla="*/ 3068197 w 3068197"/>
              <a:gd name="connsiteY69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173296 w 3068197"/>
              <a:gd name="connsiteY30" fmla="*/ 1198085 h 2591718"/>
              <a:gd name="connsiteX31" fmla="*/ 1261431 w 3068197"/>
              <a:gd name="connsiteY31" fmla="*/ 1244906 h 2591718"/>
              <a:gd name="connsiteX32" fmla="*/ 1297236 w 3068197"/>
              <a:gd name="connsiteY32" fmla="*/ 1225627 h 2591718"/>
              <a:gd name="connsiteX33" fmla="*/ 1311007 w 3068197"/>
              <a:gd name="connsiteY33" fmla="*/ 1253169 h 2591718"/>
              <a:gd name="connsiteX34" fmla="*/ 1399142 w 3068197"/>
              <a:gd name="connsiteY34" fmla="*/ 1288974 h 2591718"/>
              <a:gd name="connsiteX35" fmla="*/ 1443210 w 3068197"/>
              <a:gd name="connsiteY35" fmla="*/ 1266940 h 2591718"/>
              <a:gd name="connsiteX36" fmla="*/ 1467998 w 3068197"/>
              <a:gd name="connsiteY36" fmla="*/ 1288974 h 2591718"/>
              <a:gd name="connsiteX37" fmla="*/ 1481769 w 3068197"/>
              <a:gd name="connsiteY37" fmla="*/ 1322024 h 2591718"/>
              <a:gd name="connsiteX38" fmla="*/ 1561641 w 3068197"/>
              <a:gd name="connsiteY38" fmla="*/ 1363338 h 2591718"/>
              <a:gd name="connsiteX39" fmla="*/ 1636005 w 3068197"/>
              <a:gd name="connsiteY39" fmla="*/ 1355075 h 2591718"/>
              <a:gd name="connsiteX40" fmla="*/ 1729648 w 3068197"/>
              <a:gd name="connsiteY40" fmla="*/ 1407405 h 2591718"/>
              <a:gd name="connsiteX41" fmla="*/ 1823291 w 3068197"/>
              <a:gd name="connsiteY41" fmla="*/ 1495540 h 2591718"/>
              <a:gd name="connsiteX42" fmla="*/ 1856342 w 3068197"/>
              <a:gd name="connsiteY42" fmla="*/ 1575412 h 2591718"/>
              <a:gd name="connsiteX43" fmla="*/ 1897655 w 3068197"/>
              <a:gd name="connsiteY43" fmla="*/ 1636005 h 2591718"/>
              <a:gd name="connsiteX44" fmla="*/ 1903164 w 3068197"/>
              <a:gd name="connsiteY44" fmla="*/ 1666302 h 2591718"/>
              <a:gd name="connsiteX45" fmla="*/ 1955494 w 3068197"/>
              <a:gd name="connsiteY45" fmla="*/ 1702106 h 2591718"/>
              <a:gd name="connsiteX46" fmla="*/ 2018841 w 3068197"/>
              <a:gd name="connsiteY46" fmla="*/ 1798504 h 2591718"/>
              <a:gd name="connsiteX47" fmla="*/ 2087696 w 3068197"/>
              <a:gd name="connsiteY47" fmla="*/ 1839817 h 2591718"/>
              <a:gd name="connsiteX48" fmla="*/ 2145535 w 3068197"/>
              <a:gd name="connsiteY48" fmla="*/ 1908673 h 2591718"/>
              <a:gd name="connsiteX49" fmla="*/ 2192357 w 3068197"/>
              <a:gd name="connsiteY49" fmla="*/ 1958249 h 2591718"/>
              <a:gd name="connsiteX50" fmla="*/ 2258458 w 3068197"/>
              <a:gd name="connsiteY50" fmla="*/ 2005070 h 2591718"/>
              <a:gd name="connsiteX51" fmla="*/ 2250195 w 3068197"/>
              <a:gd name="connsiteY51" fmla="*/ 2051892 h 2591718"/>
              <a:gd name="connsiteX52" fmla="*/ 2250195 w 3068197"/>
              <a:gd name="connsiteY52" fmla="*/ 2051892 h 2591718"/>
              <a:gd name="connsiteX53" fmla="*/ 2299771 w 3068197"/>
              <a:gd name="connsiteY53" fmla="*/ 2065663 h 2591718"/>
              <a:gd name="connsiteX54" fmla="*/ 2327313 w 3068197"/>
              <a:gd name="connsiteY54" fmla="*/ 2104222 h 2591718"/>
              <a:gd name="connsiteX55" fmla="*/ 2313542 w 3068197"/>
              <a:gd name="connsiteY55" fmla="*/ 2184094 h 2591718"/>
              <a:gd name="connsiteX56" fmla="*/ 2398923 w 3068197"/>
              <a:gd name="connsiteY56" fmla="*/ 2266721 h 2591718"/>
              <a:gd name="connsiteX57" fmla="*/ 2462270 w 3068197"/>
              <a:gd name="connsiteY57" fmla="*/ 2319051 h 2591718"/>
              <a:gd name="connsiteX58" fmla="*/ 2531125 w 3068197"/>
              <a:gd name="connsiteY58" fmla="*/ 2335576 h 2591718"/>
              <a:gd name="connsiteX59" fmla="*/ 2580701 w 3068197"/>
              <a:gd name="connsiteY59" fmla="*/ 2374135 h 2591718"/>
              <a:gd name="connsiteX60" fmla="*/ 2586210 w 3068197"/>
              <a:gd name="connsiteY60" fmla="*/ 2407186 h 2591718"/>
              <a:gd name="connsiteX61" fmla="*/ 2638540 w 3068197"/>
              <a:gd name="connsiteY61" fmla="*/ 2445745 h 2591718"/>
              <a:gd name="connsiteX62" fmla="*/ 2721166 w 3068197"/>
              <a:gd name="connsiteY62" fmla="*/ 2465024 h 2591718"/>
              <a:gd name="connsiteX63" fmla="*/ 2754217 w 3068197"/>
              <a:gd name="connsiteY63" fmla="*/ 2489812 h 2591718"/>
              <a:gd name="connsiteX64" fmla="*/ 2762479 w 3068197"/>
              <a:gd name="connsiteY64" fmla="*/ 2514600 h 2591718"/>
              <a:gd name="connsiteX65" fmla="*/ 2781759 w 3068197"/>
              <a:gd name="connsiteY65" fmla="*/ 2536634 h 2591718"/>
              <a:gd name="connsiteX66" fmla="*/ 2919470 w 3068197"/>
              <a:gd name="connsiteY66" fmla="*/ 2580702 h 2591718"/>
              <a:gd name="connsiteX67" fmla="*/ 2988325 w 3068197"/>
              <a:gd name="connsiteY67" fmla="*/ 2591718 h 2591718"/>
              <a:gd name="connsiteX68" fmla="*/ 3068197 w 3068197"/>
              <a:gd name="connsiteY68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261431 w 3068197"/>
              <a:gd name="connsiteY30" fmla="*/ 1244906 h 2591718"/>
              <a:gd name="connsiteX31" fmla="*/ 1297236 w 3068197"/>
              <a:gd name="connsiteY31" fmla="*/ 1225627 h 2591718"/>
              <a:gd name="connsiteX32" fmla="*/ 1311007 w 3068197"/>
              <a:gd name="connsiteY32" fmla="*/ 1253169 h 2591718"/>
              <a:gd name="connsiteX33" fmla="*/ 1399142 w 3068197"/>
              <a:gd name="connsiteY33" fmla="*/ 1288974 h 2591718"/>
              <a:gd name="connsiteX34" fmla="*/ 1443210 w 3068197"/>
              <a:gd name="connsiteY34" fmla="*/ 1266940 h 2591718"/>
              <a:gd name="connsiteX35" fmla="*/ 1467998 w 3068197"/>
              <a:gd name="connsiteY35" fmla="*/ 1288974 h 2591718"/>
              <a:gd name="connsiteX36" fmla="*/ 1481769 w 3068197"/>
              <a:gd name="connsiteY36" fmla="*/ 1322024 h 2591718"/>
              <a:gd name="connsiteX37" fmla="*/ 1561641 w 3068197"/>
              <a:gd name="connsiteY37" fmla="*/ 1363338 h 2591718"/>
              <a:gd name="connsiteX38" fmla="*/ 1636005 w 3068197"/>
              <a:gd name="connsiteY38" fmla="*/ 1355075 h 2591718"/>
              <a:gd name="connsiteX39" fmla="*/ 1729648 w 3068197"/>
              <a:gd name="connsiteY39" fmla="*/ 1407405 h 2591718"/>
              <a:gd name="connsiteX40" fmla="*/ 1823291 w 3068197"/>
              <a:gd name="connsiteY40" fmla="*/ 1495540 h 2591718"/>
              <a:gd name="connsiteX41" fmla="*/ 1856342 w 3068197"/>
              <a:gd name="connsiteY41" fmla="*/ 1575412 h 2591718"/>
              <a:gd name="connsiteX42" fmla="*/ 1897655 w 3068197"/>
              <a:gd name="connsiteY42" fmla="*/ 1636005 h 2591718"/>
              <a:gd name="connsiteX43" fmla="*/ 1903164 w 3068197"/>
              <a:gd name="connsiteY43" fmla="*/ 1666302 h 2591718"/>
              <a:gd name="connsiteX44" fmla="*/ 1955494 w 3068197"/>
              <a:gd name="connsiteY44" fmla="*/ 1702106 h 2591718"/>
              <a:gd name="connsiteX45" fmla="*/ 2018841 w 3068197"/>
              <a:gd name="connsiteY45" fmla="*/ 1798504 h 2591718"/>
              <a:gd name="connsiteX46" fmla="*/ 2087696 w 3068197"/>
              <a:gd name="connsiteY46" fmla="*/ 1839817 h 2591718"/>
              <a:gd name="connsiteX47" fmla="*/ 2145535 w 3068197"/>
              <a:gd name="connsiteY47" fmla="*/ 1908673 h 2591718"/>
              <a:gd name="connsiteX48" fmla="*/ 2192357 w 3068197"/>
              <a:gd name="connsiteY48" fmla="*/ 1958249 h 2591718"/>
              <a:gd name="connsiteX49" fmla="*/ 2258458 w 3068197"/>
              <a:gd name="connsiteY49" fmla="*/ 2005070 h 2591718"/>
              <a:gd name="connsiteX50" fmla="*/ 2250195 w 3068197"/>
              <a:gd name="connsiteY50" fmla="*/ 2051892 h 2591718"/>
              <a:gd name="connsiteX51" fmla="*/ 2250195 w 3068197"/>
              <a:gd name="connsiteY51" fmla="*/ 2051892 h 2591718"/>
              <a:gd name="connsiteX52" fmla="*/ 2299771 w 3068197"/>
              <a:gd name="connsiteY52" fmla="*/ 2065663 h 2591718"/>
              <a:gd name="connsiteX53" fmla="*/ 2327313 w 3068197"/>
              <a:gd name="connsiteY53" fmla="*/ 2104222 h 2591718"/>
              <a:gd name="connsiteX54" fmla="*/ 2313542 w 3068197"/>
              <a:gd name="connsiteY54" fmla="*/ 2184094 h 2591718"/>
              <a:gd name="connsiteX55" fmla="*/ 2398923 w 3068197"/>
              <a:gd name="connsiteY55" fmla="*/ 2266721 h 2591718"/>
              <a:gd name="connsiteX56" fmla="*/ 2462270 w 3068197"/>
              <a:gd name="connsiteY56" fmla="*/ 2319051 h 2591718"/>
              <a:gd name="connsiteX57" fmla="*/ 2531125 w 3068197"/>
              <a:gd name="connsiteY57" fmla="*/ 2335576 h 2591718"/>
              <a:gd name="connsiteX58" fmla="*/ 2580701 w 3068197"/>
              <a:gd name="connsiteY58" fmla="*/ 2374135 h 2591718"/>
              <a:gd name="connsiteX59" fmla="*/ 2586210 w 3068197"/>
              <a:gd name="connsiteY59" fmla="*/ 2407186 h 2591718"/>
              <a:gd name="connsiteX60" fmla="*/ 2638540 w 3068197"/>
              <a:gd name="connsiteY60" fmla="*/ 2445745 h 2591718"/>
              <a:gd name="connsiteX61" fmla="*/ 2721166 w 3068197"/>
              <a:gd name="connsiteY61" fmla="*/ 2465024 h 2591718"/>
              <a:gd name="connsiteX62" fmla="*/ 2754217 w 3068197"/>
              <a:gd name="connsiteY62" fmla="*/ 2489812 h 2591718"/>
              <a:gd name="connsiteX63" fmla="*/ 2762479 w 3068197"/>
              <a:gd name="connsiteY63" fmla="*/ 2514600 h 2591718"/>
              <a:gd name="connsiteX64" fmla="*/ 2781759 w 3068197"/>
              <a:gd name="connsiteY64" fmla="*/ 2536634 h 2591718"/>
              <a:gd name="connsiteX65" fmla="*/ 2919470 w 3068197"/>
              <a:gd name="connsiteY65" fmla="*/ 2580702 h 2591718"/>
              <a:gd name="connsiteX66" fmla="*/ 2988325 w 3068197"/>
              <a:gd name="connsiteY66" fmla="*/ 2591718 h 2591718"/>
              <a:gd name="connsiteX67" fmla="*/ 3068197 w 3068197"/>
              <a:gd name="connsiteY67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297236 w 3068197"/>
              <a:gd name="connsiteY30" fmla="*/ 1225627 h 2591718"/>
              <a:gd name="connsiteX31" fmla="*/ 1311007 w 3068197"/>
              <a:gd name="connsiteY31" fmla="*/ 1253169 h 2591718"/>
              <a:gd name="connsiteX32" fmla="*/ 1399142 w 3068197"/>
              <a:gd name="connsiteY32" fmla="*/ 1288974 h 2591718"/>
              <a:gd name="connsiteX33" fmla="*/ 1443210 w 3068197"/>
              <a:gd name="connsiteY33" fmla="*/ 1266940 h 2591718"/>
              <a:gd name="connsiteX34" fmla="*/ 1467998 w 3068197"/>
              <a:gd name="connsiteY34" fmla="*/ 1288974 h 2591718"/>
              <a:gd name="connsiteX35" fmla="*/ 1481769 w 3068197"/>
              <a:gd name="connsiteY35" fmla="*/ 1322024 h 2591718"/>
              <a:gd name="connsiteX36" fmla="*/ 1561641 w 3068197"/>
              <a:gd name="connsiteY36" fmla="*/ 1363338 h 2591718"/>
              <a:gd name="connsiteX37" fmla="*/ 1636005 w 3068197"/>
              <a:gd name="connsiteY37" fmla="*/ 1355075 h 2591718"/>
              <a:gd name="connsiteX38" fmla="*/ 1729648 w 3068197"/>
              <a:gd name="connsiteY38" fmla="*/ 1407405 h 2591718"/>
              <a:gd name="connsiteX39" fmla="*/ 1823291 w 3068197"/>
              <a:gd name="connsiteY39" fmla="*/ 1495540 h 2591718"/>
              <a:gd name="connsiteX40" fmla="*/ 1856342 w 3068197"/>
              <a:gd name="connsiteY40" fmla="*/ 1575412 h 2591718"/>
              <a:gd name="connsiteX41" fmla="*/ 1897655 w 3068197"/>
              <a:gd name="connsiteY41" fmla="*/ 1636005 h 2591718"/>
              <a:gd name="connsiteX42" fmla="*/ 1903164 w 3068197"/>
              <a:gd name="connsiteY42" fmla="*/ 1666302 h 2591718"/>
              <a:gd name="connsiteX43" fmla="*/ 1955494 w 3068197"/>
              <a:gd name="connsiteY43" fmla="*/ 1702106 h 2591718"/>
              <a:gd name="connsiteX44" fmla="*/ 2018841 w 3068197"/>
              <a:gd name="connsiteY44" fmla="*/ 1798504 h 2591718"/>
              <a:gd name="connsiteX45" fmla="*/ 2087696 w 3068197"/>
              <a:gd name="connsiteY45" fmla="*/ 1839817 h 2591718"/>
              <a:gd name="connsiteX46" fmla="*/ 2145535 w 3068197"/>
              <a:gd name="connsiteY46" fmla="*/ 1908673 h 2591718"/>
              <a:gd name="connsiteX47" fmla="*/ 2192357 w 3068197"/>
              <a:gd name="connsiteY47" fmla="*/ 1958249 h 2591718"/>
              <a:gd name="connsiteX48" fmla="*/ 2258458 w 3068197"/>
              <a:gd name="connsiteY48" fmla="*/ 2005070 h 2591718"/>
              <a:gd name="connsiteX49" fmla="*/ 2250195 w 3068197"/>
              <a:gd name="connsiteY49" fmla="*/ 2051892 h 2591718"/>
              <a:gd name="connsiteX50" fmla="*/ 2250195 w 3068197"/>
              <a:gd name="connsiteY50" fmla="*/ 2051892 h 2591718"/>
              <a:gd name="connsiteX51" fmla="*/ 2299771 w 3068197"/>
              <a:gd name="connsiteY51" fmla="*/ 2065663 h 2591718"/>
              <a:gd name="connsiteX52" fmla="*/ 2327313 w 3068197"/>
              <a:gd name="connsiteY52" fmla="*/ 2104222 h 2591718"/>
              <a:gd name="connsiteX53" fmla="*/ 2313542 w 3068197"/>
              <a:gd name="connsiteY53" fmla="*/ 2184094 h 2591718"/>
              <a:gd name="connsiteX54" fmla="*/ 2398923 w 3068197"/>
              <a:gd name="connsiteY54" fmla="*/ 2266721 h 2591718"/>
              <a:gd name="connsiteX55" fmla="*/ 2462270 w 3068197"/>
              <a:gd name="connsiteY55" fmla="*/ 2319051 h 2591718"/>
              <a:gd name="connsiteX56" fmla="*/ 2531125 w 3068197"/>
              <a:gd name="connsiteY56" fmla="*/ 2335576 h 2591718"/>
              <a:gd name="connsiteX57" fmla="*/ 2580701 w 3068197"/>
              <a:gd name="connsiteY57" fmla="*/ 2374135 h 2591718"/>
              <a:gd name="connsiteX58" fmla="*/ 2586210 w 3068197"/>
              <a:gd name="connsiteY58" fmla="*/ 2407186 h 2591718"/>
              <a:gd name="connsiteX59" fmla="*/ 2638540 w 3068197"/>
              <a:gd name="connsiteY59" fmla="*/ 2445745 h 2591718"/>
              <a:gd name="connsiteX60" fmla="*/ 2721166 w 3068197"/>
              <a:gd name="connsiteY60" fmla="*/ 2465024 h 2591718"/>
              <a:gd name="connsiteX61" fmla="*/ 2754217 w 3068197"/>
              <a:gd name="connsiteY61" fmla="*/ 2489812 h 2591718"/>
              <a:gd name="connsiteX62" fmla="*/ 2762479 w 3068197"/>
              <a:gd name="connsiteY62" fmla="*/ 2514600 h 2591718"/>
              <a:gd name="connsiteX63" fmla="*/ 2781759 w 3068197"/>
              <a:gd name="connsiteY63" fmla="*/ 2536634 h 2591718"/>
              <a:gd name="connsiteX64" fmla="*/ 2919470 w 3068197"/>
              <a:gd name="connsiteY64" fmla="*/ 2580702 h 2591718"/>
              <a:gd name="connsiteX65" fmla="*/ 2988325 w 3068197"/>
              <a:gd name="connsiteY65" fmla="*/ 2591718 h 2591718"/>
              <a:gd name="connsiteX66" fmla="*/ 3068197 w 3068197"/>
              <a:gd name="connsiteY66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297236 w 3068197"/>
              <a:gd name="connsiteY30" fmla="*/ 1225627 h 2591718"/>
              <a:gd name="connsiteX31" fmla="*/ 1399142 w 3068197"/>
              <a:gd name="connsiteY31" fmla="*/ 1288974 h 2591718"/>
              <a:gd name="connsiteX32" fmla="*/ 1443210 w 3068197"/>
              <a:gd name="connsiteY32" fmla="*/ 1266940 h 2591718"/>
              <a:gd name="connsiteX33" fmla="*/ 1467998 w 3068197"/>
              <a:gd name="connsiteY33" fmla="*/ 1288974 h 2591718"/>
              <a:gd name="connsiteX34" fmla="*/ 1481769 w 3068197"/>
              <a:gd name="connsiteY34" fmla="*/ 1322024 h 2591718"/>
              <a:gd name="connsiteX35" fmla="*/ 1561641 w 3068197"/>
              <a:gd name="connsiteY35" fmla="*/ 1363338 h 2591718"/>
              <a:gd name="connsiteX36" fmla="*/ 1636005 w 3068197"/>
              <a:gd name="connsiteY36" fmla="*/ 1355075 h 2591718"/>
              <a:gd name="connsiteX37" fmla="*/ 1729648 w 3068197"/>
              <a:gd name="connsiteY37" fmla="*/ 1407405 h 2591718"/>
              <a:gd name="connsiteX38" fmla="*/ 1823291 w 3068197"/>
              <a:gd name="connsiteY38" fmla="*/ 1495540 h 2591718"/>
              <a:gd name="connsiteX39" fmla="*/ 1856342 w 3068197"/>
              <a:gd name="connsiteY39" fmla="*/ 1575412 h 2591718"/>
              <a:gd name="connsiteX40" fmla="*/ 1897655 w 3068197"/>
              <a:gd name="connsiteY40" fmla="*/ 1636005 h 2591718"/>
              <a:gd name="connsiteX41" fmla="*/ 1903164 w 3068197"/>
              <a:gd name="connsiteY41" fmla="*/ 1666302 h 2591718"/>
              <a:gd name="connsiteX42" fmla="*/ 1955494 w 3068197"/>
              <a:gd name="connsiteY42" fmla="*/ 1702106 h 2591718"/>
              <a:gd name="connsiteX43" fmla="*/ 2018841 w 3068197"/>
              <a:gd name="connsiteY43" fmla="*/ 1798504 h 2591718"/>
              <a:gd name="connsiteX44" fmla="*/ 2087696 w 3068197"/>
              <a:gd name="connsiteY44" fmla="*/ 1839817 h 2591718"/>
              <a:gd name="connsiteX45" fmla="*/ 2145535 w 3068197"/>
              <a:gd name="connsiteY45" fmla="*/ 1908673 h 2591718"/>
              <a:gd name="connsiteX46" fmla="*/ 2192357 w 3068197"/>
              <a:gd name="connsiteY46" fmla="*/ 1958249 h 2591718"/>
              <a:gd name="connsiteX47" fmla="*/ 2258458 w 3068197"/>
              <a:gd name="connsiteY47" fmla="*/ 2005070 h 2591718"/>
              <a:gd name="connsiteX48" fmla="*/ 2250195 w 3068197"/>
              <a:gd name="connsiteY48" fmla="*/ 2051892 h 2591718"/>
              <a:gd name="connsiteX49" fmla="*/ 2250195 w 3068197"/>
              <a:gd name="connsiteY49" fmla="*/ 2051892 h 2591718"/>
              <a:gd name="connsiteX50" fmla="*/ 2299771 w 3068197"/>
              <a:gd name="connsiteY50" fmla="*/ 2065663 h 2591718"/>
              <a:gd name="connsiteX51" fmla="*/ 2327313 w 3068197"/>
              <a:gd name="connsiteY51" fmla="*/ 2104222 h 2591718"/>
              <a:gd name="connsiteX52" fmla="*/ 2313542 w 3068197"/>
              <a:gd name="connsiteY52" fmla="*/ 2184094 h 2591718"/>
              <a:gd name="connsiteX53" fmla="*/ 2398923 w 3068197"/>
              <a:gd name="connsiteY53" fmla="*/ 2266721 h 2591718"/>
              <a:gd name="connsiteX54" fmla="*/ 2462270 w 3068197"/>
              <a:gd name="connsiteY54" fmla="*/ 2319051 h 2591718"/>
              <a:gd name="connsiteX55" fmla="*/ 2531125 w 3068197"/>
              <a:gd name="connsiteY55" fmla="*/ 2335576 h 2591718"/>
              <a:gd name="connsiteX56" fmla="*/ 2580701 w 3068197"/>
              <a:gd name="connsiteY56" fmla="*/ 2374135 h 2591718"/>
              <a:gd name="connsiteX57" fmla="*/ 2586210 w 3068197"/>
              <a:gd name="connsiteY57" fmla="*/ 2407186 h 2591718"/>
              <a:gd name="connsiteX58" fmla="*/ 2638540 w 3068197"/>
              <a:gd name="connsiteY58" fmla="*/ 2445745 h 2591718"/>
              <a:gd name="connsiteX59" fmla="*/ 2721166 w 3068197"/>
              <a:gd name="connsiteY59" fmla="*/ 2465024 h 2591718"/>
              <a:gd name="connsiteX60" fmla="*/ 2754217 w 3068197"/>
              <a:gd name="connsiteY60" fmla="*/ 2489812 h 2591718"/>
              <a:gd name="connsiteX61" fmla="*/ 2762479 w 3068197"/>
              <a:gd name="connsiteY61" fmla="*/ 2514600 h 2591718"/>
              <a:gd name="connsiteX62" fmla="*/ 2781759 w 3068197"/>
              <a:gd name="connsiteY62" fmla="*/ 2536634 h 2591718"/>
              <a:gd name="connsiteX63" fmla="*/ 2919470 w 3068197"/>
              <a:gd name="connsiteY63" fmla="*/ 2580702 h 2591718"/>
              <a:gd name="connsiteX64" fmla="*/ 2988325 w 3068197"/>
              <a:gd name="connsiteY64" fmla="*/ 2591718 h 2591718"/>
              <a:gd name="connsiteX65" fmla="*/ 3068197 w 3068197"/>
              <a:gd name="connsiteY65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399142 w 3068197"/>
              <a:gd name="connsiteY30" fmla="*/ 1288974 h 2591718"/>
              <a:gd name="connsiteX31" fmla="*/ 1443210 w 3068197"/>
              <a:gd name="connsiteY31" fmla="*/ 1266940 h 2591718"/>
              <a:gd name="connsiteX32" fmla="*/ 1467998 w 3068197"/>
              <a:gd name="connsiteY32" fmla="*/ 1288974 h 2591718"/>
              <a:gd name="connsiteX33" fmla="*/ 1481769 w 3068197"/>
              <a:gd name="connsiteY33" fmla="*/ 1322024 h 2591718"/>
              <a:gd name="connsiteX34" fmla="*/ 1561641 w 3068197"/>
              <a:gd name="connsiteY34" fmla="*/ 1363338 h 2591718"/>
              <a:gd name="connsiteX35" fmla="*/ 1636005 w 3068197"/>
              <a:gd name="connsiteY35" fmla="*/ 1355075 h 2591718"/>
              <a:gd name="connsiteX36" fmla="*/ 1729648 w 3068197"/>
              <a:gd name="connsiteY36" fmla="*/ 1407405 h 2591718"/>
              <a:gd name="connsiteX37" fmla="*/ 1823291 w 3068197"/>
              <a:gd name="connsiteY37" fmla="*/ 1495540 h 2591718"/>
              <a:gd name="connsiteX38" fmla="*/ 1856342 w 3068197"/>
              <a:gd name="connsiteY38" fmla="*/ 1575412 h 2591718"/>
              <a:gd name="connsiteX39" fmla="*/ 1897655 w 3068197"/>
              <a:gd name="connsiteY39" fmla="*/ 1636005 h 2591718"/>
              <a:gd name="connsiteX40" fmla="*/ 1903164 w 3068197"/>
              <a:gd name="connsiteY40" fmla="*/ 1666302 h 2591718"/>
              <a:gd name="connsiteX41" fmla="*/ 1955494 w 3068197"/>
              <a:gd name="connsiteY41" fmla="*/ 1702106 h 2591718"/>
              <a:gd name="connsiteX42" fmla="*/ 2018841 w 3068197"/>
              <a:gd name="connsiteY42" fmla="*/ 1798504 h 2591718"/>
              <a:gd name="connsiteX43" fmla="*/ 2087696 w 3068197"/>
              <a:gd name="connsiteY43" fmla="*/ 1839817 h 2591718"/>
              <a:gd name="connsiteX44" fmla="*/ 2145535 w 3068197"/>
              <a:gd name="connsiteY44" fmla="*/ 1908673 h 2591718"/>
              <a:gd name="connsiteX45" fmla="*/ 2192357 w 3068197"/>
              <a:gd name="connsiteY45" fmla="*/ 1958249 h 2591718"/>
              <a:gd name="connsiteX46" fmla="*/ 2258458 w 3068197"/>
              <a:gd name="connsiteY46" fmla="*/ 2005070 h 2591718"/>
              <a:gd name="connsiteX47" fmla="*/ 2250195 w 3068197"/>
              <a:gd name="connsiteY47" fmla="*/ 2051892 h 2591718"/>
              <a:gd name="connsiteX48" fmla="*/ 2250195 w 3068197"/>
              <a:gd name="connsiteY48" fmla="*/ 2051892 h 2591718"/>
              <a:gd name="connsiteX49" fmla="*/ 2299771 w 3068197"/>
              <a:gd name="connsiteY49" fmla="*/ 2065663 h 2591718"/>
              <a:gd name="connsiteX50" fmla="*/ 2327313 w 3068197"/>
              <a:gd name="connsiteY50" fmla="*/ 2104222 h 2591718"/>
              <a:gd name="connsiteX51" fmla="*/ 2313542 w 3068197"/>
              <a:gd name="connsiteY51" fmla="*/ 2184094 h 2591718"/>
              <a:gd name="connsiteX52" fmla="*/ 2398923 w 3068197"/>
              <a:gd name="connsiteY52" fmla="*/ 2266721 h 2591718"/>
              <a:gd name="connsiteX53" fmla="*/ 2462270 w 3068197"/>
              <a:gd name="connsiteY53" fmla="*/ 2319051 h 2591718"/>
              <a:gd name="connsiteX54" fmla="*/ 2531125 w 3068197"/>
              <a:gd name="connsiteY54" fmla="*/ 2335576 h 2591718"/>
              <a:gd name="connsiteX55" fmla="*/ 2580701 w 3068197"/>
              <a:gd name="connsiteY55" fmla="*/ 2374135 h 2591718"/>
              <a:gd name="connsiteX56" fmla="*/ 2586210 w 3068197"/>
              <a:gd name="connsiteY56" fmla="*/ 2407186 h 2591718"/>
              <a:gd name="connsiteX57" fmla="*/ 2638540 w 3068197"/>
              <a:gd name="connsiteY57" fmla="*/ 2445745 h 2591718"/>
              <a:gd name="connsiteX58" fmla="*/ 2721166 w 3068197"/>
              <a:gd name="connsiteY58" fmla="*/ 2465024 h 2591718"/>
              <a:gd name="connsiteX59" fmla="*/ 2754217 w 3068197"/>
              <a:gd name="connsiteY59" fmla="*/ 2489812 h 2591718"/>
              <a:gd name="connsiteX60" fmla="*/ 2762479 w 3068197"/>
              <a:gd name="connsiteY60" fmla="*/ 2514600 h 2591718"/>
              <a:gd name="connsiteX61" fmla="*/ 2781759 w 3068197"/>
              <a:gd name="connsiteY61" fmla="*/ 2536634 h 2591718"/>
              <a:gd name="connsiteX62" fmla="*/ 2919470 w 3068197"/>
              <a:gd name="connsiteY62" fmla="*/ 2580702 h 2591718"/>
              <a:gd name="connsiteX63" fmla="*/ 2988325 w 3068197"/>
              <a:gd name="connsiteY63" fmla="*/ 2591718 h 2591718"/>
              <a:gd name="connsiteX64" fmla="*/ 3068197 w 3068197"/>
              <a:gd name="connsiteY64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399142 w 3068197"/>
              <a:gd name="connsiteY30" fmla="*/ 1288974 h 2591718"/>
              <a:gd name="connsiteX31" fmla="*/ 1467998 w 3068197"/>
              <a:gd name="connsiteY31" fmla="*/ 1288974 h 2591718"/>
              <a:gd name="connsiteX32" fmla="*/ 1481769 w 3068197"/>
              <a:gd name="connsiteY32" fmla="*/ 1322024 h 2591718"/>
              <a:gd name="connsiteX33" fmla="*/ 1561641 w 3068197"/>
              <a:gd name="connsiteY33" fmla="*/ 1363338 h 2591718"/>
              <a:gd name="connsiteX34" fmla="*/ 1636005 w 3068197"/>
              <a:gd name="connsiteY34" fmla="*/ 1355075 h 2591718"/>
              <a:gd name="connsiteX35" fmla="*/ 1729648 w 3068197"/>
              <a:gd name="connsiteY35" fmla="*/ 1407405 h 2591718"/>
              <a:gd name="connsiteX36" fmla="*/ 1823291 w 3068197"/>
              <a:gd name="connsiteY36" fmla="*/ 1495540 h 2591718"/>
              <a:gd name="connsiteX37" fmla="*/ 1856342 w 3068197"/>
              <a:gd name="connsiteY37" fmla="*/ 1575412 h 2591718"/>
              <a:gd name="connsiteX38" fmla="*/ 1897655 w 3068197"/>
              <a:gd name="connsiteY38" fmla="*/ 1636005 h 2591718"/>
              <a:gd name="connsiteX39" fmla="*/ 1903164 w 3068197"/>
              <a:gd name="connsiteY39" fmla="*/ 1666302 h 2591718"/>
              <a:gd name="connsiteX40" fmla="*/ 1955494 w 3068197"/>
              <a:gd name="connsiteY40" fmla="*/ 1702106 h 2591718"/>
              <a:gd name="connsiteX41" fmla="*/ 2018841 w 3068197"/>
              <a:gd name="connsiteY41" fmla="*/ 1798504 h 2591718"/>
              <a:gd name="connsiteX42" fmla="*/ 2087696 w 3068197"/>
              <a:gd name="connsiteY42" fmla="*/ 1839817 h 2591718"/>
              <a:gd name="connsiteX43" fmla="*/ 2145535 w 3068197"/>
              <a:gd name="connsiteY43" fmla="*/ 1908673 h 2591718"/>
              <a:gd name="connsiteX44" fmla="*/ 2192357 w 3068197"/>
              <a:gd name="connsiteY44" fmla="*/ 1958249 h 2591718"/>
              <a:gd name="connsiteX45" fmla="*/ 2258458 w 3068197"/>
              <a:gd name="connsiteY45" fmla="*/ 2005070 h 2591718"/>
              <a:gd name="connsiteX46" fmla="*/ 2250195 w 3068197"/>
              <a:gd name="connsiteY46" fmla="*/ 2051892 h 2591718"/>
              <a:gd name="connsiteX47" fmla="*/ 2250195 w 3068197"/>
              <a:gd name="connsiteY47" fmla="*/ 2051892 h 2591718"/>
              <a:gd name="connsiteX48" fmla="*/ 2299771 w 3068197"/>
              <a:gd name="connsiteY48" fmla="*/ 2065663 h 2591718"/>
              <a:gd name="connsiteX49" fmla="*/ 2327313 w 3068197"/>
              <a:gd name="connsiteY49" fmla="*/ 2104222 h 2591718"/>
              <a:gd name="connsiteX50" fmla="*/ 2313542 w 3068197"/>
              <a:gd name="connsiteY50" fmla="*/ 2184094 h 2591718"/>
              <a:gd name="connsiteX51" fmla="*/ 2398923 w 3068197"/>
              <a:gd name="connsiteY51" fmla="*/ 2266721 h 2591718"/>
              <a:gd name="connsiteX52" fmla="*/ 2462270 w 3068197"/>
              <a:gd name="connsiteY52" fmla="*/ 2319051 h 2591718"/>
              <a:gd name="connsiteX53" fmla="*/ 2531125 w 3068197"/>
              <a:gd name="connsiteY53" fmla="*/ 2335576 h 2591718"/>
              <a:gd name="connsiteX54" fmla="*/ 2580701 w 3068197"/>
              <a:gd name="connsiteY54" fmla="*/ 2374135 h 2591718"/>
              <a:gd name="connsiteX55" fmla="*/ 2586210 w 3068197"/>
              <a:gd name="connsiteY55" fmla="*/ 2407186 h 2591718"/>
              <a:gd name="connsiteX56" fmla="*/ 2638540 w 3068197"/>
              <a:gd name="connsiteY56" fmla="*/ 2445745 h 2591718"/>
              <a:gd name="connsiteX57" fmla="*/ 2721166 w 3068197"/>
              <a:gd name="connsiteY57" fmla="*/ 2465024 h 2591718"/>
              <a:gd name="connsiteX58" fmla="*/ 2754217 w 3068197"/>
              <a:gd name="connsiteY58" fmla="*/ 2489812 h 2591718"/>
              <a:gd name="connsiteX59" fmla="*/ 2762479 w 3068197"/>
              <a:gd name="connsiteY59" fmla="*/ 2514600 h 2591718"/>
              <a:gd name="connsiteX60" fmla="*/ 2781759 w 3068197"/>
              <a:gd name="connsiteY60" fmla="*/ 2536634 h 2591718"/>
              <a:gd name="connsiteX61" fmla="*/ 2919470 w 3068197"/>
              <a:gd name="connsiteY61" fmla="*/ 2580702 h 2591718"/>
              <a:gd name="connsiteX62" fmla="*/ 2988325 w 3068197"/>
              <a:gd name="connsiteY62" fmla="*/ 2591718 h 2591718"/>
              <a:gd name="connsiteX63" fmla="*/ 3068197 w 3068197"/>
              <a:gd name="connsiteY63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399142 w 3068197"/>
              <a:gd name="connsiteY30" fmla="*/ 1288974 h 2591718"/>
              <a:gd name="connsiteX31" fmla="*/ 1481769 w 3068197"/>
              <a:gd name="connsiteY31" fmla="*/ 1322024 h 2591718"/>
              <a:gd name="connsiteX32" fmla="*/ 1561641 w 3068197"/>
              <a:gd name="connsiteY32" fmla="*/ 1363338 h 2591718"/>
              <a:gd name="connsiteX33" fmla="*/ 1636005 w 3068197"/>
              <a:gd name="connsiteY33" fmla="*/ 1355075 h 2591718"/>
              <a:gd name="connsiteX34" fmla="*/ 1729648 w 3068197"/>
              <a:gd name="connsiteY34" fmla="*/ 1407405 h 2591718"/>
              <a:gd name="connsiteX35" fmla="*/ 1823291 w 3068197"/>
              <a:gd name="connsiteY35" fmla="*/ 1495540 h 2591718"/>
              <a:gd name="connsiteX36" fmla="*/ 1856342 w 3068197"/>
              <a:gd name="connsiteY36" fmla="*/ 1575412 h 2591718"/>
              <a:gd name="connsiteX37" fmla="*/ 1897655 w 3068197"/>
              <a:gd name="connsiteY37" fmla="*/ 1636005 h 2591718"/>
              <a:gd name="connsiteX38" fmla="*/ 1903164 w 3068197"/>
              <a:gd name="connsiteY38" fmla="*/ 1666302 h 2591718"/>
              <a:gd name="connsiteX39" fmla="*/ 1955494 w 3068197"/>
              <a:gd name="connsiteY39" fmla="*/ 1702106 h 2591718"/>
              <a:gd name="connsiteX40" fmla="*/ 2018841 w 3068197"/>
              <a:gd name="connsiteY40" fmla="*/ 1798504 h 2591718"/>
              <a:gd name="connsiteX41" fmla="*/ 2087696 w 3068197"/>
              <a:gd name="connsiteY41" fmla="*/ 1839817 h 2591718"/>
              <a:gd name="connsiteX42" fmla="*/ 2145535 w 3068197"/>
              <a:gd name="connsiteY42" fmla="*/ 1908673 h 2591718"/>
              <a:gd name="connsiteX43" fmla="*/ 2192357 w 3068197"/>
              <a:gd name="connsiteY43" fmla="*/ 1958249 h 2591718"/>
              <a:gd name="connsiteX44" fmla="*/ 2258458 w 3068197"/>
              <a:gd name="connsiteY44" fmla="*/ 2005070 h 2591718"/>
              <a:gd name="connsiteX45" fmla="*/ 2250195 w 3068197"/>
              <a:gd name="connsiteY45" fmla="*/ 2051892 h 2591718"/>
              <a:gd name="connsiteX46" fmla="*/ 2250195 w 3068197"/>
              <a:gd name="connsiteY46" fmla="*/ 2051892 h 2591718"/>
              <a:gd name="connsiteX47" fmla="*/ 2299771 w 3068197"/>
              <a:gd name="connsiteY47" fmla="*/ 2065663 h 2591718"/>
              <a:gd name="connsiteX48" fmla="*/ 2327313 w 3068197"/>
              <a:gd name="connsiteY48" fmla="*/ 2104222 h 2591718"/>
              <a:gd name="connsiteX49" fmla="*/ 2313542 w 3068197"/>
              <a:gd name="connsiteY49" fmla="*/ 2184094 h 2591718"/>
              <a:gd name="connsiteX50" fmla="*/ 2398923 w 3068197"/>
              <a:gd name="connsiteY50" fmla="*/ 2266721 h 2591718"/>
              <a:gd name="connsiteX51" fmla="*/ 2462270 w 3068197"/>
              <a:gd name="connsiteY51" fmla="*/ 2319051 h 2591718"/>
              <a:gd name="connsiteX52" fmla="*/ 2531125 w 3068197"/>
              <a:gd name="connsiteY52" fmla="*/ 2335576 h 2591718"/>
              <a:gd name="connsiteX53" fmla="*/ 2580701 w 3068197"/>
              <a:gd name="connsiteY53" fmla="*/ 2374135 h 2591718"/>
              <a:gd name="connsiteX54" fmla="*/ 2586210 w 3068197"/>
              <a:gd name="connsiteY54" fmla="*/ 2407186 h 2591718"/>
              <a:gd name="connsiteX55" fmla="*/ 2638540 w 3068197"/>
              <a:gd name="connsiteY55" fmla="*/ 2445745 h 2591718"/>
              <a:gd name="connsiteX56" fmla="*/ 2721166 w 3068197"/>
              <a:gd name="connsiteY56" fmla="*/ 2465024 h 2591718"/>
              <a:gd name="connsiteX57" fmla="*/ 2754217 w 3068197"/>
              <a:gd name="connsiteY57" fmla="*/ 2489812 h 2591718"/>
              <a:gd name="connsiteX58" fmla="*/ 2762479 w 3068197"/>
              <a:gd name="connsiteY58" fmla="*/ 2514600 h 2591718"/>
              <a:gd name="connsiteX59" fmla="*/ 2781759 w 3068197"/>
              <a:gd name="connsiteY59" fmla="*/ 2536634 h 2591718"/>
              <a:gd name="connsiteX60" fmla="*/ 2919470 w 3068197"/>
              <a:gd name="connsiteY60" fmla="*/ 2580702 h 2591718"/>
              <a:gd name="connsiteX61" fmla="*/ 2988325 w 3068197"/>
              <a:gd name="connsiteY61" fmla="*/ 2591718 h 2591718"/>
              <a:gd name="connsiteX62" fmla="*/ 3068197 w 3068197"/>
              <a:gd name="connsiteY62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481769 w 3068197"/>
              <a:gd name="connsiteY30" fmla="*/ 1322024 h 2591718"/>
              <a:gd name="connsiteX31" fmla="*/ 1561641 w 3068197"/>
              <a:gd name="connsiteY31" fmla="*/ 1363338 h 2591718"/>
              <a:gd name="connsiteX32" fmla="*/ 1636005 w 3068197"/>
              <a:gd name="connsiteY32" fmla="*/ 1355075 h 2591718"/>
              <a:gd name="connsiteX33" fmla="*/ 1729648 w 3068197"/>
              <a:gd name="connsiteY33" fmla="*/ 1407405 h 2591718"/>
              <a:gd name="connsiteX34" fmla="*/ 1823291 w 3068197"/>
              <a:gd name="connsiteY34" fmla="*/ 1495540 h 2591718"/>
              <a:gd name="connsiteX35" fmla="*/ 1856342 w 3068197"/>
              <a:gd name="connsiteY35" fmla="*/ 1575412 h 2591718"/>
              <a:gd name="connsiteX36" fmla="*/ 1897655 w 3068197"/>
              <a:gd name="connsiteY36" fmla="*/ 1636005 h 2591718"/>
              <a:gd name="connsiteX37" fmla="*/ 1903164 w 3068197"/>
              <a:gd name="connsiteY37" fmla="*/ 1666302 h 2591718"/>
              <a:gd name="connsiteX38" fmla="*/ 1955494 w 3068197"/>
              <a:gd name="connsiteY38" fmla="*/ 1702106 h 2591718"/>
              <a:gd name="connsiteX39" fmla="*/ 2018841 w 3068197"/>
              <a:gd name="connsiteY39" fmla="*/ 1798504 h 2591718"/>
              <a:gd name="connsiteX40" fmla="*/ 2087696 w 3068197"/>
              <a:gd name="connsiteY40" fmla="*/ 1839817 h 2591718"/>
              <a:gd name="connsiteX41" fmla="*/ 2145535 w 3068197"/>
              <a:gd name="connsiteY41" fmla="*/ 1908673 h 2591718"/>
              <a:gd name="connsiteX42" fmla="*/ 2192357 w 3068197"/>
              <a:gd name="connsiteY42" fmla="*/ 1958249 h 2591718"/>
              <a:gd name="connsiteX43" fmla="*/ 2258458 w 3068197"/>
              <a:gd name="connsiteY43" fmla="*/ 2005070 h 2591718"/>
              <a:gd name="connsiteX44" fmla="*/ 2250195 w 3068197"/>
              <a:gd name="connsiteY44" fmla="*/ 2051892 h 2591718"/>
              <a:gd name="connsiteX45" fmla="*/ 2250195 w 3068197"/>
              <a:gd name="connsiteY45" fmla="*/ 2051892 h 2591718"/>
              <a:gd name="connsiteX46" fmla="*/ 2299771 w 3068197"/>
              <a:gd name="connsiteY46" fmla="*/ 2065663 h 2591718"/>
              <a:gd name="connsiteX47" fmla="*/ 2327313 w 3068197"/>
              <a:gd name="connsiteY47" fmla="*/ 2104222 h 2591718"/>
              <a:gd name="connsiteX48" fmla="*/ 2313542 w 3068197"/>
              <a:gd name="connsiteY48" fmla="*/ 2184094 h 2591718"/>
              <a:gd name="connsiteX49" fmla="*/ 2398923 w 3068197"/>
              <a:gd name="connsiteY49" fmla="*/ 2266721 h 2591718"/>
              <a:gd name="connsiteX50" fmla="*/ 2462270 w 3068197"/>
              <a:gd name="connsiteY50" fmla="*/ 2319051 h 2591718"/>
              <a:gd name="connsiteX51" fmla="*/ 2531125 w 3068197"/>
              <a:gd name="connsiteY51" fmla="*/ 2335576 h 2591718"/>
              <a:gd name="connsiteX52" fmla="*/ 2580701 w 3068197"/>
              <a:gd name="connsiteY52" fmla="*/ 2374135 h 2591718"/>
              <a:gd name="connsiteX53" fmla="*/ 2586210 w 3068197"/>
              <a:gd name="connsiteY53" fmla="*/ 2407186 h 2591718"/>
              <a:gd name="connsiteX54" fmla="*/ 2638540 w 3068197"/>
              <a:gd name="connsiteY54" fmla="*/ 2445745 h 2591718"/>
              <a:gd name="connsiteX55" fmla="*/ 2721166 w 3068197"/>
              <a:gd name="connsiteY55" fmla="*/ 2465024 h 2591718"/>
              <a:gd name="connsiteX56" fmla="*/ 2754217 w 3068197"/>
              <a:gd name="connsiteY56" fmla="*/ 2489812 h 2591718"/>
              <a:gd name="connsiteX57" fmla="*/ 2762479 w 3068197"/>
              <a:gd name="connsiteY57" fmla="*/ 2514600 h 2591718"/>
              <a:gd name="connsiteX58" fmla="*/ 2781759 w 3068197"/>
              <a:gd name="connsiteY58" fmla="*/ 2536634 h 2591718"/>
              <a:gd name="connsiteX59" fmla="*/ 2919470 w 3068197"/>
              <a:gd name="connsiteY59" fmla="*/ 2580702 h 2591718"/>
              <a:gd name="connsiteX60" fmla="*/ 2988325 w 3068197"/>
              <a:gd name="connsiteY60" fmla="*/ 2591718 h 2591718"/>
              <a:gd name="connsiteX61" fmla="*/ 3068197 w 3068197"/>
              <a:gd name="connsiteY61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561641 w 3068197"/>
              <a:gd name="connsiteY30" fmla="*/ 1363338 h 2591718"/>
              <a:gd name="connsiteX31" fmla="*/ 1636005 w 3068197"/>
              <a:gd name="connsiteY31" fmla="*/ 1355075 h 2591718"/>
              <a:gd name="connsiteX32" fmla="*/ 1729648 w 3068197"/>
              <a:gd name="connsiteY32" fmla="*/ 1407405 h 2591718"/>
              <a:gd name="connsiteX33" fmla="*/ 1823291 w 3068197"/>
              <a:gd name="connsiteY33" fmla="*/ 1495540 h 2591718"/>
              <a:gd name="connsiteX34" fmla="*/ 1856342 w 3068197"/>
              <a:gd name="connsiteY34" fmla="*/ 1575412 h 2591718"/>
              <a:gd name="connsiteX35" fmla="*/ 1897655 w 3068197"/>
              <a:gd name="connsiteY35" fmla="*/ 1636005 h 2591718"/>
              <a:gd name="connsiteX36" fmla="*/ 1903164 w 3068197"/>
              <a:gd name="connsiteY36" fmla="*/ 1666302 h 2591718"/>
              <a:gd name="connsiteX37" fmla="*/ 1955494 w 3068197"/>
              <a:gd name="connsiteY37" fmla="*/ 1702106 h 2591718"/>
              <a:gd name="connsiteX38" fmla="*/ 2018841 w 3068197"/>
              <a:gd name="connsiteY38" fmla="*/ 1798504 h 2591718"/>
              <a:gd name="connsiteX39" fmla="*/ 2087696 w 3068197"/>
              <a:gd name="connsiteY39" fmla="*/ 1839817 h 2591718"/>
              <a:gd name="connsiteX40" fmla="*/ 2145535 w 3068197"/>
              <a:gd name="connsiteY40" fmla="*/ 1908673 h 2591718"/>
              <a:gd name="connsiteX41" fmla="*/ 2192357 w 3068197"/>
              <a:gd name="connsiteY41" fmla="*/ 1958249 h 2591718"/>
              <a:gd name="connsiteX42" fmla="*/ 2258458 w 3068197"/>
              <a:gd name="connsiteY42" fmla="*/ 2005070 h 2591718"/>
              <a:gd name="connsiteX43" fmla="*/ 2250195 w 3068197"/>
              <a:gd name="connsiteY43" fmla="*/ 2051892 h 2591718"/>
              <a:gd name="connsiteX44" fmla="*/ 2250195 w 3068197"/>
              <a:gd name="connsiteY44" fmla="*/ 2051892 h 2591718"/>
              <a:gd name="connsiteX45" fmla="*/ 2299771 w 3068197"/>
              <a:gd name="connsiteY45" fmla="*/ 2065663 h 2591718"/>
              <a:gd name="connsiteX46" fmla="*/ 2327313 w 3068197"/>
              <a:gd name="connsiteY46" fmla="*/ 2104222 h 2591718"/>
              <a:gd name="connsiteX47" fmla="*/ 2313542 w 3068197"/>
              <a:gd name="connsiteY47" fmla="*/ 2184094 h 2591718"/>
              <a:gd name="connsiteX48" fmla="*/ 2398923 w 3068197"/>
              <a:gd name="connsiteY48" fmla="*/ 2266721 h 2591718"/>
              <a:gd name="connsiteX49" fmla="*/ 2462270 w 3068197"/>
              <a:gd name="connsiteY49" fmla="*/ 2319051 h 2591718"/>
              <a:gd name="connsiteX50" fmla="*/ 2531125 w 3068197"/>
              <a:gd name="connsiteY50" fmla="*/ 2335576 h 2591718"/>
              <a:gd name="connsiteX51" fmla="*/ 2580701 w 3068197"/>
              <a:gd name="connsiteY51" fmla="*/ 2374135 h 2591718"/>
              <a:gd name="connsiteX52" fmla="*/ 2586210 w 3068197"/>
              <a:gd name="connsiteY52" fmla="*/ 2407186 h 2591718"/>
              <a:gd name="connsiteX53" fmla="*/ 2638540 w 3068197"/>
              <a:gd name="connsiteY53" fmla="*/ 2445745 h 2591718"/>
              <a:gd name="connsiteX54" fmla="*/ 2721166 w 3068197"/>
              <a:gd name="connsiteY54" fmla="*/ 2465024 h 2591718"/>
              <a:gd name="connsiteX55" fmla="*/ 2754217 w 3068197"/>
              <a:gd name="connsiteY55" fmla="*/ 2489812 h 2591718"/>
              <a:gd name="connsiteX56" fmla="*/ 2762479 w 3068197"/>
              <a:gd name="connsiteY56" fmla="*/ 2514600 h 2591718"/>
              <a:gd name="connsiteX57" fmla="*/ 2781759 w 3068197"/>
              <a:gd name="connsiteY57" fmla="*/ 2536634 h 2591718"/>
              <a:gd name="connsiteX58" fmla="*/ 2919470 w 3068197"/>
              <a:gd name="connsiteY58" fmla="*/ 2580702 h 2591718"/>
              <a:gd name="connsiteX59" fmla="*/ 2988325 w 3068197"/>
              <a:gd name="connsiteY59" fmla="*/ 2591718 h 2591718"/>
              <a:gd name="connsiteX60" fmla="*/ 3068197 w 3068197"/>
              <a:gd name="connsiteY60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518862 w 3068197"/>
              <a:gd name="connsiteY30" fmla="*/ 1330146 h 2591718"/>
              <a:gd name="connsiteX31" fmla="*/ 1561641 w 3068197"/>
              <a:gd name="connsiteY31" fmla="*/ 1363338 h 2591718"/>
              <a:gd name="connsiteX32" fmla="*/ 1636005 w 3068197"/>
              <a:gd name="connsiteY32" fmla="*/ 1355075 h 2591718"/>
              <a:gd name="connsiteX33" fmla="*/ 1729648 w 3068197"/>
              <a:gd name="connsiteY33" fmla="*/ 1407405 h 2591718"/>
              <a:gd name="connsiteX34" fmla="*/ 1823291 w 3068197"/>
              <a:gd name="connsiteY34" fmla="*/ 1495540 h 2591718"/>
              <a:gd name="connsiteX35" fmla="*/ 1856342 w 3068197"/>
              <a:gd name="connsiteY35" fmla="*/ 1575412 h 2591718"/>
              <a:gd name="connsiteX36" fmla="*/ 1897655 w 3068197"/>
              <a:gd name="connsiteY36" fmla="*/ 1636005 h 2591718"/>
              <a:gd name="connsiteX37" fmla="*/ 1903164 w 3068197"/>
              <a:gd name="connsiteY37" fmla="*/ 1666302 h 2591718"/>
              <a:gd name="connsiteX38" fmla="*/ 1955494 w 3068197"/>
              <a:gd name="connsiteY38" fmla="*/ 1702106 h 2591718"/>
              <a:gd name="connsiteX39" fmla="*/ 2018841 w 3068197"/>
              <a:gd name="connsiteY39" fmla="*/ 1798504 h 2591718"/>
              <a:gd name="connsiteX40" fmla="*/ 2087696 w 3068197"/>
              <a:gd name="connsiteY40" fmla="*/ 1839817 h 2591718"/>
              <a:gd name="connsiteX41" fmla="*/ 2145535 w 3068197"/>
              <a:gd name="connsiteY41" fmla="*/ 1908673 h 2591718"/>
              <a:gd name="connsiteX42" fmla="*/ 2192357 w 3068197"/>
              <a:gd name="connsiteY42" fmla="*/ 1958249 h 2591718"/>
              <a:gd name="connsiteX43" fmla="*/ 2258458 w 3068197"/>
              <a:gd name="connsiteY43" fmla="*/ 2005070 h 2591718"/>
              <a:gd name="connsiteX44" fmla="*/ 2250195 w 3068197"/>
              <a:gd name="connsiteY44" fmla="*/ 2051892 h 2591718"/>
              <a:gd name="connsiteX45" fmla="*/ 2250195 w 3068197"/>
              <a:gd name="connsiteY45" fmla="*/ 2051892 h 2591718"/>
              <a:gd name="connsiteX46" fmla="*/ 2299771 w 3068197"/>
              <a:gd name="connsiteY46" fmla="*/ 2065663 h 2591718"/>
              <a:gd name="connsiteX47" fmla="*/ 2327313 w 3068197"/>
              <a:gd name="connsiteY47" fmla="*/ 2104222 h 2591718"/>
              <a:gd name="connsiteX48" fmla="*/ 2313542 w 3068197"/>
              <a:gd name="connsiteY48" fmla="*/ 2184094 h 2591718"/>
              <a:gd name="connsiteX49" fmla="*/ 2398923 w 3068197"/>
              <a:gd name="connsiteY49" fmla="*/ 2266721 h 2591718"/>
              <a:gd name="connsiteX50" fmla="*/ 2462270 w 3068197"/>
              <a:gd name="connsiteY50" fmla="*/ 2319051 h 2591718"/>
              <a:gd name="connsiteX51" fmla="*/ 2531125 w 3068197"/>
              <a:gd name="connsiteY51" fmla="*/ 2335576 h 2591718"/>
              <a:gd name="connsiteX52" fmla="*/ 2580701 w 3068197"/>
              <a:gd name="connsiteY52" fmla="*/ 2374135 h 2591718"/>
              <a:gd name="connsiteX53" fmla="*/ 2586210 w 3068197"/>
              <a:gd name="connsiteY53" fmla="*/ 2407186 h 2591718"/>
              <a:gd name="connsiteX54" fmla="*/ 2638540 w 3068197"/>
              <a:gd name="connsiteY54" fmla="*/ 2445745 h 2591718"/>
              <a:gd name="connsiteX55" fmla="*/ 2721166 w 3068197"/>
              <a:gd name="connsiteY55" fmla="*/ 2465024 h 2591718"/>
              <a:gd name="connsiteX56" fmla="*/ 2754217 w 3068197"/>
              <a:gd name="connsiteY56" fmla="*/ 2489812 h 2591718"/>
              <a:gd name="connsiteX57" fmla="*/ 2762479 w 3068197"/>
              <a:gd name="connsiteY57" fmla="*/ 2514600 h 2591718"/>
              <a:gd name="connsiteX58" fmla="*/ 2781759 w 3068197"/>
              <a:gd name="connsiteY58" fmla="*/ 2536634 h 2591718"/>
              <a:gd name="connsiteX59" fmla="*/ 2919470 w 3068197"/>
              <a:gd name="connsiteY59" fmla="*/ 2580702 h 2591718"/>
              <a:gd name="connsiteX60" fmla="*/ 2988325 w 3068197"/>
              <a:gd name="connsiteY60" fmla="*/ 2591718 h 2591718"/>
              <a:gd name="connsiteX61" fmla="*/ 3068197 w 3068197"/>
              <a:gd name="connsiteY61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561641 w 3068197"/>
              <a:gd name="connsiteY30" fmla="*/ 1363338 h 2591718"/>
              <a:gd name="connsiteX31" fmla="*/ 1636005 w 3068197"/>
              <a:gd name="connsiteY31" fmla="*/ 1355075 h 2591718"/>
              <a:gd name="connsiteX32" fmla="*/ 1729648 w 3068197"/>
              <a:gd name="connsiteY32" fmla="*/ 1407405 h 2591718"/>
              <a:gd name="connsiteX33" fmla="*/ 1823291 w 3068197"/>
              <a:gd name="connsiteY33" fmla="*/ 1495540 h 2591718"/>
              <a:gd name="connsiteX34" fmla="*/ 1856342 w 3068197"/>
              <a:gd name="connsiteY34" fmla="*/ 1575412 h 2591718"/>
              <a:gd name="connsiteX35" fmla="*/ 1897655 w 3068197"/>
              <a:gd name="connsiteY35" fmla="*/ 1636005 h 2591718"/>
              <a:gd name="connsiteX36" fmla="*/ 1903164 w 3068197"/>
              <a:gd name="connsiteY36" fmla="*/ 1666302 h 2591718"/>
              <a:gd name="connsiteX37" fmla="*/ 1955494 w 3068197"/>
              <a:gd name="connsiteY37" fmla="*/ 1702106 h 2591718"/>
              <a:gd name="connsiteX38" fmla="*/ 2018841 w 3068197"/>
              <a:gd name="connsiteY38" fmla="*/ 1798504 h 2591718"/>
              <a:gd name="connsiteX39" fmla="*/ 2087696 w 3068197"/>
              <a:gd name="connsiteY39" fmla="*/ 1839817 h 2591718"/>
              <a:gd name="connsiteX40" fmla="*/ 2145535 w 3068197"/>
              <a:gd name="connsiteY40" fmla="*/ 1908673 h 2591718"/>
              <a:gd name="connsiteX41" fmla="*/ 2192357 w 3068197"/>
              <a:gd name="connsiteY41" fmla="*/ 1958249 h 2591718"/>
              <a:gd name="connsiteX42" fmla="*/ 2258458 w 3068197"/>
              <a:gd name="connsiteY42" fmla="*/ 2005070 h 2591718"/>
              <a:gd name="connsiteX43" fmla="*/ 2250195 w 3068197"/>
              <a:gd name="connsiteY43" fmla="*/ 2051892 h 2591718"/>
              <a:gd name="connsiteX44" fmla="*/ 2250195 w 3068197"/>
              <a:gd name="connsiteY44" fmla="*/ 2051892 h 2591718"/>
              <a:gd name="connsiteX45" fmla="*/ 2299771 w 3068197"/>
              <a:gd name="connsiteY45" fmla="*/ 2065663 h 2591718"/>
              <a:gd name="connsiteX46" fmla="*/ 2327313 w 3068197"/>
              <a:gd name="connsiteY46" fmla="*/ 2104222 h 2591718"/>
              <a:gd name="connsiteX47" fmla="*/ 2313542 w 3068197"/>
              <a:gd name="connsiteY47" fmla="*/ 2184094 h 2591718"/>
              <a:gd name="connsiteX48" fmla="*/ 2398923 w 3068197"/>
              <a:gd name="connsiteY48" fmla="*/ 2266721 h 2591718"/>
              <a:gd name="connsiteX49" fmla="*/ 2462270 w 3068197"/>
              <a:gd name="connsiteY49" fmla="*/ 2319051 h 2591718"/>
              <a:gd name="connsiteX50" fmla="*/ 2531125 w 3068197"/>
              <a:gd name="connsiteY50" fmla="*/ 2335576 h 2591718"/>
              <a:gd name="connsiteX51" fmla="*/ 2580701 w 3068197"/>
              <a:gd name="connsiteY51" fmla="*/ 2374135 h 2591718"/>
              <a:gd name="connsiteX52" fmla="*/ 2586210 w 3068197"/>
              <a:gd name="connsiteY52" fmla="*/ 2407186 h 2591718"/>
              <a:gd name="connsiteX53" fmla="*/ 2638540 w 3068197"/>
              <a:gd name="connsiteY53" fmla="*/ 2445745 h 2591718"/>
              <a:gd name="connsiteX54" fmla="*/ 2721166 w 3068197"/>
              <a:gd name="connsiteY54" fmla="*/ 2465024 h 2591718"/>
              <a:gd name="connsiteX55" fmla="*/ 2754217 w 3068197"/>
              <a:gd name="connsiteY55" fmla="*/ 2489812 h 2591718"/>
              <a:gd name="connsiteX56" fmla="*/ 2762479 w 3068197"/>
              <a:gd name="connsiteY56" fmla="*/ 2514600 h 2591718"/>
              <a:gd name="connsiteX57" fmla="*/ 2781759 w 3068197"/>
              <a:gd name="connsiteY57" fmla="*/ 2536634 h 2591718"/>
              <a:gd name="connsiteX58" fmla="*/ 2919470 w 3068197"/>
              <a:gd name="connsiteY58" fmla="*/ 2580702 h 2591718"/>
              <a:gd name="connsiteX59" fmla="*/ 2988325 w 3068197"/>
              <a:gd name="connsiteY59" fmla="*/ 2591718 h 2591718"/>
              <a:gd name="connsiteX60" fmla="*/ 3068197 w 3068197"/>
              <a:gd name="connsiteY60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636005 w 3068197"/>
              <a:gd name="connsiteY30" fmla="*/ 1355075 h 2591718"/>
              <a:gd name="connsiteX31" fmla="*/ 1729648 w 3068197"/>
              <a:gd name="connsiteY31" fmla="*/ 1407405 h 2591718"/>
              <a:gd name="connsiteX32" fmla="*/ 1823291 w 3068197"/>
              <a:gd name="connsiteY32" fmla="*/ 1495540 h 2591718"/>
              <a:gd name="connsiteX33" fmla="*/ 1856342 w 3068197"/>
              <a:gd name="connsiteY33" fmla="*/ 1575412 h 2591718"/>
              <a:gd name="connsiteX34" fmla="*/ 1897655 w 3068197"/>
              <a:gd name="connsiteY34" fmla="*/ 1636005 h 2591718"/>
              <a:gd name="connsiteX35" fmla="*/ 1903164 w 3068197"/>
              <a:gd name="connsiteY35" fmla="*/ 1666302 h 2591718"/>
              <a:gd name="connsiteX36" fmla="*/ 1955494 w 3068197"/>
              <a:gd name="connsiteY36" fmla="*/ 1702106 h 2591718"/>
              <a:gd name="connsiteX37" fmla="*/ 2018841 w 3068197"/>
              <a:gd name="connsiteY37" fmla="*/ 1798504 h 2591718"/>
              <a:gd name="connsiteX38" fmla="*/ 2087696 w 3068197"/>
              <a:gd name="connsiteY38" fmla="*/ 1839817 h 2591718"/>
              <a:gd name="connsiteX39" fmla="*/ 2145535 w 3068197"/>
              <a:gd name="connsiteY39" fmla="*/ 1908673 h 2591718"/>
              <a:gd name="connsiteX40" fmla="*/ 2192357 w 3068197"/>
              <a:gd name="connsiteY40" fmla="*/ 1958249 h 2591718"/>
              <a:gd name="connsiteX41" fmla="*/ 2258458 w 3068197"/>
              <a:gd name="connsiteY41" fmla="*/ 2005070 h 2591718"/>
              <a:gd name="connsiteX42" fmla="*/ 2250195 w 3068197"/>
              <a:gd name="connsiteY42" fmla="*/ 2051892 h 2591718"/>
              <a:gd name="connsiteX43" fmla="*/ 2250195 w 3068197"/>
              <a:gd name="connsiteY43" fmla="*/ 2051892 h 2591718"/>
              <a:gd name="connsiteX44" fmla="*/ 2299771 w 3068197"/>
              <a:gd name="connsiteY44" fmla="*/ 2065663 h 2591718"/>
              <a:gd name="connsiteX45" fmla="*/ 2327313 w 3068197"/>
              <a:gd name="connsiteY45" fmla="*/ 2104222 h 2591718"/>
              <a:gd name="connsiteX46" fmla="*/ 2313542 w 3068197"/>
              <a:gd name="connsiteY46" fmla="*/ 2184094 h 2591718"/>
              <a:gd name="connsiteX47" fmla="*/ 2398923 w 3068197"/>
              <a:gd name="connsiteY47" fmla="*/ 2266721 h 2591718"/>
              <a:gd name="connsiteX48" fmla="*/ 2462270 w 3068197"/>
              <a:gd name="connsiteY48" fmla="*/ 2319051 h 2591718"/>
              <a:gd name="connsiteX49" fmla="*/ 2531125 w 3068197"/>
              <a:gd name="connsiteY49" fmla="*/ 2335576 h 2591718"/>
              <a:gd name="connsiteX50" fmla="*/ 2580701 w 3068197"/>
              <a:gd name="connsiteY50" fmla="*/ 2374135 h 2591718"/>
              <a:gd name="connsiteX51" fmla="*/ 2586210 w 3068197"/>
              <a:gd name="connsiteY51" fmla="*/ 2407186 h 2591718"/>
              <a:gd name="connsiteX52" fmla="*/ 2638540 w 3068197"/>
              <a:gd name="connsiteY52" fmla="*/ 2445745 h 2591718"/>
              <a:gd name="connsiteX53" fmla="*/ 2721166 w 3068197"/>
              <a:gd name="connsiteY53" fmla="*/ 2465024 h 2591718"/>
              <a:gd name="connsiteX54" fmla="*/ 2754217 w 3068197"/>
              <a:gd name="connsiteY54" fmla="*/ 2489812 h 2591718"/>
              <a:gd name="connsiteX55" fmla="*/ 2762479 w 3068197"/>
              <a:gd name="connsiteY55" fmla="*/ 2514600 h 2591718"/>
              <a:gd name="connsiteX56" fmla="*/ 2781759 w 3068197"/>
              <a:gd name="connsiteY56" fmla="*/ 2536634 h 2591718"/>
              <a:gd name="connsiteX57" fmla="*/ 2919470 w 3068197"/>
              <a:gd name="connsiteY57" fmla="*/ 2580702 h 2591718"/>
              <a:gd name="connsiteX58" fmla="*/ 2988325 w 3068197"/>
              <a:gd name="connsiteY58" fmla="*/ 2591718 h 2591718"/>
              <a:gd name="connsiteX59" fmla="*/ 3068197 w 3068197"/>
              <a:gd name="connsiteY59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578867 w 3068197"/>
              <a:gd name="connsiteY30" fmla="*/ 1330146 h 2591718"/>
              <a:gd name="connsiteX31" fmla="*/ 1636005 w 3068197"/>
              <a:gd name="connsiteY31" fmla="*/ 1355075 h 2591718"/>
              <a:gd name="connsiteX32" fmla="*/ 1729648 w 3068197"/>
              <a:gd name="connsiteY32" fmla="*/ 1407405 h 2591718"/>
              <a:gd name="connsiteX33" fmla="*/ 1823291 w 3068197"/>
              <a:gd name="connsiteY33" fmla="*/ 1495540 h 2591718"/>
              <a:gd name="connsiteX34" fmla="*/ 1856342 w 3068197"/>
              <a:gd name="connsiteY34" fmla="*/ 1575412 h 2591718"/>
              <a:gd name="connsiteX35" fmla="*/ 1897655 w 3068197"/>
              <a:gd name="connsiteY35" fmla="*/ 1636005 h 2591718"/>
              <a:gd name="connsiteX36" fmla="*/ 1903164 w 3068197"/>
              <a:gd name="connsiteY36" fmla="*/ 1666302 h 2591718"/>
              <a:gd name="connsiteX37" fmla="*/ 1955494 w 3068197"/>
              <a:gd name="connsiteY37" fmla="*/ 1702106 h 2591718"/>
              <a:gd name="connsiteX38" fmla="*/ 2018841 w 3068197"/>
              <a:gd name="connsiteY38" fmla="*/ 1798504 h 2591718"/>
              <a:gd name="connsiteX39" fmla="*/ 2087696 w 3068197"/>
              <a:gd name="connsiteY39" fmla="*/ 1839817 h 2591718"/>
              <a:gd name="connsiteX40" fmla="*/ 2145535 w 3068197"/>
              <a:gd name="connsiteY40" fmla="*/ 1908673 h 2591718"/>
              <a:gd name="connsiteX41" fmla="*/ 2192357 w 3068197"/>
              <a:gd name="connsiteY41" fmla="*/ 1958249 h 2591718"/>
              <a:gd name="connsiteX42" fmla="*/ 2258458 w 3068197"/>
              <a:gd name="connsiteY42" fmla="*/ 2005070 h 2591718"/>
              <a:gd name="connsiteX43" fmla="*/ 2250195 w 3068197"/>
              <a:gd name="connsiteY43" fmla="*/ 2051892 h 2591718"/>
              <a:gd name="connsiteX44" fmla="*/ 2250195 w 3068197"/>
              <a:gd name="connsiteY44" fmla="*/ 2051892 h 2591718"/>
              <a:gd name="connsiteX45" fmla="*/ 2299771 w 3068197"/>
              <a:gd name="connsiteY45" fmla="*/ 2065663 h 2591718"/>
              <a:gd name="connsiteX46" fmla="*/ 2327313 w 3068197"/>
              <a:gd name="connsiteY46" fmla="*/ 2104222 h 2591718"/>
              <a:gd name="connsiteX47" fmla="*/ 2313542 w 3068197"/>
              <a:gd name="connsiteY47" fmla="*/ 2184094 h 2591718"/>
              <a:gd name="connsiteX48" fmla="*/ 2398923 w 3068197"/>
              <a:gd name="connsiteY48" fmla="*/ 2266721 h 2591718"/>
              <a:gd name="connsiteX49" fmla="*/ 2462270 w 3068197"/>
              <a:gd name="connsiteY49" fmla="*/ 2319051 h 2591718"/>
              <a:gd name="connsiteX50" fmla="*/ 2531125 w 3068197"/>
              <a:gd name="connsiteY50" fmla="*/ 2335576 h 2591718"/>
              <a:gd name="connsiteX51" fmla="*/ 2580701 w 3068197"/>
              <a:gd name="connsiteY51" fmla="*/ 2374135 h 2591718"/>
              <a:gd name="connsiteX52" fmla="*/ 2586210 w 3068197"/>
              <a:gd name="connsiteY52" fmla="*/ 2407186 h 2591718"/>
              <a:gd name="connsiteX53" fmla="*/ 2638540 w 3068197"/>
              <a:gd name="connsiteY53" fmla="*/ 2445745 h 2591718"/>
              <a:gd name="connsiteX54" fmla="*/ 2721166 w 3068197"/>
              <a:gd name="connsiteY54" fmla="*/ 2465024 h 2591718"/>
              <a:gd name="connsiteX55" fmla="*/ 2754217 w 3068197"/>
              <a:gd name="connsiteY55" fmla="*/ 2489812 h 2591718"/>
              <a:gd name="connsiteX56" fmla="*/ 2762479 w 3068197"/>
              <a:gd name="connsiteY56" fmla="*/ 2514600 h 2591718"/>
              <a:gd name="connsiteX57" fmla="*/ 2781759 w 3068197"/>
              <a:gd name="connsiteY57" fmla="*/ 2536634 h 2591718"/>
              <a:gd name="connsiteX58" fmla="*/ 2919470 w 3068197"/>
              <a:gd name="connsiteY58" fmla="*/ 2580702 h 2591718"/>
              <a:gd name="connsiteX59" fmla="*/ 2988325 w 3068197"/>
              <a:gd name="connsiteY59" fmla="*/ 2591718 h 2591718"/>
              <a:gd name="connsiteX60" fmla="*/ 3068197 w 3068197"/>
              <a:gd name="connsiteY60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578867 w 3068197"/>
              <a:gd name="connsiteY30" fmla="*/ 1330146 h 2591718"/>
              <a:gd name="connsiteX31" fmla="*/ 1729648 w 3068197"/>
              <a:gd name="connsiteY31" fmla="*/ 1407405 h 2591718"/>
              <a:gd name="connsiteX32" fmla="*/ 1823291 w 3068197"/>
              <a:gd name="connsiteY32" fmla="*/ 1495540 h 2591718"/>
              <a:gd name="connsiteX33" fmla="*/ 1856342 w 3068197"/>
              <a:gd name="connsiteY33" fmla="*/ 1575412 h 2591718"/>
              <a:gd name="connsiteX34" fmla="*/ 1897655 w 3068197"/>
              <a:gd name="connsiteY34" fmla="*/ 1636005 h 2591718"/>
              <a:gd name="connsiteX35" fmla="*/ 1903164 w 3068197"/>
              <a:gd name="connsiteY35" fmla="*/ 1666302 h 2591718"/>
              <a:gd name="connsiteX36" fmla="*/ 1955494 w 3068197"/>
              <a:gd name="connsiteY36" fmla="*/ 1702106 h 2591718"/>
              <a:gd name="connsiteX37" fmla="*/ 2018841 w 3068197"/>
              <a:gd name="connsiteY37" fmla="*/ 1798504 h 2591718"/>
              <a:gd name="connsiteX38" fmla="*/ 2087696 w 3068197"/>
              <a:gd name="connsiteY38" fmla="*/ 1839817 h 2591718"/>
              <a:gd name="connsiteX39" fmla="*/ 2145535 w 3068197"/>
              <a:gd name="connsiteY39" fmla="*/ 1908673 h 2591718"/>
              <a:gd name="connsiteX40" fmla="*/ 2192357 w 3068197"/>
              <a:gd name="connsiteY40" fmla="*/ 1958249 h 2591718"/>
              <a:gd name="connsiteX41" fmla="*/ 2258458 w 3068197"/>
              <a:gd name="connsiteY41" fmla="*/ 2005070 h 2591718"/>
              <a:gd name="connsiteX42" fmla="*/ 2250195 w 3068197"/>
              <a:gd name="connsiteY42" fmla="*/ 2051892 h 2591718"/>
              <a:gd name="connsiteX43" fmla="*/ 2250195 w 3068197"/>
              <a:gd name="connsiteY43" fmla="*/ 2051892 h 2591718"/>
              <a:gd name="connsiteX44" fmla="*/ 2299771 w 3068197"/>
              <a:gd name="connsiteY44" fmla="*/ 2065663 h 2591718"/>
              <a:gd name="connsiteX45" fmla="*/ 2327313 w 3068197"/>
              <a:gd name="connsiteY45" fmla="*/ 2104222 h 2591718"/>
              <a:gd name="connsiteX46" fmla="*/ 2313542 w 3068197"/>
              <a:gd name="connsiteY46" fmla="*/ 2184094 h 2591718"/>
              <a:gd name="connsiteX47" fmla="*/ 2398923 w 3068197"/>
              <a:gd name="connsiteY47" fmla="*/ 2266721 h 2591718"/>
              <a:gd name="connsiteX48" fmla="*/ 2462270 w 3068197"/>
              <a:gd name="connsiteY48" fmla="*/ 2319051 h 2591718"/>
              <a:gd name="connsiteX49" fmla="*/ 2531125 w 3068197"/>
              <a:gd name="connsiteY49" fmla="*/ 2335576 h 2591718"/>
              <a:gd name="connsiteX50" fmla="*/ 2580701 w 3068197"/>
              <a:gd name="connsiteY50" fmla="*/ 2374135 h 2591718"/>
              <a:gd name="connsiteX51" fmla="*/ 2586210 w 3068197"/>
              <a:gd name="connsiteY51" fmla="*/ 2407186 h 2591718"/>
              <a:gd name="connsiteX52" fmla="*/ 2638540 w 3068197"/>
              <a:gd name="connsiteY52" fmla="*/ 2445745 h 2591718"/>
              <a:gd name="connsiteX53" fmla="*/ 2721166 w 3068197"/>
              <a:gd name="connsiteY53" fmla="*/ 2465024 h 2591718"/>
              <a:gd name="connsiteX54" fmla="*/ 2754217 w 3068197"/>
              <a:gd name="connsiteY54" fmla="*/ 2489812 h 2591718"/>
              <a:gd name="connsiteX55" fmla="*/ 2762479 w 3068197"/>
              <a:gd name="connsiteY55" fmla="*/ 2514600 h 2591718"/>
              <a:gd name="connsiteX56" fmla="*/ 2781759 w 3068197"/>
              <a:gd name="connsiteY56" fmla="*/ 2536634 h 2591718"/>
              <a:gd name="connsiteX57" fmla="*/ 2919470 w 3068197"/>
              <a:gd name="connsiteY57" fmla="*/ 2580702 h 2591718"/>
              <a:gd name="connsiteX58" fmla="*/ 2988325 w 3068197"/>
              <a:gd name="connsiteY58" fmla="*/ 2591718 h 2591718"/>
              <a:gd name="connsiteX59" fmla="*/ 3068197 w 3068197"/>
              <a:gd name="connsiteY59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729648 w 3068197"/>
              <a:gd name="connsiteY30" fmla="*/ 1407405 h 2591718"/>
              <a:gd name="connsiteX31" fmla="*/ 1823291 w 3068197"/>
              <a:gd name="connsiteY31" fmla="*/ 1495540 h 2591718"/>
              <a:gd name="connsiteX32" fmla="*/ 1856342 w 3068197"/>
              <a:gd name="connsiteY32" fmla="*/ 1575412 h 2591718"/>
              <a:gd name="connsiteX33" fmla="*/ 1897655 w 3068197"/>
              <a:gd name="connsiteY33" fmla="*/ 1636005 h 2591718"/>
              <a:gd name="connsiteX34" fmla="*/ 1903164 w 3068197"/>
              <a:gd name="connsiteY34" fmla="*/ 1666302 h 2591718"/>
              <a:gd name="connsiteX35" fmla="*/ 1955494 w 3068197"/>
              <a:gd name="connsiteY35" fmla="*/ 1702106 h 2591718"/>
              <a:gd name="connsiteX36" fmla="*/ 2018841 w 3068197"/>
              <a:gd name="connsiteY36" fmla="*/ 1798504 h 2591718"/>
              <a:gd name="connsiteX37" fmla="*/ 2087696 w 3068197"/>
              <a:gd name="connsiteY37" fmla="*/ 1839817 h 2591718"/>
              <a:gd name="connsiteX38" fmla="*/ 2145535 w 3068197"/>
              <a:gd name="connsiteY38" fmla="*/ 1908673 h 2591718"/>
              <a:gd name="connsiteX39" fmla="*/ 2192357 w 3068197"/>
              <a:gd name="connsiteY39" fmla="*/ 1958249 h 2591718"/>
              <a:gd name="connsiteX40" fmla="*/ 2258458 w 3068197"/>
              <a:gd name="connsiteY40" fmla="*/ 2005070 h 2591718"/>
              <a:gd name="connsiteX41" fmla="*/ 2250195 w 3068197"/>
              <a:gd name="connsiteY41" fmla="*/ 2051892 h 2591718"/>
              <a:gd name="connsiteX42" fmla="*/ 2250195 w 3068197"/>
              <a:gd name="connsiteY42" fmla="*/ 2051892 h 2591718"/>
              <a:gd name="connsiteX43" fmla="*/ 2299771 w 3068197"/>
              <a:gd name="connsiteY43" fmla="*/ 2065663 h 2591718"/>
              <a:gd name="connsiteX44" fmla="*/ 2327313 w 3068197"/>
              <a:gd name="connsiteY44" fmla="*/ 2104222 h 2591718"/>
              <a:gd name="connsiteX45" fmla="*/ 2313542 w 3068197"/>
              <a:gd name="connsiteY45" fmla="*/ 2184094 h 2591718"/>
              <a:gd name="connsiteX46" fmla="*/ 2398923 w 3068197"/>
              <a:gd name="connsiteY46" fmla="*/ 2266721 h 2591718"/>
              <a:gd name="connsiteX47" fmla="*/ 2462270 w 3068197"/>
              <a:gd name="connsiteY47" fmla="*/ 2319051 h 2591718"/>
              <a:gd name="connsiteX48" fmla="*/ 2531125 w 3068197"/>
              <a:gd name="connsiteY48" fmla="*/ 2335576 h 2591718"/>
              <a:gd name="connsiteX49" fmla="*/ 2580701 w 3068197"/>
              <a:gd name="connsiteY49" fmla="*/ 2374135 h 2591718"/>
              <a:gd name="connsiteX50" fmla="*/ 2586210 w 3068197"/>
              <a:gd name="connsiteY50" fmla="*/ 2407186 h 2591718"/>
              <a:gd name="connsiteX51" fmla="*/ 2638540 w 3068197"/>
              <a:gd name="connsiteY51" fmla="*/ 2445745 h 2591718"/>
              <a:gd name="connsiteX52" fmla="*/ 2721166 w 3068197"/>
              <a:gd name="connsiteY52" fmla="*/ 2465024 h 2591718"/>
              <a:gd name="connsiteX53" fmla="*/ 2754217 w 3068197"/>
              <a:gd name="connsiteY53" fmla="*/ 2489812 h 2591718"/>
              <a:gd name="connsiteX54" fmla="*/ 2762479 w 3068197"/>
              <a:gd name="connsiteY54" fmla="*/ 2514600 h 2591718"/>
              <a:gd name="connsiteX55" fmla="*/ 2781759 w 3068197"/>
              <a:gd name="connsiteY55" fmla="*/ 2536634 h 2591718"/>
              <a:gd name="connsiteX56" fmla="*/ 2919470 w 3068197"/>
              <a:gd name="connsiteY56" fmla="*/ 2580702 h 2591718"/>
              <a:gd name="connsiteX57" fmla="*/ 2988325 w 3068197"/>
              <a:gd name="connsiteY57" fmla="*/ 2591718 h 2591718"/>
              <a:gd name="connsiteX58" fmla="*/ 3068197 w 3068197"/>
              <a:gd name="connsiteY58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823291 w 3068197"/>
              <a:gd name="connsiteY30" fmla="*/ 1495540 h 2591718"/>
              <a:gd name="connsiteX31" fmla="*/ 1856342 w 3068197"/>
              <a:gd name="connsiteY31" fmla="*/ 1575412 h 2591718"/>
              <a:gd name="connsiteX32" fmla="*/ 1897655 w 3068197"/>
              <a:gd name="connsiteY32" fmla="*/ 1636005 h 2591718"/>
              <a:gd name="connsiteX33" fmla="*/ 1903164 w 3068197"/>
              <a:gd name="connsiteY33" fmla="*/ 1666302 h 2591718"/>
              <a:gd name="connsiteX34" fmla="*/ 1955494 w 3068197"/>
              <a:gd name="connsiteY34" fmla="*/ 1702106 h 2591718"/>
              <a:gd name="connsiteX35" fmla="*/ 2018841 w 3068197"/>
              <a:gd name="connsiteY35" fmla="*/ 1798504 h 2591718"/>
              <a:gd name="connsiteX36" fmla="*/ 2087696 w 3068197"/>
              <a:gd name="connsiteY36" fmla="*/ 1839817 h 2591718"/>
              <a:gd name="connsiteX37" fmla="*/ 2145535 w 3068197"/>
              <a:gd name="connsiteY37" fmla="*/ 1908673 h 2591718"/>
              <a:gd name="connsiteX38" fmla="*/ 2192357 w 3068197"/>
              <a:gd name="connsiteY38" fmla="*/ 1958249 h 2591718"/>
              <a:gd name="connsiteX39" fmla="*/ 2258458 w 3068197"/>
              <a:gd name="connsiteY39" fmla="*/ 2005070 h 2591718"/>
              <a:gd name="connsiteX40" fmla="*/ 2250195 w 3068197"/>
              <a:gd name="connsiteY40" fmla="*/ 2051892 h 2591718"/>
              <a:gd name="connsiteX41" fmla="*/ 2250195 w 3068197"/>
              <a:gd name="connsiteY41" fmla="*/ 2051892 h 2591718"/>
              <a:gd name="connsiteX42" fmla="*/ 2299771 w 3068197"/>
              <a:gd name="connsiteY42" fmla="*/ 2065663 h 2591718"/>
              <a:gd name="connsiteX43" fmla="*/ 2327313 w 3068197"/>
              <a:gd name="connsiteY43" fmla="*/ 2104222 h 2591718"/>
              <a:gd name="connsiteX44" fmla="*/ 2313542 w 3068197"/>
              <a:gd name="connsiteY44" fmla="*/ 2184094 h 2591718"/>
              <a:gd name="connsiteX45" fmla="*/ 2398923 w 3068197"/>
              <a:gd name="connsiteY45" fmla="*/ 2266721 h 2591718"/>
              <a:gd name="connsiteX46" fmla="*/ 2462270 w 3068197"/>
              <a:gd name="connsiteY46" fmla="*/ 2319051 h 2591718"/>
              <a:gd name="connsiteX47" fmla="*/ 2531125 w 3068197"/>
              <a:gd name="connsiteY47" fmla="*/ 2335576 h 2591718"/>
              <a:gd name="connsiteX48" fmla="*/ 2580701 w 3068197"/>
              <a:gd name="connsiteY48" fmla="*/ 2374135 h 2591718"/>
              <a:gd name="connsiteX49" fmla="*/ 2586210 w 3068197"/>
              <a:gd name="connsiteY49" fmla="*/ 2407186 h 2591718"/>
              <a:gd name="connsiteX50" fmla="*/ 2638540 w 3068197"/>
              <a:gd name="connsiteY50" fmla="*/ 2445745 h 2591718"/>
              <a:gd name="connsiteX51" fmla="*/ 2721166 w 3068197"/>
              <a:gd name="connsiteY51" fmla="*/ 2465024 h 2591718"/>
              <a:gd name="connsiteX52" fmla="*/ 2754217 w 3068197"/>
              <a:gd name="connsiteY52" fmla="*/ 2489812 h 2591718"/>
              <a:gd name="connsiteX53" fmla="*/ 2762479 w 3068197"/>
              <a:gd name="connsiteY53" fmla="*/ 2514600 h 2591718"/>
              <a:gd name="connsiteX54" fmla="*/ 2781759 w 3068197"/>
              <a:gd name="connsiteY54" fmla="*/ 2536634 h 2591718"/>
              <a:gd name="connsiteX55" fmla="*/ 2919470 w 3068197"/>
              <a:gd name="connsiteY55" fmla="*/ 2580702 h 2591718"/>
              <a:gd name="connsiteX56" fmla="*/ 2988325 w 3068197"/>
              <a:gd name="connsiteY56" fmla="*/ 2591718 h 2591718"/>
              <a:gd name="connsiteX57" fmla="*/ 3068197 w 3068197"/>
              <a:gd name="connsiteY57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856342 w 3068197"/>
              <a:gd name="connsiteY30" fmla="*/ 1575412 h 2591718"/>
              <a:gd name="connsiteX31" fmla="*/ 1897655 w 3068197"/>
              <a:gd name="connsiteY31" fmla="*/ 1636005 h 2591718"/>
              <a:gd name="connsiteX32" fmla="*/ 1903164 w 3068197"/>
              <a:gd name="connsiteY32" fmla="*/ 1666302 h 2591718"/>
              <a:gd name="connsiteX33" fmla="*/ 1955494 w 3068197"/>
              <a:gd name="connsiteY33" fmla="*/ 1702106 h 2591718"/>
              <a:gd name="connsiteX34" fmla="*/ 2018841 w 3068197"/>
              <a:gd name="connsiteY34" fmla="*/ 1798504 h 2591718"/>
              <a:gd name="connsiteX35" fmla="*/ 2087696 w 3068197"/>
              <a:gd name="connsiteY35" fmla="*/ 1839817 h 2591718"/>
              <a:gd name="connsiteX36" fmla="*/ 2145535 w 3068197"/>
              <a:gd name="connsiteY36" fmla="*/ 1908673 h 2591718"/>
              <a:gd name="connsiteX37" fmla="*/ 2192357 w 3068197"/>
              <a:gd name="connsiteY37" fmla="*/ 1958249 h 2591718"/>
              <a:gd name="connsiteX38" fmla="*/ 2258458 w 3068197"/>
              <a:gd name="connsiteY38" fmla="*/ 2005070 h 2591718"/>
              <a:gd name="connsiteX39" fmla="*/ 2250195 w 3068197"/>
              <a:gd name="connsiteY39" fmla="*/ 2051892 h 2591718"/>
              <a:gd name="connsiteX40" fmla="*/ 2250195 w 3068197"/>
              <a:gd name="connsiteY40" fmla="*/ 2051892 h 2591718"/>
              <a:gd name="connsiteX41" fmla="*/ 2299771 w 3068197"/>
              <a:gd name="connsiteY41" fmla="*/ 2065663 h 2591718"/>
              <a:gd name="connsiteX42" fmla="*/ 2327313 w 3068197"/>
              <a:gd name="connsiteY42" fmla="*/ 2104222 h 2591718"/>
              <a:gd name="connsiteX43" fmla="*/ 2313542 w 3068197"/>
              <a:gd name="connsiteY43" fmla="*/ 2184094 h 2591718"/>
              <a:gd name="connsiteX44" fmla="*/ 2398923 w 3068197"/>
              <a:gd name="connsiteY44" fmla="*/ 2266721 h 2591718"/>
              <a:gd name="connsiteX45" fmla="*/ 2462270 w 3068197"/>
              <a:gd name="connsiteY45" fmla="*/ 2319051 h 2591718"/>
              <a:gd name="connsiteX46" fmla="*/ 2531125 w 3068197"/>
              <a:gd name="connsiteY46" fmla="*/ 2335576 h 2591718"/>
              <a:gd name="connsiteX47" fmla="*/ 2580701 w 3068197"/>
              <a:gd name="connsiteY47" fmla="*/ 2374135 h 2591718"/>
              <a:gd name="connsiteX48" fmla="*/ 2586210 w 3068197"/>
              <a:gd name="connsiteY48" fmla="*/ 2407186 h 2591718"/>
              <a:gd name="connsiteX49" fmla="*/ 2638540 w 3068197"/>
              <a:gd name="connsiteY49" fmla="*/ 2445745 h 2591718"/>
              <a:gd name="connsiteX50" fmla="*/ 2721166 w 3068197"/>
              <a:gd name="connsiteY50" fmla="*/ 2465024 h 2591718"/>
              <a:gd name="connsiteX51" fmla="*/ 2754217 w 3068197"/>
              <a:gd name="connsiteY51" fmla="*/ 2489812 h 2591718"/>
              <a:gd name="connsiteX52" fmla="*/ 2762479 w 3068197"/>
              <a:gd name="connsiteY52" fmla="*/ 2514600 h 2591718"/>
              <a:gd name="connsiteX53" fmla="*/ 2781759 w 3068197"/>
              <a:gd name="connsiteY53" fmla="*/ 2536634 h 2591718"/>
              <a:gd name="connsiteX54" fmla="*/ 2919470 w 3068197"/>
              <a:gd name="connsiteY54" fmla="*/ 2580702 h 2591718"/>
              <a:gd name="connsiteX55" fmla="*/ 2988325 w 3068197"/>
              <a:gd name="connsiteY55" fmla="*/ 2591718 h 2591718"/>
              <a:gd name="connsiteX56" fmla="*/ 3068197 w 3068197"/>
              <a:gd name="connsiteY56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897655 w 3068197"/>
              <a:gd name="connsiteY30" fmla="*/ 1636005 h 2591718"/>
              <a:gd name="connsiteX31" fmla="*/ 1903164 w 3068197"/>
              <a:gd name="connsiteY31" fmla="*/ 1666302 h 2591718"/>
              <a:gd name="connsiteX32" fmla="*/ 1955494 w 3068197"/>
              <a:gd name="connsiteY32" fmla="*/ 1702106 h 2591718"/>
              <a:gd name="connsiteX33" fmla="*/ 2018841 w 3068197"/>
              <a:gd name="connsiteY33" fmla="*/ 1798504 h 2591718"/>
              <a:gd name="connsiteX34" fmla="*/ 2087696 w 3068197"/>
              <a:gd name="connsiteY34" fmla="*/ 1839817 h 2591718"/>
              <a:gd name="connsiteX35" fmla="*/ 2145535 w 3068197"/>
              <a:gd name="connsiteY35" fmla="*/ 1908673 h 2591718"/>
              <a:gd name="connsiteX36" fmla="*/ 2192357 w 3068197"/>
              <a:gd name="connsiteY36" fmla="*/ 1958249 h 2591718"/>
              <a:gd name="connsiteX37" fmla="*/ 2258458 w 3068197"/>
              <a:gd name="connsiteY37" fmla="*/ 2005070 h 2591718"/>
              <a:gd name="connsiteX38" fmla="*/ 2250195 w 3068197"/>
              <a:gd name="connsiteY38" fmla="*/ 2051892 h 2591718"/>
              <a:gd name="connsiteX39" fmla="*/ 2250195 w 3068197"/>
              <a:gd name="connsiteY39" fmla="*/ 2051892 h 2591718"/>
              <a:gd name="connsiteX40" fmla="*/ 2299771 w 3068197"/>
              <a:gd name="connsiteY40" fmla="*/ 2065663 h 2591718"/>
              <a:gd name="connsiteX41" fmla="*/ 2327313 w 3068197"/>
              <a:gd name="connsiteY41" fmla="*/ 2104222 h 2591718"/>
              <a:gd name="connsiteX42" fmla="*/ 2313542 w 3068197"/>
              <a:gd name="connsiteY42" fmla="*/ 2184094 h 2591718"/>
              <a:gd name="connsiteX43" fmla="*/ 2398923 w 3068197"/>
              <a:gd name="connsiteY43" fmla="*/ 2266721 h 2591718"/>
              <a:gd name="connsiteX44" fmla="*/ 2462270 w 3068197"/>
              <a:gd name="connsiteY44" fmla="*/ 2319051 h 2591718"/>
              <a:gd name="connsiteX45" fmla="*/ 2531125 w 3068197"/>
              <a:gd name="connsiteY45" fmla="*/ 2335576 h 2591718"/>
              <a:gd name="connsiteX46" fmla="*/ 2580701 w 3068197"/>
              <a:gd name="connsiteY46" fmla="*/ 2374135 h 2591718"/>
              <a:gd name="connsiteX47" fmla="*/ 2586210 w 3068197"/>
              <a:gd name="connsiteY47" fmla="*/ 2407186 h 2591718"/>
              <a:gd name="connsiteX48" fmla="*/ 2638540 w 3068197"/>
              <a:gd name="connsiteY48" fmla="*/ 2445745 h 2591718"/>
              <a:gd name="connsiteX49" fmla="*/ 2721166 w 3068197"/>
              <a:gd name="connsiteY49" fmla="*/ 2465024 h 2591718"/>
              <a:gd name="connsiteX50" fmla="*/ 2754217 w 3068197"/>
              <a:gd name="connsiteY50" fmla="*/ 2489812 h 2591718"/>
              <a:gd name="connsiteX51" fmla="*/ 2762479 w 3068197"/>
              <a:gd name="connsiteY51" fmla="*/ 2514600 h 2591718"/>
              <a:gd name="connsiteX52" fmla="*/ 2781759 w 3068197"/>
              <a:gd name="connsiteY52" fmla="*/ 2536634 h 2591718"/>
              <a:gd name="connsiteX53" fmla="*/ 2919470 w 3068197"/>
              <a:gd name="connsiteY53" fmla="*/ 2580702 h 2591718"/>
              <a:gd name="connsiteX54" fmla="*/ 2988325 w 3068197"/>
              <a:gd name="connsiteY54" fmla="*/ 2591718 h 2591718"/>
              <a:gd name="connsiteX55" fmla="*/ 3068197 w 3068197"/>
              <a:gd name="connsiteY55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897655 w 3068197"/>
              <a:gd name="connsiteY30" fmla="*/ 1636005 h 2591718"/>
              <a:gd name="connsiteX31" fmla="*/ 1955494 w 3068197"/>
              <a:gd name="connsiteY31" fmla="*/ 1702106 h 2591718"/>
              <a:gd name="connsiteX32" fmla="*/ 2018841 w 3068197"/>
              <a:gd name="connsiteY32" fmla="*/ 1798504 h 2591718"/>
              <a:gd name="connsiteX33" fmla="*/ 2087696 w 3068197"/>
              <a:gd name="connsiteY33" fmla="*/ 1839817 h 2591718"/>
              <a:gd name="connsiteX34" fmla="*/ 2145535 w 3068197"/>
              <a:gd name="connsiteY34" fmla="*/ 1908673 h 2591718"/>
              <a:gd name="connsiteX35" fmla="*/ 2192357 w 3068197"/>
              <a:gd name="connsiteY35" fmla="*/ 1958249 h 2591718"/>
              <a:gd name="connsiteX36" fmla="*/ 2258458 w 3068197"/>
              <a:gd name="connsiteY36" fmla="*/ 2005070 h 2591718"/>
              <a:gd name="connsiteX37" fmla="*/ 2250195 w 3068197"/>
              <a:gd name="connsiteY37" fmla="*/ 2051892 h 2591718"/>
              <a:gd name="connsiteX38" fmla="*/ 2250195 w 3068197"/>
              <a:gd name="connsiteY38" fmla="*/ 2051892 h 2591718"/>
              <a:gd name="connsiteX39" fmla="*/ 2299771 w 3068197"/>
              <a:gd name="connsiteY39" fmla="*/ 2065663 h 2591718"/>
              <a:gd name="connsiteX40" fmla="*/ 2327313 w 3068197"/>
              <a:gd name="connsiteY40" fmla="*/ 2104222 h 2591718"/>
              <a:gd name="connsiteX41" fmla="*/ 2313542 w 3068197"/>
              <a:gd name="connsiteY41" fmla="*/ 2184094 h 2591718"/>
              <a:gd name="connsiteX42" fmla="*/ 2398923 w 3068197"/>
              <a:gd name="connsiteY42" fmla="*/ 2266721 h 2591718"/>
              <a:gd name="connsiteX43" fmla="*/ 2462270 w 3068197"/>
              <a:gd name="connsiteY43" fmla="*/ 2319051 h 2591718"/>
              <a:gd name="connsiteX44" fmla="*/ 2531125 w 3068197"/>
              <a:gd name="connsiteY44" fmla="*/ 2335576 h 2591718"/>
              <a:gd name="connsiteX45" fmla="*/ 2580701 w 3068197"/>
              <a:gd name="connsiteY45" fmla="*/ 2374135 h 2591718"/>
              <a:gd name="connsiteX46" fmla="*/ 2586210 w 3068197"/>
              <a:gd name="connsiteY46" fmla="*/ 2407186 h 2591718"/>
              <a:gd name="connsiteX47" fmla="*/ 2638540 w 3068197"/>
              <a:gd name="connsiteY47" fmla="*/ 2445745 h 2591718"/>
              <a:gd name="connsiteX48" fmla="*/ 2721166 w 3068197"/>
              <a:gd name="connsiteY48" fmla="*/ 2465024 h 2591718"/>
              <a:gd name="connsiteX49" fmla="*/ 2754217 w 3068197"/>
              <a:gd name="connsiteY49" fmla="*/ 2489812 h 2591718"/>
              <a:gd name="connsiteX50" fmla="*/ 2762479 w 3068197"/>
              <a:gd name="connsiteY50" fmla="*/ 2514600 h 2591718"/>
              <a:gd name="connsiteX51" fmla="*/ 2781759 w 3068197"/>
              <a:gd name="connsiteY51" fmla="*/ 2536634 h 2591718"/>
              <a:gd name="connsiteX52" fmla="*/ 2919470 w 3068197"/>
              <a:gd name="connsiteY52" fmla="*/ 2580702 h 2591718"/>
              <a:gd name="connsiteX53" fmla="*/ 2988325 w 3068197"/>
              <a:gd name="connsiteY53" fmla="*/ 2591718 h 2591718"/>
              <a:gd name="connsiteX54" fmla="*/ 3068197 w 3068197"/>
              <a:gd name="connsiteY54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1955494 w 3068197"/>
              <a:gd name="connsiteY30" fmla="*/ 1702106 h 2591718"/>
              <a:gd name="connsiteX31" fmla="*/ 2018841 w 3068197"/>
              <a:gd name="connsiteY31" fmla="*/ 1798504 h 2591718"/>
              <a:gd name="connsiteX32" fmla="*/ 2087696 w 3068197"/>
              <a:gd name="connsiteY32" fmla="*/ 1839817 h 2591718"/>
              <a:gd name="connsiteX33" fmla="*/ 2145535 w 3068197"/>
              <a:gd name="connsiteY33" fmla="*/ 1908673 h 2591718"/>
              <a:gd name="connsiteX34" fmla="*/ 2192357 w 3068197"/>
              <a:gd name="connsiteY34" fmla="*/ 1958249 h 2591718"/>
              <a:gd name="connsiteX35" fmla="*/ 2258458 w 3068197"/>
              <a:gd name="connsiteY35" fmla="*/ 2005070 h 2591718"/>
              <a:gd name="connsiteX36" fmla="*/ 2250195 w 3068197"/>
              <a:gd name="connsiteY36" fmla="*/ 2051892 h 2591718"/>
              <a:gd name="connsiteX37" fmla="*/ 2250195 w 3068197"/>
              <a:gd name="connsiteY37" fmla="*/ 2051892 h 2591718"/>
              <a:gd name="connsiteX38" fmla="*/ 2299771 w 3068197"/>
              <a:gd name="connsiteY38" fmla="*/ 2065663 h 2591718"/>
              <a:gd name="connsiteX39" fmla="*/ 2327313 w 3068197"/>
              <a:gd name="connsiteY39" fmla="*/ 2104222 h 2591718"/>
              <a:gd name="connsiteX40" fmla="*/ 2313542 w 3068197"/>
              <a:gd name="connsiteY40" fmla="*/ 2184094 h 2591718"/>
              <a:gd name="connsiteX41" fmla="*/ 2398923 w 3068197"/>
              <a:gd name="connsiteY41" fmla="*/ 2266721 h 2591718"/>
              <a:gd name="connsiteX42" fmla="*/ 2462270 w 3068197"/>
              <a:gd name="connsiteY42" fmla="*/ 2319051 h 2591718"/>
              <a:gd name="connsiteX43" fmla="*/ 2531125 w 3068197"/>
              <a:gd name="connsiteY43" fmla="*/ 2335576 h 2591718"/>
              <a:gd name="connsiteX44" fmla="*/ 2580701 w 3068197"/>
              <a:gd name="connsiteY44" fmla="*/ 2374135 h 2591718"/>
              <a:gd name="connsiteX45" fmla="*/ 2586210 w 3068197"/>
              <a:gd name="connsiteY45" fmla="*/ 2407186 h 2591718"/>
              <a:gd name="connsiteX46" fmla="*/ 2638540 w 3068197"/>
              <a:gd name="connsiteY46" fmla="*/ 2445745 h 2591718"/>
              <a:gd name="connsiteX47" fmla="*/ 2721166 w 3068197"/>
              <a:gd name="connsiteY47" fmla="*/ 2465024 h 2591718"/>
              <a:gd name="connsiteX48" fmla="*/ 2754217 w 3068197"/>
              <a:gd name="connsiteY48" fmla="*/ 2489812 h 2591718"/>
              <a:gd name="connsiteX49" fmla="*/ 2762479 w 3068197"/>
              <a:gd name="connsiteY49" fmla="*/ 2514600 h 2591718"/>
              <a:gd name="connsiteX50" fmla="*/ 2781759 w 3068197"/>
              <a:gd name="connsiteY50" fmla="*/ 2536634 h 2591718"/>
              <a:gd name="connsiteX51" fmla="*/ 2919470 w 3068197"/>
              <a:gd name="connsiteY51" fmla="*/ 2580702 h 2591718"/>
              <a:gd name="connsiteX52" fmla="*/ 2988325 w 3068197"/>
              <a:gd name="connsiteY52" fmla="*/ 2591718 h 2591718"/>
              <a:gd name="connsiteX53" fmla="*/ 3068197 w 3068197"/>
              <a:gd name="connsiteY53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018841 w 3068197"/>
              <a:gd name="connsiteY30" fmla="*/ 1798504 h 2591718"/>
              <a:gd name="connsiteX31" fmla="*/ 2087696 w 3068197"/>
              <a:gd name="connsiteY31" fmla="*/ 1839817 h 2591718"/>
              <a:gd name="connsiteX32" fmla="*/ 2145535 w 3068197"/>
              <a:gd name="connsiteY32" fmla="*/ 1908673 h 2591718"/>
              <a:gd name="connsiteX33" fmla="*/ 2192357 w 3068197"/>
              <a:gd name="connsiteY33" fmla="*/ 1958249 h 2591718"/>
              <a:gd name="connsiteX34" fmla="*/ 2258458 w 3068197"/>
              <a:gd name="connsiteY34" fmla="*/ 2005070 h 2591718"/>
              <a:gd name="connsiteX35" fmla="*/ 2250195 w 3068197"/>
              <a:gd name="connsiteY35" fmla="*/ 2051892 h 2591718"/>
              <a:gd name="connsiteX36" fmla="*/ 2250195 w 3068197"/>
              <a:gd name="connsiteY36" fmla="*/ 2051892 h 2591718"/>
              <a:gd name="connsiteX37" fmla="*/ 2299771 w 3068197"/>
              <a:gd name="connsiteY37" fmla="*/ 2065663 h 2591718"/>
              <a:gd name="connsiteX38" fmla="*/ 2327313 w 3068197"/>
              <a:gd name="connsiteY38" fmla="*/ 2104222 h 2591718"/>
              <a:gd name="connsiteX39" fmla="*/ 2313542 w 3068197"/>
              <a:gd name="connsiteY39" fmla="*/ 2184094 h 2591718"/>
              <a:gd name="connsiteX40" fmla="*/ 2398923 w 3068197"/>
              <a:gd name="connsiteY40" fmla="*/ 2266721 h 2591718"/>
              <a:gd name="connsiteX41" fmla="*/ 2462270 w 3068197"/>
              <a:gd name="connsiteY41" fmla="*/ 2319051 h 2591718"/>
              <a:gd name="connsiteX42" fmla="*/ 2531125 w 3068197"/>
              <a:gd name="connsiteY42" fmla="*/ 2335576 h 2591718"/>
              <a:gd name="connsiteX43" fmla="*/ 2580701 w 3068197"/>
              <a:gd name="connsiteY43" fmla="*/ 2374135 h 2591718"/>
              <a:gd name="connsiteX44" fmla="*/ 2586210 w 3068197"/>
              <a:gd name="connsiteY44" fmla="*/ 2407186 h 2591718"/>
              <a:gd name="connsiteX45" fmla="*/ 2638540 w 3068197"/>
              <a:gd name="connsiteY45" fmla="*/ 2445745 h 2591718"/>
              <a:gd name="connsiteX46" fmla="*/ 2721166 w 3068197"/>
              <a:gd name="connsiteY46" fmla="*/ 2465024 h 2591718"/>
              <a:gd name="connsiteX47" fmla="*/ 2754217 w 3068197"/>
              <a:gd name="connsiteY47" fmla="*/ 2489812 h 2591718"/>
              <a:gd name="connsiteX48" fmla="*/ 2762479 w 3068197"/>
              <a:gd name="connsiteY48" fmla="*/ 2514600 h 2591718"/>
              <a:gd name="connsiteX49" fmla="*/ 2781759 w 3068197"/>
              <a:gd name="connsiteY49" fmla="*/ 2536634 h 2591718"/>
              <a:gd name="connsiteX50" fmla="*/ 2919470 w 3068197"/>
              <a:gd name="connsiteY50" fmla="*/ 2580702 h 2591718"/>
              <a:gd name="connsiteX51" fmla="*/ 2988325 w 3068197"/>
              <a:gd name="connsiteY51" fmla="*/ 2591718 h 2591718"/>
              <a:gd name="connsiteX52" fmla="*/ 3068197 w 3068197"/>
              <a:gd name="connsiteY52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087696 w 3068197"/>
              <a:gd name="connsiteY30" fmla="*/ 1839817 h 2591718"/>
              <a:gd name="connsiteX31" fmla="*/ 2145535 w 3068197"/>
              <a:gd name="connsiteY31" fmla="*/ 1908673 h 2591718"/>
              <a:gd name="connsiteX32" fmla="*/ 2192357 w 3068197"/>
              <a:gd name="connsiteY32" fmla="*/ 1958249 h 2591718"/>
              <a:gd name="connsiteX33" fmla="*/ 2258458 w 3068197"/>
              <a:gd name="connsiteY33" fmla="*/ 2005070 h 2591718"/>
              <a:gd name="connsiteX34" fmla="*/ 2250195 w 3068197"/>
              <a:gd name="connsiteY34" fmla="*/ 2051892 h 2591718"/>
              <a:gd name="connsiteX35" fmla="*/ 2250195 w 3068197"/>
              <a:gd name="connsiteY35" fmla="*/ 2051892 h 2591718"/>
              <a:gd name="connsiteX36" fmla="*/ 2299771 w 3068197"/>
              <a:gd name="connsiteY36" fmla="*/ 2065663 h 2591718"/>
              <a:gd name="connsiteX37" fmla="*/ 2327313 w 3068197"/>
              <a:gd name="connsiteY37" fmla="*/ 2104222 h 2591718"/>
              <a:gd name="connsiteX38" fmla="*/ 2313542 w 3068197"/>
              <a:gd name="connsiteY38" fmla="*/ 2184094 h 2591718"/>
              <a:gd name="connsiteX39" fmla="*/ 2398923 w 3068197"/>
              <a:gd name="connsiteY39" fmla="*/ 2266721 h 2591718"/>
              <a:gd name="connsiteX40" fmla="*/ 2462270 w 3068197"/>
              <a:gd name="connsiteY40" fmla="*/ 2319051 h 2591718"/>
              <a:gd name="connsiteX41" fmla="*/ 2531125 w 3068197"/>
              <a:gd name="connsiteY41" fmla="*/ 2335576 h 2591718"/>
              <a:gd name="connsiteX42" fmla="*/ 2580701 w 3068197"/>
              <a:gd name="connsiteY42" fmla="*/ 2374135 h 2591718"/>
              <a:gd name="connsiteX43" fmla="*/ 2586210 w 3068197"/>
              <a:gd name="connsiteY43" fmla="*/ 2407186 h 2591718"/>
              <a:gd name="connsiteX44" fmla="*/ 2638540 w 3068197"/>
              <a:gd name="connsiteY44" fmla="*/ 2445745 h 2591718"/>
              <a:gd name="connsiteX45" fmla="*/ 2721166 w 3068197"/>
              <a:gd name="connsiteY45" fmla="*/ 2465024 h 2591718"/>
              <a:gd name="connsiteX46" fmla="*/ 2754217 w 3068197"/>
              <a:gd name="connsiteY46" fmla="*/ 2489812 h 2591718"/>
              <a:gd name="connsiteX47" fmla="*/ 2762479 w 3068197"/>
              <a:gd name="connsiteY47" fmla="*/ 2514600 h 2591718"/>
              <a:gd name="connsiteX48" fmla="*/ 2781759 w 3068197"/>
              <a:gd name="connsiteY48" fmla="*/ 2536634 h 2591718"/>
              <a:gd name="connsiteX49" fmla="*/ 2919470 w 3068197"/>
              <a:gd name="connsiteY49" fmla="*/ 2580702 h 2591718"/>
              <a:gd name="connsiteX50" fmla="*/ 2988325 w 3068197"/>
              <a:gd name="connsiteY50" fmla="*/ 2591718 h 2591718"/>
              <a:gd name="connsiteX51" fmla="*/ 3068197 w 3068197"/>
              <a:gd name="connsiteY51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145535 w 3068197"/>
              <a:gd name="connsiteY30" fmla="*/ 1908673 h 2591718"/>
              <a:gd name="connsiteX31" fmla="*/ 2192357 w 3068197"/>
              <a:gd name="connsiteY31" fmla="*/ 1958249 h 2591718"/>
              <a:gd name="connsiteX32" fmla="*/ 2258458 w 3068197"/>
              <a:gd name="connsiteY32" fmla="*/ 2005070 h 2591718"/>
              <a:gd name="connsiteX33" fmla="*/ 2250195 w 3068197"/>
              <a:gd name="connsiteY33" fmla="*/ 2051892 h 2591718"/>
              <a:gd name="connsiteX34" fmla="*/ 2250195 w 3068197"/>
              <a:gd name="connsiteY34" fmla="*/ 2051892 h 2591718"/>
              <a:gd name="connsiteX35" fmla="*/ 2299771 w 3068197"/>
              <a:gd name="connsiteY35" fmla="*/ 2065663 h 2591718"/>
              <a:gd name="connsiteX36" fmla="*/ 2327313 w 3068197"/>
              <a:gd name="connsiteY36" fmla="*/ 2104222 h 2591718"/>
              <a:gd name="connsiteX37" fmla="*/ 2313542 w 3068197"/>
              <a:gd name="connsiteY37" fmla="*/ 2184094 h 2591718"/>
              <a:gd name="connsiteX38" fmla="*/ 2398923 w 3068197"/>
              <a:gd name="connsiteY38" fmla="*/ 2266721 h 2591718"/>
              <a:gd name="connsiteX39" fmla="*/ 2462270 w 3068197"/>
              <a:gd name="connsiteY39" fmla="*/ 2319051 h 2591718"/>
              <a:gd name="connsiteX40" fmla="*/ 2531125 w 3068197"/>
              <a:gd name="connsiteY40" fmla="*/ 2335576 h 2591718"/>
              <a:gd name="connsiteX41" fmla="*/ 2580701 w 3068197"/>
              <a:gd name="connsiteY41" fmla="*/ 2374135 h 2591718"/>
              <a:gd name="connsiteX42" fmla="*/ 2586210 w 3068197"/>
              <a:gd name="connsiteY42" fmla="*/ 2407186 h 2591718"/>
              <a:gd name="connsiteX43" fmla="*/ 2638540 w 3068197"/>
              <a:gd name="connsiteY43" fmla="*/ 2445745 h 2591718"/>
              <a:gd name="connsiteX44" fmla="*/ 2721166 w 3068197"/>
              <a:gd name="connsiteY44" fmla="*/ 2465024 h 2591718"/>
              <a:gd name="connsiteX45" fmla="*/ 2754217 w 3068197"/>
              <a:gd name="connsiteY45" fmla="*/ 2489812 h 2591718"/>
              <a:gd name="connsiteX46" fmla="*/ 2762479 w 3068197"/>
              <a:gd name="connsiteY46" fmla="*/ 2514600 h 2591718"/>
              <a:gd name="connsiteX47" fmla="*/ 2781759 w 3068197"/>
              <a:gd name="connsiteY47" fmla="*/ 2536634 h 2591718"/>
              <a:gd name="connsiteX48" fmla="*/ 2919470 w 3068197"/>
              <a:gd name="connsiteY48" fmla="*/ 2580702 h 2591718"/>
              <a:gd name="connsiteX49" fmla="*/ 2988325 w 3068197"/>
              <a:gd name="connsiteY49" fmla="*/ 2591718 h 2591718"/>
              <a:gd name="connsiteX50" fmla="*/ 3068197 w 3068197"/>
              <a:gd name="connsiteY50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192357 w 3068197"/>
              <a:gd name="connsiteY30" fmla="*/ 1958249 h 2591718"/>
              <a:gd name="connsiteX31" fmla="*/ 2258458 w 3068197"/>
              <a:gd name="connsiteY31" fmla="*/ 2005070 h 2591718"/>
              <a:gd name="connsiteX32" fmla="*/ 2250195 w 3068197"/>
              <a:gd name="connsiteY32" fmla="*/ 2051892 h 2591718"/>
              <a:gd name="connsiteX33" fmla="*/ 2250195 w 3068197"/>
              <a:gd name="connsiteY33" fmla="*/ 2051892 h 2591718"/>
              <a:gd name="connsiteX34" fmla="*/ 2299771 w 3068197"/>
              <a:gd name="connsiteY34" fmla="*/ 2065663 h 2591718"/>
              <a:gd name="connsiteX35" fmla="*/ 2327313 w 3068197"/>
              <a:gd name="connsiteY35" fmla="*/ 2104222 h 2591718"/>
              <a:gd name="connsiteX36" fmla="*/ 2313542 w 3068197"/>
              <a:gd name="connsiteY36" fmla="*/ 2184094 h 2591718"/>
              <a:gd name="connsiteX37" fmla="*/ 2398923 w 3068197"/>
              <a:gd name="connsiteY37" fmla="*/ 2266721 h 2591718"/>
              <a:gd name="connsiteX38" fmla="*/ 2462270 w 3068197"/>
              <a:gd name="connsiteY38" fmla="*/ 2319051 h 2591718"/>
              <a:gd name="connsiteX39" fmla="*/ 2531125 w 3068197"/>
              <a:gd name="connsiteY39" fmla="*/ 2335576 h 2591718"/>
              <a:gd name="connsiteX40" fmla="*/ 2580701 w 3068197"/>
              <a:gd name="connsiteY40" fmla="*/ 2374135 h 2591718"/>
              <a:gd name="connsiteX41" fmla="*/ 2586210 w 3068197"/>
              <a:gd name="connsiteY41" fmla="*/ 2407186 h 2591718"/>
              <a:gd name="connsiteX42" fmla="*/ 2638540 w 3068197"/>
              <a:gd name="connsiteY42" fmla="*/ 2445745 h 2591718"/>
              <a:gd name="connsiteX43" fmla="*/ 2721166 w 3068197"/>
              <a:gd name="connsiteY43" fmla="*/ 2465024 h 2591718"/>
              <a:gd name="connsiteX44" fmla="*/ 2754217 w 3068197"/>
              <a:gd name="connsiteY44" fmla="*/ 2489812 h 2591718"/>
              <a:gd name="connsiteX45" fmla="*/ 2762479 w 3068197"/>
              <a:gd name="connsiteY45" fmla="*/ 2514600 h 2591718"/>
              <a:gd name="connsiteX46" fmla="*/ 2781759 w 3068197"/>
              <a:gd name="connsiteY46" fmla="*/ 2536634 h 2591718"/>
              <a:gd name="connsiteX47" fmla="*/ 2919470 w 3068197"/>
              <a:gd name="connsiteY47" fmla="*/ 2580702 h 2591718"/>
              <a:gd name="connsiteX48" fmla="*/ 2988325 w 3068197"/>
              <a:gd name="connsiteY48" fmla="*/ 2591718 h 2591718"/>
              <a:gd name="connsiteX49" fmla="*/ 3068197 w 3068197"/>
              <a:gd name="connsiteY49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258458 w 3068197"/>
              <a:gd name="connsiteY30" fmla="*/ 2005070 h 2591718"/>
              <a:gd name="connsiteX31" fmla="*/ 2250195 w 3068197"/>
              <a:gd name="connsiteY31" fmla="*/ 2051892 h 2591718"/>
              <a:gd name="connsiteX32" fmla="*/ 2250195 w 3068197"/>
              <a:gd name="connsiteY32" fmla="*/ 2051892 h 2591718"/>
              <a:gd name="connsiteX33" fmla="*/ 2299771 w 3068197"/>
              <a:gd name="connsiteY33" fmla="*/ 2065663 h 2591718"/>
              <a:gd name="connsiteX34" fmla="*/ 2327313 w 3068197"/>
              <a:gd name="connsiteY34" fmla="*/ 2104222 h 2591718"/>
              <a:gd name="connsiteX35" fmla="*/ 2313542 w 3068197"/>
              <a:gd name="connsiteY35" fmla="*/ 2184094 h 2591718"/>
              <a:gd name="connsiteX36" fmla="*/ 2398923 w 3068197"/>
              <a:gd name="connsiteY36" fmla="*/ 2266721 h 2591718"/>
              <a:gd name="connsiteX37" fmla="*/ 2462270 w 3068197"/>
              <a:gd name="connsiteY37" fmla="*/ 2319051 h 2591718"/>
              <a:gd name="connsiteX38" fmla="*/ 2531125 w 3068197"/>
              <a:gd name="connsiteY38" fmla="*/ 2335576 h 2591718"/>
              <a:gd name="connsiteX39" fmla="*/ 2580701 w 3068197"/>
              <a:gd name="connsiteY39" fmla="*/ 2374135 h 2591718"/>
              <a:gd name="connsiteX40" fmla="*/ 2586210 w 3068197"/>
              <a:gd name="connsiteY40" fmla="*/ 2407186 h 2591718"/>
              <a:gd name="connsiteX41" fmla="*/ 2638540 w 3068197"/>
              <a:gd name="connsiteY41" fmla="*/ 2445745 h 2591718"/>
              <a:gd name="connsiteX42" fmla="*/ 2721166 w 3068197"/>
              <a:gd name="connsiteY42" fmla="*/ 2465024 h 2591718"/>
              <a:gd name="connsiteX43" fmla="*/ 2754217 w 3068197"/>
              <a:gd name="connsiteY43" fmla="*/ 2489812 h 2591718"/>
              <a:gd name="connsiteX44" fmla="*/ 2762479 w 3068197"/>
              <a:gd name="connsiteY44" fmla="*/ 2514600 h 2591718"/>
              <a:gd name="connsiteX45" fmla="*/ 2781759 w 3068197"/>
              <a:gd name="connsiteY45" fmla="*/ 2536634 h 2591718"/>
              <a:gd name="connsiteX46" fmla="*/ 2919470 w 3068197"/>
              <a:gd name="connsiteY46" fmla="*/ 2580702 h 2591718"/>
              <a:gd name="connsiteX47" fmla="*/ 2988325 w 3068197"/>
              <a:gd name="connsiteY47" fmla="*/ 2591718 h 2591718"/>
              <a:gd name="connsiteX48" fmla="*/ 3068197 w 3068197"/>
              <a:gd name="connsiteY48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250195 w 3068197"/>
              <a:gd name="connsiteY30" fmla="*/ 2051892 h 2591718"/>
              <a:gd name="connsiteX31" fmla="*/ 2250195 w 3068197"/>
              <a:gd name="connsiteY31" fmla="*/ 2051892 h 2591718"/>
              <a:gd name="connsiteX32" fmla="*/ 2299771 w 3068197"/>
              <a:gd name="connsiteY32" fmla="*/ 2065663 h 2591718"/>
              <a:gd name="connsiteX33" fmla="*/ 2327313 w 3068197"/>
              <a:gd name="connsiteY33" fmla="*/ 2104222 h 2591718"/>
              <a:gd name="connsiteX34" fmla="*/ 2313542 w 3068197"/>
              <a:gd name="connsiteY34" fmla="*/ 2184094 h 2591718"/>
              <a:gd name="connsiteX35" fmla="*/ 2398923 w 3068197"/>
              <a:gd name="connsiteY35" fmla="*/ 2266721 h 2591718"/>
              <a:gd name="connsiteX36" fmla="*/ 2462270 w 3068197"/>
              <a:gd name="connsiteY36" fmla="*/ 2319051 h 2591718"/>
              <a:gd name="connsiteX37" fmla="*/ 2531125 w 3068197"/>
              <a:gd name="connsiteY37" fmla="*/ 2335576 h 2591718"/>
              <a:gd name="connsiteX38" fmla="*/ 2580701 w 3068197"/>
              <a:gd name="connsiteY38" fmla="*/ 2374135 h 2591718"/>
              <a:gd name="connsiteX39" fmla="*/ 2586210 w 3068197"/>
              <a:gd name="connsiteY39" fmla="*/ 2407186 h 2591718"/>
              <a:gd name="connsiteX40" fmla="*/ 2638540 w 3068197"/>
              <a:gd name="connsiteY40" fmla="*/ 2445745 h 2591718"/>
              <a:gd name="connsiteX41" fmla="*/ 2721166 w 3068197"/>
              <a:gd name="connsiteY41" fmla="*/ 2465024 h 2591718"/>
              <a:gd name="connsiteX42" fmla="*/ 2754217 w 3068197"/>
              <a:gd name="connsiteY42" fmla="*/ 2489812 h 2591718"/>
              <a:gd name="connsiteX43" fmla="*/ 2762479 w 3068197"/>
              <a:gd name="connsiteY43" fmla="*/ 2514600 h 2591718"/>
              <a:gd name="connsiteX44" fmla="*/ 2781759 w 3068197"/>
              <a:gd name="connsiteY44" fmla="*/ 2536634 h 2591718"/>
              <a:gd name="connsiteX45" fmla="*/ 2919470 w 3068197"/>
              <a:gd name="connsiteY45" fmla="*/ 2580702 h 2591718"/>
              <a:gd name="connsiteX46" fmla="*/ 2988325 w 3068197"/>
              <a:gd name="connsiteY46" fmla="*/ 2591718 h 2591718"/>
              <a:gd name="connsiteX47" fmla="*/ 3068197 w 3068197"/>
              <a:gd name="connsiteY47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250195 w 3068197"/>
              <a:gd name="connsiteY30" fmla="*/ 2051892 h 2591718"/>
              <a:gd name="connsiteX31" fmla="*/ 2299771 w 3068197"/>
              <a:gd name="connsiteY31" fmla="*/ 2065663 h 2591718"/>
              <a:gd name="connsiteX32" fmla="*/ 2327313 w 3068197"/>
              <a:gd name="connsiteY32" fmla="*/ 2104222 h 2591718"/>
              <a:gd name="connsiteX33" fmla="*/ 2313542 w 3068197"/>
              <a:gd name="connsiteY33" fmla="*/ 2184094 h 2591718"/>
              <a:gd name="connsiteX34" fmla="*/ 2398923 w 3068197"/>
              <a:gd name="connsiteY34" fmla="*/ 2266721 h 2591718"/>
              <a:gd name="connsiteX35" fmla="*/ 2462270 w 3068197"/>
              <a:gd name="connsiteY35" fmla="*/ 2319051 h 2591718"/>
              <a:gd name="connsiteX36" fmla="*/ 2531125 w 3068197"/>
              <a:gd name="connsiteY36" fmla="*/ 2335576 h 2591718"/>
              <a:gd name="connsiteX37" fmla="*/ 2580701 w 3068197"/>
              <a:gd name="connsiteY37" fmla="*/ 2374135 h 2591718"/>
              <a:gd name="connsiteX38" fmla="*/ 2586210 w 3068197"/>
              <a:gd name="connsiteY38" fmla="*/ 2407186 h 2591718"/>
              <a:gd name="connsiteX39" fmla="*/ 2638540 w 3068197"/>
              <a:gd name="connsiteY39" fmla="*/ 2445745 h 2591718"/>
              <a:gd name="connsiteX40" fmla="*/ 2721166 w 3068197"/>
              <a:gd name="connsiteY40" fmla="*/ 2465024 h 2591718"/>
              <a:gd name="connsiteX41" fmla="*/ 2754217 w 3068197"/>
              <a:gd name="connsiteY41" fmla="*/ 2489812 h 2591718"/>
              <a:gd name="connsiteX42" fmla="*/ 2762479 w 3068197"/>
              <a:gd name="connsiteY42" fmla="*/ 2514600 h 2591718"/>
              <a:gd name="connsiteX43" fmla="*/ 2781759 w 3068197"/>
              <a:gd name="connsiteY43" fmla="*/ 2536634 h 2591718"/>
              <a:gd name="connsiteX44" fmla="*/ 2919470 w 3068197"/>
              <a:gd name="connsiteY44" fmla="*/ 2580702 h 2591718"/>
              <a:gd name="connsiteX45" fmla="*/ 2988325 w 3068197"/>
              <a:gd name="connsiteY45" fmla="*/ 2591718 h 2591718"/>
              <a:gd name="connsiteX46" fmla="*/ 3068197 w 3068197"/>
              <a:gd name="connsiteY46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250195 w 3068197"/>
              <a:gd name="connsiteY30" fmla="*/ 2051892 h 2591718"/>
              <a:gd name="connsiteX31" fmla="*/ 2327313 w 3068197"/>
              <a:gd name="connsiteY31" fmla="*/ 2104222 h 2591718"/>
              <a:gd name="connsiteX32" fmla="*/ 2313542 w 3068197"/>
              <a:gd name="connsiteY32" fmla="*/ 2184094 h 2591718"/>
              <a:gd name="connsiteX33" fmla="*/ 2398923 w 3068197"/>
              <a:gd name="connsiteY33" fmla="*/ 2266721 h 2591718"/>
              <a:gd name="connsiteX34" fmla="*/ 2462270 w 3068197"/>
              <a:gd name="connsiteY34" fmla="*/ 2319051 h 2591718"/>
              <a:gd name="connsiteX35" fmla="*/ 2531125 w 3068197"/>
              <a:gd name="connsiteY35" fmla="*/ 2335576 h 2591718"/>
              <a:gd name="connsiteX36" fmla="*/ 2580701 w 3068197"/>
              <a:gd name="connsiteY36" fmla="*/ 2374135 h 2591718"/>
              <a:gd name="connsiteX37" fmla="*/ 2586210 w 3068197"/>
              <a:gd name="connsiteY37" fmla="*/ 2407186 h 2591718"/>
              <a:gd name="connsiteX38" fmla="*/ 2638540 w 3068197"/>
              <a:gd name="connsiteY38" fmla="*/ 2445745 h 2591718"/>
              <a:gd name="connsiteX39" fmla="*/ 2721166 w 3068197"/>
              <a:gd name="connsiteY39" fmla="*/ 2465024 h 2591718"/>
              <a:gd name="connsiteX40" fmla="*/ 2754217 w 3068197"/>
              <a:gd name="connsiteY40" fmla="*/ 2489812 h 2591718"/>
              <a:gd name="connsiteX41" fmla="*/ 2762479 w 3068197"/>
              <a:gd name="connsiteY41" fmla="*/ 2514600 h 2591718"/>
              <a:gd name="connsiteX42" fmla="*/ 2781759 w 3068197"/>
              <a:gd name="connsiteY42" fmla="*/ 2536634 h 2591718"/>
              <a:gd name="connsiteX43" fmla="*/ 2919470 w 3068197"/>
              <a:gd name="connsiteY43" fmla="*/ 2580702 h 2591718"/>
              <a:gd name="connsiteX44" fmla="*/ 2988325 w 3068197"/>
              <a:gd name="connsiteY44" fmla="*/ 2591718 h 2591718"/>
              <a:gd name="connsiteX45" fmla="*/ 3068197 w 3068197"/>
              <a:gd name="connsiteY45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327313 w 3068197"/>
              <a:gd name="connsiteY30" fmla="*/ 2104222 h 2591718"/>
              <a:gd name="connsiteX31" fmla="*/ 2313542 w 3068197"/>
              <a:gd name="connsiteY31" fmla="*/ 2184094 h 2591718"/>
              <a:gd name="connsiteX32" fmla="*/ 2398923 w 3068197"/>
              <a:gd name="connsiteY32" fmla="*/ 2266721 h 2591718"/>
              <a:gd name="connsiteX33" fmla="*/ 2462270 w 3068197"/>
              <a:gd name="connsiteY33" fmla="*/ 2319051 h 2591718"/>
              <a:gd name="connsiteX34" fmla="*/ 2531125 w 3068197"/>
              <a:gd name="connsiteY34" fmla="*/ 2335576 h 2591718"/>
              <a:gd name="connsiteX35" fmla="*/ 2580701 w 3068197"/>
              <a:gd name="connsiteY35" fmla="*/ 2374135 h 2591718"/>
              <a:gd name="connsiteX36" fmla="*/ 2586210 w 3068197"/>
              <a:gd name="connsiteY36" fmla="*/ 2407186 h 2591718"/>
              <a:gd name="connsiteX37" fmla="*/ 2638540 w 3068197"/>
              <a:gd name="connsiteY37" fmla="*/ 2445745 h 2591718"/>
              <a:gd name="connsiteX38" fmla="*/ 2721166 w 3068197"/>
              <a:gd name="connsiteY38" fmla="*/ 2465024 h 2591718"/>
              <a:gd name="connsiteX39" fmla="*/ 2754217 w 3068197"/>
              <a:gd name="connsiteY39" fmla="*/ 2489812 h 2591718"/>
              <a:gd name="connsiteX40" fmla="*/ 2762479 w 3068197"/>
              <a:gd name="connsiteY40" fmla="*/ 2514600 h 2591718"/>
              <a:gd name="connsiteX41" fmla="*/ 2781759 w 3068197"/>
              <a:gd name="connsiteY41" fmla="*/ 2536634 h 2591718"/>
              <a:gd name="connsiteX42" fmla="*/ 2919470 w 3068197"/>
              <a:gd name="connsiteY42" fmla="*/ 2580702 h 2591718"/>
              <a:gd name="connsiteX43" fmla="*/ 2988325 w 3068197"/>
              <a:gd name="connsiteY43" fmla="*/ 2591718 h 2591718"/>
              <a:gd name="connsiteX44" fmla="*/ 3068197 w 3068197"/>
              <a:gd name="connsiteY44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313542 w 3068197"/>
              <a:gd name="connsiteY30" fmla="*/ 2184094 h 2591718"/>
              <a:gd name="connsiteX31" fmla="*/ 2398923 w 3068197"/>
              <a:gd name="connsiteY31" fmla="*/ 2266721 h 2591718"/>
              <a:gd name="connsiteX32" fmla="*/ 2462270 w 3068197"/>
              <a:gd name="connsiteY32" fmla="*/ 2319051 h 2591718"/>
              <a:gd name="connsiteX33" fmla="*/ 2531125 w 3068197"/>
              <a:gd name="connsiteY33" fmla="*/ 2335576 h 2591718"/>
              <a:gd name="connsiteX34" fmla="*/ 2580701 w 3068197"/>
              <a:gd name="connsiteY34" fmla="*/ 2374135 h 2591718"/>
              <a:gd name="connsiteX35" fmla="*/ 2586210 w 3068197"/>
              <a:gd name="connsiteY35" fmla="*/ 2407186 h 2591718"/>
              <a:gd name="connsiteX36" fmla="*/ 2638540 w 3068197"/>
              <a:gd name="connsiteY36" fmla="*/ 2445745 h 2591718"/>
              <a:gd name="connsiteX37" fmla="*/ 2721166 w 3068197"/>
              <a:gd name="connsiteY37" fmla="*/ 2465024 h 2591718"/>
              <a:gd name="connsiteX38" fmla="*/ 2754217 w 3068197"/>
              <a:gd name="connsiteY38" fmla="*/ 2489812 h 2591718"/>
              <a:gd name="connsiteX39" fmla="*/ 2762479 w 3068197"/>
              <a:gd name="connsiteY39" fmla="*/ 2514600 h 2591718"/>
              <a:gd name="connsiteX40" fmla="*/ 2781759 w 3068197"/>
              <a:gd name="connsiteY40" fmla="*/ 2536634 h 2591718"/>
              <a:gd name="connsiteX41" fmla="*/ 2919470 w 3068197"/>
              <a:gd name="connsiteY41" fmla="*/ 2580702 h 2591718"/>
              <a:gd name="connsiteX42" fmla="*/ 2988325 w 3068197"/>
              <a:gd name="connsiteY42" fmla="*/ 2591718 h 2591718"/>
              <a:gd name="connsiteX43" fmla="*/ 3068197 w 3068197"/>
              <a:gd name="connsiteY43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398923 w 3068197"/>
              <a:gd name="connsiteY30" fmla="*/ 2266721 h 2591718"/>
              <a:gd name="connsiteX31" fmla="*/ 2462270 w 3068197"/>
              <a:gd name="connsiteY31" fmla="*/ 2319051 h 2591718"/>
              <a:gd name="connsiteX32" fmla="*/ 2531125 w 3068197"/>
              <a:gd name="connsiteY32" fmla="*/ 2335576 h 2591718"/>
              <a:gd name="connsiteX33" fmla="*/ 2580701 w 3068197"/>
              <a:gd name="connsiteY33" fmla="*/ 2374135 h 2591718"/>
              <a:gd name="connsiteX34" fmla="*/ 2586210 w 3068197"/>
              <a:gd name="connsiteY34" fmla="*/ 2407186 h 2591718"/>
              <a:gd name="connsiteX35" fmla="*/ 2638540 w 3068197"/>
              <a:gd name="connsiteY35" fmla="*/ 2445745 h 2591718"/>
              <a:gd name="connsiteX36" fmla="*/ 2721166 w 3068197"/>
              <a:gd name="connsiteY36" fmla="*/ 2465024 h 2591718"/>
              <a:gd name="connsiteX37" fmla="*/ 2754217 w 3068197"/>
              <a:gd name="connsiteY37" fmla="*/ 2489812 h 2591718"/>
              <a:gd name="connsiteX38" fmla="*/ 2762479 w 3068197"/>
              <a:gd name="connsiteY38" fmla="*/ 2514600 h 2591718"/>
              <a:gd name="connsiteX39" fmla="*/ 2781759 w 3068197"/>
              <a:gd name="connsiteY39" fmla="*/ 2536634 h 2591718"/>
              <a:gd name="connsiteX40" fmla="*/ 2919470 w 3068197"/>
              <a:gd name="connsiteY40" fmla="*/ 2580702 h 2591718"/>
              <a:gd name="connsiteX41" fmla="*/ 2988325 w 3068197"/>
              <a:gd name="connsiteY41" fmla="*/ 2591718 h 2591718"/>
              <a:gd name="connsiteX42" fmla="*/ 3068197 w 3068197"/>
              <a:gd name="connsiteY42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462270 w 3068197"/>
              <a:gd name="connsiteY30" fmla="*/ 2319051 h 2591718"/>
              <a:gd name="connsiteX31" fmla="*/ 2531125 w 3068197"/>
              <a:gd name="connsiteY31" fmla="*/ 2335576 h 2591718"/>
              <a:gd name="connsiteX32" fmla="*/ 2580701 w 3068197"/>
              <a:gd name="connsiteY32" fmla="*/ 2374135 h 2591718"/>
              <a:gd name="connsiteX33" fmla="*/ 2586210 w 3068197"/>
              <a:gd name="connsiteY33" fmla="*/ 2407186 h 2591718"/>
              <a:gd name="connsiteX34" fmla="*/ 2638540 w 3068197"/>
              <a:gd name="connsiteY34" fmla="*/ 2445745 h 2591718"/>
              <a:gd name="connsiteX35" fmla="*/ 2721166 w 3068197"/>
              <a:gd name="connsiteY35" fmla="*/ 2465024 h 2591718"/>
              <a:gd name="connsiteX36" fmla="*/ 2754217 w 3068197"/>
              <a:gd name="connsiteY36" fmla="*/ 2489812 h 2591718"/>
              <a:gd name="connsiteX37" fmla="*/ 2762479 w 3068197"/>
              <a:gd name="connsiteY37" fmla="*/ 2514600 h 2591718"/>
              <a:gd name="connsiteX38" fmla="*/ 2781759 w 3068197"/>
              <a:gd name="connsiteY38" fmla="*/ 2536634 h 2591718"/>
              <a:gd name="connsiteX39" fmla="*/ 2919470 w 3068197"/>
              <a:gd name="connsiteY39" fmla="*/ 2580702 h 2591718"/>
              <a:gd name="connsiteX40" fmla="*/ 2988325 w 3068197"/>
              <a:gd name="connsiteY40" fmla="*/ 2591718 h 2591718"/>
              <a:gd name="connsiteX41" fmla="*/ 3068197 w 3068197"/>
              <a:gd name="connsiteY41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531125 w 3068197"/>
              <a:gd name="connsiteY30" fmla="*/ 2335576 h 2591718"/>
              <a:gd name="connsiteX31" fmla="*/ 2580701 w 3068197"/>
              <a:gd name="connsiteY31" fmla="*/ 2374135 h 2591718"/>
              <a:gd name="connsiteX32" fmla="*/ 2586210 w 3068197"/>
              <a:gd name="connsiteY32" fmla="*/ 2407186 h 2591718"/>
              <a:gd name="connsiteX33" fmla="*/ 2638540 w 3068197"/>
              <a:gd name="connsiteY33" fmla="*/ 2445745 h 2591718"/>
              <a:gd name="connsiteX34" fmla="*/ 2721166 w 3068197"/>
              <a:gd name="connsiteY34" fmla="*/ 2465024 h 2591718"/>
              <a:gd name="connsiteX35" fmla="*/ 2754217 w 3068197"/>
              <a:gd name="connsiteY35" fmla="*/ 2489812 h 2591718"/>
              <a:gd name="connsiteX36" fmla="*/ 2762479 w 3068197"/>
              <a:gd name="connsiteY36" fmla="*/ 2514600 h 2591718"/>
              <a:gd name="connsiteX37" fmla="*/ 2781759 w 3068197"/>
              <a:gd name="connsiteY37" fmla="*/ 2536634 h 2591718"/>
              <a:gd name="connsiteX38" fmla="*/ 2919470 w 3068197"/>
              <a:gd name="connsiteY38" fmla="*/ 2580702 h 2591718"/>
              <a:gd name="connsiteX39" fmla="*/ 2988325 w 3068197"/>
              <a:gd name="connsiteY39" fmla="*/ 2591718 h 2591718"/>
              <a:gd name="connsiteX40" fmla="*/ 3068197 w 3068197"/>
              <a:gd name="connsiteY40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580701 w 3068197"/>
              <a:gd name="connsiteY30" fmla="*/ 2374135 h 2591718"/>
              <a:gd name="connsiteX31" fmla="*/ 2586210 w 3068197"/>
              <a:gd name="connsiteY31" fmla="*/ 2407186 h 2591718"/>
              <a:gd name="connsiteX32" fmla="*/ 2638540 w 3068197"/>
              <a:gd name="connsiteY32" fmla="*/ 2445745 h 2591718"/>
              <a:gd name="connsiteX33" fmla="*/ 2721166 w 3068197"/>
              <a:gd name="connsiteY33" fmla="*/ 2465024 h 2591718"/>
              <a:gd name="connsiteX34" fmla="*/ 2754217 w 3068197"/>
              <a:gd name="connsiteY34" fmla="*/ 2489812 h 2591718"/>
              <a:gd name="connsiteX35" fmla="*/ 2762479 w 3068197"/>
              <a:gd name="connsiteY35" fmla="*/ 2514600 h 2591718"/>
              <a:gd name="connsiteX36" fmla="*/ 2781759 w 3068197"/>
              <a:gd name="connsiteY36" fmla="*/ 2536634 h 2591718"/>
              <a:gd name="connsiteX37" fmla="*/ 2919470 w 3068197"/>
              <a:gd name="connsiteY37" fmla="*/ 2580702 h 2591718"/>
              <a:gd name="connsiteX38" fmla="*/ 2988325 w 3068197"/>
              <a:gd name="connsiteY38" fmla="*/ 2591718 h 2591718"/>
              <a:gd name="connsiteX39" fmla="*/ 3068197 w 3068197"/>
              <a:gd name="connsiteY39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546435 w 3068197"/>
              <a:gd name="connsiteY30" fmla="*/ 2369515 h 2591718"/>
              <a:gd name="connsiteX31" fmla="*/ 2580701 w 3068197"/>
              <a:gd name="connsiteY31" fmla="*/ 2374135 h 2591718"/>
              <a:gd name="connsiteX32" fmla="*/ 2586210 w 3068197"/>
              <a:gd name="connsiteY32" fmla="*/ 2407186 h 2591718"/>
              <a:gd name="connsiteX33" fmla="*/ 2638540 w 3068197"/>
              <a:gd name="connsiteY33" fmla="*/ 2445745 h 2591718"/>
              <a:gd name="connsiteX34" fmla="*/ 2721166 w 3068197"/>
              <a:gd name="connsiteY34" fmla="*/ 2465024 h 2591718"/>
              <a:gd name="connsiteX35" fmla="*/ 2754217 w 3068197"/>
              <a:gd name="connsiteY35" fmla="*/ 2489812 h 2591718"/>
              <a:gd name="connsiteX36" fmla="*/ 2762479 w 3068197"/>
              <a:gd name="connsiteY36" fmla="*/ 2514600 h 2591718"/>
              <a:gd name="connsiteX37" fmla="*/ 2781759 w 3068197"/>
              <a:gd name="connsiteY37" fmla="*/ 2536634 h 2591718"/>
              <a:gd name="connsiteX38" fmla="*/ 2919470 w 3068197"/>
              <a:gd name="connsiteY38" fmla="*/ 2580702 h 2591718"/>
              <a:gd name="connsiteX39" fmla="*/ 2988325 w 3068197"/>
              <a:gd name="connsiteY39" fmla="*/ 2591718 h 2591718"/>
              <a:gd name="connsiteX40" fmla="*/ 3068197 w 3068197"/>
              <a:gd name="connsiteY40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546435 w 3068197"/>
              <a:gd name="connsiteY30" fmla="*/ 2369515 h 2591718"/>
              <a:gd name="connsiteX31" fmla="*/ 2580701 w 3068197"/>
              <a:gd name="connsiteY31" fmla="*/ 2374135 h 2591718"/>
              <a:gd name="connsiteX32" fmla="*/ 2638540 w 3068197"/>
              <a:gd name="connsiteY32" fmla="*/ 2445745 h 2591718"/>
              <a:gd name="connsiteX33" fmla="*/ 2721166 w 3068197"/>
              <a:gd name="connsiteY33" fmla="*/ 2465024 h 2591718"/>
              <a:gd name="connsiteX34" fmla="*/ 2754217 w 3068197"/>
              <a:gd name="connsiteY34" fmla="*/ 2489812 h 2591718"/>
              <a:gd name="connsiteX35" fmla="*/ 2762479 w 3068197"/>
              <a:gd name="connsiteY35" fmla="*/ 2514600 h 2591718"/>
              <a:gd name="connsiteX36" fmla="*/ 2781759 w 3068197"/>
              <a:gd name="connsiteY36" fmla="*/ 2536634 h 2591718"/>
              <a:gd name="connsiteX37" fmla="*/ 2919470 w 3068197"/>
              <a:gd name="connsiteY37" fmla="*/ 2580702 h 2591718"/>
              <a:gd name="connsiteX38" fmla="*/ 2988325 w 3068197"/>
              <a:gd name="connsiteY38" fmla="*/ 2591718 h 2591718"/>
              <a:gd name="connsiteX39" fmla="*/ 3068197 w 3068197"/>
              <a:gd name="connsiteY39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546435 w 3068197"/>
              <a:gd name="connsiteY30" fmla="*/ 2369515 h 2591718"/>
              <a:gd name="connsiteX31" fmla="*/ 2638540 w 3068197"/>
              <a:gd name="connsiteY31" fmla="*/ 2445745 h 2591718"/>
              <a:gd name="connsiteX32" fmla="*/ 2721166 w 3068197"/>
              <a:gd name="connsiteY32" fmla="*/ 2465024 h 2591718"/>
              <a:gd name="connsiteX33" fmla="*/ 2754217 w 3068197"/>
              <a:gd name="connsiteY33" fmla="*/ 2489812 h 2591718"/>
              <a:gd name="connsiteX34" fmla="*/ 2762479 w 3068197"/>
              <a:gd name="connsiteY34" fmla="*/ 2514600 h 2591718"/>
              <a:gd name="connsiteX35" fmla="*/ 2781759 w 3068197"/>
              <a:gd name="connsiteY35" fmla="*/ 2536634 h 2591718"/>
              <a:gd name="connsiteX36" fmla="*/ 2919470 w 3068197"/>
              <a:gd name="connsiteY36" fmla="*/ 2580702 h 2591718"/>
              <a:gd name="connsiteX37" fmla="*/ 2988325 w 3068197"/>
              <a:gd name="connsiteY37" fmla="*/ 2591718 h 2591718"/>
              <a:gd name="connsiteX38" fmla="*/ 3068197 w 3068197"/>
              <a:gd name="connsiteY38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546435 w 3068197"/>
              <a:gd name="connsiteY30" fmla="*/ 2369515 h 2591718"/>
              <a:gd name="connsiteX31" fmla="*/ 2568937 w 3068197"/>
              <a:gd name="connsiteY31" fmla="*/ 2377102 h 2591718"/>
              <a:gd name="connsiteX32" fmla="*/ 2638540 w 3068197"/>
              <a:gd name="connsiteY32" fmla="*/ 2445745 h 2591718"/>
              <a:gd name="connsiteX33" fmla="*/ 2721166 w 3068197"/>
              <a:gd name="connsiteY33" fmla="*/ 2465024 h 2591718"/>
              <a:gd name="connsiteX34" fmla="*/ 2754217 w 3068197"/>
              <a:gd name="connsiteY34" fmla="*/ 2489812 h 2591718"/>
              <a:gd name="connsiteX35" fmla="*/ 2762479 w 3068197"/>
              <a:gd name="connsiteY35" fmla="*/ 2514600 h 2591718"/>
              <a:gd name="connsiteX36" fmla="*/ 2781759 w 3068197"/>
              <a:gd name="connsiteY36" fmla="*/ 2536634 h 2591718"/>
              <a:gd name="connsiteX37" fmla="*/ 2919470 w 3068197"/>
              <a:gd name="connsiteY37" fmla="*/ 2580702 h 2591718"/>
              <a:gd name="connsiteX38" fmla="*/ 2988325 w 3068197"/>
              <a:gd name="connsiteY38" fmla="*/ 2591718 h 2591718"/>
              <a:gd name="connsiteX39" fmla="*/ 3068197 w 3068197"/>
              <a:gd name="connsiteY39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546435 w 3068197"/>
              <a:gd name="connsiteY30" fmla="*/ 2369515 h 2591718"/>
              <a:gd name="connsiteX31" fmla="*/ 2638540 w 3068197"/>
              <a:gd name="connsiteY31" fmla="*/ 2445745 h 2591718"/>
              <a:gd name="connsiteX32" fmla="*/ 2721166 w 3068197"/>
              <a:gd name="connsiteY32" fmla="*/ 2465024 h 2591718"/>
              <a:gd name="connsiteX33" fmla="*/ 2754217 w 3068197"/>
              <a:gd name="connsiteY33" fmla="*/ 2489812 h 2591718"/>
              <a:gd name="connsiteX34" fmla="*/ 2762479 w 3068197"/>
              <a:gd name="connsiteY34" fmla="*/ 2514600 h 2591718"/>
              <a:gd name="connsiteX35" fmla="*/ 2781759 w 3068197"/>
              <a:gd name="connsiteY35" fmla="*/ 2536634 h 2591718"/>
              <a:gd name="connsiteX36" fmla="*/ 2919470 w 3068197"/>
              <a:gd name="connsiteY36" fmla="*/ 2580702 h 2591718"/>
              <a:gd name="connsiteX37" fmla="*/ 2988325 w 3068197"/>
              <a:gd name="connsiteY37" fmla="*/ 2591718 h 2591718"/>
              <a:gd name="connsiteX38" fmla="*/ 3068197 w 3068197"/>
              <a:gd name="connsiteY38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546435 w 3068197"/>
              <a:gd name="connsiteY30" fmla="*/ 2369515 h 2591718"/>
              <a:gd name="connsiteX31" fmla="*/ 2583938 w 3068197"/>
              <a:gd name="connsiteY31" fmla="*/ 2377102 h 2591718"/>
              <a:gd name="connsiteX32" fmla="*/ 2638540 w 3068197"/>
              <a:gd name="connsiteY32" fmla="*/ 2445745 h 2591718"/>
              <a:gd name="connsiteX33" fmla="*/ 2721166 w 3068197"/>
              <a:gd name="connsiteY33" fmla="*/ 2465024 h 2591718"/>
              <a:gd name="connsiteX34" fmla="*/ 2754217 w 3068197"/>
              <a:gd name="connsiteY34" fmla="*/ 2489812 h 2591718"/>
              <a:gd name="connsiteX35" fmla="*/ 2762479 w 3068197"/>
              <a:gd name="connsiteY35" fmla="*/ 2514600 h 2591718"/>
              <a:gd name="connsiteX36" fmla="*/ 2781759 w 3068197"/>
              <a:gd name="connsiteY36" fmla="*/ 2536634 h 2591718"/>
              <a:gd name="connsiteX37" fmla="*/ 2919470 w 3068197"/>
              <a:gd name="connsiteY37" fmla="*/ 2580702 h 2591718"/>
              <a:gd name="connsiteX38" fmla="*/ 2988325 w 3068197"/>
              <a:gd name="connsiteY38" fmla="*/ 2591718 h 2591718"/>
              <a:gd name="connsiteX39" fmla="*/ 3068197 w 3068197"/>
              <a:gd name="connsiteY39" fmla="*/ 2542142 h 2591718"/>
              <a:gd name="connsiteX0" fmla="*/ 5508 w 3068197"/>
              <a:gd name="connsiteY0" fmla="*/ 0 h 2591718"/>
              <a:gd name="connsiteX1" fmla="*/ 0 w 3068197"/>
              <a:gd name="connsiteY1" fmla="*/ 46822 h 2591718"/>
              <a:gd name="connsiteX2" fmla="*/ 33051 w 3068197"/>
              <a:gd name="connsiteY2" fmla="*/ 82627 h 2591718"/>
              <a:gd name="connsiteX3" fmla="*/ 63347 w 3068197"/>
              <a:gd name="connsiteY3" fmla="*/ 112923 h 2591718"/>
              <a:gd name="connsiteX4" fmla="*/ 90889 w 3068197"/>
              <a:gd name="connsiteY4" fmla="*/ 162499 h 2591718"/>
              <a:gd name="connsiteX5" fmla="*/ 129448 w 3068197"/>
              <a:gd name="connsiteY5" fmla="*/ 168008 h 2591718"/>
              <a:gd name="connsiteX6" fmla="*/ 145973 w 3068197"/>
              <a:gd name="connsiteY6" fmla="*/ 190041 h 2591718"/>
              <a:gd name="connsiteX7" fmla="*/ 179024 w 3068197"/>
              <a:gd name="connsiteY7" fmla="*/ 234109 h 2591718"/>
              <a:gd name="connsiteX8" fmla="*/ 223091 w 3068197"/>
              <a:gd name="connsiteY8" fmla="*/ 245126 h 2591718"/>
              <a:gd name="connsiteX9" fmla="*/ 267159 w 3068197"/>
              <a:gd name="connsiteY9" fmla="*/ 308473 h 2591718"/>
              <a:gd name="connsiteX10" fmla="*/ 327752 w 3068197"/>
              <a:gd name="connsiteY10" fmla="*/ 336015 h 2591718"/>
              <a:gd name="connsiteX11" fmla="*/ 324998 w 3068197"/>
              <a:gd name="connsiteY11" fmla="*/ 374574 h 2591718"/>
              <a:gd name="connsiteX12" fmla="*/ 302964 w 3068197"/>
              <a:gd name="connsiteY12" fmla="*/ 404870 h 2591718"/>
              <a:gd name="connsiteX13" fmla="*/ 291947 w 3068197"/>
              <a:gd name="connsiteY13" fmla="*/ 468217 h 2591718"/>
              <a:gd name="connsiteX14" fmla="*/ 308472 w 3068197"/>
              <a:gd name="connsiteY14" fmla="*/ 556352 h 2591718"/>
              <a:gd name="connsiteX15" fmla="*/ 349785 w 3068197"/>
              <a:gd name="connsiteY15" fmla="*/ 600420 h 2591718"/>
              <a:gd name="connsiteX16" fmla="*/ 391099 w 3068197"/>
              <a:gd name="connsiteY16" fmla="*/ 663767 h 2591718"/>
              <a:gd name="connsiteX17" fmla="*/ 462708 w 3068197"/>
              <a:gd name="connsiteY17" fmla="*/ 718851 h 2591718"/>
              <a:gd name="connsiteX18" fmla="*/ 542581 w 3068197"/>
              <a:gd name="connsiteY18" fmla="*/ 743639 h 2591718"/>
              <a:gd name="connsiteX19" fmla="*/ 616944 w 3068197"/>
              <a:gd name="connsiteY19" fmla="*/ 768427 h 2591718"/>
              <a:gd name="connsiteX20" fmla="*/ 638978 w 3068197"/>
              <a:gd name="connsiteY20" fmla="*/ 798723 h 2591718"/>
              <a:gd name="connsiteX21" fmla="*/ 721605 w 3068197"/>
              <a:gd name="connsiteY21" fmla="*/ 834528 h 2591718"/>
              <a:gd name="connsiteX22" fmla="*/ 757410 w 3068197"/>
              <a:gd name="connsiteY22" fmla="*/ 906138 h 2591718"/>
              <a:gd name="connsiteX23" fmla="*/ 782198 w 3068197"/>
              <a:gd name="connsiteY23" fmla="*/ 919909 h 2591718"/>
              <a:gd name="connsiteX24" fmla="*/ 801477 w 3068197"/>
              <a:gd name="connsiteY24" fmla="*/ 972239 h 2591718"/>
              <a:gd name="connsiteX25" fmla="*/ 840036 w 3068197"/>
              <a:gd name="connsiteY25" fmla="*/ 991518 h 2591718"/>
              <a:gd name="connsiteX26" fmla="*/ 884104 w 3068197"/>
              <a:gd name="connsiteY26" fmla="*/ 1008044 h 2591718"/>
              <a:gd name="connsiteX27" fmla="*/ 889612 w 3068197"/>
              <a:gd name="connsiteY27" fmla="*/ 1043849 h 2591718"/>
              <a:gd name="connsiteX28" fmla="*/ 917154 w 3068197"/>
              <a:gd name="connsiteY28" fmla="*/ 1054865 h 2591718"/>
              <a:gd name="connsiteX29" fmla="*/ 939188 w 3068197"/>
              <a:gd name="connsiteY29" fmla="*/ 1096179 h 2591718"/>
              <a:gd name="connsiteX30" fmla="*/ 2583938 w 3068197"/>
              <a:gd name="connsiteY30" fmla="*/ 2377102 h 2591718"/>
              <a:gd name="connsiteX31" fmla="*/ 2638540 w 3068197"/>
              <a:gd name="connsiteY31" fmla="*/ 2445745 h 2591718"/>
              <a:gd name="connsiteX32" fmla="*/ 2721166 w 3068197"/>
              <a:gd name="connsiteY32" fmla="*/ 2465024 h 2591718"/>
              <a:gd name="connsiteX33" fmla="*/ 2754217 w 3068197"/>
              <a:gd name="connsiteY33" fmla="*/ 2489812 h 2591718"/>
              <a:gd name="connsiteX34" fmla="*/ 2762479 w 3068197"/>
              <a:gd name="connsiteY34" fmla="*/ 2514600 h 2591718"/>
              <a:gd name="connsiteX35" fmla="*/ 2781759 w 3068197"/>
              <a:gd name="connsiteY35" fmla="*/ 2536634 h 2591718"/>
              <a:gd name="connsiteX36" fmla="*/ 2919470 w 3068197"/>
              <a:gd name="connsiteY36" fmla="*/ 2580702 h 2591718"/>
              <a:gd name="connsiteX37" fmla="*/ 2988325 w 3068197"/>
              <a:gd name="connsiteY37" fmla="*/ 2591718 h 2591718"/>
              <a:gd name="connsiteX38" fmla="*/ 3068197 w 3068197"/>
              <a:gd name="connsiteY38" fmla="*/ 2542142 h 2591718"/>
              <a:gd name="connsiteX0" fmla="*/ 5508 w 2988325"/>
              <a:gd name="connsiteY0" fmla="*/ 0 h 2591718"/>
              <a:gd name="connsiteX1" fmla="*/ 0 w 2988325"/>
              <a:gd name="connsiteY1" fmla="*/ 46822 h 2591718"/>
              <a:gd name="connsiteX2" fmla="*/ 33051 w 2988325"/>
              <a:gd name="connsiteY2" fmla="*/ 82627 h 2591718"/>
              <a:gd name="connsiteX3" fmla="*/ 63347 w 2988325"/>
              <a:gd name="connsiteY3" fmla="*/ 112923 h 2591718"/>
              <a:gd name="connsiteX4" fmla="*/ 90889 w 2988325"/>
              <a:gd name="connsiteY4" fmla="*/ 162499 h 2591718"/>
              <a:gd name="connsiteX5" fmla="*/ 129448 w 2988325"/>
              <a:gd name="connsiteY5" fmla="*/ 168008 h 2591718"/>
              <a:gd name="connsiteX6" fmla="*/ 145973 w 2988325"/>
              <a:gd name="connsiteY6" fmla="*/ 190041 h 2591718"/>
              <a:gd name="connsiteX7" fmla="*/ 179024 w 2988325"/>
              <a:gd name="connsiteY7" fmla="*/ 234109 h 2591718"/>
              <a:gd name="connsiteX8" fmla="*/ 223091 w 2988325"/>
              <a:gd name="connsiteY8" fmla="*/ 245126 h 2591718"/>
              <a:gd name="connsiteX9" fmla="*/ 267159 w 2988325"/>
              <a:gd name="connsiteY9" fmla="*/ 308473 h 2591718"/>
              <a:gd name="connsiteX10" fmla="*/ 327752 w 2988325"/>
              <a:gd name="connsiteY10" fmla="*/ 336015 h 2591718"/>
              <a:gd name="connsiteX11" fmla="*/ 324998 w 2988325"/>
              <a:gd name="connsiteY11" fmla="*/ 374574 h 2591718"/>
              <a:gd name="connsiteX12" fmla="*/ 302964 w 2988325"/>
              <a:gd name="connsiteY12" fmla="*/ 404870 h 2591718"/>
              <a:gd name="connsiteX13" fmla="*/ 291947 w 2988325"/>
              <a:gd name="connsiteY13" fmla="*/ 468217 h 2591718"/>
              <a:gd name="connsiteX14" fmla="*/ 308472 w 2988325"/>
              <a:gd name="connsiteY14" fmla="*/ 556352 h 2591718"/>
              <a:gd name="connsiteX15" fmla="*/ 349785 w 2988325"/>
              <a:gd name="connsiteY15" fmla="*/ 600420 h 2591718"/>
              <a:gd name="connsiteX16" fmla="*/ 391099 w 2988325"/>
              <a:gd name="connsiteY16" fmla="*/ 663767 h 2591718"/>
              <a:gd name="connsiteX17" fmla="*/ 462708 w 2988325"/>
              <a:gd name="connsiteY17" fmla="*/ 718851 h 2591718"/>
              <a:gd name="connsiteX18" fmla="*/ 542581 w 2988325"/>
              <a:gd name="connsiteY18" fmla="*/ 743639 h 2591718"/>
              <a:gd name="connsiteX19" fmla="*/ 616944 w 2988325"/>
              <a:gd name="connsiteY19" fmla="*/ 768427 h 2591718"/>
              <a:gd name="connsiteX20" fmla="*/ 638978 w 2988325"/>
              <a:gd name="connsiteY20" fmla="*/ 798723 h 2591718"/>
              <a:gd name="connsiteX21" fmla="*/ 721605 w 2988325"/>
              <a:gd name="connsiteY21" fmla="*/ 834528 h 2591718"/>
              <a:gd name="connsiteX22" fmla="*/ 757410 w 2988325"/>
              <a:gd name="connsiteY22" fmla="*/ 906138 h 2591718"/>
              <a:gd name="connsiteX23" fmla="*/ 782198 w 2988325"/>
              <a:gd name="connsiteY23" fmla="*/ 919909 h 2591718"/>
              <a:gd name="connsiteX24" fmla="*/ 801477 w 2988325"/>
              <a:gd name="connsiteY24" fmla="*/ 972239 h 2591718"/>
              <a:gd name="connsiteX25" fmla="*/ 840036 w 2988325"/>
              <a:gd name="connsiteY25" fmla="*/ 991518 h 2591718"/>
              <a:gd name="connsiteX26" fmla="*/ 884104 w 2988325"/>
              <a:gd name="connsiteY26" fmla="*/ 1008044 h 2591718"/>
              <a:gd name="connsiteX27" fmla="*/ 889612 w 2988325"/>
              <a:gd name="connsiteY27" fmla="*/ 1043849 h 2591718"/>
              <a:gd name="connsiteX28" fmla="*/ 917154 w 2988325"/>
              <a:gd name="connsiteY28" fmla="*/ 1054865 h 2591718"/>
              <a:gd name="connsiteX29" fmla="*/ 939188 w 2988325"/>
              <a:gd name="connsiteY29" fmla="*/ 1096179 h 2591718"/>
              <a:gd name="connsiteX30" fmla="*/ 2583938 w 2988325"/>
              <a:gd name="connsiteY30" fmla="*/ 2377102 h 2591718"/>
              <a:gd name="connsiteX31" fmla="*/ 2638540 w 2988325"/>
              <a:gd name="connsiteY31" fmla="*/ 2445745 h 2591718"/>
              <a:gd name="connsiteX32" fmla="*/ 2721166 w 2988325"/>
              <a:gd name="connsiteY32" fmla="*/ 2465024 h 2591718"/>
              <a:gd name="connsiteX33" fmla="*/ 2754217 w 2988325"/>
              <a:gd name="connsiteY33" fmla="*/ 2489812 h 2591718"/>
              <a:gd name="connsiteX34" fmla="*/ 2762479 w 2988325"/>
              <a:gd name="connsiteY34" fmla="*/ 2514600 h 2591718"/>
              <a:gd name="connsiteX35" fmla="*/ 2781759 w 2988325"/>
              <a:gd name="connsiteY35" fmla="*/ 2536634 h 2591718"/>
              <a:gd name="connsiteX36" fmla="*/ 2919470 w 2988325"/>
              <a:gd name="connsiteY36" fmla="*/ 2580702 h 2591718"/>
              <a:gd name="connsiteX37" fmla="*/ 2988325 w 2988325"/>
              <a:gd name="connsiteY37" fmla="*/ 2591718 h 2591718"/>
              <a:gd name="connsiteX0" fmla="*/ 5508 w 2919470"/>
              <a:gd name="connsiteY0" fmla="*/ 0 h 2580702"/>
              <a:gd name="connsiteX1" fmla="*/ 0 w 2919470"/>
              <a:gd name="connsiteY1" fmla="*/ 46822 h 2580702"/>
              <a:gd name="connsiteX2" fmla="*/ 33051 w 2919470"/>
              <a:gd name="connsiteY2" fmla="*/ 82627 h 2580702"/>
              <a:gd name="connsiteX3" fmla="*/ 63347 w 2919470"/>
              <a:gd name="connsiteY3" fmla="*/ 112923 h 2580702"/>
              <a:gd name="connsiteX4" fmla="*/ 90889 w 2919470"/>
              <a:gd name="connsiteY4" fmla="*/ 162499 h 2580702"/>
              <a:gd name="connsiteX5" fmla="*/ 129448 w 2919470"/>
              <a:gd name="connsiteY5" fmla="*/ 168008 h 2580702"/>
              <a:gd name="connsiteX6" fmla="*/ 145973 w 2919470"/>
              <a:gd name="connsiteY6" fmla="*/ 190041 h 2580702"/>
              <a:gd name="connsiteX7" fmla="*/ 179024 w 2919470"/>
              <a:gd name="connsiteY7" fmla="*/ 234109 h 2580702"/>
              <a:gd name="connsiteX8" fmla="*/ 223091 w 2919470"/>
              <a:gd name="connsiteY8" fmla="*/ 245126 h 2580702"/>
              <a:gd name="connsiteX9" fmla="*/ 267159 w 2919470"/>
              <a:gd name="connsiteY9" fmla="*/ 308473 h 2580702"/>
              <a:gd name="connsiteX10" fmla="*/ 327752 w 2919470"/>
              <a:gd name="connsiteY10" fmla="*/ 336015 h 2580702"/>
              <a:gd name="connsiteX11" fmla="*/ 324998 w 2919470"/>
              <a:gd name="connsiteY11" fmla="*/ 374574 h 2580702"/>
              <a:gd name="connsiteX12" fmla="*/ 302964 w 2919470"/>
              <a:gd name="connsiteY12" fmla="*/ 404870 h 2580702"/>
              <a:gd name="connsiteX13" fmla="*/ 291947 w 2919470"/>
              <a:gd name="connsiteY13" fmla="*/ 468217 h 2580702"/>
              <a:gd name="connsiteX14" fmla="*/ 308472 w 2919470"/>
              <a:gd name="connsiteY14" fmla="*/ 556352 h 2580702"/>
              <a:gd name="connsiteX15" fmla="*/ 349785 w 2919470"/>
              <a:gd name="connsiteY15" fmla="*/ 600420 h 2580702"/>
              <a:gd name="connsiteX16" fmla="*/ 391099 w 2919470"/>
              <a:gd name="connsiteY16" fmla="*/ 663767 h 2580702"/>
              <a:gd name="connsiteX17" fmla="*/ 462708 w 2919470"/>
              <a:gd name="connsiteY17" fmla="*/ 718851 h 2580702"/>
              <a:gd name="connsiteX18" fmla="*/ 542581 w 2919470"/>
              <a:gd name="connsiteY18" fmla="*/ 743639 h 2580702"/>
              <a:gd name="connsiteX19" fmla="*/ 616944 w 2919470"/>
              <a:gd name="connsiteY19" fmla="*/ 768427 h 2580702"/>
              <a:gd name="connsiteX20" fmla="*/ 638978 w 2919470"/>
              <a:gd name="connsiteY20" fmla="*/ 798723 h 2580702"/>
              <a:gd name="connsiteX21" fmla="*/ 721605 w 2919470"/>
              <a:gd name="connsiteY21" fmla="*/ 834528 h 2580702"/>
              <a:gd name="connsiteX22" fmla="*/ 757410 w 2919470"/>
              <a:gd name="connsiteY22" fmla="*/ 906138 h 2580702"/>
              <a:gd name="connsiteX23" fmla="*/ 782198 w 2919470"/>
              <a:gd name="connsiteY23" fmla="*/ 919909 h 2580702"/>
              <a:gd name="connsiteX24" fmla="*/ 801477 w 2919470"/>
              <a:gd name="connsiteY24" fmla="*/ 972239 h 2580702"/>
              <a:gd name="connsiteX25" fmla="*/ 840036 w 2919470"/>
              <a:gd name="connsiteY25" fmla="*/ 991518 h 2580702"/>
              <a:gd name="connsiteX26" fmla="*/ 884104 w 2919470"/>
              <a:gd name="connsiteY26" fmla="*/ 1008044 h 2580702"/>
              <a:gd name="connsiteX27" fmla="*/ 889612 w 2919470"/>
              <a:gd name="connsiteY27" fmla="*/ 1043849 h 2580702"/>
              <a:gd name="connsiteX28" fmla="*/ 917154 w 2919470"/>
              <a:gd name="connsiteY28" fmla="*/ 1054865 h 2580702"/>
              <a:gd name="connsiteX29" fmla="*/ 939188 w 2919470"/>
              <a:gd name="connsiteY29" fmla="*/ 1096179 h 2580702"/>
              <a:gd name="connsiteX30" fmla="*/ 2583938 w 2919470"/>
              <a:gd name="connsiteY30" fmla="*/ 2377102 h 2580702"/>
              <a:gd name="connsiteX31" fmla="*/ 2638540 w 2919470"/>
              <a:gd name="connsiteY31" fmla="*/ 2445745 h 2580702"/>
              <a:gd name="connsiteX32" fmla="*/ 2721166 w 2919470"/>
              <a:gd name="connsiteY32" fmla="*/ 2465024 h 2580702"/>
              <a:gd name="connsiteX33" fmla="*/ 2754217 w 2919470"/>
              <a:gd name="connsiteY33" fmla="*/ 2489812 h 2580702"/>
              <a:gd name="connsiteX34" fmla="*/ 2762479 w 2919470"/>
              <a:gd name="connsiteY34" fmla="*/ 2514600 h 2580702"/>
              <a:gd name="connsiteX35" fmla="*/ 2781759 w 2919470"/>
              <a:gd name="connsiteY35" fmla="*/ 2536634 h 2580702"/>
              <a:gd name="connsiteX36" fmla="*/ 2919470 w 2919470"/>
              <a:gd name="connsiteY36" fmla="*/ 2580702 h 2580702"/>
              <a:gd name="connsiteX0" fmla="*/ 5508 w 2781759"/>
              <a:gd name="connsiteY0" fmla="*/ 0 h 2536634"/>
              <a:gd name="connsiteX1" fmla="*/ 0 w 2781759"/>
              <a:gd name="connsiteY1" fmla="*/ 46822 h 2536634"/>
              <a:gd name="connsiteX2" fmla="*/ 33051 w 2781759"/>
              <a:gd name="connsiteY2" fmla="*/ 82627 h 2536634"/>
              <a:gd name="connsiteX3" fmla="*/ 63347 w 2781759"/>
              <a:gd name="connsiteY3" fmla="*/ 112923 h 2536634"/>
              <a:gd name="connsiteX4" fmla="*/ 90889 w 2781759"/>
              <a:gd name="connsiteY4" fmla="*/ 162499 h 2536634"/>
              <a:gd name="connsiteX5" fmla="*/ 129448 w 2781759"/>
              <a:gd name="connsiteY5" fmla="*/ 168008 h 2536634"/>
              <a:gd name="connsiteX6" fmla="*/ 145973 w 2781759"/>
              <a:gd name="connsiteY6" fmla="*/ 190041 h 2536634"/>
              <a:gd name="connsiteX7" fmla="*/ 179024 w 2781759"/>
              <a:gd name="connsiteY7" fmla="*/ 234109 h 2536634"/>
              <a:gd name="connsiteX8" fmla="*/ 223091 w 2781759"/>
              <a:gd name="connsiteY8" fmla="*/ 245126 h 2536634"/>
              <a:gd name="connsiteX9" fmla="*/ 267159 w 2781759"/>
              <a:gd name="connsiteY9" fmla="*/ 308473 h 2536634"/>
              <a:gd name="connsiteX10" fmla="*/ 327752 w 2781759"/>
              <a:gd name="connsiteY10" fmla="*/ 336015 h 2536634"/>
              <a:gd name="connsiteX11" fmla="*/ 324998 w 2781759"/>
              <a:gd name="connsiteY11" fmla="*/ 374574 h 2536634"/>
              <a:gd name="connsiteX12" fmla="*/ 302964 w 2781759"/>
              <a:gd name="connsiteY12" fmla="*/ 404870 h 2536634"/>
              <a:gd name="connsiteX13" fmla="*/ 291947 w 2781759"/>
              <a:gd name="connsiteY13" fmla="*/ 468217 h 2536634"/>
              <a:gd name="connsiteX14" fmla="*/ 308472 w 2781759"/>
              <a:gd name="connsiteY14" fmla="*/ 556352 h 2536634"/>
              <a:gd name="connsiteX15" fmla="*/ 349785 w 2781759"/>
              <a:gd name="connsiteY15" fmla="*/ 600420 h 2536634"/>
              <a:gd name="connsiteX16" fmla="*/ 391099 w 2781759"/>
              <a:gd name="connsiteY16" fmla="*/ 663767 h 2536634"/>
              <a:gd name="connsiteX17" fmla="*/ 462708 w 2781759"/>
              <a:gd name="connsiteY17" fmla="*/ 718851 h 2536634"/>
              <a:gd name="connsiteX18" fmla="*/ 542581 w 2781759"/>
              <a:gd name="connsiteY18" fmla="*/ 743639 h 2536634"/>
              <a:gd name="connsiteX19" fmla="*/ 616944 w 2781759"/>
              <a:gd name="connsiteY19" fmla="*/ 768427 h 2536634"/>
              <a:gd name="connsiteX20" fmla="*/ 638978 w 2781759"/>
              <a:gd name="connsiteY20" fmla="*/ 798723 h 2536634"/>
              <a:gd name="connsiteX21" fmla="*/ 721605 w 2781759"/>
              <a:gd name="connsiteY21" fmla="*/ 834528 h 2536634"/>
              <a:gd name="connsiteX22" fmla="*/ 757410 w 2781759"/>
              <a:gd name="connsiteY22" fmla="*/ 906138 h 2536634"/>
              <a:gd name="connsiteX23" fmla="*/ 782198 w 2781759"/>
              <a:gd name="connsiteY23" fmla="*/ 919909 h 2536634"/>
              <a:gd name="connsiteX24" fmla="*/ 801477 w 2781759"/>
              <a:gd name="connsiteY24" fmla="*/ 972239 h 2536634"/>
              <a:gd name="connsiteX25" fmla="*/ 840036 w 2781759"/>
              <a:gd name="connsiteY25" fmla="*/ 991518 h 2536634"/>
              <a:gd name="connsiteX26" fmla="*/ 884104 w 2781759"/>
              <a:gd name="connsiteY26" fmla="*/ 1008044 h 2536634"/>
              <a:gd name="connsiteX27" fmla="*/ 889612 w 2781759"/>
              <a:gd name="connsiteY27" fmla="*/ 1043849 h 2536634"/>
              <a:gd name="connsiteX28" fmla="*/ 917154 w 2781759"/>
              <a:gd name="connsiteY28" fmla="*/ 1054865 h 2536634"/>
              <a:gd name="connsiteX29" fmla="*/ 939188 w 2781759"/>
              <a:gd name="connsiteY29" fmla="*/ 1096179 h 2536634"/>
              <a:gd name="connsiteX30" fmla="*/ 2583938 w 2781759"/>
              <a:gd name="connsiteY30" fmla="*/ 2377102 h 2536634"/>
              <a:gd name="connsiteX31" fmla="*/ 2638540 w 2781759"/>
              <a:gd name="connsiteY31" fmla="*/ 2445745 h 2536634"/>
              <a:gd name="connsiteX32" fmla="*/ 2721166 w 2781759"/>
              <a:gd name="connsiteY32" fmla="*/ 2465024 h 2536634"/>
              <a:gd name="connsiteX33" fmla="*/ 2754217 w 2781759"/>
              <a:gd name="connsiteY33" fmla="*/ 2489812 h 2536634"/>
              <a:gd name="connsiteX34" fmla="*/ 2762479 w 2781759"/>
              <a:gd name="connsiteY34" fmla="*/ 2514600 h 2536634"/>
              <a:gd name="connsiteX35" fmla="*/ 2781759 w 2781759"/>
              <a:gd name="connsiteY35" fmla="*/ 2536634 h 2536634"/>
              <a:gd name="connsiteX0" fmla="*/ 5508 w 2762480"/>
              <a:gd name="connsiteY0" fmla="*/ 0 h 2514600"/>
              <a:gd name="connsiteX1" fmla="*/ 0 w 2762480"/>
              <a:gd name="connsiteY1" fmla="*/ 46822 h 2514600"/>
              <a:gd name="connsiteX2" fmla="*/ 33051 w 2762480"/>
              <a:gd name="connsiteY2" fmla="*/ 82627 h 2514600"/>
              <a:gd name="connsiteX3" fmla="*/ 63347 w 2762480"/>
              <a:gd name="connsiteY3" fmla="*/ 112923 h 2514600"/>
              <a:gd name="connsiteX4" fmla="*/ 90889 w 2762480"/>
              <a:gd name="connsiteY4" fmla="*/ 162499 h 2514600"/>
              <a:gd name="connsiteX5" fmla="*/ 129448 w 2762480"/>
              <a:gd name="connsiteY5" fmla="*/ 168008 h 2514600"/>
              <a:gd name="connsiteX6" fmla="*/ 145973 w 2762480"/>
              <a:gd name="connsiteY6" fmla="*/ 190041 h 2514600"/>
              <a:gd name="connsiteX7" fmla="*/ 179024 w 2762480"/>
              <a:gd name="connsiteY7" fmla="*/ 234109 h 2514600"/>
              <a:gd name="connsiteX8" fmla="*/ 223091 w 2762480"/>
              <a:gd name="connsiteY8" fmla="*/ 245126 h 2514600"/>
              <a:gd name="connsiteX9" fmla="*/ 267159 w 2762480"/>
              <a:gd name="connsiteY9" fmla="*/ 308473 h 2514600"/>
              <a:gd name="connsiteX10" fmla="*/ 327752 w 2762480"/>
              <a:gd name="connsiteY10" fmla="*/ 336015 h 2514600"/>
              <a:gd name="connsiteX11" fmla="*/ 324998 w 2762480"/>
              <a:gd name="connsiteY11" fmla="*/ 374574 h 2514600"/>
              <a:gd name="connsiteX12" fmla="*/ 302964 w 2762480"/>
              <a:gd name="connsiteY12" fmla="*/ 404870 h 2514600"/>
              <a:gd name="connsiteX13" fmla="*/ 291947 w 2762480"/>
              <a:gd name="connsiteY13" fmla="*/ 468217 h 2514600"/>
              <a:gd name="connsiteX14" fmla="*/ 308472 w 2762480"/>
              <a:gd name="connsiteY14" fmla="*/ 556352 h 2514600"/>
              <a:gd name="connsiteX15" fmla="*/ 349785 w 2762480"/>
              <a:gd name="connsiteY15" fmla="*/ 600420 h 2514600"/>
              <a:gd name="connsiteX16" fmla="*/ 391099 w 2762480"/>
              <a:gd name="connsiteY16" fmla="*/ 663767 h 2514600"/>
              <a:gd name="connsiteX17" fmla="*/ 462708 w 2762480"/>
              <a:gd name="connsiteY17" fmla="*/ 718851 h 2514600"/>
              <a:gd name="connsiteX18" fmla="*/ 542581 w 2762480"/>
              <a:gd name="connsiteY18" fmla="*/ 743639 h 2514600"/>
              <a:gd name="connsiteX19" fmla="*/ 616944 w 2762480"/>
              <a:gd name="connsiteY19" fmla="*/ 768427 h 2514600"/>
              <a:gd name="connsiteX20" fmla="*/ 638978 w 2762480"/>
              <a:gd name="connsiteY20" fmla="*/ 798723 h 2514600"/>
              <a:gd name="connsiteX21" fmla="*/ 721605 w 2762480"/>
              <a:gd name="connsiteY21" fmla="*/ 834528 h 2514600"/>
              <a:gd name="connsiteX22" fmla="*/ 757410 w 2762480"/>
              <a:gd name="connsiteY22" fmla="*/ 906138 h 2514600"/>
              <a:gd name="connsiteX23" fmla="*/ 782198 w 2762480"/>
              <a:gd name="connsiteY23" fmla="*/ 919909 h 2514600"/>
              <a:gd name="connsiteX24" fmla="*/ 801477 w 2762480"/>
              <a:gd name="connsiteY24" fmla="*/ 972239 h 2514600"/>
              <a:gd name="connsiteX25" fmla="*/ 840036 w 2762480"/>
              <a:gd name="connsiteY25" fmla="*/ 991518 h 2514600"/>
              <a:gd name="connsiteX26" fmla="*/ 884104 w 2762480"/>
              <a:gd name="connsiteY26" fmla="*/ 1008044 h 2514600"/>
              <a:gd name="connsiteX27" fmla="*/ 889612 w 2762480"/>
              <a:gd name="connsiteY27" fmla="*/ 1043849 h 2514600"/>
              <a:gd name="connsiteX28" fmla="*/ 917154 w 2762480"/>
              <a:gd name="connsiteY28" fmla="*/ 1054865 h 2514600"/>
              <a:gd name="connsiteX29" fmla="*/ 939188 w 2762480"/>
              <a:gd name="connsiteY29" fmla="*/ 1096179 h 2514600"/>
              <a:gd name="connsiteX30" fmla="*/ 2583938 w 2762480"/>
              <a:gd name="connsiteY30" fmla="*/ 2377102 h 2514600"/>
              <a:gd name="connsiteX31" fmla="*/ 2638540 w 2762480"/>
              <a:gd name="connsiteY31" fmla="*/ 2445745 h 2514600"/>
              <a:gd name="connsiteX32" fmla="*/ 2721166 w 2762480"/>
              <a:gd name="connsiteY32" fmla="*/ 2465024 h 2514600"/>
              <a:gd name="connsiteX33" fmla="*/ 2754217 w 2762480"/>
              <a:gd name="connsiteY33" fmla="*/ 2489812 h 2514600"/>
              <a:gd name="connsiteX34" fmla="*/ 2762479 w 2762480"/>
              <a:gd name="connsiteY34" fmla="*/ 2514600 h 2514600"/>
              <a:gd name="connsiteX0" fmla="*/ 5508 w 2754217"/>
              <a:gd name="connsiteY0" fmla="*/ 0 h 2489812"/>
              <a:gd name="connsiteX1" fmla="*/ 0 w 2754217"/>
              <a:gd name="connsiteY1" fmla="*/ 46822 h 2489812"/>
              <a:gd name="connsiteX2" fmla="*/ 33051 w 2754217"/>
              <a:gd name="connsiteY2" fmla="*/ 82627 h 2489812"/>
              <a:gd name="connsiteX3" fmla="*/ 63347 w 2754217"/>
              <a:gd name="connsiteY3" fmla="*/ 112923 h 2489812"/>
              <a:gd name="connsiteX4" fmla="*/ 90889 w 2754217"/>
              <a:gd name="connsiteY4" fmla="*/ 162499 h 2489812"/>
              <a:gd name="connsiteX5" fmla="*/ 129448 w 2754217"/>
              <a:gd name="connsiteY5" fmla="*/ 168008 h 2489812"/>
              <a:gd name="connsiteX6" fmla="*/ 145973 w 2754217"/>
              <a:gd name="connsiteY6" fmla="*/ 190041 h 2489812"/>
              <a:gd name="connsiteX7" fmla="*/ 179024 w 2754217"/>
              <a:gd name="connsiteY7" fmla="*/ 234109 h 2489812"/>
              <a:gd name="connsiteX8" fmla="*/ 223091 w 2754217"/>
              <a:gd name="connsiteY8" fmla="*/ 245126 h 2489812"/>
              <a:gd name="connsiteX9" fmla="*/ 267159 w 2754217"/>
              <a:gd name="connsiteY9" fmla="*/ 308473 h 2489812"/>
              <a:gd name="connsiteX10" fmla="*/ 327752 w 2754217"/>
              <a:gd name="connsiteY10" fmla="*/ 336015 h 2489812"/>
              <a:gd name="connsiteX11" fmla="*/ 324998 w 2754217"/>
              <a:gd name="connsiteY11" fmla="*/ 374574 h 2489812"/>
              <a:gd name="connsiteX12" fmla="*/ 302964 w 2754217"/>
              <a:gd name="connsiteY12" fmla="*/ 404870 h 2489812"/>
              <a:gd name="connsiteX13" fmla="*/ 291947 w 2754217"/>
              <a:gd name="connsiteY13" fmla="*/ 468217 h 2489812"/>
              <a:gd name="connsiteX14" fmla="*/ 308472 w 2754217"/>
              <a:gd name="connsiteY14" fmla="*/ 556352 h 2489812"/>
              <a:gd name="connsiteX15" fmla="*/ 349785 w 2754217"/>
              <a:gd name="connsiteY15" fmla="*/ 600420 h 2489812"/>
              <a:gd name="connsiteX16" fmla="*/ 391099 w 2754217"/>
              <a:gd name="connsiteY16" fmla="*/ 663767 h 2489812"/>
              <a:gd name="connsiteX17" fmla="*/ 462708 w 2754217"/>
              <a:gd name="connsiteY17" fmla="*/ 718851 h 2489812"/>
              <a:gd name="connsiteX18" fmla="*/ 542581 w 2754217"/>
              <a:gd name="connsiteY18" fmla="*/ 743639 h 2489812"/>
              <a:gd name="connsiteX19" fmla="*/ 616944 w 2754217"/>
              <a:gd name="connsiteY19" fmla="*/ 768427 h 2489812"/>
              <a:gd name="connsiteX20" fmla="*/ 638978 w 2754217"/>
              <a:gd name="connsiteY20" fmla="*/ 798723 h 2489812"/>
              <a:gd name="connsiteX21" fmla="*/ 721605 w 2754217"/>
              <a:gd name="connsiteY21" fmla="*/ 834528 h 2489812"/>
              <a:gd name="connsiteX22" fmla="*/ 757410 w 2754217"/>
              <a:gd name="connsiteY22" fmla="*/ 906138 h 2489812"/>
              <a:gd name="connsiteX23" fmla="*/ 782198 w 2754217"/>
              <a:gd name="connsiteY23" fmla="*/ 919909 h 2489812"/>
              <a:gd name="connsiteX24" fmla="*/ 801477 w 2754217"/>
              <a:gd name="connsiteY24" fmla="*/ 972239 h 2489812"/>
              <a:gd name="connsiteX25" fmla="*/ 840036 w 2754217"/>
              <a:gd name="connsiteY25" fmla="*/ 991518 h 2489812"/>
              <a:gd name="connsiteX26" fmla="*/ 884104 w 2754217"/>
              <a:gd name="connsiteY26" fmla="*/ 1008044 h 2489812"/>
              <a:gd name="connsiteX27" fmla="*/ 889612 w 2754217"/>
              <a:gd name="connsiteY27" fmla="*/ 1043849 h 2489812"/>
              <a:gd name="connsiteX28" fmla="*/ 917154 w 2754217"/>
              <a:gd name="connsiteY28" fmla="*/ 1054865 h 2489812"/>
              <a:gd name="connsiteX29" fmla="*/ 939188 w 2754217"/>
              <a:gd name="connsiteY29" fmla="*/ 1096179 h 2489812"/>
              <a:gd name="connsiteX30" fmla="*/ 2583938 w 2754217"/>
              <a:gd name="connsiteY30" fmla="*/ 2377102 h 2489812"/>
              <a:gd name="connsiteX31" fmla="*/ 2638540 w 2754217"/>
              <a:gd name="connsiteY31" fmla="*/ 2445745 h 2489812"/>
              <a:gd name="connsiteX32" fmla="*/ 2721166 w 2754217"/>
              <a:gd name="connsiteY32" fmla="*/ 2465024 h 2489812"/>
              <a:gd name="connsiteX33" fmla="*/ 2754217 w 2754217"/>
              <a:gd name="connsiteY33" fmla="*/ 2489812 h 2489812"/>
              <a:gd name="connsiteX0" fmla="*/ 5508 w 2721166"/>
              <a:gd name="connsiteY0" fmla="*/ 0 h 2465024"/>
              <a:gd name="connsiteX1" fmla="*/ 0 w 2721166"/>
              <a:gd name="connsiteY1" fmla="*/ 46822 h 2465024"/>
              <a:gd name="connsiteX2" fmla="*/ 33051 w 2721166"/>
              <a:gd name="connsiteY2" fmla="*/ 82627 h 2465024"/>
              <a:gd name="connsiteX3" fmla="*/ 63347 w 2721166"/>
              <a:gd name="connsiteY3" fmla="*/ 112923 h 2465024"/>
              <a:gd name="connsiteX4" fmla="*/ 90889 w 2721166"/>
              <a:gd name="connsiteY4" fmla="*/ 162499 h 2465024"/>
              <a:gd name="connsiteX5" fmla="*/ 129448 w 2721166"/>
              <a:gd name="connsiteY5" fmla="*/ 168008 h 2465024"/>
              <a:gd name="connsiteX6" fmla="*/ 145973 w 2721166"/>
              <a:gd name="connsiteY6" fmla="*/ 190041 h 2465024"/>
              <a:gd name="connsiteX7" fmla="*/ 179024 w 2721166"/>
              <a:gd name="connsiteY7" fmla="*/ 234109 h 2465024"/>
              <a:gd name="connsiteX8" fmla="*/ 223091 w 2721166"/>
              <a:gd name="connsiteY8" fmla="*/ 245126 h 2465024"/>
              <a:gd name="connsiteX9" fmla="*/ 267159 w 2721166"/>
              <a:gd name="connsiteY9" fmla="*/ 308473 h 2465024"/>
              <a:gd name="connsiteX10" fmla="*/ 327752 w 2721166"/>
              <a:gd name="connsiteY10" fmla="*/ 336015 h 2465024"/>
              <a:gd name="connsiteX11" fmla="*/ 324998 w 2721166"/>
              <a:gd name="connsiteY11" fmla="*/ 374574 h 2465024"/>
              <a:gd name="connsiteX12" fmla="*/ 302964 w 2721166"/>
              <a:gd name="connsiteY12" fmla="*/ 404870 h 2465024"/>
              <a:gd name="connsiteX13" fmla="*/ 291947 w 2721166"/>
              <a:gd name="connsiteY13" fmla="*/ 468217 h 2465024"/>
              <a:gd name="connsiteX14" fmla="*/ 308472 w 2721166"/>
              <a:gd name="connsiteY14" fmla="*/ 556352 h 2465024"/>
              <a:gd name="connsiteX15" fmla="*/ 349785 w 2721166"/>
              <a:gd name="connsiteY15" fmla="*/ 600420 h 2465024"/>
              <a:gd name="connsiteX16" fmla="*/ 391099 w 2721166"/>
              <a:gd name="connsiteY16" fmla="*/ 663767 h 2465024"/>
              <a:gd name="connsiteX17" fmla="*/ 462708 w 2721166"/>
              <a:gd name="connsiteY17" fmla="*/ 718851 h 2465024"/>
              <a:gd name="connsiteX18" fmla="*/ 542581 w 2721166"/>
              <a:gd name="connsiteY18" fmla="*/ 743639 h 2465024"/>
              <a:gd name="connsiteX19" fmla="*/ 616944 w 2721166"/>
              <a:gd name="connsiteY19" fmla="*/ 768427 h 2465024"/>
              <a:gd name="connsiteX20" fmla="*/ 638978 w 2721166"/>
              <a:gd name="connsiteY20" fmla="*/ 798723 h 2465024"/>
              <a:gd name="connsiteX21" fmla="*/ 721605 w 2721166"/>
              <a:gd name="connsiteY21" fmla="*/ 834528 h 2465024"/>
              <a:gd name="connsiteX22" fmla="*/ 757410 w 2721166"/>
              <a:gd name="connsiteY22" fmla="*/ 906138 h 2465024"/>
              <a:gd name="connsiteX23" fmla="*/ 782198 w 2721166"/>
              <a:gd name="connsiteY23" fmla="*/ 919909 h 2465024"/>
              <a:gd name="connsiteX24" fmla="*/ 801477 w 2721166"/>
              <a:gd name="connsiteY24" fmla="*/ 972239 h 2465024"/>
              <a:gd name="connsiteX25" fmla="*/ 840036 w 2721166"/>
              <a:gd name="connsiteY25" fmla="*/ 991518 h 2465024"/>
              <a:gd name="connsiteX26" fmla="*/ 884104 w 2721166"/>
              <a:gd name="connsiteY26" fmla="*/ 1008044 h 2465024"/>
              <a:gd name="connsiteX27" fmla="*/ 889612 w 2721166"/>
              <a:gd name="connsiteY27" fmla="*/ 1043849 h 2465024"/>
              <a:gd name="connsiteX28" fmla="*/ 917154 w 2721166"/>
              <a:gd name="connsiteY28" fmla="*/ 1054865 h 2465024"/>
              <a:gd name="connsiteX29" fmla="*/ 939188 w 2721166"/>
              <a:gd name="connsiteY29" fmla="*/ 1096179 h 2465024"/>
              <a:gd name="connsiteX30" fmla="*/ 2583938 w 2721166"/>
              <a:gd name="connsiteY30" fmla="*/ 2377102 h 2465024"/>
              <a:gd name="connsiteX31" fmla="*/ 2638540 w 2721166"/>
              <a:gd name="connsiteY31" fmla="*/ 2445745 h 2465024"/>
              <a:gd name="connsiteX32" fmla="*/ 2721166 w 2721166"/>
              <a:gd name="connsiteY32" fmla="*/ 2465024 h 2465024"/>
              <a:gd name="connsiteX0" fmla="*/ 5508 w 2638540"/>
              <a:gd name="connsiteY0" fmla="*/ 0 h 2445745"/>
              <a:gd name="connsiteX1" fmla="*/ 0 w 2638540"/>
              <a:gd name="connsiteY1" fmla="*/ 46822 h 2445745"/>
              <a:gd name="connsiteX2" fmla="*/ 33051 w 2638540"/>
              <a:gd name="connsiteY2" fmla="*/ 82627 h 2445745"/>
              <a:gd name="connsiteX3" fmla="*/ 63347 w 2638540"/>
              <a:gd name="connsiteY3" fmla="*/ 112923 h 2445745"/>
              <a:gd name="connsiteX4" fmla="*/ 90889 w 2638540"/>
              <a:gd name="connsiteY4" fmla="*/ 162499 h 2445745"/>
              <a:gd name="connsiteX5" fmla="*/ 129448 w 2638540"/>
              <a:gd name="connsiteY5" fmla="*/ 168008 h 2445745"/>
              <a:gd name="connsiteX6" fmla="*/ 145973 w 2638540"/>
              <a:gd name="connsiteY6" fmla="*/ 190041 h 2445745"/>
              <a:gd name="connsiteX7" fmla="*/ 179024 w 2638540"/>
              <a:gd name="connsiteY7" fmla="*/ 234109 h 2445745"/>
              <a:gd name="connsiteX8" fmla="*/ 223091 w 2638540"/>
              <a:gd name="connsiteY8" fmla="*/ 245126 h 2445745"/>
              <a:gd name="connsiteX9" fmla="*/ 267159 w 2638540"/>
              <a:gd name="connsiteY9" fmla="*/ 308473 h 2445745"/>
              <a:gd name="connsiteX10" fmla="*/ 327752 w 2638540"/>
              <a:gd name="connsiteY10" fmla="*/ 336015 h 2445745"/>
              <a:gd name="connsiteX11" fmla="*/ 324998 w 2638540"/>
              <a:gd name="connsiteY11" fmla="*/ 374574 h 2445745"/>
              <a:gd name="connsiteX12" fmla="*/ 302964 w 2638540"/>
              <a:gd name="connsiteY12" fmla="*/ 404870 h 2445745"/>
              <a:gd name="connsiteX13" fmla="*/ 291947 w 2638540"/>
              <a:gd name="connsiteY13" fmla="*/ 468217 h 2445745"/>
              <a:gd name="connsiteX14" fmla="*/ 308472 w 2638540"/>
              <a:gd name="connsiteY14" fmla="*/ 556352 h 2445745"/>
              <a:gd name="connsiteX15" fmla="*/ 349785 w 2638540"/>
              <a:gd name="connsiteY15" fmla="*/ 600420 h 2445745"/>
              <a:gd name="connsiteX16" fmla="*/ 391099 w 2638540"/>
              <a:gd name="connsiteY16" fmla="*/ 663767 h 2445745"/>
              <a:gd name="connsiteX17" fmla="*/ 462708 w 2638540"/>
              <a:gd name="connsiteY17" fmla="*/ 718851 h 2445745"/>
              <a:gd name="connsiteX18" fmla="*/ 542581 w 2638540"/>
              <a:gd name="connsiteY18" fmla="*/ 743639 h 2445745"/>
              <a:gd name="connsiteX19" fmla="*/ 616944 w 2638540"/>
              <a:gd name="connsiteY19" fmla="*/ 768427 h 2445745"/>
              <a:gd name="connsiteX20" fmla="*/ 638978 w 2638540"/>
              <a:gd name="connsiteY20" fmla="*/ 798723 h 2445745"/>
              <a:gd name="connsiteX21" fmla="*/ 721605 w 2638540"/>
              <a:gd name="connsiteY21" fmla="*/ 834528 h 2445745"/>
              <a:gd name="connsiteX22" fmla="*/ 757410 w 2638540"/>
              <a:gd name="connsiteY22" fmla="*/ 906138 h 2445745"/>
              <a:gd name="connsiteX23" fmla="*/ 782198 w 2638540"/>
              <a:gd name="connsiteY23" fmla="*/ 919909 h 2445745"/>
              <a:gd name="connsiteX24" fmla="*/ 801477 w 2638540"/>
              <a:gd name="connsiteY24" fmla="*/ 972239 h 2445745"/>
              <a:gd name="connsiteX25" fmla="*/ 840036 w 2638540"/>
              <a:gd name="connsiteY25" fmla="*/ 991518 h 2445745"/>
              <a:gd name="connsiteX26" fmla="*/ 884104 w 2638540"/>
              <a:gd name="connsiteY26" fmla="*/ 1008044 h 2445745"/>
              <a:gd name="connsiteX27" fmla="*/ 889612 w 2638540"/>
              <a:gd name="connsiteY27" fmla="*/ 1043849 h 2445745"/>
              <a:gd name="connsiteX28" fmla="*/ 917154 w 2638540"/>
              <a:gd name="connsiteY28" fmla="*/ 1054865 h 2445745"/>
              <a:gd name="connsiteX29" fmla="*/ 939188 w 2638540"/>
              <a:gd name="connsiteY29" fmla="*/ 1096179 h 2445745"/>
              <a:gd name="connsiteX30" fmla="*/ 2583938 w 2638540"/>
              <a:gd name="connsiteY30" fmla="*/ 2377102 h 2445745"/>
              <a:gd name="connsiteX31" fmla="*/ 2638540 w 2638540"/>
              <a:gd name="connsiteY31" fmla="*/ 2445745 h 2445745"/>
              <a:gd name="connsiteX0" fmla="*/ 5508 w 2583938"/>
              <a:gd name="connsiteY0" fmla="*/ 0 h 2377102"/>
              <a:gd name="connsiteX1" fmla="*/ 0 w 2583938"/>
              <a:gd name="connsiteY1" fmla="*/ 46822 h 2377102"/>
              <a:gd name="connsiteX2" fmla="*/ 33051 w 2583938"/>
              <a:gd name="connsiteY2" fmla="*/ 82627 h 2377102"/>
              <a:gd name="connsiteX3" fmla="*/ 63347 w 2583938"/>
              <a:gd name="connsiteY3" fmla="*/ 112923 h 2377102"/>
              <a:gd name="connsiteX4" fmla="*/ 90889 w 2583938"/>
              <a:gd name="connsiteY4" fmla="*/ 162499 h 2377102"/>
              <a:gd name="connsiteX5" fmla="*/ 129448 w 2583938"/>
              <a:gd name="connsiteY5" fmla="*/ 168008 h 2377102"/>
              <a:gd name="connsiteX6" fmla="*/ 145973 w 2583938"/>
              <a:gd name="connsiteY6" fmla="*/ 190041 h 2377102"/>
              <a:gd name="connsiteX7" fmla="*/ 179024 w 2583938"/>
              <a:gd name="connsiteY7" fmla="*/ 234109 h 2377102"/>
              <a:gd name="connsiteX8" fmla="*/ 223091 w 2583938"/>
              <a:gd name="connsiteY8" fmla="*/ 245126 h 2377102"/>
              <a:gd name="connsiteX9" fmla="*/ 267159 w 2583938"/>
              <a:gd name="connsiteY9" fmla="*/ 308473 h 2377102"/>
              <a:gd name="connsiteX10" fmla="*/ 327752 w 2583938"/>
              <a:gd name="connsiteY10" fmla="*/ 336015 h 2377102"/>
              <a:gd name="connsiteX11" fmla="*/ 324998 w 2583938"/>
              <a:gd name="connsiteY11" fmla="*/ 374574 h 2377102"/>
              <a:gd name="connsiteX12" fmla="*/ 302964 w 2583938"/>
              <a:gd name="connsiteY12" fmla="*/ 404870 h 2377102"/>
              <a:gd name="connsiteX13" fmla="*/ 291947 w 2583938"/>
              <a:gd name="connsiteY13" fmla="*/ 468217 h 2377102"/>
              <a:gd name="connsiteX14" fmla="*/ 308472 w 2583938"/>
              <a:gd name="connsiteY14" fmla="*/ 556352 h 2377102"/>
              <a:gd name="connsiteX15" fmla="*/ 349785 w 2583938"/>
              <a:gd name="connsiteY15" fmla="*/ 600420 h 2377102"/>
              <a:gd name="connsiteX16" fmla="*/ 391099 w 2583938"/>
              <a:gd name="connsiteY16" fmla="*/ 663767 h 2377102"/>
              <a:gd name="connsiteX17" fmla="*/ 462708 w 2583938"/>
              <a:gd name="connsiteY17" fmla="*/ 718851 h 2377102"/>
              <a:gd name="connsiteX18" fmla="*/ 542581 w 2583938"/>
              <a:gd name="connsiteY18" fmla="*/ 743639 h 2377102"/>
              <a:gd name="connsiteX19" fmla="*/ 616944 w 2583938"/>
              <a:gd name="connsiteY19" fmla="*/ 768427 h 2377102"/>
              <a:gd name="connsiteX20" fmla="*/ 638978 w 2583938"/>
              <a:gd name="connsiteY20" fmla="*/ 798723 h 2377102"/>
              <a:gd name="connsiteX21" fmla="*/ 721605 w 2583938"/>
              <a:gd name="connsiteY21" fmla="*/ 834528 h 2377102"/>
              <a:gd name="connsiteX22" fmla="*/ 757410 w 2583938"/>
              <a:gd name="connsiteY22" fmla="*/ 906138 h 2377102"/>
              <a:gd name="connsiteX23" fmla="*/ 782198 w 2583938"/>
              <a:gd name="connsiteY23" fmla="*/ 919909 h 2377102"/>
              <a:gd name="connsiteX24" fmla="*/ 801477 w 2583938"/>
              <a:gd name="connsiteY24" fmla="*/ 972239 h 2377102"/>
              <a:gd name="connsiteX25" fmla="*/ 840036 w 2583938"/>
              <a:gd name="connsiteY25" fmla="*/ 991518 h 2377102"/>
              <a:gd name="connsiteX26" fmla="*/ 884104 w 2583938"/>
              <a:gd name="connsiteY26" fmla="*/ 1008044 h 2377102"/>
              <a:gd name="connsiteX27" fmla="*/ 889612 w 2583938"/>
              <a:gd name="connsiteY27" fmla="*/ 1043849 h 2377102"/>
              <a:gd name="connsiteX28" fmla="*/ 917154 w 2583938"/>
              <a:gd name="connsiteY28" fmla="*/ 1054865 h 2377102"/>
              <a:gd name="connsiteX29" fmla="*/ 939188 w 2583938"/>
              <a:gd name="connsiteY29" fmla="*/ 1096179 h 2377102"/>
              <a:gd name="connsiteX30" fmla="*/ 2583938 w 2583938"/>
              <a:gd name="connsiteY30" fmla="*/ 2377102 h 2377102"/>
              <a:gd name="connsiteX0" fmla="*/ 5508 w 939188"/>
              <a:gd name="connsiteY0" fmla="*/ 0 h 1096179"/>
              <a:gd name="connsiteX1" fmla="*/ 0 w 939188"/>
              <a:gd name="connsiteY1" fmla="*/ 46822 h 1096179"/>
              <a:gd name="connsiteX2" fmla="*/ 33051 w 939188"/>
              <a:gd name="connsiteY2" fmla="*/ 82627 h 1096179"/>
              <a:gd name="connsiteX3" fmla="*/ 63347 w 939188"/>
              <a:gd name="connsiteY3" fmla="*/ 112923 h 1096179"/>
              <a:gd name="connsiteX4" fmla="*/ 90889 w 939188"/>
              <a:gd name="connsiteY4" fmla="*/ 162499 h 1096179"/>
              <a:gd name="connsiteX5" fmla="*/ 129448 w 939188"/>
              <a:gd name="connsiteY5" fmla="*/ 168008 h 1096179"/>
              <a:gd name="connsiteX6" fmla="*/ 145973 w 939188"/>
              <a:gd name="connsiteY6" fmla="*/ 190041 h 1096179"/>
              <a:gd name="connsiteX7" fmla="*/ 179024 w 939188"/>
              <a:gd name="connsiteY7" fmla="*/ 234109 h 1096179"/>
              <a:gd name="connsiteX8" fmla="*/ 223091 w 939188"/>
              <a:gd name="connsiteY8" fmla="*/ 245126 h 1096179"/>
              <a:gd name="connsiteX9" fmla="*/ 267159 w 939188"/>
              <a:gd name="connsiteY9" fmla="*/ 308473 h 1096179"/>
              <a:gd name="connsiteX10" fmla="*/ 327752 w 939188"/>
              <a:gd name="connsiteY10" fmla="*/ 336015 h 1096179"/>
              <a:gd name="connsiteX11" fmla="*/ 324998 w 939188"/>
              <a:gd name="connsiteY11" fmla="*/ 374574 h 1096179"/>
              <a:gd name="connsiteX12" fmla="*/ 302964 w 939188"/>
              <a:gd name="connsiteY12" fmla="*/ 404870 h 1096179"/>
              <a:gd name="connsiteX13" fmla="*/ 291947 w 939188"/>
              <a:gd name="connsiteY13" fmla="*/ 468217 h 1096179"/>
              <a:gd name="connsiteX14" fmla="*/ 308472 w 939188"/>
              <a:gd name="connsiteY14" fmla="*/ 556352 h 1096179"/>
              <a:gd name="connsiteX15" fmla="*/ 349785 w 939188"/>
              <a:gd name="connsiteY15" fmla="*/ 600420 h 1096179"/>
              <a:gd name="connsiteX16" fmla="*/ 391099 w 939188"/>
              <a:gd name="connsiteY16" fmla="*/ 663767 h 1096179"/>
              <a:gd name="connsiteX17" fmla="*/ 462708 w 939188"/>
              <a:gd name="connsiteY17" fmla="*/ 718851 h 1096179"/>
              <a:gd name="connsiteX18" fmla="*/ 542581 w 939188"/>
              <a:gd name="connsiteY18" fmla="*/ 743639 h 1096179"/>
              <a:gd name="connsiteX19" fmla="*/ 616944 w 939188"/>
              <a:gd name="connsiteY19" fmla="*/ 768427 h 1096179"/>
              <a:gd name="connsiteX20" fmla="*/ 638978 w 939188"/>
              <a:gd name="connsiteY20" fmla="*/ 798723 h 1096179"/>
              <a:gd name="connsiteX21" fmla="*/ 721605 w 939188"/>
              <a:gd name="connsiteY21" fmla="*/ 834528 h 1096179"/>
              <a:gd name="connsiteX22" fmla="*/ 757410 w 939188"/>
              <a:gd name="connsiteY22" fmla="*/ 906138 h 1096179"/>
              <a:gd name="connsiteX23" fmla="*/ 782198 w 939188"/>
              <a:gd name="connsiteY23" fmla="*/ 919909 h 1096179"/>
              <a:gd name="connsiteX24" fmla="*/ 801477 w 939188"/>
              <a:gd name="connsiteY24" fmla="*/ 972239 h 1096179"/>
              <a:gd name="connsiteX25" fmla="*/ 840036 w 939188"/>
              <a:gd name="connsiteY25" fmla="*/ 991518 h 1096179"/>
              <a:gd name="connsiteX26" fmla="*/ 884104 w 939188"/>
              <a:gd name="connsiteY26" fmla="*/ 1008044 h 1096179"/>
              <a:gd name="connsiteX27" fmla="*/ 889612 w 939188"/>
              <a:gd name="connsiteY27" fmla="*/ 1043849 h 1096179"/>
              <a:gd name="connsiteX28" fmla="*/ 917154 w 939188"/>
              <a:gd name="connsiteY28" fmla="*/ 1054865 h 1096179"/>
              <a:gd name="connsiteX29" fmla="*/ 939188 w 939188"/>
              <a:gd name="connsiteY29" fmla="*/ 1096179 h 1096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939188" h="1096179">
                <a:moveTo>
                  <a:pt x="5508" y="0"/>
                </a:moveTo>
                <a:lnTo>
                  <a:pt x="0" y="46822"/>
                </a:lnTo>
                <a:lnTo>
                  <a:pt x="33051" y="82627"/>
                </a:lnTo>
                <a:lnTo>
                  <a:pt x="63347" y="112923"/>
                </a:lnTo>
                <a:lnTo>
                  <a:pt x="90889" y="162499"/>
                </a:lnTo>
                <a:lnTo>
                  <a:pt x="129448" y="168008"/>
                </a:lnTo>
                <a:lnTo>
                  <a:pt x="145973" y="190041"/>
                </a:lnTo>
                <a:lnTo>
                  <a:pt x="179024" y="234109"/>
                </a:lnTo>
                <a:lnTo>
                  <a:pt x="223091" y="245126"/>
                </a:lnTo>
                <a:lnTo>
                  <a:pt x="267159" y="308473"/>
                </a:lnTo>
                <a:lnTo>
                  <a:pt x="327752" y="336015"/>
                </a:lnTo>
                <a:lnTo>
                  <a:pt x="324998" y="374574"/>
                </a:lnTo>
                <a:lnTo>
                  <a:pt x="302964" y="404870"/>
                </a:lnTo>
                <a:lnTo>
                  <a:pt x="291947" y="468217"/>
                </a:lnTo>
                <a:lnTo>
                  <a:pt x="308472" y="556352"/>
                </a:lnTo>
                <a:lnTo>
                  <a:pt x="349785" y="600420"/>
                </a:lnTo>
                <a:lnTo>
                  <a:pt x="391099" y="663767"/>
                </a:lnTo>
                <a:lnTo>
                  <a:pt x="462708" y="718851"/>
                </a:lnTo>
                <a:lnTo>
                  <a:pt x="542581" y="743639"/>
                </a:lnTo>
                <a:lnTo>
                  <a:pt x="616944" y="768427"/>
                </a:lnTo>
                <a:lnTo>
                  <a:pt x="638978" y="798723"/>
                </a:lnTo>
                <a:lnTo>
                  <a:pt x="721605" y="834528"/>
                </a:lnTo>
                <a:lnTo>
                  <a:pt x="757410" y="906138"/>
                </a:lnTo>
                <a:lnTo>
                  <a:pt x="782198" y="919909"/>
                </a:lnTo>
                <a:lnTo>
                  <a:pt x="801477" y="972239"/>
                </a:lnTo>
                <a:lnTo>
                  <a:pt x="840036" y="991518"/>
                </a:lnTo>
                <a:lnTo>
                  <a:pt x="884104" y="1008044"/>
                </a:lnTo>
                <a:lnTo>
                  <a:pt x="889612" y="1043849"/>
                </a:lnTo>
                <a:lnTo>
                  <a:pt x="917154" y="1054865"/>
                </a:lnTo>
                <a:lnTo>
                  <a:pt x="939188" y="1096179"/>
                </a:ln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Freeform 22"/>
          <p:cNvSpPr/>
          <p:nvPr/>
        </p:nvSpPr>
        <p:spPr bwMode="auto">
          <a:xfrm>
            <a:off x="8052934" y="1419199"/>
            <a:ext cx="332741" cy="228449"/>
          </a:xfrm>
          <a:custGeom>
            <a:avLst/>
            <a:gdLst>
              <a:gd name="connsiteX0" fmla="*/ 0 w 548640"/>
              <a:gd name="connsiteY0" fmla="*/ 381000 h 381000"/>
              <a:gd name="connsiteX1" fmla="*/ 182880 w 548640"/>
              <a:gd name="connsiteY1" fmla="*/ 274320 h 381000"/>
              <a:gd name="connsiteX2" fmla="*/ 342900 w 548640"/>
              <a:gd name="connsiteY2" fmla="*/ 274320 h 381000"/>
              <a:gd name="connsiteX3" fmla="*/ 472440 w 548640"/>
              <a:gd name="connsiteY3" fmla="*/ 205740 h 381000"/>
              <a:gd name="connsiteX4" fmla="*/ 518160 w 548640"/>
              <a:gd name="connsiteY4" fmla="*/ 76200 h 381000"/>
              <a:gd name="connsiteX5" fmla="*/ 548640 w 548640"/>
              <a:gd name="connsiteY5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8640" h="381000">
                <a:moveTo>
                  <a:pt x="0" y="381000"/>
                </a:moveTo>
                <a:lnTo>
                  <a:pt x="182880" y="274320"/>
                </a:lnTo>
                <a:lnTo>
                  <a:pt x="342900" y="274320"/>
                </a:lnTo>
                <a:lnTo>
                  <a:pt x="472440" y="205740"/>
                </a:lnTo>
                <a:lnTo>
                  <a:pt x="518160" y="76200"/>
                </a:lnTo>
                <a:lnTo>
                  <a:pt x="548640" y="0"/>
                </a:ln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23"/>
          <p:cNvSpPr/>
          <p:nvPr/>
        </p:nvSpPr>
        <p:spPr bwMode="auto">
          <a:xfrm>
            <a:off x="7706329" y="976011"/>
            <a:ext cx="101670" cy="603101"/>
          </a:xfrm>
          <a:custGeom>
            <a:avLst/>
            <a:gdLst>
              <a:gd name="connsiteX0" fmla="*/ 129540 w 167640"/>
              <a:gd name="connsiteY0" fmla="*/ 1005840 h 1005840"/>
              <a:gd name="connsiteX1" fmla="*/ 129540 w 167640"/>
              <a:gd name="connsiteY1" fmla="*/ 1005840 h 1005840"/>
              <a:gd name="connsiteX2" fmla="*/ 68580 w 167640"/>
              <a:gd name="connsiteY2" fmla="*/ 922020 h 1005840"/>
              <a:gd name="connsiteX3" fmla="*/ 0 w 167640"/>
              <a:gd name="connsiteY3" fmla="*/ 662940 h 1005840"/>
              <a:gd name="connsiteX4" fmla="*/ 53340 w 167640"/>
              <a:gd name="connsiteY4" fmla="*/ 502920 h 1005840"/>
              <a:gd name="connsiteX5" fmla="*/ 167640 w 167640"/>
              <a:gd name="connsiteY5" fmla="*/ 350520 h 1005840"/>
              <a:gd name="connsiteX6" fmla="*/ 121920 w 167640"/>
              <a:gd name="connsiteY6" fmla="*/ 228600 h 1005840"/>
              <a:gd name="connsiteX7" fmla="*/ 121920 w 167640"/>
              <a:gd name="connsiteY7" fmla="*/ 91440 h 1005840"/>
              <a:gd name="connsiteX8" fmla="*/ 152400 w 167640"/>
              <a:gd name="connsiteY8" fmla="*/ 0 h 1005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7640" h="1005840">
                <a:moveTo>
                  <a:pt x="129540" y="1005840"/>
                </a:moveTo>
                <a:lnTo>
                  <a:pt x="129540" y="1005840"/>
                </a:lnTo>
                <a:lnTo>
                  <a:pt x="68580" y="922020"/>
                </a:lnTo>
                <a:lnTo>
                  <a:pt x="0" y="662940"/>
                </a:lnTo>
                <a:lnTo>
                  <a:pt x="53340" y="502920"/>
                </a:lnTo>
                <a:lnTo>
                  <a:pt x="167640" y="350520"/>
                </a:lnTo>
                <a:lnTo>
                  <a:pt x="121920" y="228600"/>
                </a:lnTo>
                <a:lnTo>
                  <a:pt x="121920" y="91440"/>
                </a:lnTo>
                <a:lnTo>
                  <a:pt x="152400" y="0"/>
                </a:ln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Freeform 24"/>
          <p:cNvSpPr/>
          <p:nvPr/>
        </p:nvSpPr>
        <p:spPr bwMode="auto">
          <a:xfrm>
            <a:off x="7184109" y="615063"/>
            <a:ext cx="157128" cy="598533"/>
          </a:xfrm>
          <a:custGeom>
            <a:avLst/>
            <a:gdLst>
              <a:gd name="connsiteX0" fmla="*/ 0 w 259080"/>
              <a:gd name="connsiteY0" fmla="*/ 998220 h 998220"/>
              <a:gd name="connsiteX1" fmla="*/ 53340 w 259080"/>
              <a:gd name="connsiteY1" fmla="*/ 815340 h 998220"/>
              <a:gd name="connsiteX2" fmla="*/ 53340 w 259080"/>
              <a:gd name="connsiteY2" fmla="*/ 601980 h 998220"/>
              <a:gd name="connsiteX3" fmla="*/ 114300 w 259080"/>
              <a:gd name="connsiteY3" fmla="*/ 495300 h 998220"/>
              <a:gd name="connsiteX4" fmla="*/ 60960 w 259080"/>
              <a:gd name="connsiteY4" fmla="*/ 320040 h 998220"/>
              <a:gd name="connsiteX5" fmla="*/ 121920 w 259080"/>
              <a:gd name="connsiteY5" fmla="*/ 137160 h 998220"/>
              <a:gd name="connsiteX6" fmla="*/ 259080 w 259080"/>
              <a:gd name="connsiteY6" fmla="*/ 83820 h 998220"/>
              <a:gd name="connsiteX7" fmla="*/ 251460 w 259080"/>
              <a:gd name="connsiteY7" fmla="*/ 0 h 998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080" h="998220">
                <a:moveTo>
                  <a:pt x="0" y="998220"/>
                </a:moveTo>
                <a:lnTo>
                  <a:pt x="53340" y="815340"/>
                </a:lnTo>
                <a:lnTo>
                  <a:pt x="53340" y="601980"/>
                </a:lnTo>
                <a:lnTo>
                  <a:pt x="114300" y="495300"/>
                </a:lnTo>
                <a:lnTo>
                  <a:pt x="60960" y="320040"/>
                </a:lnTo>
                <a:lnTo>
                  <a:pt x="121920" y="137160"/>
                </a:lnTo>
                <a:lnTo>
                  <a:pt x="259080" y="83820"/>
                </a:lnTo>
                <a:lnTo>
                  <a:pt x="251460" y="0"/>
                </a:ln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reeform 17"/>
          <p:cNvSpPr/>
          <p:nvPr/>
        </p:nvSpPr>
        <p:spPr bwMode="auto">
          <a:xfrm>
            <a:off x="6111947" y="-33728"/>
            <a:ext cx="2130466" cy="1192497"/>
          </a:xfrm>
          <a:custGeom>
            <a:avLst/>
            <a:gdLst>
              <a:gd name="connsiteX0" fmla="*/ 0 w 3870960"/>
              <a:gd name="connsiteY0" fmla="*/ 762000 h 2255520"/>
              <a:gd name="connsiteX1" fmla="*/ 7620 w 3870960"/>
              <a:gd name="connsiteY1" fmla="*/ 640080 h 2255520"/>
              <a:gd name="connsiteX2" fmla="*/ 114300 w 3870960"/>
              <a:gd name="connsiteY2" fmla="*/ 510540 h 2255520"/>
              <a:gd name="connsiteX3" fmla="*/ 30480 w 3870960"/>
              <a:gd name="connsiteY3" fmla="*/ 373380 h 2255520"/>
              <a:gd name="connsiteX4" fmla="*/ 60960 w 3870960"/>
              <a:gd name="connsiteY4" fmla="*/ 327660 h 2255520"/>
              <a:gd name="connsiteX5" fmla="*/ 121920 w 3870960"/>
              <a:gd name="connsiteY5" fmla="*/ 266700 h 2255520"/>
              <a:gd name="connsiteX6" fmla="*/ 45720 w 3870960"/>
              <a:gd name="connsiteY6" fmla="*/ 198120 h 2255520"/>
              <a:gd name="connsiteX7" fmla="*/ 38100 w 3870960"/>
              <a:gd name="connsiteY7" fmla="*/ 114300 h 2255520"/>
              <a:gd name="connsiteX8" fmla="*/ 114300 w 3870960"/>
              <a:gd name="connsiteY8" fmla="*/ 15240 h 2255520"/>
              <a:gd name="connsiteX9" fmla="*/ 220980 w 3870960"/>
              <a:gd name="connsiteY9" fmla="*/ 45720 h 2255520"/>
              <a:gd name="connsiteX10" fmla="*/ 289560 w 3870960"/>
              <a:gd name="connsiteY10" fmla="*/ 0 h 2255520"/>
              <a:gd name="connsiteX11" fmla="*/ 381000 w 3870960"/>
              <a:gd name="connsiteY11" fmla="*/ 38100 h 2255520"/>
              <a:gd name="connsiteX12" fmla="*/ 342900 w 3870960"/>
              <a:gd name="connsiteY12" fmla="*/ 121920 h 2255520"/>
              <a:gd name="connsiteX13" fmla="*/ 335280 w 3870960"/>
              <a:gd name="connsiteY13" fmla="*/ 182880 h 2255520"/>
              <a:gd name="connsiteX14" fmla="*/ 403860 w 3870960"/>
              <a:gd name="connsiteY14" fmla="*/ 266700 h 2255520"/>
              <a:gd name="connsiteX15" fmla="*/ 358140 w 3870960"/>
              <a:gd name="connsiteY15" fmla="*/ 358140 h 2255520"/>
              <a:gd name="connsiteX16" fmla="*/ 388620 w 3870960"/>
              <a:gd name="connsiteY16" fmla="*/ 449580 h 2255520"/>
              <a:gd name="connsiteX17" fmla="*/ 518160 w 3870960"/>
              <a:gd name="connsiteY17" fmla="*/ 464820 h 2255520"/>
              <a:gd name="connsiteX18" fmla="*/ 693420 w 3870960"/>
              <a:gd name="connsiteY18" fmla="*/ 472440 h 2255520"/>
              <a:gd name="connsiteX19" fmla="*/ 845820 w 3870960"/>
              <a:gd name="connsiteY19" fmla="*/ 510540 h 2255520"/>
              <a:gd name="connsiteX20" fmla="*/ 944880 w 3870960"/>
              <a:gd name="connsiteY20" fmla="*/ 632460 h 2255520"/>
              <a:gd name="connsiteX21" fmla="*/ 1028700 w 3870960"/>
              <a:gd name="connsiteY21" fmla="*/ 716280 h 2255520"/>
              <a:gd name="connsiteX22" fmla="*/ 1173480 w 3870960"/>
              <a:gd name="connsiteY22" fmla="*/ 746760 h 2255520"/>
              <a:gd name="connsiteX23" fmla="*/ 1295400 w 3870960"/>
              <a:gd name="connsiteY23" fmla="*/ 746760 h 2255520"/>
              <a:gd name="connsiteX24" fmla="*/ 1379220 w 3870960"/>
              <a:gd name="connsiteY24" fmla="*/ 861060 h 2255520"/>
              <a:gd name="connsiteX25" fmla="*/ 1440180 w 3870960"/>
              <a:gd name="connsiteY25" fmla="*/ 883920 h 2255520"/>
              <a:gd name="connsiteX26" fmla="*/ 1539240 w 3870960"/>
              <a:gd name="connsiteY26" fmla="*/ 853440 h 2255520"/>
              <a:gd name="connsiteX27" fmla="*/ 1668780 w 3870960"/>
              <a:gd name="connsiteY27" fmla="*/ 914400 h 2255520"/>
              <a:gd name="connsiteX28" fmla="*/ 1805940 w 3870960"/>
              <a:gd name="connsiteY28" fmla="*/ 876300 h 2255520"/>
              <a:gd name="connsiteX29" fmla="*/ 1973580 w 3870960"/>
              <a:gd name="connsiteY29" fmla="*/ 899160 h 2255520"/>
              <a:gd name="connsiteX30" fmla="*/ 2110740 w 3870960"/>
              <a:gd name="connsiteY30" fmla="*/ 899160 h 2255520"/>
              <a:gd name="connsiteX31" fmla="*/ 2186940 w 3870960"/>
              <a:gd name="connsiteY31" fmla="*/ 990600 h 2255520"/>
              <a:gd name="connsiteX32" fmla="*/ 2194560 w 3870960"/>
              <a:gd name="connsiteY32" fmla="*/ 1158240 h 2255520"/>
              <a:gd name="connsiteX33" fmla="*/ 2263140 w 3870960"/>
              <a:gd name="connsiteY33" fmla="*/ 1303020 h 2255520"/>
              <a:gd name="connsiteX34" fmla="*/ 2468880 w 3870960"/>
              <a:gd name="connsiteY34" fmla="*/ 1363980 h 2255520"/>
              <a:gd name="connsiteX35" fmla="*/ 2583180 w 3870960"/>
              <a:gd name="connsiteY35" fmla="*/ 1508760 h 2255520"/>
              <a:gd name="connsiteX36" fmla="*/ 2659380 w 3870960"/>
              <a:gd name="connsiteY36" fmla="*/ 1607820 h 2255520"/>
              <a:gd name="connsiteX37" fmla="*/ 2781300 w 3870960"/>
              <a:gd name="connsiteY37" fmla="*/ 1676400 h 2255520"/>
              <a:gd name="connsiteX38" fmla="*/ 2979420 w 3870960"/>
              <a:gd name="connsiteY38" fmla="*/ 1866900 h 2255520"/>
              <a:gd name="connsiteX39" fmla="*/ 3139440 w 3870960"/>
              <a:gd name="connsiteY39" fmla="*/ 1958340 h 2255520"/>
              <a:gd name="connsiteX40" fmla="*/ 3215640 w 3870960"/>
              <a:gd name="connsiteY40" fmla="*/ 1889760 h 2255520"/>
              <a:gd name="connsiteX41" fmla="*/ 3276600 w 3870960"/>
              <a:gd name="connsiteY41" fmla="*/ 1912620 h 2255520"/>
              <a:gd name="connsiteX42" fmla="*/ 3383280 w 3870960"/>
              <a:gd name="connsiteY42" fmla="*/ 1912620 h 2255520"/>
              <a:gd name="connsiteX43" fmla="*/ 3505200 w 3870960"/>
              <a:gd name="connsiteY43" fmla="*/ 1813560 h 2255520"/>
              <a:gd name="connsiteX44" fmla="*/ 3634740 w 3870960"/>
              <a:gd name="connsiteY44" fmla="*/ 1821180 h 2255520"/>
              <a:gd name="connsiteX45" fmla="*/ 3733800 w 3870960"/>
              <a:gd name="connsiteY45" fmla="*/ 1889760 h 2255520"/>
              <a:gd name="connsiteX46" fmla="*/ 3741420 w 3870960"/>
              <a:gd name="connsiteY46" fmla="*/ 2019300 h 2255520"/>
              <a:gd name="connsiteX47" fmla="*/ 3771900 w 3870960"/>
              <a:gd name="connsiteY47" fmla="*/ 2148840 h 2255520"/>
              <a:gd name="connsiteX48" fmla="*/ 3870960 w 3870960"/>
              <a:gd name="connsiteY48" fmla="*/ 2255520 h 2255520"/>
              <a:gd name="connsiteX0" fmla="*/ 0 w 3870960"/>
              <a:gd name="connsiteY0" fmla="*/ 762000 h 2255520"/>
              <a:gd name="connsiteX1" fmla="*/ 7620 w 3870960"/>
              <a:gd name="connsiteY1" fmla="*/ 640080 h 2255520"/>
              <a:gd name="connsiteX2" fmla="*/ 114300 w 3870960"/>
              <a:gd name="connsiteY2" fmla="*/ 510540 h 2255520"/>
              <a:gd name="connsiteX3" fmla="*/ 30480 w 3870960"/>
              <a:gd name="connsiteY3" fmla="*/ 373380 h 2255520"/>
              <a:gd name="connsiteX4" fmla="*/ 60960 w 3870960"/>
              <a:gd name="connsiteY4" fmla="*/ 327660 h 2255520"/>
              <a:gd name="connsiteX5" fmla="*/ 121920 w 3870960"/>
              <a:gd name="connsiteY5" fmla="*/ 266700 h 2255520"/>
              <a:gd name="connsiteX6" fmla="*/ 45720 w 3870960"/>
              <a:gd name="connsiteY6" fmla="*/ 198120 h 2255520"/>
              <a:gd name="connsiteX7" fmla="*/ 38100 w 3870960"/>
              <a:gd name="connsiteY7" fmla="*/ 114300 h 2255520"/>
              <a:gd name="connsiteX8" fmla="*/ 114300 w 3870960"/>
              <a:gd name="connsiteY8" fmla="*/ 15240 h 2255520"/>
              <a:gd name="connsiteX9" fmla="*/ 289560 w 3870960"/>
              <a:gd name="connsiteY9" fmla="*/ 0 h 2255520"/>
              <a:gd name="connsiteX10" fmla="*/ 381000 w 3870960"/>
              <a:gd name="connsiteY10" fmla="*/ 38100 h 2255520"/>
              <a:gd name="connsiteX11" fmla="*/ 342900 w 3870960"/>
              <a:gd name="connsiteY11" fmla="*/ 121920 h 2255520"/>
              <a:gd name="connsiteX12" fmla="*/ 335280 w 3870960"/>
              <a:gd name="connsiteY12" fmla="*/ 182880 h 2255520"/>
              <a:gd name="connsiteX13" fmla="*/ 403860 w 3870960"/>
              <a:gd name="connsiteY13" fmla="*/ 266700 h 2255520"/>
              <a:gd name="connsiteX14" fmla="*/ 358140 w 3870960"/>
              <a:gd name="connsiteY14" fmla="*/ 358140 h 2255520"/>
              <a:gd name="connsiteX15" fmla="*/ 388620 w 3870960"/>
              <a:gd name="connsiteY15" fmla="*/ 449580 h 2255520"/>
              <a:gd name="connsiteX16" fmla="*/ 518160 w 3870960"/>
              <a:gd name="connsiteY16" fmla="*/ 464820 h 2255520"/>
              <a:gd name="connsiteX17" fmla="*/ 693420 w 3870960"/>
              <a:gd name="connsiteY17" fmla="*/ 472440 h 2255520"/>
              <a:gd name="connsiteX18" fmla="*/ 845820 w 3870960"/>
              <a:gd name="connsiteY18" fmla="*/ 510540 h 2255520"/>
              <a:gd name="connsiteX19" fmla="*/ 944880 w 3870960"/>
              <a:gd name="connsiteY19" fmla="*/ 632460 h 2255520"/>
              <a:gd name="connsiteX20" fmla="*/ 1028700 w 3870960"/>
              <a:gd name="connsiteY20" fmla="*/ 716280 h 2255520"/>
              <a:gd name="connsiteX21" fmla="*/ 1173480 w 3870960"/>
              <a:gd name="connsiteY21" fmla="*/ 746760 h 2255520"/>
              <a:gd name="connsiteX22" fmla="*/ 1295400 w 3870960"/>
              <a:gd name="connsiteY22" fmla="*/ 746760 h 2255520"/>
              <a:gd name="connsiteX23" fmla="*/ 1379220 w 3870960"/>
              <a:gd name="connsiteY23" fmla="*/ 861060 h 2255520"/>
              <a:gd name="connsiteX24" fmla="*/ 1440180 w 3870960"/>
              <a:gd name="connsiteY24" fmla="*/ 883920 h 2255520"/>
              <a:gd name="connsiteX25" fmla="*/ 1539240 w 3870960"/>
              <a:gd name="connsiteY25" fmla="*/ 853440 h 2255520"/>
              <a:gd name="connsiteX26" fmla="*/ 1668780 w 3870960"/>
              <a:gd name="connsiteY26" fmla="*/ 914400 h 2255520"/>
              <a:gd name="connsiteX27" fmla="*/ 1805940 w 3870960"/>
              <a:gd name="connsiteY27" fmla="*/ 876300 h 2255520"/>
              <a:gd name="connsiteX28" fmla="*/ 1973580 w 3870960"/>
              <a:gd name="connsiteY28" fmla="*/ 899160 h 2255520"/>
              <a:gd name="connsiteX29" fmla="*/ 2110740 w 3870960"/>
              <a:gd name="connsiteY29" fmla="*/ 899160 h 2255520"/>
              <a:gd name="connsiteX30" fmla="*/ 2186940 w 3870960"/>
              <a:gd name="connsiteY30" fmla="*/ 990600 h 2255520"/>
              <a:gd name="connsiteX31" fmla="*/ 2194560 w 3870960"/>
              <a:gd name="connsiteY31" fmla="*/ 1158240 h 2255520"/>
              <a:gd name="connsiteX32" fmla="*/ 2263140 w 3870960"/>
              <a:gd name="connsiteY32" fmla="*/ 1303020 h 2255520"/>
              <a:gd name="connsiteX33" fmla="*/ 2468880 w 3870960"/>
              <a:gd name="connsiteY33" fmla="*/ 1363980 h 2255520"/>
              <a:gd name="connsiteX34" fmla="*/ 2583180 w 3870960"/>
              <a:gd name="connsiteY34" fmla="*/ 1508760 h 2255520"/>
              <a:gd name="connsiteX35" fmla="*/ 2659380 w 3870960"/>
              <a:gd name="connsiteY35" fmla="*/ 1607820 h 2255520"/>
              <a:gd name="connsiteX36" fmla="*/ 2781300 w 3870960"/>
              <a:gd name="connsiteY36" fmla="*/ 1676400 h 2255520"/>
              <a:gd name="connsiteX37" fmla="*/ 2979420 w 3870960"/>
              <a:gd name="connsiteY37" fmla="*/ 1866900 h 2255520"/>
              <a:gd name="connsiteX38" fmla="*/ 3139440 w 3870960"/>
              <a:gd name="connsiteY38" fmla="*/ 1958340 h 2255520"/>
              <a:gd name="connsiteX39" fmla="*/ 3215640 w 3870960"/>
              <a:gd name="connsiteY39" fmla="*/ 1889760 h 2255520"/>
              <a:gd name="connsiteX40" fmla="*/ 3276600 w 3870960"/>
              <a:gd name="connsiteY40" fmla="*/ 1912620 h 2255520"/>
              <a:gd name="connsiteX41" fmla="*/ 3383280 w 3870960"/>
              <a:gd name="connsiteY41" fmla="*/ 1912620 h 2255520"/>
              <a:gd name="connsiteX42" fmla="*/ 3505200 w 3870960"/>
              <a:gd name="connsiteY42" fmla="*/ 1813560 h 2255520"/>
              <a:gd name="connsiteX43" fmla="*/ 3634740 w 3870960"/>
              <a:gd name="connsiteY43" fmla="*/ 1821180 h 2255520"/>
              <a:gd name="connsiteX44" fmla="*/ 3733800 w 3870960"/>
              <a:gd name="connsiteY44" fmla="*/ 1889760 h 2255520"/>
              <a:gd name="connsiteX45" fmla="*/ 3741420 w 3870960"/>
              <a:gd name="connsiteY45" fmla="*/ 2019300 h 2255520"/>
              <a:gd name="connsiteX46" fmla="*/ 3771900 w 3870960"/>
              <a:gd name="connsiteY46" fmla="*/ 2148840 h 2255520"/>
              <a:gd name="connsiteX47" fmla="*/ 3870960 w 3870960"/>
              <a:gd name="connsiteY47" fmla="*/ 2255520 h 2255520"/>
              <a:gd name="connsiteX0" fmla="*/ 0 w 3870960"/>
              <a:gd name="connsiteY0" fmla="*/ 762000 h 2255520"/>
              <a:gd name="connsiteX1" fmla="*/ 7620 w 3870960"/>
              <a:gd name="connsiteY1" fmla="*/ 640080 h 2255520"/>
              <a:gd name="connsiteX2" fmla="*/ 114300 w 3870960"/>
              <a:gd name="connsiteY2" fmla="*/ 510540 h 2255520"/>
              <a:gd name="connsiteX3" fmla="*/ 30480 w 3870960"/>
              <a:gd name="connsiteY3" fmla="*/ 373380 h 2255520"/>
              <a:gd name="connsiteX4" fmla="*/ 60960 w 3870960"/>
              <a:gd name="connsiteY4" fmla="*/ 327660 h 2255520"/>
              <a:gd name="connsiteX5" fmla="*/ 121920 w 3870960"/>
              <a:gd name="connsiteY5" fmla="*/ 266700 h 2255520"/>
              <a:gd name="connsiteX6" fmla="*/ 45720 w 3870960"/>
              <a:gd name="connsiteY6" fmla="*/ 198120 h 2255520"/>
              <a:gd name="connsiteX7" fmla="*/ 38100 w 3870960"/>
              <a:gd name="connsiteY7" fmla="*/ 114300 h 2255520"/>
              <a:gd name="connsiteX8" fmla="*/ 114300 w 3870960"/>
              <a:gd name="connsiteY8" fmla="*/ 15240 h 2255520"/>
              <a:gd name="connsiteX9" fmla="*/ 191929 w 3870960"/>
              <a:gd name="connsiteY9" fmla="*/ 4080 h 2255520"/>
              <a:gd name="connsiteX10" fmla="*/ 289560 w 3870960"/>
              <a:gd name="connsiteY10" fmla="*/ 0 h 2255520"/>
              <a:gd name="connsiteX11" fmla="*/ 381000 w 3870960"/>
              <a:gd name="connsiteY11" fmla="*/ 38100 h 2255520"/>
              <a:gd name="connsiteX12" fmla="*/ 342900 w 3870960"/>
              <a:gd name="connsiteY12" fmla="*/ 121920 h 2255520"/>
              <a:gd name="connsiteX13" fmla="*/ 335280 w 3870960"/>
              <a:gd name="connsiteY13" fmla="*/ 182880 h 2255520"/>
              <a:gd name="connsiteX14" fmla="*/ 403860 w 3870960"/>
              <a:gd name="connsiteY14" fmla="*/ 266700 h 2255520"/>
              <a:gd name="connsiteX15" fmla="*/ 358140 w 3870960"/>
              <a:gd name="connsiteY15" fmla="*/ 358140 h 2255520"/>
              <a:gd name="connsiteX16" fmla="*/ 388620 w 3870960"/>
              <a:gd name="connsiteY16" fmla="*/ 449580 h 2255520"/>
              <a:gd name="connsiteX17" fmla="*/ 518160 w 3870960"/>
              <a:gd name="connsiteY17" fmla="*/ 464820 h 2255520"/>
              <a:gd name="connsiteX18" fmla="*/ 693420 w 3870960"/>
              <a:gd name="connsiteY18" fmla="*/ 472440 h 2255520"/>
              <a:gd name="connsiteX19" fmla="*/ 845820 w 3870960"/>
              <a:gd name="connsiteY19" fmla="*/ 510540 h 2255520"/>
              <a:gd name="connsiteX20" fmla="*/ 944880 w 3870960"/>
              <a:gd name="connsiteY20" fmla="*/ 632460 h 2255520"/>
              <a:gd name="connsiteX21" fmla="*/ 1028700 w 3870960"/>
              <a:gd name="connsiteY21" fmla="*/ 716280 h 2255520"/>
              <a:gd name="connsiteX22" fmla="*/ 1173480 w 3870960"/>
              <a:gd name="connsiteY22" fmla="*/ 746760 h 2255520"/>
              <a:gd name="connsiteX23" fmla="*/ 1295400 w 3870960"/>
              <a:gd name="connsiteY23" fmla="*/ 746760 h 2255520"/>
              <a:gd name="connsiteX24" fmla="*/ 1379220 w 3870960"/>
              <a:gd name="connsiteY24" fmla="*/ 861060 h 2255520"/>
              <a:gd name="connsiteX25" fmla="*/ 1440180 w 3870960"/>
              <a:gd name="connsiteY25" fmla="*/ 883920 h 2255520"/>
              <a:gd name="connsiteX26" fmla="*/ 1539240 w 3870960"/>
              <a:gd name="connsiteY26" fmla="*/ 853440 h 2255520"/>
              <a:gd name="connsiteX27" fmla="*/ 1668780 w 3870960"/>
              <a:gd name="connsiteY27" fmla="*/ 914400 h 2255520"/>
              <a:gd name="connsiteX28" fmla="*/ 1805940 w 3870960"/>
              <a:gd name="connsiteY28" fmla="*/ 876300 h 2255520"/>
              <a:gd name="connsiteX29" fmla="*/ 1973580 w 3870960"/>
              <a:gd name="connsiteY29" fmla="*/ 899160 h 2255520"/>
              <a:gd name="connsiteX30" fmla="*/ 2110740 w 3870960"/>
              <a:gd name="connsiteY30" fmla="*/ 899160 h 2255520"/>
              <a:gd name="connsiteX31" fmla="*/ 2186940 w 3870960"/>
              <a:gd name="connsiteY31" fmla="*/ 990600 h 2255520"/>
              <a:gd name="connsiteX32" fmla="*/ 2194560 w 3870960"/>
              <a:gd name="connsiteY32" fmla="*/ 1158240 h 2255520"/>
              <a:gd name="connsiteX33" fmla="*/ 2263140 w 3870960"/>
              <a:gd name="connsiteY33" fmla="*/ 1303020 h 2255520"/>
              <a:gd name="connsiteX34" fmla="*/ 2468880 w 3870960"/>
              <a:gd name="connsiteY34" fmla="*/ 1363980 h 2255520"/>
              <a:gd name="connsiteX35" fmla="*/ 2583180 w 3870960"/>
              <a:gd name="connsiteY35" fmla="*/ 1508760 h 2255520"/>
              <a:gd name="connsiteX36" fmla="*/ 2659380 w 3870960"/>
              <a:gd name="connsiteY36" fmla="*/ 1607820 h 2255520"/>
              <a:gd name="connsiteX37" fmla="*/ 2781300 w 3870960"/>
              <a:gd name="connsiteY37" fmla="*/ 1676400 h 2255520"/>
              <a:gd name="connsiteX38" fmla="*/ 2979420 w 3870960"/>
              <a:gd name="connsiteY38" fmla="*/ 1866900 h 2255520"/>
              <a:gd name="connsiteX39" fmla="*/ 3139440 w 3870960"/>
              <a:gd name="connsiteY39" fmla="*/ 1958340 h 2255520"/>
              <a:gd name="connsiteX40" fmla="*/ 3215640 w 3870960"/>
              <a:gd name="connsiteY40" fmla="*/ 1889760 h 2255520"/>
              <a:gd name="connsiteX41" fmla="*/ 3276600 w 3870960"/>
              <a:gd name="connsiteY41" fmla="*/ 1912620 h 2255520"/>
              <a:gd name="connsiteX42" fmla="*/ 3383280 w 3870960"/>
              <a:gd name="connsiteY42" fmla="*/ 1912620 h 2255520"/>
              <a:gd name="connsiteX43" fmla="*/ 3505200 w 3870960"/>
              <a:gd name="connsiteY43" fmla="*/ 1813560 h 2255520"/>
              <a:gd name="connsiteX44" fmla="*/ 3634740 w 3870960"/>
              <a:gd name="connsiteY44" fmla="*/ 1821180 h 2255520"/>
              <a:gd name="connsiteX45" fmla="*/ 3733800 w 3870960"/>
              <a:gd name="connsiteY45" fmla="*/ 1889760 h 2255520"/>
              <a:gd name="connsiteX46" fmla="*/ 3741420 w 3870960"/>
              <a:gd name="connsiteY46" fmla="*/ 2019300 h 2255520"/>
              <a:gd name="connsiteX47" fmla="*/ 3771900 w 3870960"/>
              <a:gd name="connsiteY47" fmla="*/ 2148840 h 2255520"/>
              <a:gd name="connsiteX48" fmla="*/ 3870960 w 3870960"/>
              <a:gd name="connsiteY48" fmla="*/ 2255520 h 2255520"/>
              <a:gd name="connsiteX0" fmla="*/ 0 w 3870960"/>
              <a:gd name="connsiteY0" fmla="*/ 762000 h 2255520"/>
              <a:gd name="connsiteX1" fmla="*/ 7620 w 3870960"/>
              <a:gd name="connsiteY1" fmla="*/ 640080 h 2255520"/>
              <a:gd name="connsiteX2" fmla="*/ 114300 w 3870960"/>
              <a:gd name="connsiteY2" fmla="*/ 510540 h 2255520"/>
              <a:gd name="connsiteX3" fmla="*/ 30480 w 3870960"/>
              <a:gd name="connsiteY3" fmla="*/ 373380 h 2255520"/>
              <a:gd name="connsiteX4" fmla="*/ 60960 w 3870960"/>
              <a:gd name="connsiteY4" fmla="*/ 327660 h 2255520"/>
              <a:gd name="connsiteX5" fmla="*/ 121920 w 3870960"/>
              <a:gd name="connsiteY5" fmla="*/ 266700 h 2255520"/>
              <a:gd name="connsiteX6" fmla="*/ 45720 w 3870960"/>
              <a:gd name="connsiteY6" fmla="*/ 198120 h 2255520"/>
              <a:gd name="connsiteX7" fmla="*/ 38100 w 3870960"/>
              <a:gd name="connsiteY7" fmla="*/ 114300 h 2255520"/>
              <a:gd name="connsiteX8" fmla="*/ 114300 w 3870960"/>
              <a:gd name="connsiteY8" fmla="*/ 15240 h 2255520"/>
              <a:gd name="connsiteX9" fmla="*/ 182404 w 3870960"/>
              <a:gd name="connsiteY9" fmla="*/ 27892 h 2255520"/>
              <a:gd name="connsiteX10" fmla="*/ 289560 w 3870960"/>
              <a:gd name="connsiteY10" fmla="*/ 0 h 2255520"/>
              <a:gd name="connsiteX11" fmla="*/ 381000 w 3870960"/>
              <a:gd name="connsiteY11" fmla="*/ 38100 h 2255520"/>
              <a:gd name="connsiteX12" fmla="*/ 342900 w 3870960"/>
              <a:gd name="connsiteY12" fmla="*/ 121920 h 2255520"/>
              <a:gd name="connsiteX13" fmla="*/ 335280 w 3870960"/>
              <a:gd name="connsiteY13" fmla="*/ 182880 h 2255520"/>
              <a:gd name="connsiteX14" fmla="*/ 403860 w 3870960"/>
              <a:gd name="connsiteY14" fmla="*/ 266700 h 2255520"/>
              <a:gd name="connsiteX15" fmla="*/ 358140 w 3870960"/>
              <a:gd name="connsiteY15" fmla="*/ 358140 h 2255520"/>
              <a:gd name="connsiteX16" fmla="*/ 388620 w 3870960"/>
              <a:gd name="connsiteY16" fmla="*/ 449580 h 2255520"/>
              <a:gd name="connsiteX17" fmla="*/ 518160 w 3870960"/>
              <a:gd name="connsiteY17" fmla="*/ 464820 h 2255520"/>
              <a:gd name="connsiteX18" fmla="*/ 693420 w 3870960"/>
              <a:gd name="connsiteY18" fmla="*/ 472440 h 2255520"/>
              <a:gd name="connsiteX19" fmla="*/ 845820 w 3870960"/>
              <a:gd name="connsiteY19" fmla="*/ 510540 h 2255520"/>
              <a:gd name="connsiteX20" fmla="*/ 944880 w 3870960"/>
              <a:gd name="connsiteY20" fmla="*/ 632460 h 2255520"/>
              <a:gd name="connsiteX21" fmla="*/ 1028700 w 3870960"/>
              <a:gd name="connsiteY21" fmla="*/ 716280 h 2255520"/>
              <a:gd name="connsiteX22" fmla="*/ 1173480 w 3870960"/>
              <a:gd name="connsiteY22" fmla="*/ 746760 h 2255520"/>
              <a:gd name="connsiteX23" fmla="*/ 1295400 w 3870960"/>
              <a:gd name="connsiteY23" fmla="*/ 746760 h 2255520"/>
              <a:gd name="connsiteX24" fmla="*/ 1379220 w 3870960"/>
              <a:gd name="connsiteY24" fmla="*/ 861060 h 2255520"/>
              <a:gd name="connsiteX25" fmla="*/ 1440180 w 3870960"/>
              <a:gd name="connsiteY25" fmla="*/ 883920 h 2255520"/>
              <a:gd name="connsiteX26" fmla="*/ 1539240 w 3870960"/>
              <a:gd name="connsiteY26" fmla="*/ 853440 h 2255520"/>
              <a:gd name="connsiteX27" fmla="*/ 1668780 w 3870960"/>
              <a:gd name="connsiteY27" fmla="*/ 914400 h 2255520"/>
              <a:gd name="connsiteX28" fmla="*/ 1805940 w 3870960"/>
              <a:gd name="connsiteY28" fmla="*/ 876300 h 2255520"/>
              <a:gd name="connsiteX29" fmla="*/ 1973580 w 3870960"/>
              <a:gd name="connsiteY29" fmla="*/ 899160 h 2255520"/>
              <a:gd name="connsiteX30" fmla="*/ 2110740 w 3870960"/>
              <a:gd name="connsiteY30" fmla="*/ 899160 h 2255520"/>
              <a:gd name="connsiteX31" fmla="*/ 2186940 w 3870960"/>
              <a:gd name="connsiteY31" fmla="*/ 990600 h 2255520"/>
              <a:gd name="connsiteX32" fmla="*/ 2194560 w 3870960"/>
              <a:gd name="connsiteY32" fmla="*/ 1158240 h 2255520"/>
              <a:gd name="connsiteX33" fmla="*/ 2263140 w 3870960"/>
              <a:gd name="connsiteY33" fmla="*/ 1303020 h 2255520"/>
              <a:gd name="connsiteX34" fmla="*/ 2468880 w 3870960"/>
              <a:gd name="connsiteY34" fmla="*/ 1363980 h 2255520"/>
              <a:gd name="connsiteX35" fmla="*/ 2583180 w 3870960"/>
              <a:gd name="connsiteY35" fmla="*/ 1508760 h 2255520"/>
              <a:gd name="connsiteX36" fmla="*/ 2659380 w 3870960"/>
              <a:gd name="connsiteY36" fmla="*/ 1607820 h 2255520"/>
              <a:gd name="connsiteX37" fmla="*/ 2781300 w 3870960"/>
              <a:gd name="connsiteY37" fmla="*/ 1676400 h 2255520"/>
              <a:gd name="connsiteX38" fmla="*/ 2979420 w 3870960"/>
              <a:gd name="connsiteY38" fmla="*/ 1866900 h 2255520"/>
              <a:gd name="connsiteX39" fmla="*/ 3139440 w 3870960"/>
              <a:gd name="connsiteY39" fmla="*/ 1958340 h 2255520"/>
              <a:gd name="connsiteX40" fmla="*/ 3215640 w 3870960"/>
              <a:gd name="connsiteY40" fmla="*/ 1889760 h 2255520"/>
              <a:gd name="connsiteX41" fmla="*/ 3276600 w 3870960"/>
              <a:gd name="connsiteY41" fmla="*/ 1912620 h 2255520"/>
              <a:gd name="connsiteX42" fmla="*/ 3383280 w 3870960"/>
              <a:gd name="connsiteY42" fmla="*/ 1912620 h 2255520"/>
              <a:gd name="connsiteX43" fmla="*/ 3505200 w 3870960"/>
              <a:gd name="connsiteY43" fmla="*/ 1813560 h 2255520"/>
              <a:gd name="connsiteX44" fmla="*/ 3634740 w 3870960"/>
              <a:gd name="connsiteY44" fmla="*/ 1821180 h 2255520"/>
              <a:gd name="connsiteX45" fmla="*/ 3733800 w 3870960"/>
              <a:gd name="connsiteY45" fmla="*/ 1889760 h 2255520"/>
              <a:gd name="connsiteX46" fmla="*/ 3741420 w 3870960"/>
              <a:gd name="connsiteY46" fmla="*/ 2019300 h 2255520"/>
              <a:gd name="connsiteX47" fmla="*/ 3771900 w 3870960"/>
              <a:gd name="connsiteY47" fmla="*/ 2148840 h 2255520"/>
              <a:gd name="connsiteX48" fmla="*/ 3870960 w 3870960"/>
              <a:gd name="connsiteY48" fmla="*/ 2255520 h 2255520"/>
              <a:gd name="connsiteX0" fmla="*/ 0 w 3870960"/>
              <a:gd name="connsiteY0" fmla="*/ 762000 h 2255520"/>
              <a:gd name="connsiteX1" fmla="*/ 7620 w 3870960"/>
              <a:gd name="connsiteY1" fmla="*/ 640080 h 2255520"/>
              <a:gd name="connsiteX2" fmla="*/ 114300 w 3870960"/>
              <a:gd name="connsiteY2" fmla="*/ 510540 h 2255520"/>
              <a:gd name="connsiteX3" fmla="*/ 30480 w 3870960"/>
              <a:gd name="connsiteY3" fmla="*/ 373380 h 2255520"/>
              <a:gd name="connsiteX4" fmla="*/ 60960 w 3870960"/>
              <a:gd name="connsiteY4" fmla="*/ 327660 h 2255520"/>
              <a:gd name="connsiteX5" fmla="*/ 121920 w 3870960"/>
              <a:gd name="connsiteY5" fmla="*/ 266700 h 2255520"/>
              <a:gd name="connsiteX6" fmla="*/ 45720 w 3870960"/>
              <a:gd name="connsiteY6" fmla="*/ 198120 h 2255520"/>
              <a:gd name="connsiteX7" fmla="*/ 38100 w 3870960"/>
              <a:gd name="connsiteY7" fmla="*/ 114300 h 2255520"/>
              <a:gd name="connsiteX8" fmla="*/ 114300 w 3870960"/>
              <a:gd name="connsiteY8" fmla="*/ 15240 h 2255520"/>
              <a:gd name="connsiteX9" fmla="*/ 182404 w 3870960"/>
              <a:gd name="connsiteY9" fmla="*/ 27892 h 2255520"/>
              <a:gd name="connsiteX10" fmla="*/ 289560 w 3870960"/>
              <a:gd name="connsiteY10" fmla="*/ 0 h 2255520"/>
              <a:gd name="connsiteX11" fmla="*/ 346710 w 3870960"/>
              <a:gd name="connsiteY11" fmla="*/ 25511 h 2255520"/>
              <a:gd name="connsiteX12" fmla="*/ 381000 w 3870960"/>
              <a:gd name="connsiteY12" fmla="*/ 38100 h 2255520"/>
              <a:gd name="connsiteX13" fmla="*/ 342900 w 3870960"/>
              <a:gd name="connsiteY13" fmla="*/ 121920 h 2255520"/>
              <a:gd name="connsiteX14" fmla="*/ 335280 w 3870960"/>
              <a:gd name="connsiteY14" fmla="*/ 182880 h 2255520"/>
              <a:gd name="connsiteX15" fmla="*/ 403860 w 3870960"/>
              <a:gd name="connsiteY15" fmla="*/ 266700 h 2255520"/>
              <a:gd name="connsiteX16" fmla="*/ 358140 w 3870960"/>
              <a:gd name="connsiteY16" fmla="*/ 358140 h 2255520"/>
              <a:gd name="connsiteX17" fmla="*/ 388620 w 3870960"/>
              <a:gd name="connsiteY17" fmla="*/ 449580 h 2255520"/>
              <a:gd name="connsiteX18" fmla="*/ 518160 w 3870960"/>
              <a:gd name="connsiteY18" fmla="*/ 464820 h 2255520"/>
              <a:gd name="connsiteX19" fmla="*/ 693420 w 3870960"/>
              <a:gd name="connsiteY19" fmla="*/ 472440 h 2255520"/>
              <a:gd name="connsiteX20" fmla="*/ 845820 w 3870960"/>
              <a:gd name="connsiteY20" fmla="*/ 510540 h 2255520"/>
              <a:gd name="connsiteX21" fmla="*/ 944880 w 3870960"/>
              <a:gd name="connsiteY21" fmla="*/ 632460 h 2255520"/>
              <a:gd name="connsiteX22" fmla="*/ 1028700 w 3870960"/>
              <a:gd name="connsiteY22" fmla="*/ 716280 h 2255520"/>
              <a:gd name="connsiteX23" fmla="*/ 1173480 w 3870960"/>
              <a:gd name="connsiteY23" fmla="*/ 746760 h 2255520"/>
              <a:gd name="connsiteX24" fmla="*/ 1295400 w 3870960"/>
              <a:gd name="connsiteY24" fmla="*/ 746760 h 2255520"/>
              <a:gd name="connsiteX25" fmla="*/ 1379220 w 3870960"/>
              <a:gd name="connsiteY25" fmla="*/ 861060 h 2255520"/>
              <a:gd name="connsiteX26" fmla="*/ 1440180 w 3870960"/>
              <a:gd name="connsiteY26" fmla="*/ 883920 h 2255520"/>
              <a:gd name="connsiteX27" fmla="*/ 1539240 w 3870960"/>
              <a:gd name="connsiteY27" fmla="*/ 853440 h 2255520"/>
              <a:gd name="connsiteX28" fmla="*/ 1668780 w 3870960"/>
              <a:gd name="connsiteY28" fmla="*/ 914400 h 2255520"/>
              <a:gd name="connsiteX29" fmla="*/ 1805940 w 3870960"/>
              <a:gd name="connsiteY29" fmla="*/ 876300 h 2255520"/>
              <a:gd name="connsiteX30" fmla="*/ 1973580 w 3870960"/>
              <a:gd name="connsiteY30" fmla="*/ 899160 h 2255520"/>
              <a:gd name="connsiteX31" fmla="*/ 2110740 w 3870960"/>
              <a:gd name="connsiteY31" fmla="*/ 899160 h 2255520"/>
              <a:gd name="connsiteX32" fmla="*/ 2186940 w 3870960"/>
              <a:gd name="connsiteY32" fmla="*/ 990600 h 2255520"/>
              <a:gd name="connsiteX33" fmla="*/ 2194560 w 3870960"/>
              <a:gd name="connsiteY33" fmla="*/ 1158240 h 2255520"/>
              <a:gd name="connsiteX34" fmla="*/ 2263140 w 3870960"/>
              <a:gd name="connsiteY34" fmla="*/ 1303020 h 2255520"/>
              <a:gd name="connsiteX35" fmla="*/ 2468880 w 3870960"/>
              <a:gd name="connsiteY35" fmla="*/ 1363980 h 2255520"/>
              <a:gd name="connsiteX36" fmla="*/ 2583180 w 3870960"/>
              <a:gd name="connsiteY36" fmla="*/ 1508760 h 2255520"/>
              <a:gd name="connsiteX37" fmla="*/ 2659380 w 3870960"/>
              <a:gd name="connsiteY37" fmla="*/ 1607820 h 2255520"/>
              <a:gd name="connsiteX38" fmla="*/ 2781300 w 3870960"/>
              <a:gd name="connsiteY38" fmla="*/ 1676400 h 2255520"/>
              <a:gd name="connsiteX39" fmla="*/ 2979420 w 3870960"/>
              <a:gd name="connsiteY39" fmla="*/ 1866900 h 2255520"/>
              <a:gd name="connsiteX40" fmla="*/ 3139440 w 3870960"/>
              <a:gd name="connsiteY40" fmla="*/ 1958340 h 2255520"/>
              <a:gd name="connsiteX41" fmla="*/ 3215640 w 3870960"/>
              <a:gd name="connsiteY41" fmla="*/ 1889760 h 2255520"/>
              <a:gd name="connsiteX42" fmla="*/ 3276600 w 3870960"/>
              <a:gd name="connsiteY42" fmla="*/ 1912620 h 2255520"/>
              <a:gd name="connsiteX43" fmla="*/ 3383280 w 3870960"/>
              <a:gd name="connsiteY43" fmla="*/ 1912620 h 2255520"/>
              <a:gd name="connsiteX44" fmla="*/ 3505200 w 3870960"/>
              <a:gd name="connsiteY44" fmla="*/ 1813560 h 2255520"/>
              <a:gd name="connsiteX45" fmla="*/ 3634740 w 3870960"/>
              <a:gd name="connsiteY45" fmla="*/ 1821180 h 2255520"/>
              <a:gd name="connsiteX46" fmla="*/ 3733800 w 3870960"/>
              <a:gd name="connsiteY46" fmla="*/ 1889760 h 2255520"/>
              <a:gd name="connsiteX47" fmla="*/ 3741420 w 3870960"/>
              <a:gd name="connsiteY47" fmla="*/ 2019300 h 2255520"/>
              <a:gd name="connsiteX48" fmla="*/ 3771900 w 3870960"/>
              <a:gd name="connsiteY48" fmla="*/ 2148840 h 2255520"/>
              <a:gd name="connsiteX49" fmla="*/ 3870960 w 3870960"/>
              <a:gd name="connsiteY49" fmla="*/ 2255520 h 2255520"/>
              <a:gd name="connsiteX0" fmla="*/ 0 w 3870960"/>
              <a:gd name="connsiteY0" fmla="*/ 762000 h 2255520"/>
              <a:gd name="connsiteX1" fmla="*/ 7620 w 3870960"/>
              <a:gd name="connsiteY1" fmla="*/ 640080 h 2255520"/>
              <a:gd name="connsiteX2" fmla="*/ 114300 w 3870960"/>
              <a:gd name="connsiteY2" fmla="*/ 510540 h 2255520"/>
              <a:gd name="connsiteX3" fmla="*/ 30480 w 3870960"/>
              <a:gd name="connsiteY3" fmla="*/ 373380 h 2255520"/>
              <a:gd name="connsiteX4" fmla="*/ 60960 w 3870960"/>
              <a:gd name="connsiteY4" fmla="*/ 327660 h 2255520"/>
              <a:gd name="connsiteX5" fmla="*/ 121920 w 3870960"/>
              <a:gd name="connsiteY5" fmla="*/ 266700 h 2255520"/>
              <a:gd name="connsiteX6" fmla="*/ 45720 w 3870960"/>
              <a:gd name="connsiteY6" fmla="*/ 198120 h 2255520"/>
              <a:gd name="connsiteX7" fmla="*/ 38100 w 3870960"/>
              <a:gd name="connsiteY7" fmla="*/ 114300 h 2255520"/>
              <a:gd name="connsiteX8" fmla="*/ 114300 w 3870960"/>
              <a:gd name="connsiteY8" fmla="*/ 15240 h 2255520"/>
              <a:gd name="connsiteX9" fmla="*/ 182404 w 3870960"/>
              <a:gd name="connsiteY9" fmla="*/ 27892 h 2255520"/>
              <a:gd name="connsiteX10" fmla="*/ 289560 w 3870960"/>
              <a:gd name="connsiteY10" fmla="*/ 0 h 2255520"/>
              <a:gd name="connsiteX11" fmla="*/ 346710 w 3870960"/>
              <a:gd name="connsiteY11" fmla="*/ 25511 h 2255520"/>
              <a:gd name="connsiteX12" fmla="*/ 364332 w 3870960"/>
              <a:gd name="connsiteY12" fmla="*/ 69056 h 2255520"/>
              <a:gd name="connsiteX13" fmla="*/ 342900 w 3870960"/>
              <a:gd name="connsiteY13" fmla="*/ 121920 h 2255520"/>
              <a:gd name="connsiteX14" fmla="*/ 335280 w 3870960"/>
              <a:gd name="connsiteY14" fmla="*/ 182880 h 2255520"/>
              <a:gd name="connsiteX15" fmla="*/ 403860 w 3870960"/>
              <a:gd name="connsiteY15" fmla="*/ 266700 h 2255520"/>
              <a:gd name="connsiteX16" fmla="*/ 358140 w 3870960"/>
              <a:gd name="connsiteY16" fmla="*/ 358140 h 2255520"/>
              <a:gd name="connsiteX17" fmla="*/ 388620 w 3870960"/>
              <a:gd name="connsiteY17" fmla="*/ 449580 h 2255520"/>
              <a:gd name="connsiteX18" fmla="*/ 518160 w 3870960"/>
              <a:gd name="connsiteY18" fmla="*/ 464820 h 2255520"/>
              <a:gd name="connsiteX19" fmla="*/ 693420 w 3870960"/>
              <a:gd name="connsiteY19" fmla="*/ 472440 h 2255520"/>
              <a:gd name="connsiteX20" fmla="*/ 845820 w 3870960"/>
              <a:gd name="connsiteY20" fmla="*/ 510540 h 2255520"/>
              <a:gd name="connsiteX21" fmla="*/ 944880 w 3870960"/>
              <a:gd name="connsiteY21" fmla="*/ 632460 h 2255520"/>
              <a:gd name="connsiteX22" fmla="*/ 1028700 w 3870960"/>
              <a:gd name="connsiteY22" fmla="*/ 716280 h 2255520"/>
              <a:gd name="connsiteX23" fmla="*/ 1173480 w 3870960"/>
              <a:gd name="connsiteY23" fmla="*/ 746760 h 2255520"/>
              <a:gd name="connsiteX24" fmla="*/ 1295400 w 3870960"/>
              <a:gd name="connsiteY24" fmla="*/ 746760 h 2255520"/>
              <a:gd name="connsiteX25" fmla="*/ 1379220 w 3870960"/>
              <a:gd name="connsiteY25" fmla="*/ 861060 h 2255520"/>
              <a:gd name="connsiteX26" fmla="*/ 1440180 w 3870960"/>
              <a:gd name="connsiteY26" fmla="*/ 883920 h 2255520"/>
              <a:gd name="connsiteX27" fmla="*/ 1539240 w 3870960"/>
              <a:gd name="connsiteY27" fmla="*/ 853440 h 2255520"/>
              <a:gd name="connsiteX28" fmla="*/ 1668780 w 3870960"/>
              <a:gd name="connsiteY28" fmla="*/ 914400 h 2255520"/>
              <a:gd name="connsiteX29" fmla="*/ 1805940 w 3870960"/>
              <a:gd name="connsiteY29" fmla="*/ 876300 h 2255520"/>
              <a:gd name="connsiteX30" fmla="*/ 1973580 w 3870960"/>
              <a:gd name="connsiteY30" fmla="*/ 899160 h 2255520"/>
              <a:gd name="connsiteX31" fmla="*/ 2110740 w 3870960"/>
              <a:gd name="connsiteY31" fmla="*/ 899160 h 2255520"/>
              <a:gd name="connsiteX32" fmla="*/ 2186940 w 3870960"/>
              <a:gd name="connsiteY32" fmla="*/ 990600 h 2255520"/>
              <a:gd name="connsiteX33" fmla="*/ 2194560 w 3870960"/>
              <a:gd name="connsiteY33" fmla="*/ 1158240 h 2255520"/>
              <a:gd name="connsiteX34" fmla="*/ 2263140 w 3870960"/>
              <a:gd name="connsiteY34" fmla="*/ 1303020 h 2255520"/>
              <a:gd name="connsiteX35" fmla="*/ 2468880 w 3870960"/>
              <a:gd name="connsiteY35" fmla="*/ 1363980 h 2255520"/>
              <a:gd name="connsiteX36" fmla="*/ 2583180 w 3870960"/>
              <a:gd name="connsiteY36" fmla="*/ 1508760 h 2255520"/>
              <a:gd name="connsiteX37" fmla="*/ 2659380 w 3870960"/>
              <a:gd name="connsiteY37" fmla="*/ 1607820 h 2255520"/>
              <a:gd name="connsiteX38" fmla="*/ 2781300 w 3870960"/>
              <a:gd name="connsiteY38" fmla="*/ 1676400 h 2255520"/>
              <a:gd name="connsiteX39" fmla="*/ 2979420 w 3870960"/>
              <a:gd name="connsiteY39" fmla="*/ 1866900 h 2255520"/>
              <a:gd name="connsiteX40" fmla="*/ 3139440 w 3870960"/>
              <a:gd name="connsiteY40" fmla="*/ 1958340 h 2255520"/>
              <a:gd name="connsiteX41" fmla="*/ 3215640 w 3870960"/>
              <a:gd name="connsiteY41" fmla="*/ 1889760 h 2255520"/>
              <a:gd name="connsiteX42" fmla="*/ 3276600 w 3870960"/>
              <a:gd name="connsiteY42" fmla="*/ 1912620 h 2255520"/>
              <a:gd name="connsiteX43" fmla="*/ 3383280 w 3870960"/>
              <a:gd name="connsiteY43" fmla="*/ 1912620 h 2255520"/>
              <a:gd name="connsiteX44" fmla="*/ 3505200 w 3870960"/>
              <a:gd name="connsiteY44" fmla="*/ 1813560 h 2255520"/>
              <a:gd name="connsiteX45" fmla="*/ 3634740 w 3870960"/>
              <a:gd name="connsiteY45" fmla="*/ 1821180 h 2255520"/>
              <a:gd name="connsiteX46" fmla="*/ 3733800 w 3870960"/>
              <a:gd name="connsiteY46" fmla="*/ 1889760 h 2255520"/>
              <a:gd name="connsiteX47" fmla="*/ 3741420 w 3870960"/>
              <a:gd name="connsiteY47" fmla="*/ 2019300 h 2255520"/>
              <a:gd name="connsiteX48" fmla="*/ 3771900 w 3870960"/>
              <a:gd name="connsiteY48" fmla="*/ 2148840 h 2255520"/>
              <a:gd name="connsiteX49" fmla="*/ 3870960 w 3870960"/>
              <a:gd name="connsiteY49" fmla="*/ 2255520 h 2255520"/>
              <a:gd name="connsiteX0" fmla="*/ 0 w 3870960"/>
              <a:gd name="connsiteY0" fmla="*/ 762000 h 2255520"/>
              <a:gd name="connsiteX1" fmla="*/ 7620 w 3870960"/>
              <a:gd name="connsiteY1" fmla="*/ 640080 h 2255520"/>
              <a:gd name="connsiteX2" fmla="*/ 114300 w 3870960"/>
              <a:gd name="connsiteY2" fmla="*/ 510540 h 2255520"/>
              <a:gd name="connsiteX3" fmla="*/ 30480 w 3870960"/>
              <a:gd name="connsiteY3" fmla="*/ 373380 h 2255520"/>
              <a:gd name="connsiteX4" fmla="*/ 60960 w 3870960"/>
              <a:gd name="connsiteY4" fmla="*/ 327660 h 2255520"/>
              <a:gd name="connsiteX5" fmla="*/ 121920 w 3870960"/>
              <a:gd name="connsiteY5" fmla="*/ 266700 h 2255520"/>
              <a:gd name="connsiteX6" fmla="*/ 87154 w 3870960"/>
              <a:gd name="connsiteY6" fmla="*/ 239823 h 2255520"/>
              <a:gd name="connsiteX7" fmla="*/ 45720 w 3870960"/>
              <a:gd name="connsiteY7" fmla="*/ 198120 h 2255520"/>
              <a:gd name="connsiteX8" fmla="*/ 38100 w 3870960"/>
              <a:gd name="connsiteY8" fmla="*/ 114300 h 2255520"/>
              <a:gd name="connsiteX9" fmla="*/ 114300 w 3870960"/>
              <a:gd name="connsiteY9" fmla="*/ 15240 h 2255520"/>
              <a:gd name="connsiteX10" fmla="*/ 182404 w 3870960"/>
              <a:gd name="connsiteY10" fmla="*/ 27892 h 2255520"/>
              <a:gd name="connsiteX11" fmla="*/ 289560 w 3870960"/>
              <a:gd name="connsiteY11" fmla="*/ 0 h 2255520"/>
              <a:gd name="connsiteX12" fmla="*/ 346710 w 3870960"/>
              <a:gd name="connsiteY12" fmla="*/ 25511 h 2255520"/>
              <a:gd name="connsiteX13" fmla="*/ 364332 w 3870960"/>
              <a:gd name="connsiteY13" fmla="*/ 69056 h 2255520"/>
              <a:gd name="connsiteX14" fmla="*/ 342900 w 3870960"/>
              <a:gd name="connsiteY14" fmla="*/ 121920 h 2255520"/>
              <a:gd name="connsiteX15" fmla="*/ 335280 w 3870960"/>
              <a:gd name="connsiteY15" fmla="*/ 182880 h 2255520"/>
              <a:gd name="connsiteX16" fmla="*/ 403860 w 3870960"/>
              <a:gd name="connsiteY16" fmla="*/ 266700 h 2255520"/>
              <a:gd name="connsiteX17" fmla="*/ 358140 w 3870960"/>
              <a:gd name="connsiteY17" fmla="*/ 358140 h 2255520"/>
              <a:gd name="connsiteX18" fmla="*/ 388620 w 3870960"/>
              <a:gd name="connsiteY18" fmla="*/ 449580 h 2255520"/>
              <a:gd name="connsiteX19" fmla="*/ 518160 w 3870960"/>
              <a:gd name="connsiteY19" fmla="*/ 464820 h 2255520"/>
              <a:gd name="connsiteX20" fmla="*/ 693420 w 3870960"/>
              <a:gd name="connsiteY20" fmla="*/ 472440 h 2255520"/>
              <a:gd name="connsiteX21" fmla="*/ 845820 w 3870960"/>
              <a:gd name="connsiteY21" fmla="*/ 510540 h 2255520"/>
              <a:gd name="connsiteX22" fmla="*/ 944880 w 3870960"/>
              <a:gd name="connsiteY22" fmla="*/ 632460 h 2255520"/>
              <a:gd name="connsiteX23" fmla="*/ 1028700 w 3870960"/>
              <a:gd name="connsiteY23" fmla="*/ 716280 h 2255520"/>
              <a:gd name="connsiteX24" fmla="*/ 1173480 w 3870960"/>
              <a:gd name="connsiteY24" fmla="*/ 746760 h 2255520"/>
              <a:gd name="connsiteX25" fmla="*/ 1295400 w 3870960"/>
              <a:gd name="connsiteY25" fmla="*/ 746760 h 2255520"/>
              <a:gd name="connsiteX26" fmla="*/ 1379220 w 3870960"/>
              <a:gd name="connsiteY26" fmla="*/ 861060 h 2255520"/>
              <a:gd name="connsiteX27" fmla="*/ 1440180 w 3870960"/>
              <a:gd name="connsiteY27" fmla="*/ 883920 h 2255520"/>
              <a:gd name="connsiteX28" fmla="*/ 1539240 w 3870960"/>
              <a:gd name="connsiteY28" fmla="*/ 853440 h 2255520"/>
              <a:gd name="connsiteX29" fmla="*/ 1668780 w 3870960"/>
              <a:gd name="connsiteY29" fmla="*/ 914400 h 2255520"/>
              <a:gd name="connsiteX30" fmla="*/ 1805940 w 3870960"/>
              <a:gd name="connsiteY30" fmla="*/ 876300 h 2255520"/>
              <a:gd name="connsiteX31" fmla="*/ 1973580 w 3870960"/>
              <a:gd name="connsiteY31" fmla="*/ 899160 h 2255520"/>
              <a:gd name="connsiteX32" fmla="*/ 2110740 w 3870960"/>
              <a:gd name="connsiteY32" fmla="*/ 899160 h 2255520"/>
              <a:gd name="connsiteX33" fmla="*/ 2186940 w 3870960"/>
              <a:gd name="connsiteY33" fmla="*/ 990600 h 2255520"/>
              <a:gd name="connsiteX34" fmla="*/ 2194560 w 3870960"/>
              <a:gd name="connsiteY34" fmla="*/ 1158240 h 2255520"/>
              <a:gd name="connsiteX35" fmla="*/ 2263140 w 3870960"/>
              <a:gd name="connsiteY35" fmla="*/ 1303020 h 2255520"/>
              <a:gd name="connsiteX36" fmla="*/ 2468880 w 3870960"/>
              <a:gd name="connsiteY36" fmla="*/ 1363980 h 2255520"/>
              <a:gd name="connsiteX37" fmla="*/ 2583180 w 3870960"/>
              <a:gd name="connsiteY37" fmla="*/ 1508760 h 2255520"/>
              <a:gd name="connsiteX38" fmla="*/ 2659380 w 3870960"/>
              <a:gd name="connsiteY38" fmla="*/ 1607820 h 2255520"/>
              <a:gd name="connsiteX39" fmla="*/ 2781300 w 3870960"/>
              <a:gd name="connsiteY39" fmla="*/ 1676400 h 2255520"/>
              <a:gd name="connsiteX40" fmla="*/ 2979420 w 3870960"/>
              <a:gd name="connsiteY40" fmla="*/ 1866900 h 2255520"/>
              <a:gd name="connsiteX41" fmla="*/ 3139440 w 3870960"/>
              <a:gd name="connsiteY41" fmla="*/ 1958340 h 2255520"/>
              <a:gd name="connsiteX42" fmla="*/ 3215640 w 3870960"/>
              <a:gd name="connsiteY42" fmla="*/ 1889760 h 2255520"/>
              <a:gd name="connsiteX43" fmla="*/ 3276600 w 3870960"/>
              <a:gd name="connsiteY43" fmla="*/ 1912620 h 2255520"/>
              <a:gd name="connsiteX44" fmla="*/ 3383280 w 3870960"/>
              <a:gd name="connsiteY44" fmla="*/ 1912620 h 2255520"/>
              <a:gd name="connsiteX45" fmla="*/ 3505200 w 3870960"/>
              <a:gd name="connsiteY45" fmla="*/ 1813560 h 2255520"/>
              <a:gd name="connsiteX46" fmla="*/ 3634740 w 3870960"/>
              <a:gd name="connsiteY46" fmla="*/ 1821180 h 2255520"/>
              <a:gd name="connsiteX47" fmla="*/ 3733800 w 3870960"/>
              <a:gd name="connsiteY47" fmla="*/ 1889760 h 2255520"/>
              <a:gd name="connsiteX48" fmla="*/ 3741420 w 3870960"/>
              <a:gd name="connsiteY48" fmla="*/ 2019300 h 2255520"/>
              <a:gd name="connsiteX49" fmla="*/ 3771900 w 3870960"/>
              <a:gd name="connsiteY49" fmla="*/ 2148840 h 2255520"/>
              <a:gd name="connsiteX50" fmla="*/ 3870960 w 3870960"/>
              <a:gd name="connsiteY50" fmla="*/ 2255520 h 2255520"/>
              <a:gd name="connsiteX0" fmla="*/ 0 w 3870960"/>
              <a:gd name="connsiteY0" fmla="*/ 762000 h 2255520"/>
              <a:gd name="connsiteX1" fmla="*/ 7620 w 3870960"/>
              <a:gd name="connsiteY1" fmla="*/ 640080 h 2255520"/>
              <a:gd name="connsiteX2" fmla="*/ 114300 w 3870960"/>
              <a:gd name="connsiteY2" fmla="*/ 510540 h 2255520"/>
              <a:gd name="connsiteX3" fmla="*/ 30480 w 3870960"/>
              <a:gd name="connsiteY3" fmla="*/ 373380 h 2255520"/>
              <a:gd name="connsiteX4" fmla="*/ 60960 w 3870960"/>
              <a:gd name="connsiteY4" fmla="*/ 327660 h 2255520"/>
              <a:gd name="connsiteX5" fmla="*/ 105251 w 3870960"/>
              <a:gd name="connsiteY5" fmla="*/ 283369 h 2255520"/>
              <a:gd name="connsiteX6" fmla="*/ 87154 w 3870960"/>
              <a:gd name="connsiteY6" fmla="*/ 239823 h 2255520"/>
              <a:gd name="connsiteX7" fmla="*/ 45720 w 3870960"/>
              <a:gd name="connsiteY7" fmla="*/ 198120 h 2255520"/>
              <a:gd name="connsiteX8" fmla="*/ 38100 w 3870960"/>
              <a:gd name="connsiteY8" fmla="*/ 114300 h 2255520"/>
              <a:gd name="connsiteX9" fmla="*/ 114300 w 3870960"/>
              <a:gd name="connsiteY9" fmla="*/ 15240 h 2255520"/>
              <a:gd name="connsiteX10" fmla="*/ 182404 w 3870960"/>
              <a:gd name="connsiteY10" fmla="*/ 27892 h 2255520"/>
              <a:gd name="connsiteX11" fmla="*/ 289560 w 3870960"/>
              <a:gd name="connsiteY11" fmla="*/ 0 h 2255520"/>
              <a:gd name="connsiteX12" fmla="*/ 346710 w 3870960"/>
              <a:gd name="connsiteY12" fmla="*/ 25511 h 2255520"/>
              <a:gd name="connsiteX13" fmla="*/ 364332 w 3870960"/>
              <a:gd name="connsiteY13" fmla="*/ 69056 h 2255520"/>
              <a:gd name="connsiteX14" fmla="*/ 342900 w 3870960"/>
              <a:gd name="connsiteY14" fmla="*/ 121920 h 2255520"/>
              <a:gd name="connsiteX15" fmla="*/ 335280 w 3870960"/>
              <a:gd name="connsiteY15" fmla="*/ 182880 h 2255520"/>
              <a:gd name="connsiteX16" fmla="*/ 403860 w 3870960"/>
              <a:gd name="connsiteY16" fmla="*/ 266700 h 2255520"/>
              <a:gd name="connsiteX17" fmla="*/ 358140 w 3870960"/>
              <a:gd name="connsiteY17" fmla="*/ 358140 h 2255520"/>
              <a:gd name="connsiteX18" fmla="*/ 388620 w 3870960"/>
              <a:gd name="connsiteY18" fmla="*/ 449580 h 2255520"/>
              <a:gd name="connsiteX19" fmla="*/ 518160 w 3870960"/>
              <a:gd name="connsiteY19" fmla="*/ 464820 h 2255520"/>
              <a:gd name="connsiteX20" fmla="*/ 693420 w 3870960"/>
              <a:gd name="connsiteY20" fmla="*/ 472440 h 2255520"/>
              <a:gd name="connsiteX21" fmla="*/ 845820 w 3870960"/>
              <a:gd name="connsiteY21" fmla="*/ 510540 h 2255520"/>
              <a:gd name="connsiteX22" fmla="*/ 944880 w 3870960"/>
              <a:gd name="connsiteY22" fmla="*/ 632460 h 2255520"/>
              <a:gd name="connsiteX23" fmla="*/ 1028700 w 3870960"/>
              <a:gd name="connsiteY23" fmla="*/ 716280 h 2255520"/>
              <a:gd name="connsiteX24" fmla="*/ 1173480 w 3870960"/>
              <a:gd name="connsiteY24" fmla="*/ 746760 h 2255520"/>
              <a:gd name="connsiteX25" fmla="*/ 1295400 w 3870960"/>
              <a:gd name="connsiteY25" fmla="*/ 746760 h 2255520"/>
              <a:gd name="connsiteX26" fmla="*/ 1379220 w 3870960"/>
              <a:gd name="connsiteY26" fmla="*/ 861060 h 2255520"/>
              <a:gd name="connsiteX27" fmla="*/ 1440180 w 3870960"/>
              <a:gd name="connsiteY27" fmla="*/ 883920 h 2255520"/>
              <a:gd name="connsiteX28" fmla="*/ 1539240 w 3870960"/>
              <a:gd name="connsiteY28" fmla="*/ 853440 h 2255520"/>
              <a:gd name="connsiteX29" fmla="*/ 1668780 w 3870960"/>
              <a:gd name="connsiteY29" fmla="*/ 914400 h 2255520"/>
              <a:gd name="connsiteX30" fmla="*/ 1805940 w 3870960"/>
              <a:gd name="connsiteY30" fmla="*/ 876300 h 2255520"/>
              <a:gd name="connsiteX31" fmla="*/ 1973580 w 3870960"/>
              <a:gd name="connsiteY31" fmla="*/ 899160 h 2255520"/>
              <a:gd name="connsiteX32" fmla="*/ 2110740 w 3870960"/>
              <a:gd name="connsiteY32" fmla="*/ 899160 h 2255520"/>
              <a:gd name="connsiteX33" fmla="*/ 2186940 w 3870960"/>
              <a:gd name="connsiteY33" fmla="*/ 990600 h 2255520"/>
              <a:gd name="connsiteX34" fmla="*/ 2194560 w 3870960"/>
              <a:gd name="connsiteY34" fmla="*/ 1158240 h 2255520"/>
              <a:gd name="connsiteX35" fmla="*/ 2263140 w 3870960"/>
              <a:gd name="connsiteY35" fmla="*/ 1303020 h 2255520"/>
              <a:gd name="connsiteX36" fmla="*/ 2468880 w 3870960"/>
              <a:gd name="connsiteY36" fmla="*/ 1363980 h 2255520"/>
              <a:gd name="connsiteX37" fmla="*/ 2583180 w 3870960"/>
              <a:gd name="connsiteY37" fmla="*/ 1508760 h 2255520"/>
              <a:gd name="connsiteX38" fmla="*/ 2659380 w 3870960"/>
              <a:gd name="connsiteY38" fmla="*/ 1607820 h 2255520"/>
              <a:gd name="connsiteX39" fmla="*/ 2781300 w 3870960"/>
              <a:gd name="connsiteY39" fmla="*/ 1676400 h 2255520"/>
              <a:gd name="connsiteX40" fmla="*/ 2979420 w 3870960"/>
              <a:gd name="connsiteY40" fmla="*/ 1866900 h 2255520"/>
              <a:gd name="connsiteX41" fmla="*/ 3139440 w 3870960"/>
              <a:gd name="connsiteY41" fmla="*/ 1958340 h 2255520"/>
              <a:gd name="connsiteX42" fmla="*/ 3215640 w 3870960"/>
              <a:gd name="connsiteY42" fmla="*/ 1889760 h 2255520"/>
              <a:gd name="connsiteX43" fmla="*/ 3276600 w 3870960"/>
              <a:gd name="connsiteY43" fmla="*/ 1912620 h 2255520"/>
              <a:gd name="connsiteX44" fmla="*/ 3383280 w 3870960"/>
              <a:gd name="connsiteY44" fmla="*/ 1912620 h 2255520"/>
              <a:gd name="connsiteX45" fmla="*/ 3505200 w 3870960"/>
              <a:gd name="connsiteY45" fmla="*/ 1813560 h 2255520"/>
              <a:gd name="connsiteX46" fmla="*/ 3634740 w 3870960"/>
              <a:gd name="connsiteY46" fmla="*/ 1821180 h 2255520"/>
              <a:gd name="connsiteX47" fmla="*/ 3733800 w 3870960"/>
              <a:gd name="connsiteY47" fmla="*/ 1889760 h 2255520"/>
              <a:gd name="connsiteX48" fmla="*/ 3741420 w 3870960"/>
              <a:gd name="connsiteY48" fmla="*/ 2019300 h 2255520"/>
              <a:gd name="connsiteX49" fmla="*/ 3771900 w 3870960"/>
              <a:gd name="connsiteY49" fmla="*/ 2148840 h 2255520"/>
              <a:gd name="connsiteX50" fmla="*/ 3870960 w 3870960"/>
              <a:gd name="connsiteY50" fmla="*/ 2255520 h 2255520"/>
              <a:gd name="connsiteX0" fmla="*/ 0 w 3868579"/>
              <a:gd name="connsiteY0" fmla="*/ 778669 h 2255520"/>
              <a:gd name="connsiteX1" fmla="*/ 5239 w 3868579"/>
              <a:gd name="connsiteY1" fmla="*/ 640080 h 2255520"/>
              <a:gd name="connsiteX2" fmla="*/ 111919 w 3868579"/>
              <a:gd name="connsiteY2" fmla="*/ 510540 h 2255520"/>
              <a:gd name="connsiteX3" fmla="*/ 28099 w 3868579"/>
              <a:gd name="connsiteY3" fmla="*/ 373380 h 2255520"/>
              <a:gd name="connsiteX4" fmla="*/ 58579 w 3868579"/>
              <a:gd name="connsiteY4" fmla="*/ 327660 h 2255520"/>
              <a:gd name="connsiteX5" fmla="*/ 102870 w 3868579"/>
              <a:gd name="connsiteY5" fmla="*/ 283369 h 2255520"/>
              <a:gd name="connsiteX6" fmla="*/ 84773 w 3868579"/>
              <a:gd name="connsiteY6" fmla="*/ 239823 h 2255520"/>
              <a:gd name="connsiteX7" fmla="*/ 43339 w 3868579"/>
              <a:gd name="connsiteY7" fmla="*/ 198120 h 2255520"/>
              <a:gd name="connsiteX8" fmla="*/ 35719 w 3868579"/>
              <a:gd name="connsiteY8" fmla="*/ 114300 h 2255520"/>
              <a:gd name="connsiteX9" fmla="*/ 111919 w 3868579"/>
              <a:gd name="connsiteY9" fmla="*/ 15240 h 2255520"/>
              <a:gd name="connsiteX10" fmla="*/ 180023 w 3868579"/>
              <a:gd name="connsiteY10" fmla="*/ 27892 h 2255520"/>
              <a:gd name="connsiteX11" fmla="*/ 287179 w 3868579"/>
              <a:gd name="connsiteY11" fmla="*/ 0 h 2255520"/>
              <a:gd name="connsiteX12" fmla="*/ 344329 w 3868579"/>
              <a:gd name="connsiteY12" fmla="*/ 25511 h 2255520"/>
              <a:gd name="connsiteX13" fmla="*/ 361951 w 3868579"/>
              <a:gd name="connsiteY13" fmla="*/ 69056 h 2255520"/>
              <a:gd name="connsiteX14" fmla="*/ 340519 w 3868579"/>
              <a:gd name="connsiteY14" fmla="*/ 121920 h 2255520"/>
              <a:gd name="connsiteX15" fmla="*/ 332899 w 3868579"/>
              <a:gd name="connsiteY15" fmla="*/ 182880 h 2255520"/>
              <a:gd name="connsiteX16" fmla="*/ 401479 w 3868579"/>
              <a:gd name="connsiteY16" fmla="*/ 266700 h 2255520"/>
              <a:gd name="connsiteX17" fmla="*/ 355759 w 3868579"/>
              <a:gd name="connsiteY17" fmla="*/ 358140 h 2255520"/>
              <a:gd name="connsiteX18" fmla="*/ 386239 w 3868579"/>
              <a:gd name="connsiteY18" fmla="*/ 449580 h 2255520"/>
              <a:gd name="connsiteX19" fmla="*/ 515779 w 3868579"/>
              <a:gd name="connsiteY19" fmla="*/ 464820 h 2255520"/>
              <a:gd name="connsiteX20" fmla="*/ 691039 w 3868579"/>
              <a:gd name="connsiteY20" fmla="*/ 472440 h 2255520"/>
              <a:gd name="connsiteX21" fmla="*/ 843439 w 3868579"/>
              <a:gd name="connsiteY21" fmla="*/ 510540 h 2255520"/>
              <a:gd name="connsiteX22" fmla="*/ 942499 w 3868579"/>
              <a:gd name="connsiteY22" fmla="*/ 632460 h 2255520"/>
              <a:gd name="connsiteX23" fmla="*/ 1026319 w 3868579"/>
              <a:gd name="connsiteY23" fmla="*/ 716280 h 2255520"/>
              <a:gd name="connsiteX24" fmla="*/ 1171099 w 3868579"/>
              <a:gd name="connsiteY24" fmla="*/ 746760 h 2255520"/>
              <a:gd name="connsiteX25" fmla="*/ 1293019 w 3868579"/>
              <a:gd name="connsiteY25" fmla="*/ 746760 h 2255520"/>
              <a:gd name="connsiteX26" fmla="*/ 1376839 w 3868579"/>
              <a:gd name="connsiteY26" fmla="*/ 861060 h 2255520"/>
              <a:gd name="connsiteX27" fmla="*/ 1437799 w 3868579"/>
              <a:gd name="connsiteY27" fmla="*/ 883920 h 2255520"/>
              <a:gd name="connsiteX28" fmla="*/ 1536859 w 3868579"/>
              <a:gd name="connsiteY28" fmla="*/ 853440 h 2255520"/>
              <a:gd name="connsiteX29" fmla="*/ 1666399 w 3868579"/>
              <a:gd name="connsiteY29" fmla="*/ 914400 h 2255520"/>
              <a:gd name="connsiteX30" fmla="*/ 1803559 w 3868579"/>
              <a:gd name="connsiteY30" fmla="*/ 876300 h 2255520"/>
              <a:gd name="connsiteX31" fmla="*/ 1971199 w 3868579"/>
              <a:gd name="connsiteY31" fmla="*/ 899160 h 2255520"/>
              <a:gd name="connsiteX32" fmla="*/ 2108359 w 3868579"/>
              <a:gd name="connsiteY32" fmla="*/ 899160 h 2255520"/>
              <a:gd name="connsiteX33" fmla="*/ 2184559 w 3868579"/>
              <a:gd name="connsiteY33" fmla="*/ 990600 h 2255520"/>
              <a:gd name="connsiteX34" fmla="*/ 2192179 w 3868579"/>
              <a:gd name="connsiteY34" fmla="*/ 1158240 h 2255520"/>
              <a:gd name="connsiteX35" fmla="*/ 2260759 w 3868579"/>
              <a:gd name="connsiteY35" fmla="*/ 1303020 h 2255520"/>
              <a:gd name="connsiteX36" fmla="*/ 2466499 w 3868579"/>
              <a:gd name="connsiteY36" fmla="*/ 1363980 h 2255520"/>
              <a:gd name="connsiteX37" fmla="*/ 2580799 w 3868579"/>
              <a:gd name="connsiteY37" fmla="*/ 1508760 h 2255520"/>
              <a:gd name="connsiteX38" fmla="*/ 2656999 w 3868579"/>
              <a:gd name="connsiteY38" fmla="*/ 1607820 h 2255520"/>
              <a:gd name="connsiteX39" fmla="*/ 2778919 w 3868579"/>
              <a:gd name="connsiteY39" fmla="*/ 1676400 h 2255520"/>
              <a:gd name="connsiteX40" fmla="*/ 2977039 w 3868579"/>
              <a:gd name="connsiteY40" fmla="*/ 1866900 h 2255520"/>
              <a:gd name="connsiteX41" fmla="*/ 3137059 w 3868579"/>
              <a:gd name="connsiteY41" fmla="*/ 1958340 h 2255520"/>
              <a:gd name="connsiteX42" fmla="*/ 3213259 w 3868579"/>
              <a:gd name="connsiteY42" fmla="*/ 1889760 h 2255520"/>
              <a:gd name="connsiteX43" fmla="*/ 3274219 w 3868579"/>
              <a:gd name="connsiteY43" fmla="*/ 1912620 h 2255520"/>
              <a:gd name="connsiteX44" fmla="*/ 3380899 w 3868579"/>
              <a:gd name="connsiteY44" fmla="*/ 1912620 h 2255520"/>
              <a:gd name="connsiteX45" fmla="*/ 3502819 w 3868579"/>
              <a:gd name="connsiteY45" fmla="*/ 1813560 h 2255520"/>
              <a:gd name="connsiteX46" fmla="*/ 3632359 w 3868579"/>
              <a:gd name="connsiteY46" fmla="*/ 1821180 h 2255520"/>
              <a:gd name="connsiteX47" fmla="*/ 3731419 w 3868579"/>
              <a:gd name="connsiteY47" fmla="*/ 1889760 h 2255520"/>
              <a:gd name="connsiteX48" fmla="*/ 3739039 w 3868579"/>
              <a:gd name="connsiteY48" fmla="*/ 2019300 h 2255520"/>
              <a:gd name="connsiteX49" fmla="*/ 3769519 w 3868579"/>
              <a:gd name="connsiteY49" fmla="*/ 2148840 h 2255520"/>
              <a:gd name="connsiteX50" fmla="*/ 3868579 w 3868579"/>
              <a:gd name="connsiteY50" fmla="*/ 2255520 h 2255520"/>
              <a:gd name="connsiteX0" fmla="*/ 1 w 3863341"/>
              <a:gd name="connsiteY0" fmla="*/ 640080 h 2255520"/>
              <a:gd name="connsiteX1" fmla="*/ 106681 w 3863341"/>
              <a:gd name="connsiteY1" fmla="*/ 510540 h 2255520"/>
              <a:gd name="connsiteX2" fmla="*/ 22861 w 3863341"/>
              <a:gd name="connsiteY2" fmla="*/ 373380 h 2255520"/>
              <a:gd name="connsiteX3" fmla="*/ 53341 w 3863341"/>
              <a:gd name="connsiteY3" fmla="*/ 327660 h 2255520"/>
              <a:gd name="connsiteX4" fmla="*/ 97632 w 3863341"/>
              <a:gd name="connsiteY4" fmla="*/ 283369 h 2255520"/>
              <a:gd name="connsiteX5" fmla="*/ 79535 w 3863341"/>
              <a:gd name="connsiteY5" fmla="*/ 239823 h 2255520"/>
              <a:gd name="connsiteX6" fmla="*/ 38101 w 3863341"/>
              <a:gd name="connsiteY6" fmla="*/ 198120 h 2255520"/>
              <a:gd name="connsiteX7" fmla="*/ 30481 w 3863341"/>
              <a:gd name="connsiteY7" fmla="*/ 114300 h 2255520"/>
              <a:gd name="connsiteX8" fmla="*/ 106681 w 3863341"/>
              <a:gd name="connsiteY8" fmla="*/ 15240 h 2255520"/>
              <a:gd name="connsiteX9" fmla="*/ 174785 w 3863341"/>
              <a:gd name="connsiteY9" fmla="*/ 27892 h 2255520"/>
              <a:gd name="connsiteX10" fmla="*/ 281941 w 3863341"/>
              <a:gd name="connsiteY10" fmla="*/ 0 h 2255520"/>
              <a:gd name="connsiteX11" fmla="*/ 339091 w 3863341"/>
              <a:gd name="connsiteY11" fmla="*/ 25511 h 2255520"/>
              <a:gd name="connsiteX12" fmla="*/ 356713 w 3863341"/>
              <a:gd name="connsiteY12" fmla="*/ 69056 h 2255520"/>
              <a:gd name="connsiteX13" fmla="*/ 335281 w 3863341"/>
              <a:gd name="connsiteY13" fmla="*/ 121920 h 2255520"/>
              <a:gd name="connsiteX14" fmla="*/ 327661 w 3863341"/>
              <a:gd name="connsiteY14" fmla="*/ 182880 h 2255520"/>
              <a:gd name="connsiteX15" fmla="*/ 396241 w 3863341"/>
              <a:gd name="connsiteY15" fmla="*/ 266700 h 2255520"/>
              <a:gd name="connsiteX16" fmla="*/ 350521 w 3863341"/>
              <a:gd name="connsiteY16" fmla="*/ 358140 h 2255520"/>
              <a:gd name="connsiteX17" fmla="*/ 381001 w 3863341"/>
              <a:gd name="connsiteY17" fmla="*/ 449580 h 2255520"/>
              <a:gd name="connsiteX18" fmla="*/ 510541 w 3863341"/>
              <a:gd name="connsiteY18" fmla="*/ 464820 h 2255520"/>
              <a:gd name="connsiteX19" fmla="*/ 685801 w 3863341"/>
              <a:gd name="connsiteY19" fmla="*/ 472440 h 2255520"/>
              <a:gd name="connsiteX20" fmla="*/ 838201 w 3863341"/>
              <a:gd name="connsiteY20" fmla="*/ 510540 h 2255520"/>
              <a:gd name="connsiteX21" fmla="*/ 937261 w 3863341"/>
              <a:gd name="connsiteY21" fmla="*/ 632460 h 2255520"/>
              <a:gd name="connsiteX22" fmla="*/ 1021081 w 3863341"/>
              <a:gd name="connsiteY22" fmla="*/ 716280 h 2255520"/>
              <a:gd name="connsiteX23" fmla="*/ 1165861 w 3863341"/>
              <a:gd name="connsiteY23" fmla="*/ 746760 h 2255520"/>
              <a:gd name="connsiteX24" fmla="*/ 1287781 w 3863341"/>
              <a:gd name="connsiteY24" fmla="*/ 746760 h 2255520"/>
              <a:gd name="connsiteX25" fmla="*/ 1371601 w 3863341"/>
              <a:gd name="connsiteY25" fmla="*/ 861060 h 2255520"/>
              <a:gd name="connsiteX26" fmla="*/ 1432561 w 3863341"/>
              <a:gd name="connsiteY26" fmla="*/ 883920 h 2255520"/>
              <a:gd name="connsiteX27" fmla="*/ 1531621 w 3863341"/>
              <a:gd name="connsiteY27" fmla="*/ 853440 h 2255520"/>
              <a:gd name="connsiteX28" fmla="*/ 1661161 w 3863341"/>
              <a:gd name="connsiteY28" fmla="*/ 914400 h 2255520"/>
              <a:gd name="connsiteX29" fmla="*/ 1798321 w 3863341"/>
              <a:gd name="connsiteY29" fmla="*/ 876300 h 2255520"/>
              <a:gd name="connsiteX30" fmla="*/ 1965961 w 3863341"/>
              <a:gd name="connsiteY30" fmla="*/ 899160 h 2255520"/>
              <a:gd name="connsiteX31" fmla="*/ 2103121 w 3863341"/>
              <a:gd name="connsiteY31" fmla="*/ 899160 h 2255520"/>
              <a:gd name="connsiteX32" fmla="*/ 2179321 w 3863341"/>
              <a:gd name="connsiteY32" fmla="*/ 990600 h 2255520"/>
              <a:gd name="connsiteX33" fmla="*/ 2186941 w 3863341"/>
              <a:gd name="connsiteY33" fmla="*/ 1158240 h 2255520"/>
              <a:gd name="connsiteX34" fmla="*/ 2255521 w 3863341"/>
              <a:gd name="connsiteY34" fmla="*/ 1303020 h 2255520"/>
              <a:gd name="connsiteX35" fmla="*/ 2461261 w 3863341"/>
              <a:gd name="connsiteY35" fmla="*/ 1363980 h 2255520"/>
              <a:gd name="connsiteX36" fmla="*/ 2575561 w 3863341"/>
              <a:gd name="connsiteY36" fmla="*/ 1508760 h 2255520"/>
              <a:gd name="connsiteX37" fmla="*/ 2651761 w 3863341"/>
              <a:gd name="connsiteY37" fmla="*/ 1607820 h 2255520"/>
              <a:gd name="connsiteX38" fmla="*/ 2773681 w 3863341"/>
              <a:gd name="connsiteY38" fmla="*/ 1676400 h 2255520"/>
              <a:gd name="connsiteX39" fmla="*/ 2971801 w 3863341"/>
              <a:gd name="connsiteY39" fmla="*/ 1866900 h 2255520"/>
              <a:gd name="connsiteX40" fmla="*/ 3131821 w 3863341"/>
              <a:gd name="connsiteY40" fmla="*/ 1958340 h 2255520"/>
              <a:gd name="connsiteX41" fmla="*/ 3208021 w 3863341"/>
              <a:gd name="connsiteY41" fmla="*/ 1889760 h 2255520"/>
              <a:gd name="connsiteX42" fmla="*/ 3268981 w 3863341"/>
              <a:gd name="connsiteY42" fmla="*/ 1912620 h 2255520"/>
              <a:gd name="connsiteX43" fmla="*/ 3375661 w 3863341"/>
              <a:gd name="connsiteY43" fmla="*/ 1912620 h 2255520"/>
              <a:gd name="connsiteX44" fmla="*/ 3497581 w 3863341"/>
              <a:gd name="connsiteY44" fmla="*/ 1813560 h 2255520"/>
              <a:gd name="connsiteX45" fmla="*/ 3627121 w 3863341"/>
              <a:gd name="connsiteY45" fmla="*/ 1821180 h 2255520"/>
              <a:gd name="connsiteX46" fmla="*/ 3726181 w 3863341"/>
              <a:gd name="connsiteY46" fmla="*/ 1889760 h 2255520"/>
              <a:gd name="connsiteX47" fmla="*/ 3733801 w 3863341"/>
              <a:gd name="connsiteY47" fmla="*/ 2019300 h 2255520"/>
              <a:gd name="connsiteX48" fmla="*/ 3764281 w 3863341"/>
              <a:gd name="connsiteY48" fmla="*/ 2148840 h 2255520"/>
              <a:gd name="connsiteX49" fmla="*/ 3863341 w 3863341"/>
              <a:gd name="connsiteY49" fmla="*/ 2255520 h 2255520"/>
              <a:gd name="connsiteX0" fmla="*/ 83820 w 3840480"/>
              <a:gd name="connsiteY0" fmla="*/ 510540 h 2255520"/>
              <a:gd name="connsiteX1" fmla="*/ 0 w 3840480"/>
              <a:gd name="connsiteY1" fmla="*/ 373380 h 2255520"/>
              <a:gd name="connsiteX2" fmla="*/ 30480 w 3840480"/>
              <a:gd name="connsiteY2" fmla="*/ 327660 h 2255520"/>
              <a:gd name="connsiteX3" fmla="*/ 74771 w 3840480"/>
              <a:gd name="connsiteY3" fmla="*/ 283369 h 2255520"/>
              <a:gd name="connsiteX4" fmla="*/ 56674 w 3840480"/>
              <a:gd name="connsiteY4" fmla="*/ 239823 h 2255520"/>
              <a:gd name="connsiteX5" fmla="*/ 15240 w 3840480"/>
              <a:gd name="connsiteY5" fmla="*/ 198120 h 2255520"/>
              <a:gd name="connsiteX6" fmla="*/ 7620 w 3840480"/>
              <a:gd name="connsiteY6" fmla="*/ 114300 h 2255520"/>
              <a:gd name="connsiteX7" fmla="*/ 83820 w 3840480"/>
              <a:gd name="connsiteY7" fmla="*/ 15240 h 2255520"/>
              <a:gd name="connsiteX8" fmla="*/ 151924 w 3840480"/>
              <a:gd name="connsiteY8" fmla="*/ 27892 h 2255520"/>
              <a:gd name="connsiteX9" fmla="*/ 259080 w 3840480"/>
              <a:gd name="connsiteY9" fmla="*/ 0 h 2255520"/>
              <a:gd name="connsiteX10" fmla="*/ 316230 w 3840480"/>
              <a:gd name="connsiteY10" fmla="*/ 25511 h 2255520"/>
              <a:gd name="connsiteX11" fmla="*/ 333852 w 3840480"/>
              <a:gd name="connsiteY11" fmla="*/ 69056 h 2255520"/>
              <a:gd name="connsiteX12" fmla="*/ 312420 w 3840480"/>
              <a:gd name="connsiteY12" fmla="*/ 121920 h 2255520"/>
              <a:gd name="connsiteX13" fmla="*/ 304800 w 3840480"/>
              <a:gd name="connsiteY13" fmla="*/ 182880 h 2255520"/>
              <a:gd name="connsiteX14" fmla="*/ 373380 w 3840480"/>
              <a:gd name="connsiteY14" fmla="*/ 266700 h 2255520"/>
              <a:gd name="connsiteX15" fmla="*/ 327660 w 3840480"/>
              <a:gd name="connsiteY15" fmla="*/ 358140 h 2255520"/>
              <a:gd name="connsiteX16" fmla="*/ 358140 w 3840480"/>
              <a:gd name="connsiteY16" fmla="*/ 449580 h 2255520"/>
              <a:gd name="connsiteX17" fmla="*/ 487680 w 3840480"/>
              <a:gd name="connsiteY17" fmla="*/ 464820 h 2255520"/>
              <a:gd name="connsiteX18" fmla="*/ 662940 w 3840480"/>
              <a:gd name="connsiteY18" fmla="*/ 472440 h 2255520"/>
              <a:gd name="connsiteX19" fmla="*/ 815340 w 3840480"/>
              <a:gd name="connsiteY19" fmla="*/ 510540 h 2255520"/>
              <a:gd name="connsiteX20" fmla="*/ 914400 w 3840480"/>
              <a:gd name="connsiteY20" fmla="*/ 632460 h 2255520"/>
              <a:gd name="connsiteX21" fmla="*/ 998220 w 3840480"/>
              <a:gd name="connsiteY21" fmla="*/ 716280 h 2255520"/>
              <a:gd name="connsiteX22" fmla="*/ 1143000 w 3840480"/>
              <a:gd name="connsiteY22" fmla="*/ 746760 h 2255520"/>
              <a:gd name="connsiteX23" fmla="*/ 1264920 w 3840480"/>
              <a:gd name="connsiteY23" fmla="*/ 746760 h 2255520"/>
              <a:gd name="connsiteX24" fmla="*/ 1348740 w 3840480"/>
              <a:gd name="connsiteY24" fmla="*/ 861060 h 2255520"/>
              <a:gd name="connsiteX25" fmla="*/ 1409700 w 3840480"/>
              <a:gd name="connsiteY25" fmla="*/ 883920 h 2255520"/>
              <a:gd name="connsiteX26" fmla="*/ 1508760 w 3840480"/>
              <a:gd name="connsiteY26" fmla="*/ 853440 h 2255520"/>
              <a:gd name="connsiteX27" fmla="*/ 1638300 w 3840480"/>
              <a:gd name="connsiteY27" fmla="*/ 914400 h 2255520"/>
              <a:gd name="connsiteX28" fmla="*/ 1775460 w 3840480"/>
              <a:gd name="connsiteY28" fmla="*/ 876300 h 2255520"/>
              <a:gd name="connsiteX29" fmla="*/ 1943100 w 3840480"/>
              <a:gd name="connsiteY29" fmla="*/ 899160 h 2255520"/>
              <a:gd name="connsiteX30" fmla="*/ 2080260 w 3840480"/>
              <a:gd name="connsiteY30" fmla="*/ 899160 h 2255520"/>
              <a:gd name="connsiteX31" fmla="*/ 2156460 w 3840480"/>
              <a:gd name="connsiteY31" fmla="*/ 990600 h 2255520"/>
              <a:gd name="connsiteX32" fmla="*/ 2164080 w 3840480"/>
              <a:gd name="connsiteY32" fmla="*/ 1158240 h 2255520"/>
              <a:gd name="connsiteX33" fmla="*/ 2232660 w 3840480"/>
              <a:gd name="connsiteY33" fmla="*/ 1303020 h 2255520"/>
              <a:gd name="connsiteX34" fmla="*/ 2438400 w 3840480"/>
              <a:gd name="connsiteY34" fmla="*/ 1363980 h 2255520"/>
              <a:gd name="connsiteX35" fmla="*/ 2552700 w 3840480"/>
              <a:gd name="connsiteY35" fmla="*/ 1508760 h 2255520"/>
              <a:gd name="connsiteX36" fmla="*/ 2628900 w 3840480"/>
              <a:gd name="connsiteY36" fmla="*/ 1607820 h 2255520"/>
              <a:gd name="connsiteX37" fmla="*/ 2750820 w 3840480"/>
              <a:gd name="connsiteY37" fmla="*/ 1676400 h 2255520"/>
              <a:gd name="connsiteX38" fmla="*/ 2948940 w 3840480"/>
              <a:gd name="connsiteY38" fmla="*/ 1866900 h 2255520"/>
              <a:gd name="connsiteX39" fmla="*/ 3108960 w 3840480"/>
              <a:gd name="connsiteY39" fmla="*/ 1958340 h 2255520"/>
              <a:gd name="connsiteX40" fmla="*/ 3185160 w 3840480"/>
              <a:gd name="connsiteY40" fmla="*/ 1889760 h 2255520"/>
              <a:gd name="connsiteX41" fmla="*/ 3246120 w 3840480"/>
              <a:gd name="connsiteY41" fmla="*/ 1912620 h 2255520"/>
              <a:gd name="connsiteX42" fmla="*/ 3352800 w 3840480"/>
              <a:gd name="connsiteY42" fmla="*/ 1912620 h 2255520"/>
              <a:gd name="connsiteX43" fmla="*/ 3474720 w 3840480"/>
              <a:gd name="connsiteY43" fmla="*/ 1813560 h 2255520"/>
              <a:gd name="connsiteX44" fmla="*/ 3604260 w 3840480"/>
              <a:gd name="connsiteY44" fmla="*/ 1821180 h 2255520"/>
              <a:gd name="connsiteX45" fmla="*/ 3703320 w 3840480"/>
              <a:gd name="connsiteY45" fmla="*/ 1889760 h 2255520"/>
              <a:gd name="connsiteX46" fmla="*/ 3710940 w 3840480"/>
              <a:gd name="connsiteY46" fmla="*/ 2019300 h 2255520"/>
              <a:gd name="connsiteX47" fmla="*/ 3741420 w 3840480"/>
              <a:gd name="connsiteY47" fmla="*/ 2148840 h 2255520"/>
              <a:gd name="connsiteX48" fmla="*/ 3840480 w 3840480"/>
              <a:gd name="connsiteY48" fmla="*/ 2255520 h 2255520"/>
              <a:gd name="connsiteX0" fmla="*/ 0 w 3840480"/>
              <a:gd name="connsiteY0" fmla="*/ 373380 h 2255520"/>
              <a:gd name="connsiteX1" fmla="*/ 30480 w 3840480"/>
              <a:gd name="connsiteY1" fmla="*/ 327660 h 2255520"/>
              <a:gd name="connsiteX2" fmla="*/ 74771 w 3840480"/>
              <a:gd name="connsiteY2" fmla="*/ 283369 h 2255520"/>
              <a:gd name="connsiteX3" fmla="*/ 56674 w 3840480"/>
              <a:gd name="connsiteY3" fmla="*/ 239823 h 2255520"/>
              <a:gd name="connsiteX4" fmla="*/ 15240 w 3840480"/>
              <a:gd name="connsiteY4" fmla="*/ 198120 h 2255520"/>
              <a:gd name="connsiteX5" fmla="*/ 7620 w 3840480"/>
              <a:gd name="connsiteY5" fmla="*/ 114300 h 2255520"/>
              <a:gd name="connsiteX6" fmla="*/ 83820 w 3840480"/>
              <a:gd name="connsiteY6" fmla="*/ 15240 h 2255520"/>
              <a:gd name="connsiteX7" fmla="*/ 151924 w 3840480"/>
              <a:gd name="connsiteY7" fmla="*/ 27892 h 2255520"/>
              <a:gd name="connsiteX8" fmla="*/ 259080 w 3840480"/>
              <a:gd name="connsiteY8" fmla="*/ 0 h 2255520"/>
              <a:gd name="connsiteX9" fmla="*/ 316230 w 3840480"/>
              <a:gd name="connsiteY9" fmla="*/ 25511 h 2255520"/>
              <a:gd name="connsiteX10" fmla="*/ 333852 w 3840480"/>
              <a:gd name="connsiteY10" fmla="*/ 69056 h 2255520"/>
              <a:gd name="connsiteX11" fmla="*/ 312420 w 3840480"/>
              <a:gd name="connsiteY11" fmla="*/ 121920 h 2255520"/>
              <a:gd name="connsiteX12" fmla="*/ 304800 w 3840480"/>
              <a:gd name="connsiteY12" fmla="*/ 182880 h 2255520"/>
              <a:gd name="connsiteX13" fmla="*/ 373380 w 3840480"/>
              <a:gd name="connsiteY13" fmla="*/ 266700 h 2255520"/>
              <a:gd name="connsiteX14" fmla="*/ 327660 w 3840480"/>
              <a:gd name="connsiteY14" fmla="*/ 358140 h 2255520"/>
              <a:gd name="connsiteX15" fmla="*/ 358140 w 3840480"/>
              <a:gd name="connsiteY15" fmla="*/ 449580 h 2255520"/>
              <a:gd name="connsiteX16" fmla="*/ 487680 w 3840480"/>
              <a:gd name="connsiteY16" fmla="*/ 464820 h 2255520"/>
              <a:gd name="connsiteX17" fmla="*/ 662940 w 3840480"/>
              <a:gd name="connsiteY17" fmla="*/ 472440 h 2255520"/>
              <a:gd name="connsiteX18" fmla="*/ 815340 w 3840480"/>
              <a:gd name="connsiteY18" fmla="*/ 510540 h 2255520"/>
              <a:gd name="connsiteX19" fmla="*/ 914400 w 3840480"/>
              <a:gd name="connsiteY19" fmla="*/ 632460 h 2255520"/>
              <a:gd name="connsiteX20" fmla="*/ 998220 w 3840480"/>
              <a:gd name="connsiteY20" fmla="*/ 716280 h 2255520"/>
              <a:gd name="connsiteX21" fmla="*/ 1143000 w 3840480"/>
              <a:gd name="connsiteY21" fmla="*/ 746760 h 2255520"/>
              <a:gd name="connsiteX22" fmla="*/ 1264920 w 3840480"/>
              <a:gd name="connsiteY22" fmla="*/ 746760 h 2255520"/>
              <a:gd name="connsiteX23" fmla="*/ 1348740 w 3840480"/>
              <a:gd name="connsiteY23" fmla="*/ 861060 h 2255520"/>
              <a:gd name="connsiteX24" fmla="*/ 1409700 w 3840480"/>
              <a:gd name="connsiteY24" fmla="*/ 883920 h 2255520"/>
              <a:gd name="connsiteX25" fmla="*/ 1508760 w 3840480"/>
              <a:gd name="connsiteY25" fmla="*/ 853440 h 2255520"/>
              <a:gd name="connsiteX26" fmla="*/ 1638300 w 3840480"/>
              <a:gd name="connsiteY26" fmla="*/ 914400 h 2255520"/>
              <a:gd name="connsiteX27" fmla="*/ 1775460 w 3840480"/>
              <a:gd name="connsiteY27" fmla="*/ 876300 h 2255520"/>
              <a:gd name="connsiteX28" fmla="*/ 1943100 w 3840480"/>
              <a:gd name="connsiteY28" fmla="*/ 899160 h 2255520"/>
              <a:gd name="connsiteX29" fmla="*/ 2080260 w 3840480"/>
              <a:gd name="connsiteY29" fmla="*/ 899160 h 2255520"/>
              <a:gd name="connsiteX30" fmla="*/ 2156460 w 3840480"/>
              <a:gd name="connsiteY30" fmla="*/ 990600 h 2255520"/>
              <a:gd name="connsiteX31" fmla="*/ 2164080 w 3840480"/>
              <a:gd name="connsiteY31" fmla="*/ 1158240 h 2255520"/>
              <a:gd name="connsiteX32" fmla="*/ 2232660 w 3840480"/>
              <a:gd name="connsiteY32" fmla="*/ 1303020 h 2255520"/>
              <a:gd name="connsiteX33" fmla="*/ 2438400 w 3840480"/>
              <a:gd name="connsiteY33" fmla="*/ 1363980 h 2255520"/>
              <a:gd name="connsiteX34" fmla="*/ 2552700 w 3840480"/>
              <a:gd name="connsiteY34" fmla="*/ 1508760 h 2255520"/>
              <a:gd name="connsiteX35" fmla="*/ 2628900 w 3840480"/>
              <a:gd name="connsiteY35" fmla="*/ 1607820 h 2255520"/>
              <a:gd name="connsiteX36" fmla="*/ 2750820 w 3840480"/>
              <a:gd name="connsiteY36" fmla="*/ 1676400 h 2255520"/>
              <a:gd name="connsiteX37" fmla="*/ 2948940 w 3840480"/>
              <a:gd name="connsiteY37" fmla="*/ 1866900 h 2255520"/>
              <a:gd name="connsiteX38" fmla="*/ 3108960 w 3840480"/>
              <a:gd name="connsiteY38" fmla="*/ 1958340 h 2255520"/>
              <a:gd name="connsiteX39" fmla="*/ 3185160 w 3840480"/>
              <a:gd name="connsiteY39" fmla="*/ 1889760 h 2255520"/>
              <a:gd name="connsiteX40" fmla="*/ 3246120 w 3840480"/>
              <a:gd name="connsiteY40" fmla="*/ 1912620 h 2255520"/>
              <a:gd name="connsiteX41" fmla="*/ 3352800 w 3840480"/>
              <a:gd name="connsiteY41" fmla="*/ 1912620 h 2255520"/>
              <a:gd name="connsiteX42" fmla="*/ 3474720 w 3840480"/>
              <a:gd name="connsiteY42" fmla="*/ 1813560 h 2255520"/>
              <a:gd name="connsiteX43" fmla="*/ 3604260 w 3840480"/>
              <a:gd name="connsiteY43" fmla="*/ 1821180 h 2255520"/>
              <a:gd name="connsiteX44" fmla="*/ 3703320 w 3840480"/>
              <a:gd name="connsiteY44" fmla="*/ 1889760 h 2255520"/>
              <a:gd name="connsiteX45" fmla="*/ 3710940 w 3840480"/>
              <a:gd name="connsiteY45" fmla="*/ 2019300 h 2255520"/>
              <a:gd name="connsiteX46" fmla="*/ 3741420 w 3840480"/>
              <a:gd name="connsiteY46" fmla="*/ 2148840 h 2255520"/>
              <a:gd name="connsiteX47" fmla="*/ 3840480 w 3840480"/>
              <a:gd name="connsiteY47" fmla="*/ 2255520 h 2255520"/>
              <a:gd name="connsiteX0" fmla="*/ 0 w 3840480"/>
              <a:gd name="connsiteY0" fmla="*/ 373380 h 2255520"/>
              <a:gd name="connsiteX1" fmla="*/ 74771 w 3840480"/>
              <a:gd name="connsiteY1" fmla="*/ 283369 h 2255520"/>
              <a:gd name="connsiteX2" fmla="*/ 56674 w 3840480"/>
              <a:gd name="connsiteY2" fmla="*/ 239823 h 2255520"/>
              <a:gd name="connsiteX3" fmla="*/ 15240 w 3840480"/>
              <a:gd name="connsiteY3" fmla="*/ 198120 h 2255520"/>
              <a:gd name="connsiteX4" fmla="*/ 7620 w 3840480"/>
              <a:gd name="connsiteY4" fmla="*/ 114300 h 2255520"/>
              <a:gd name="connsiteX5" fmla="*/ 83820 w 3840480"/>
              <a:gd name="connsiteY5" fmla="*/ 15240 h 2255520"/>
              <a:gd name="connsiteX6" fmla="*/ 151924 w 3840480"/>
              <a:gd name="connsiteY6" fmla="*/ 27892 h 2255520"/>
              <a:gd name="connsiteX7" fmla="*/ 259080 w 3840480"/>
              <a:gd name="connsiteY7" fmla="*/ 0 h 2255520"/>
              <a:gd name="connsiteX8" fmla="*/ 316230 w 3840480"/>
              <a:gd name="connsiteY8" fmla="*/ 25511 h 2255520"/>
              <a:gd name="connsiteX9" fmla="*/ 333852 w 3840480"/>
              <a:gd name="connsiteY9" fmla="*/ 69056 h 2255520"/>
              <a:gd name="connsiteX10" fmla="*/ 312420 w 3840480"/>
              <a:gd name="connsiteY10" fmla="*/ 121920 h 2255520"/>
              <a:gd name="connsiteX11" fmla="*/ 304800 w 3840480"/>
              <a:gd name="connsiteY11" fmla="*/ 182880 h 2255520"/>
              <a:gd name="connsiteX12" fmla="*/ 373380 w 3840480"/>
              <a:gd name="connsiteY12" fmla="*/ 266700 h 2255520"/>
              <a:gd name="connsiteX13" fmla="*/ 327660 w 3840480"/>
              <a:gd name="connsiteY13" fmla="*/ 358140 h 2255520"/>
              <a:gd name="connsiteX14" fmla="*/ 358140 w 3840480"/>
              <a:gd name="connsiteY14" fmla="*/ 449580 h 2255520"/>
              <a:gd name="connsiteX15" fmla="*/ 487680 w 3840480"/>
              <a:gd name="connsiteY15" fmla="*/ 464820 h 2255520"/>
              <a:gd name="connsiteX16" fmla="*/ 662940 w 3840480"/>
              <a:gd name="connsiteY16" fmla="*/ 472440 h 2255520"/>
              <a:gd name="connsiteX17" fmla="*/ 815340 w 3840480"/>
              <a:gd name="connsiteY17" fmla="*/ 510540 h 2255520"/>
              <a:gd name="connsiteX18" fmla="*/ 914400 w 3840480"/>
              <a:gd name="connsiteY18" fmla="*/ 632460 h 2255520"/>
              <a:gd name="connsiteX19" fmla="*/ 998220 w 3840480"/>
              <a:gd name="connsiteY19" fmla="*/ 716280 h 2255520"/>
              <a:gd name="connsiteX20" fmla="*/ 1143000 w 3840480"/>
              <a:gd name="connsiteY20" fmla="*/ 746760 h 2255520"/>
              <a:gd name="connsiteX21" fmla="*/ 1264920 w 3840480"/>
              <a:gd name="connsiteY21" fmla="*/ 746760 h 2255520"/>
              <a:gd name="connsiteX22" fmla="*/ 1348740 w 3840480"/>
              <a:gd name="connsiteY22" fmla="*/ 861060 h 2255520"/>
              <a:gd name="connsiteX23" fmla="*/ 1409700 w 3840480"/>
              <a:gd name="connsiteY23" fmla="*/ 883920 h 2255520"/>
              <a:gd name="connsiteX24" fmla="*/ 1508760 w 3840480"/>
              <a:gd name="connsiteY24" fmla="*/ 853440 h 2255520"/>
              <a:gd name="connsiteX25" fmla="*/ 1638300 w 3840480"/>
              <a:gd name="connsiteY25" fmla="*/ 914400 h 2255520"/>
              <a:gd name="connsiteX26" fmla="*/ 1775460 w 3840480"/>
              <a:gd name="connsiteY26" fmla="*/ 876300 h 2255520"/>
              <a:gd name="connsiteX27" fmla="*/ 1943100 w 3840480"/>
              <a:gd name="connsiteY27" fmla="*/ 899160 h 2255520"/>
              <a:gd name="connsiteX28" fmla="*/ 2080260 w 3840480"/>
              <a:gd name="connsiteY28" fmla="*/ 899160 h 2255520"/>
              <a:gd name="connsiteX29" fmla="*/ 2156460 w 3840480"/>
              <a:gd name="connsiteY29" fmla="*/ 990600 h 2255520"/>
              <a:gd name="connsiteX30" fmla="*/ 2164080 w 3840480"/>
              <a:gd name="connsiteY30" fmla="*/ 1158240 h 2255520"/>
              <a:gd name="connsiteX31" fmla="*/ 2232660 w 3840480"/>
              <a:gd name="connsiteY31" fmla="*/ 1303020 h 2255520"/>
              <a:gd name="connsiteX32" fmla="*/ 2438400 w 3840480"/>
              <a:gd name="connsiteY32" fmla="*/ 1363980 h 2255520"/>
              <a:gd name="connsiteX33" fmla="*/ 2552700 w 3840480"/>
              <a:gd name="connsiteY33" fmla="*/ 1508760 h 2255520"/>
              <a:gd name="connsiteX34" fmla="*/ 2628900 w 3840480"/>
              <a:gd name="connsiteY34" fmla="*/ 1607820 h 2255520"/>
              <a:gd name="connsiteX35" fmla="*/ 2750820 w 3840480"/>
              <a:gd name="connsiteY35" fmla="*/ 1676400 h 2255520"/>
              <a:gd name="connsiteX36" fmla="*/ 2948940 w 3840480"/>
              <a:gd name="connsiteY36" fmla="*/ 1866900 h 2255520"/>
              <a:gd name="connsiteX37" fmla="*/ 3108960 w 3840480"/>
              <a:gd name="connsiteY37" fmla="*/ 1958340 h 2255520"/>
              <a:gd name="connsiteX38" fmla="*/ 3185160 w 3840480"/>
              <a:gd name="connsiteY38" fmla="*/ 1889760 h 2255520"/>
              <a:gd name="connsiteX39" fmla="*/ 3246120 w 3840480"/>
              <a:gd name="connsiteY39" fmla="*/ 1912620 h 2255520"/>
              <a:gd name="connsiteX40" fmla="*/ 3352800 w 3840480"/>
              <a:gd name="connsiteY40" fmla="*/ 1912620 h 2255520"/>
              <a:gd name="connsiteX41" fmla="*/ 3474720 w 3840480"/>
              <a:gd name="connsiteY41" fmla="*/ 1813560 h 2255520"/>
              <a:gd name="connsiteX42" fmla="*/ 3604260 w 3840480"/>
              <a:gd name="connsiteY42" fmla="*/ 1821180 h 2255520"/>
              <a:gd name="connsiteX43" fmla="*/ 3703320 w 3840480"/>
              <a:gd name="connsiteY43" fmla="*/ 1889760 h 2255520"/>
              <a:gd name="connsiteX44" fmla="*/ 3710940 w 3840480"/>
              <a:gd name="connsiteY44" fmla="*/ 2019300 h 2255520"/>
              <a:gd name="connsiteX45" fmla="*/ 3741420 w 3840480"/>
              <a:gd name="connsiteY45" fmla="*/ 2148840 h 2255520"/>
              <a:gd name="connsiteX46" fmla="*/ 3840480 w 3840480"/>
              <a:gd name="connsiteY46" fmla="*/ 2255520 h 2255520"/>
              <a:gd name="connsiteX0" fmla="*/ 0 w 3840480"/>
              <a:gd name="connsiteY0" fmla="*/ 373380 h 2255520"/>
              <a:gd name="connsiteX1" fmla="*/ 56674 w 3840480"/>
              <a:gd name="connsiteY1" fmla="*/ 239823 h 2255520"/>
              <a:gd name="connsiteX2" fmla="*/ 15240 w 3840480"/>
              <a:gd name="connsiteY2" fmla="*/ 198120 h 2255520"/>
              <a:gd name="connsiteX3" fmla="*/ 7620 w 3840480"/>
              <a:gd name="connsiteY3" fmla="*/ 114300 h 2255520"/>
              <a:gd name="connsiteX4" fmla="*/ 83820 w 3840480"/>
              <a:gd name="connsiteY4" fmla="*/ 15240 h 2255520"/>
              <a:gd name="connsiteX5" fmla="*/ 151924 w 3840480"/>
              <a:gd name="connsiteY5" fmla="*/ 27892 h 2255520"/>
              <a:gd name="connsiteX6" fmla="*/ 259080 w 3840480"/>
              <a:gd name="connsiteY6" fmla="*/ 0 h 2255520"/>
              <a:gd name="connsiteX7" fmla="*/ 316230 w 3840480"/>
              <a:gd name="connsiteY7" fmla="*/ 25511 h 2255520"/>
              <a:gd name="connsiteX8" fmla="*/ 333852 w 3840480"/>
              <a:gd name="connsiteY8" fmla="*/ 69056 h 2255520"/>
              <a:gd name="connsiteX9" fmla="*/ 312420 w 3840480"/>
              <a:gd name="connsiteY9" fmla="*/ 121920 h 2255520"/>
              <a:gd name="connsiteX10" fmla="*/ 304800 w 3840480"/>
              <a:gd name="connsiteY10" fmla="*/ 182880 h 2255520"/>
              <a:gd name="connsiteX11" fmla="*/ 373380 w 3840480"/>
              <a:gd name="connsiteY11" fmla="*/ 266700 h 2255520"/>
              <a:gd name="connsiteX12" fmla="*/ 327660 w 3840480"/>
              <a:gd name="connsiteY12" fmla="*/ 358140 h 2255520"/>
              <a:gd name="connsiteX13" fmla="*/ 358140 w 3840480"/>
              <a:gd name="connsiteY13" fmla="*/ 449580 h 2255520"/>
              <a:gd name="connsiteX14" fmla="*/ 487680 w 3840480"/>
              <a:gd name="connsiteY14" fmla="*/ 464820 h 2255520"/>
              <a:gd name="connsiteX15" fmla="*/ 662940 w 3840480"/>
              <a:gd name="connsiteY15" fmla="*/ 472440 h 2255520"/>
              <a:gd name="connsiteX16" fmla="*/ 815340 w 3840480"/>
              <a:gd name="connsiteY16" fmla="*/ 510540 h 2255520"/>
              <a:gd name="connsiteX17" fmla="*/ 914400 w 3840480"/>
              <a:gd name="connsiteY17" fmla="*/ 632460 h 2255520"/>
              <a:gd name="connsiteX18" fmla="*/ 998220 w 3840480"/>
              <a:gd name="connsiteY18" fmla="*/ 716280 h 2255520"/>
              <a:gd name="connsiteX19" fmla="*/ 1143000 w 3840480"/>
              <a:gd name="connsiteY19" fmla="*/ 746760 h 2255520"/>
              <a:gd name="connsiteX20" fmla="*/ 1264920 w 3840480"/>
              <a:gd name="connsiteY20" fmla="*/ 746760 h 2255520"/>
              <a:gd name="connsiteX21" fmla="*/ 1348740 w 3840480"/>
              <a:gd name="connsiteY21" fmla="*/ 861060 h 2255520"/>
              <a:gd name="connsiteX22" fmla="*/ 1409700 w 3840480"/>
              <a:gd name="connsiteY22" fmla="*/ 883920 h 2255520"/>
              <a:gd name="connsiteX23" fmla="*/ 1508760 w 3840480"/>
              <a:gd name="connsiteY23" fmla="*/ 853440 h 2255520"/>
              <a:gd name="connsiteX24" fmla="*/ 1638300 w 3840480"/>
              <a:gd name="connsiteY24" fmla="*/ 914400 h 2255520"/>
              <a:gd name="connsiteX25" fmla="*/ 1775460 w 3840480"/>
              <a:gd name="connsiteY25" fmla="*/ 876300 h 2255520"/>
              <a:gd name="connsiteX26" fmla="*/ 1943100 w 3840480"/>
              <a:gd name="connsiteY26" fmla="*/ 899160 h 2255520"/>
              <a:gd name="connsiteX27" fmla="*/ 2080260 w 3840480"/>
              <a:gd name="connsiteY27" fmla="*/ 899160 h 2255520"/>
              <a:gd name="connsiteX28" fmla="*/ 2156460 w 3840480"/>
              <a:gd name="connsiteY28" fmla="*/ 990600 h 2255520"/>
              <a:gd name="connsiteX29" fmla="*/ 2164080 w 3840480"/>
              <a:gd name="connsiteY29" fmla="*/ 1158240 h 2255520"/>
              <a:gd name="connsiteX30" fmla="*/ 2232660 w 3840480"/>
              <a:gd name="connsiteY30" fmla="*/ 1303020 h 2255520"/>
              <a:gd name="connsiteX31" fmla="*/ 2438400 w 3840480"/>
              <a:gd name="connsiteY31" fmla="*/ 1363980 h 2255520"/>
              <a:gd name="connsiteX32" fmla="*/ 2552700 w 3840480"/>
              <a:gd name="connsiteY32" fmla="*/ 1508760 h 2255520"/>
              <a:gd name="connsiteX33" fmla="*/ 2628900 w 3840480"/>
              <a:gd name="connsiteY33" fmla="*/ 1607820 h 2255520"/>
              <a:gd name="connsiteX34" fmla="*/ 2750820 w 3840480"/>
              <a:gd name="connsiteY34" fmla="*/ 1676400 h 2255520"/>
              <a:gd name="connsiteX35" fmla="*/ 2948940 w 3840480"/>
              <a:gd name="connsiteY35" fmla="*/ 1866900 h 2255520"/>
              <a:gd name="connsiteX36" fmla="*/ 3108960 w 3840480"/>
              <a:gd name="connsiteY36" fmla="*/ 1958340 h 2255520"/>
              <a:gd name="connsiteX37" fmla="*/ 3185160 w 3840480"/>
              <a:gd name="connsiteY37" fmla="*/ 1889760 h 2255520"/>
              <a:gd name="connsiteX38" fmla="*/ 3246120 w 3840480"/>
              <a:gd name="connsiteY38" fmla="*/ 1912620 h 2255520"/>
              <a:gd name="connsiteX39" fmla="*/ 3352800 w 3840480"/>
              <a:gd name="connsiteY39" fmla="*/ 1912620 h 2255520"/>
              <a:gd name="connsiteX40" fmla="*/ 3474720 w 3840480"/>
              <a:gd name="connsiteY40" fmla="*/ 1813560 h 2255520"/>
              <a:gd name="connsiteX41" fmla="*/ 3604260 w 3840480"/>
              <a:gd name="connsiteY41" fmla="*/ 1821180 h 2255520"/>
              <a:gd name="connsiteX42" fmla="*/ 3703320 w 3840480"/>
              <a:gd name="connsiteY42" fmla="*/ 1889760 h 2255520"/>
              <a:gd name="connsiteX43" fmla="*/ 3710940 w 3840480"/>
              <a:gd name="connsiteY43" fmla="*/ 2019300 h 2255520"/>
              <a:gd name="connsiteX44" fmla="*/ 3741420 w 3840480"/>
              <a:gd name="connsiteY44" fmla="*/ 2148840 h 2255520"/>
              <a:gd name="connsiteX45" fmla="*/ 3840480 w 3840480"/>
              <a:gd name="connsiteY45" fmla="*/ 2255520 h 2255520"/>
              <a:gd name="connsiteX0" fmla="*/ 49055 w 3832861"/>
              <a:gd name="connsiteY0" fmla="*/ 239823 h 2255520"/>
              <a:gd name="connsiteX1" fmla="*/ 7621 w 3832861"/>
              <a:gd name="connsiteY1" fmla="*/ 198120 h 2255520"/>
              <a:gd name="connsiteX2" fmla="*/ 1 w 3832861"/>
              <a:gd name="connsiteY2" fmla="*/ 114300 h 2255520"/>
              <a:gd name="connsiteX3" fmla="*/ 76201 w 3832861"/>
              <a:gd name="connsiteY3" fmla="*/ 15240 h 2255520"/>
              <a:gd name="connsiteX4" fmla="*/ 144305 w 3832861"/>
              <a:gd name="connsiteY4" fmla="*/ 27892 h 2255520"/>
              <a:gd name="connsiteX5" fmla="*/ 251461 w 3832861"/>
              <a:gd name="connsiteY5" fmla="*/ 0 h 2255520"/>
              <a:gd name="connsiteX6" fmla="*/ 308611 w 3832861"/>
              <a:gd name="connsiteY6" fmla="*/ 25511 h 2255520"/>
              <a:gd name="connsiteX7" fmla="*/ 326233 w 3832861"/>
              <a:gd name="connsiteY7" fmla="*/ 69056 h 2255520"/>
              <a:gd name="connsiteX8" fmla="*/ 304801 w 3832861"/>
              <a:gd name="connsiteY8" fmla="*/ 121920 h 2255520"/>
              <a:gd name="connsiteX9" fmla="*/ 297181 w 3832861"/>
              <a:gd name="connsiteY9" fmla="*/ 182880 h 2255520"/>
              <a:gd name="connsiteX10" fmla="*/ 365761 w 3832861"/>
              <a:gd name="connsiteY10" fmla="*/ 266700 h 2255520"/>
              <a:gd name="connsiteX11" fmla="*/ 320041 w 3832861"/>
              <a:gd name="connsiteY11" fmla="*/ 358140 h 2255520"/>
              <a:gd name="connsiteX12" fmla="*/ 350521 w 3832861"/>
              <a:gd name="connsiteY12" fmla="*/ 449580 h 2255520"/>
              <a:gd name="connsiteX13" fmla="*/ 480061 w 3832861"/>
              <a:gd name="connsiteY13" fmla="*/ 464820 h 2255520"/>
              <a:gd name="connsiteX14" fmla="*/ 655321 w 3832861"/>
              <a:gd name="connsiteY14" fmla="*/ 472440 h 2255520"/>
              <a:gd name="connsiteX15" fmla="*/ 807721 w 3832861"/>
              <a:gd name="connsiteY15" fmla="*/ 510540 h 2255520"/>
              <a:gd name="connsiteX16" fmla="*/ 906781 w 3832861"/>
              <a:gd name="connsiteY16" fmla="*/ 632460 h 2255520"/>
              <a:gd name="connsiteX17" fmla="*/ 990601 w 3832861"/>
              <a:gd name="connsiteY17" fmla="*/ 716280 h 2255520"/>
              <a:gd name="connsiteX18" fmla="*/ 1135381 w 3832861"/>
              <a:gd name="connsiteY18" fmla="*/ 746760 h 2255520"/>
              <a:gd name="connsiteX19" fmla="*/ 1257301 w 3832861"/>
              <a:gd name="connsiteY19" fmla="*/ 746760 h 2255520"/>
              <a:gd name="connsiteX20" fmla="*/ 1341121 w 3832861"/>
              <a:gd name="connsiteY20" fmla="*/ 861060 h 2255520"/>
              <a:gd name="connsiteX21" fmla="*/ 1402081 w 3832861"/>
              <a:gd name="connsiteY21" fmla="*/ 883920 h 2255520"/>
              <a:gd name="connsiteX22" fmla="*/ 1501141 w 3832861"/>
              <a:gd name="connsiteY22" fmla="*/ 853440 h 2255520"/>
              <a:gd name="connsiteX23" fmla="*/ 1630681 w 3832861"/>
              <a:gd name="connsiteY23" fmla="*/ 914400 h 2255520"/>
              <a:gd name="connsiteX24" fmla="*/ 1767841 w 3832861"/>
              <a:gd name="connsiteY24" fmla="*/ 876300 h 2255520"/>
              <a:gd name="connsiteX25" fmla="*/ 1935481 w 3832861"/>
              <a:gd name="connsiteY25" fmla="*/ 899160 h 2255520"/>
              <a:gd name="connsiteX26" fmla="*/ 2072641 w 3832861"/>
              <a:gd name="connsiteY26" fmla="*/ 899160 h 2255520"/>
              <a:gd name="connsiteX27" fmla="*/ 2148841 w 3832861"/>
              <a:gd name="connsiteY27" fmla="*/ 990600 h 2255520"/>
              <a:gd name="connsiteX28" fmla="*/ 2156461 w 3832861"/>
              <a:gd name="connsiteY28" fmla="*/ 1158240 h 2255520"/>
              <a:gd name="connsiteX29" fmla="*/ 2225041 w 3832861"/>
              <a:gd name="connsiteY29" fmla="*/ 1303020 h 2255520"/>
              <a:gd name="connsiteX30" fmla="*/ 2430781 w 3832861"/>
              <a:gd name="connsiteY30" fmla="*/ 1363980 h 2255520"/>
              <a:gd name="connsiteX31" fmla="*/ 2545081 w 3832861"/>
              <a:gd name="connsiteY31" fmla="*/ 1508760 h 2255520"/>
              <a:gd name="connsiteX32" fmla="*/ 2621281 w 3832861"/>
              <a:gd name="connsiteY32" fmla="*/ 1607820 h 2255520"/>
              <a:gd name="connsiteX33" fmla="*/ 2743201 w 3832861"/>
              <a:gd name="connsiteY33" fmla="*/ 1676400 h 2255520"/>
              <a:gd name="connsiteX34" fmla="*/ 2941321 w 3832861"/>
              <a:gd name="connsiteY34" fmla="*/ 1866900 h 2255520"/>
              <a:gd name="connsiteX35" fmla="*/ 3101341 w 3832861"/>
              <a:gd name="connsiteY35" fmla="*/ 1958340 h 2255520"/>
              <a:gd name="connsiteX36" fmla="*/ 3177541 w 3832861"/>
              <a:gd name="connsiteY36" fmla="*/ 1889760 h 2255520"/>
              <a:gd name="connsiteX37" fmla="*/ 3238501 w 3832861"/>
              <a:gd name="connsiteY37" fmla="*/ 1912620 h 2255520"/>
              <a:gd name="connsiteX38" fmla="*/ 3345181 w 3832861"/>
              <a:gd name="connsiteY38" fmla="*/ 1912620 h 2255520"/>
              <a:gd name="connsiteX39" fmla="*/ 3467101 w 3832861"/>
              <a:gd name="connsiteY39" fmla="*/ 1813560 h 2255520"/>
              <a:gd name="connsiteX40" fmla="*/ 3596641 w 3832861"/>
              <a:gd name="connsiteY40" fmla="*/ 1821180 h 2255520"/>
              <a:gd name="connsiteX41" fmla="*/ 3695701 w 3832861"/>
              <a:gd name="connsiteY41" fmla="*/ 1889760 h 2255520"/>
              <a:gd name="connsiteX42" fmla="*/ 3703321 w 3832861"/>
              <a:gd name="connsiteY42" fmla="*/ 2019300 h 2255520"/>
              <a:gd name="connsiteX43" fmla="*/ 3733801 w 3832861"/>
              <a:gd name="connsiteY43" fmla="*/ 2148840 h 2255520"/>
              <a:gd name="connsiteX44" fmla="*/ 3832861 w 3832861"/>
              <a:gd name="connsiteY44" fmla="*/ 2255520 h 2255520"/>
              <a:gd name="connsiteX0" fmla="*/ 49053 w 3832859"/>
              <a:gd name="connsiteY0" fmla="*/ 239823 h 2255520"/>
              <a:gd name="connsiteX1" fmla="*/ -1 w 3832859"/>
              <a:gd name="connsiteY1" fmla="*/ 114300 h 2255520"/>
              <a:gd name="connsiteX2" fmla="*/ 76199 w 3832859"/>
              <a:gd name="connsiteY2" fmla="*/ 15240 h 2255520"/>
              <a:gd name="connsiteX3" fmla="*/ 144303 w 3832859"/>
              <a:gd name="connsiteY3" fmla="*/ 27892 h 2255520"/>
              <a:gd name="connsiteX4" fmla="*/ 251459 w 3832859"/>
              <a:gd name="connsiteY4" fmla="*/ 0 h 2255520"/>
              <a:gd name="connsiteX5" fmla="*/ 308609 w 3832859"/>
              <a:gd name="connsiteY5" fmla="*/ 25511 h 2255520"/>
              <a:gd name="connsiteX6" fmla="*/ 326231 w 3832859"/>
              <a:gd name="connsiteY6" fmla="*/ 69056 h 2255520"/>
              <a:gd name="connsiteX7" fmla="*/ 304799 w 3832859"/>
              <a:gd name="connsiteY7" fmla="*/ 121920 h 2255520"/>
              <a:gd name="connsiteX8" fmla="*/ 297179 w 3832859"/>
              <a:gd name="connsiteY8" fmla="*/ 182880 h 2255520"/>
              <a:gd name="connsiteX9" fmla="*/ 365759 w 3832859"/>
              <a:gd name="connsiteY9" fmla="*/ 266700 h 2255520"/>
              <a:gd name="connsiteX10" fmla="*/ 320039 w 3832859"/>
              <a:gd name="connsiteY10" fmla="*/ 358140 h 2255520"/>
              <a:gd name="connsiteX11" fmla="*/ 350519 w 3832859"/>
              <a:gd name="connsiteY11" fmla="*/ 449580 h 2255520"/>
              <a:gd name="connsiteX12" fmla="*/ 480059 w 3832859"/>
              <a:gd name="connsiteY12" fmla="*/ 464820 h 2255520"/>
              <a:gd name="connsiteX13" fmla="*/ 655319 w 3832859"/>
              <a:gd name="connsiteY13" fmla="*/ 472440 h 2255520"/>
              <a:gd name="connsiteX14" fmla="*/ 807719 w 3832859"/>
              <a:gd name="connsiteY14" fmla="*/ 510540 h 2255520"/>
              <a:gd name="connsiteX15" fmla="*/ 906779 w 3832859"/>
              <a:gd name="connsiteY15" fmla="*/ 632460 h 2255520"/>
              <a:gd name="connsiteX16" fmla="*/ 990599 w 3832859"/>
              <a:gd name="connsiteY16" fmla="*/ 716280 h 2255520"/>
              <a:gd name="connsiteX17" fmla="*/ 1135379 w 3832859"/>
              <a:gd name="connsiteY17" fmla="*/ 746760 h 2255520"/>
              <a:gd name="connsiteX18" fmla="*/ 1257299 w 3832859"/>
              <a:gd name="connsiteY18" fmla="*/ 746760 h 2255520"/>
              <a:gd name="connsiteX19" fmla="*/ 1341119 w 3832859"/>
              <a:gd name="connsiteY19" fmla="*/ 861060 h 2255520"/>
              <a:gd name="connsiteX20" fmla="*/ 1402079 w 3832859"/>
              <a:gd name="connsiteY20" fmla="*/ 883920 h 2255520"/>
              <a:gd name="connsiteX21" fmla="*/ 1501139 w 3832859"/>
              <a:gd name="connsiteY21" fmla="*/ 853440 h 2255520"/>
              <a:gd name="connsiteX22" fmla="*/ 1630679 w 3832859"/>
              <a:gd name="connsiteY22" fmla="*/ 914400 h 2255520"/>
              <a:gd name="connsiteX23" fmla="*/ 1767839 w 3832859"/>
              <a:gd name="connsiteY23" fmla="*/ 876300 h 2255520"/>
              <a:gd name="connsiteX24" fmla="*/ 1935479 w 3832859"/>
              <a:gd name="connsiteY24" fmla="*/ 899160 h 2255520"/>
              <a:gd name="connsiteX25" fmla="*/ 2072639 w 3832859"/>
              <a:gd name="connsiteY25" fmla="*/ 899160 h 2255520"/>
              <a:gd name="connsiteX26" fmla="*/ 2148839 w 3832859"/>
              <a:gd name="connsiteY26" fmla="*/ 990600 h 2255520"/>
              <a:gd name="connsiteX27" fmla="*/ 2156459 w 3832859"/>
              <a:gd name="connsiteY27" fmla="*/ 1158240 h 2255520"/>
              <a:gd name="connsiteX28" fmla="*/ 2225039 w 3832859"/>
              <a:gd name="connsiteY28" fmla="*/ 1303020 h 2255520"/>
              <a:gd name="connsiteX29" fmla="*/ 2430779 w 3832859"/>
              <a:gd name="connsiteY29" fmla="*/ 1363980 h 2255520"/>
              <a:gd name="connsiteX30" fmla="*/ 2545079 w 3832859"/>
              <a:gd name="connsiteY30" fmla="*/ 1508760 h 2255520"/>
              <a:gd name="connsiteX31" fmla="*/ 2621279 w 3832859"/>
              <a:gd name="connsiteY31" fmla="*/ 1607820 h 2255520"/>
              <a:gd name="connsiteX32" fmla="*/ 2743199 w 3832859"/>
              <a:gd name="connsiteY32" fmla="*/ 1676400 h 2255520"/>
              <a:gd name="connsiteX33" fmla="*/ 2941319 w 3832859"/>
              <a:gd name="connsiteY33" fmla="*/ 1866900 h 2255520"/>
              <a:gd name="connsiteX34" fmla="*/ 3101339 w 3832859"/>
              <a:gd name="connsiteY34" fmla="*/ 1958340 h 2255520"/>
              <a:gd name="connsiteX35" fmla="*/ 3177539 w 3832859"/>
              <a:gd name="connsiteY35" fmla="*/ 1889760 h 2255520"/>
              <a:gd name="connsiteX36" fmla="*/ 3238499 w 3832859"/>
              <a:gd name="connsiteY36" fmla="*/ 1912620 h 2255520"/>
              <a:gd name="connsiteX37" fmla="*/ 3345179 w 3832859"/>
              <a:gd name="connsiteY37" fmla="*/ 1912620 h 2255520"/>
              <a:gd name="connsiteX38" fmla="*/ 3467099 w 3832859"/>
              <a:gd name="connsiteY38" fmla="*/ 1813560 h 2255520"/>
              <a:gd name="connsiteX39" fmla="*/ 3596639 w 3832859"/>
              <a:gd name="connsiteY39" fmla="*/ 1821180 h 2255520"/>
              <a:gd name="connsiteX40" fmla="*/ 3695699 w 3832859"/>
              <a:gd name="connsiteY40" fmla="*/ 1889760 h 2255520"/>
              <a:gd name="connsiteX41" fmla="*/ 3703319 w 3832859"/>
              <a:gd name="connsiteY41" fmla="*/ 2019300 h 2255520"/>
              <a:gd name="connsiteX42" fmla="*/ 3733799 w 3832859"/>
              <a:gd name="connsiteY42" fmla="*/ 2148840 h 2255520"/>
              <a:gd name="connsiteX43" fmla="*/ 3832859 w 3832859"/>
              <a:gd name="connsiteY43" fmla="*/ 2255520 h 2255520"/>
              <a:gd name="connsiteX0" fmla="*/ 1 w 3832861"/>
              <a:gd name="connsiteY0" fmla="*/ 114300 h 2255520"/>
              <a:gd name="connsiteX1" fmla="*/ 76201 w 3832861"/>
              <a:gd name="connsiteY1" fmla="*/ 15240 h 2255520"/>
              <a:gd name="connsiteX2" fmla="*/ 144305 w 3832861"/>
              <a:gd name="connsiteY2" fmla="*/ 27892 h 2255520"/>
              <a:gd name="connsiteX3" fmla="*/ 251461 w 3832861"/>
              <a:gd name="connsiteY3" fmla="*/ 0 h 2255520"/>
              <a:gd name="connsiteX4" fmla="*/ 308611 w 3832861"/>
              <a:gd name="connsiteY4" fmla="*/ 25511 h 2255520"/>
              <a:gd name="connsiteX5" fmla="*/ 326233 w 3832861"/>
              <a:gd name="connsiteY5" fmla="*/ 69056 h 2255520"/>
              <a:gd name="connsiteX6" fmla="*/ 304801 w 3832861"/>
              <a:gd name="connsiteY6" fmla="*/ 121920 h 2255520"/>
              <a:gd name="connsiteX7" fmla="*/ 297181 w 3832861"/>
              <a:gd name="connsiteY7" fmla="*/ 182880 h 2255520"/>
              <a:gd name="connsiteX8" fmla="*/ 365761 w 3832861"/>
              <a:gd name="connsiteY8" fmla="*/ 266700 h 2255520"/>
              <a:gd name="connsiteX9" fmla="*/ 320041 w 3832861"/>
              <a:gd name="connsiteY9" fmla="*/ 358140 h 2255520"/>
              <a:gd name="connsiteX10" fmla="*/ 350521 w 3832861"/>
              <a:gd name="connsiteY10" fmla="*/ 449580 h 2255520"/>
              <a:gd name="connsiteX11" fmla="*/ 480061 w 3832861"/>
              <a:gd name="connsiteY11" fmla="*/ 464820 h 2255520"/>
              <a:gd name="connsiteX12" fmla="*/ 655321 w 3832861"/>
              <a:gd name="connsiteY12" fmla="*/ 472440 h 2255520"/>
              <a:gd name="connsiteX13" fmla="*/ 807721 w 3832861"/>
              <a:gd name="connsiteY13" fmla="*/ 510540 h 2255520"/>
              <a:gd name="connsiteX14" fmla="*/ 906781 w 3832861"/>
              <a:gd name="connsiteY14" fmla="*/ 632460 h 2255520"/>
              <a:gd name="connsiteX15" fmla="*/ 990601 w 3832861"/>
              <a:gd name="connsiteY15" fmla="*/ 716280 h 2255520"/>
              <a:gd name="connsiteX16" fmla="*/ 1135381 w 3832861"/>
              <a:gd name="connsiteY16" fmla="*/ 746760 h 2255520"/>
              <a:gd name="connsiteX17" fmla="*/ 1257301 w 3832861"/>
              <a:gd name="connsiteY17" fmla="*/ 746760 h 2255520"/>
              <a:gd name="connsiteX18" fmla="*/ 1341121 w 3832861"/>
              <a:gd name="connsiteY18" fmla="*/ 861060 h 2255520"/>
              <a:gd name="connsiteX19" fmla="*/ 1402081 w 3832861"/>
              <a:gd name="connsiteY19" fmla="*/ 883920 h 2255520"/>
              <a:gd name="connsiteX20" fmla="*/ 1501141 w 3832861"/>
              <a:gd name="connsiteY20" fmla="*/ 853440 h 2255520"/>
              <a:gd name="connsiteX21" fmla="*/ 1630681 w 3832861"/>
              <a:gd name="connsiteY21" fmla="*/ 914400 h 2255520"/>
              <a:gd name="connsiteX22" fmla="*/ 1767841 w 3832861"/>
              <a:gd name="connsiteY22" fmla="*/ 876300 h 2255520"/>
              <a:gd name="connsiteX23" fmla="*/ 1935481 w 3832861"/>
              <a:gd name="connsiteY23" fmla="*/ 899160 h 2255520"/>
              <a:gd name="connsiteX24" fmla="*/ 2072641 w 3832861"/>
              <a:gd name="connsiteY24" fmla="*/ 899160 h 2255520"/>
              <a:gd name="connsiteX25" fmla="*/ 2148841 w 3832861"/>
              <a:gd name="connsiteY25" fmla="*/ 990600 h 2255520"/>
              <a:gd name="connsiteX26" fmla="*/ 2156461 w 3832861"/>
              <a:gd name="connsiteY26" fmla="*/ 1158240 h 2255520"/>
              <a:gd name="connsiteX27" fmla="*/ 2225041 w 3832861"/>
              <a:gd name="connsiteY27" fmla="*/ 1303020 h 2255520"/>
              <a:gd name="connsiteX28" fmla="*/ 2430781 w 3832861"/>
              <a:gd name="connsiteY28" fmla="*/ 1363980 h 2255520"/>
              <a:gd name="connsiteX29" fmla="*/ 2545081 w 3832861"/>
              <a:gd name="connsiteY29" fmla="*/ 1508760 h 2255520"/>
              <a:gd name="connsiteX30" fmla="*/ 2621281 w 3832861"/>
              <a:gd name="connsiteY30" fmla="*/ 1607820 h 2255520"/>
              <a:gd name="connsiteX31" fmla="*/ 2743201 w 3832861"/>
              <a:gd name="connsiteY31" fmla="*/ 1676400 h 2255520"/>
              <a:gd name="connsiteX32" fmla="*/ 2941321 w 3832861"/>
              <a:gd name="connsiteY32" fmla="*/ 1866900 h 2255520"/>
              <a:gd name="connsiteX33" fmla="*/ 3101341 w 3832861"/>
              <a:gd name="connsiteY33" fmla="*/ 1958340 h 2255520"/>
              <a:gd name="connsiteX34" fmla="*/ 3177541 w 3832861"/>
              <a:gd name="connsiteY34" fmla="*/ 1889760 h 2255520"/>
              <a:gd name="connsiteX35" fmla="*/ 3238501 w 3832861"/>
              <a:gd name="connsiteY35" fmla="*/ 1912620 h 2255520"/>
              <a:gd name="connsiteX36" fmla="*/ 3345181 w 3832861"/>
              <a:gd name="connsiteY36" fmla="*/ 1912620 h 2255520"/>
              <a:gd name="connsiteX37" fmla="*/ 3467101 w 3832861"/>
              <a:gd name="connsiteY37" fmla="*/ 1813560 h 2255520"/>
              <a:gd name="connsiteX38" fmla="*/ 3596641 w 3832861"/>
              <a:gd name="connsiteY38" fmla="*/ 1821180 h 2255520"/>
              <a:gd name="connsiteX39" fmla="*/ 3695701 w 3832861"/>
              <a:gd name="connsiteY39" fmla="*/ 1889760 h 2255520"/>
              <a:gd name="connsiteX40" fmla="*/ 3703321 w 3832861"/>
              <a:gd name="connsiteY40" fmla="*/ 2019300 h 2255520"/>
              <a:gd name="connsiteX41" fmla="*/ 3733801 w 3832861"/>
              <a:gd name="connsiteY41" fmla="*/ 2148840 h 2255520"/>
              <a:gd name="connsiteX42" fmla="*/ 3832861 w 3832861"/>
              <a:gd name="connsiteY42" fmla="*/ 2255520 h 2255520"/>
              <a:gd name="connsiteX0" fmla="*/ -1 w 3756659"/>
              <a:gd name="connsiteY0" fmla="*/ 15240 h 2255520"/>
              <a:gd name="connsiteX1" fmla="*/ 68103 w 3756659"/>
              <a:gd name="connsiteY1" fmla="*/ 27892 h 2255520"/>
              <a:gd name="connsiteX2" fmla="*/ 175259 w 3756659"/>
              <a:gd name="connsiteY2" fmla="*/ 0 h 2255520"/>
              <a:gd name="connsiteX3" fmla="*/ 232409 w 3756659"/>
              <a:gd name="connsiteY3" fmla="*/ 25511 h 2255520"/>
              <a:gd name="connsiteX4" fmla="*/ 250031 w 3756659"/>
              <a:gd name="connsiteY4" fmla="*/ 69056 h 2255520"/>
              <a:gd name="connsiteX5" fmla="*/ 228599 w 3756659"/>
              <a:gd name="connsiteY5" fmla="*/ 121920 h 2255520"/>
              <a:gd name="connsiteX6" fmla="*/ 220979 w 3756659"/>
              <a:gd name="connsiteY6" fmla="*/ 182880 h 2255520"/>
              <a:gd name="connsiteX7" fmla="*/ 289559 w 3756659"/>
              <a:gd name="connsiteY7" fmla="*/ 266700 h 2255520"/>
              <a:gd name="connsiteX8" fmla="*/ 243839 w 3756659"/>
              <a:gd name="connsiteY8" fmla="*/ 358140 h 2255520"/>
              <a:gd name="connsiteX9" fmla="*/ 274319 w 3756659"/>
              <a:gd name="connsiteY9" fmla="*/ 449580 h 2255520"/>
              <a:gd name="connsiteX10" fmla="*/ 403859 w 3756659"/>
              <a:gd name="connsiteY10" fmla="*/ 464820 h 2255520"/>
              <a:gd name="connsiteX11" fmla="*/ 579119 w 3756659"/>
              <a:gd name="connsiteY11" fmla="*/ 472440 h 2255520"/>
              <a:gd name="connsiteX12" fmla="*/ 731519 w 3756659"/>
              <a:gd name="connsiteY12" fmla="*/ 510540 h 2255520"/>
              <a:gd name="connsiteX13" fmla="*/ 830579 w 3756659"/>
              <a:gd name="connsiteY13" fmla="*/ 632460 h 2255520"/>
              <a:gd name="connsiteX14" fmla="*/ 914399 w 3756659"/>
              <a:gd name="connsiteY14" fmla="*/ 716280 h 2255520"/>
              <a:gd name="connsiteX15" fmla="*/ 1059179 w 3756659"/>
              <a:gd name="connsiteY15" fmla="*/ 746760 h 2255520"/>
              <a:gd name="connsiteX16" fmla="*/ 1181099 w 3756659"/>
              <a:gd name="connsiteY16" fmla="*/ 746760 h 2255520"/>
              <a:gd name="connsiteX17" fmla="*/ 1264919 w 3756659"/>
              <a:gd name="connsiteY17" fmla="*/ 861060 h 2255520"/>
              <a:gd name="connsiteX18" fmla="*/ 1325879 w 3756659"/>
              <a:gd name="connsiteY18" fmla="*/ 883920 h 2255520"/>
              <a:gd name="connsiteX19" fmla="*/ 1424939 w 3756659"/>
              <a:gd name="connsiteY19" fmla="*/ 853440 h 2255520"/>
              <a:gd name="connsiteX20" fmla="*/ 1554479 w 3756659"/>
              <a:gd name="connsiteY20" fmla="*/ 914400 h 2255520"/>
              <a:gd name="connsiteX21" fmla="*/ 1691639 w 3756659"/>
              <a:gd name="connsiteY21" fmla="*/ 876300 h 2255520"/>
              <a:gd name="connsiteX22" fmla="*/ 1859279 w 3756659"/>
              <a:gd name="connsiteY22" fmla="*/ 899160 h 2255520"/>
              <a:gd name="connsiteX23" fmla="*/ 1996439 w 3756659"/>
              <a:gd name="connsiteY23" fmla="*/ 899160 h 2255520"/>
              <a:gd name="connsiteX24" fmla="*/ 2072639 w 3756659"/>
              <a:gd name="connsiteY24" fmla="*/ 990600 h 2255520"/>
              <a:gd name="connsiteX25" fmla="*/ 2080259 w 3756659"/>
              <a:gd name="connsiteY25" fmla="*/ 1158240 h 2255520"/>
              <a:gd name="connsiteX26" fmla="*/ 2148839 w 3756659"/>
              <a:gd name="connsiteY26" fmla="*/ 1303020 h 2255520"/>
              <a:gd name="connsiteX27" fmla="*/ 2354579 w 3756659"/>
              <a:gd name="connsiteY27" fmla="*/ 1363980 h 2255520"/>
              <a:gd name="connsiteX28" fmla="*/ 2468879 w 3756659"/>
              <a:gd name="connsiteY28" fmla="*/ 1508760 h 2255520"/>
              <a:gd name="connsiteX29" fmla="*/ 2545079 w 3756659"/>
              <a:gd name="connsiteY29" fmla="*/ 1607820 h 2255520"/>
              <a:gd name="connsiteX30" fmla="*/ 2666999 w 3756659"/>
              <a:gd name="connsiteY30" fmla="*/ 1676400 h 2255520"/>
              <a:gd name="connsiteX31" fmla="*/ 2865119 w 3756659"/>
              <a:gd name="connsiteY31" fmla="*/ 1866900 h 2255520"/>
              <a:gd name="connsiteX32" fmla="*/ 3025139 w 3756659"/>
              <a:gd name="connsiteY32" fmla="*/ 1958340 h 2255520"/>
              <a:gd name="connsiteX33" fmla="*/ 3101339 w 3756659"/>
              <a:gd name="connsiteY33" fmla="*/ 1889760 h 2255520"/>
              <a:gd name="connsiteX34" fmla="*/ 3162299 w 3756659"/>
              <a:gd name="connsiteY34" fmla="*/ 1912620 h 2255520"/>
              <a:gd name="connsiteX35" fmla="*/ 3268979 w 3756659"/>
              <a:gd name="connsiteY35" fmla="*/ 1912620 h 2255520"/>
              <a:gd name="connsiteX36" fmla="*/ 3390899 w 3756659"/>
              <a:gd name="connsiteY36" fmla="*/ 1813560 h 2255520"/>
              <a:gd name="connsiteX37" fmla="*/ 3520439 w 3756659"/>
              <a:gd name="connsiteY37" fmla="*/ 1821180 h 2255520"/>
              <a:gd name="connsiteX38" fmla="*/ 3619499 w 3756659"/>
              <a:gd name="connsiteY38" fmla="*/ 1889760 h 2255520"/>
              <a:gd name="connsiteX39" fmla="*/ 3627119 w 3756659"/>
              <a:gd name="connsiteY39" fmla="*/ 2019300 h 2255520"/>
              <a:gd name="connsiteX40" fmla="*/ 3657599 w 3756659"/>
              <a:gd name="connsiteY40" fmla="*/ 2148840 h 2255520"/>
              <a:gd name="connsiteX41" fmla="*/ 3756659 w 3756659"/>
              <a:gd name="connsiteY41" fmla="*/ 2255520 h 2255520"/>
              <a:gd name="connsiteX0" fmla="*/ 1 w 3688557"/>
              <a:gd name="connsiteY0" fmla="*/ 27892 h 2255520"/>
              <a:gd name="connsiteX1" fmla="*/ 107157 w 3688557"/>
              <a:gd name="connsiteY1" fmla="*/ 0 h 2255520"/>
              <a:gd name="connsiteX2" fmla="*/ 164307 w 3688557"/>
              <a:gd name="connsiteY2" fmla="*/ 25511 h 2255520"/>
              <a:gd name="connsiteX3" fmla="*/ 181929 w 3688557"/>
              <a:gd name="connsiteY3" fmla="*/ 69056 h 2255520"/>
              <a:gd name="connsiteX4" fmla="*/ 160497 w 3688557"/>
              <a:gd name="connsiteY4" fmla="*/ 121920 h 2255520"/>
              <a:gd name="connsiteX5" fmla="*/ 152877 w 3688557"/>
              <a:gd name="connsiteY5" fmla="*/ 182880 h 2255520"/>
              <a:gd name="connsiteX6" fmla="*/ 221457 w 3688557"/>
              <a:gd name="connsiteY6" fmla="*/ 266700 h 2255520"/>
              <a:gd name="connsiteX7" fmla="*/ 175737 w 3688557"/>
              <a:gd name="connsiteY7" fmla="*/ 358140 h 2255520"/>
              <a:gd name="connsiteX8" fmla="*/ 206217 w 3688557"/>
              <a:gd name="connsiteY8" fmla="*/ 449580 h 2255520"/>
              <a:gd name="connsiteX9" fmla="*/ 335757 w 3688557"/>
              <a:gd name="connsiteY9" fmla="*/ 464820 h 2255520"/>
              <a:gd name="connsiteX10" fmla="*/ 511017 w 3688557"/>
              <a:gd name="connsiteY10" fmla="*/ 472440 h 2255520"/>
              <a:gd name="connsiteX11" fmla="*/ 663417 w 3688557"/>
              <a:gd name="connsiteY11" fmla="*/ 510540 h 2255520"/>
              <a:gd name="connsiteX12" fmla="*/ 762477 w 3688557"/>
              <a:gd name="connsiteY12" fmla="*/ 632460 h 2255520"/>
              <a:gd name="connsiteX13" fmla="*/ 846297 w 3688557"/>
              <a:gd name="connsiteY13" fmla="*/ 716280 h 2255520"/>
              <a:gd name="connsiteX14" fmla="*/ 991077 w 3688557"/>
              <a:gd name="connsiteY14" fmla="*/ 746760 h 2255520"/>
              <a:gd name="connsiteX15" fmla="*/ 1112997 w 3688557"/>
              <a:gd name="connsiteY15" fmla="*/ 746760 h 2255520"/>
              <a:gd name="connsiteX16" fmla="*/ 1196817 w 3688557"/>
              <a:gd name="connsiteY16" fmla="*/ 861060 h 2255520"/>
              <a:gd name="connsiteX17" fmla="*/ 1257777 w 3688557"/>
              <a:gd name="connsiteY17" fmla="*/ 883920 h 2255520"/>
              <a:gd name="connsiteX18" fmla="*/ 1356837 w 3688557"/>
              <a:gd name="connsiteY18" fmla="*/ 853440 h 2255520"/>
              <a:gd name="connsiteX19" fmla="*/ 1486377 w 3688557"/>
              <a:gd name="connsiteY19" fmla="*/ 914400 h 2255520"/>
              <a:gd name="connsiteX20" fmla="*/ 1623537 w 3688557"/>
              <a:gd name="connsiteY20" fmla="*/ 876300 h 2255520"/>
              <a:gd name="connsiteX21" fmla="*/ 1791177 w 3688557"/>
              <a:gd name="connsiteY21" fmla="*/ 899160 h 2255520"/>
              <a:gd name="connsiteX22" fmla="*/ 1928337 w 3688557"/>
              <a:gd name="connsiteY22" fmla="*/ 899160 h 2255520"/>
              <a:gd name="connsiteX23" fmla="*/ 2004537 w 3688557"/>
              <a:gd name="connsiteY23" fmla="*/ 990600 h 2255520"/>
              <a:gd name="connsiteX24" fmla="*/ 2012157 w 3688557"/>
              <a:gd name="connsiteY24" fmla="*/ 1158240 h 2255520"/>
              <a:gd name="connsiteX25" fmla="*/ 2080737 w 3688557"/>
              <a:gd name="connsiteY25" fmla="*/ 1303020 h 2255520"/>
              <a:gd name="connsiteX26" fmla="*/ 2286477 w 3688557"/>
              <a:gd name="connsiteY26" fmla="*/ 1363980 h 2255520"/>
              <a:gd name="connsiteX27" fmla="*/ 2400777 w 3688557"/>
              <a:gd name="connsiteY27" fmla="*/ 1508760 h 2255520"/>
              <a:gd name="connsiteX28" fmla="*/ 2476977 w 3688557"/>
              <a:gd name="connsiteY28" fmla="*/ 1607820 h 2255520"/>
              <a:gd name="connsiteX29" fmla="*/ 2598897 w 3688557"/>
              <a:gd name="connsiteY29" fmla="*/ 1676400 h 2255520"/>
              <a:gd name="connsiteX30" fmla="*/ 2797017 w 3688557"/>
              <a:gd name="connsiteY30" fmla="*/ 1866900 h 2255520"/>
              <a:gd name="connsiteX31" fmla="*/ 2957037 w 3688557"/>
              <a:gd name="connsiteY31" fmla="*/ 1958340 h 2255520"/>
              <a:gd name="connsiteX32" fmla="*/ 3033237 w 3688557"/>
              <a:gd name="connsiteY32" fmla="*/ 1889760 h 2255520"/>
              <a:gd name="connsiteX33" fmla="*/ 3094197 w 3688557"/>
              <a:gd name="connsiteY33" fmla="*/ 1912620 h 2255520"/>
              <a:gd name="connsiteX34" fmla="*/ 3200877 w 3688557"/>
              <a:gd name="connsiteY34" fmla="*/ 1912620 h 2255520"/>
              <a:gd name="connsiteX35" fmla="*/ 3322797 w 3688557"/>
              <a:gd name="connsiteY35" fmla="*/ 1813560 h 2255520"/>
              <a:gd name="connsiteX36" fmla="*/ 3452337 w 3688557"/>
              <a:gd name="connsiteY36" fmla="*/ 1821180 h 2255520"/>
              <a:gd name="connsiteX37" fmla="*/ 3551397 w 3688557"/>
              <a:gd name="connsiteY37" fmla="*/ 1889760 h 2255520"/>
              <a:gd name="connsiteX38" fmla="*/ 3559017 w 3688557"/>
              <a:gd name="connsiteY38" fmla="*/ 2019300 h 2255520"/>
              <a:gd name="connsiteX39" fmla="*/ 3589497 w 3688557"/>
              <a:gd name="connsiteY39" fmla="*/ 2148840 h 2255520"/>
              <a:gd name="connsiteX40" fmla="*/ 3688557 w 3688557"/>
              <a:gd name="connsiteY40" fmla="*/ 2255520 h 2255520"/>
              <a:gd name="connsiteX0" fmla="*/ 0 w 3581400"/>
              <a:gd name="connsiteY0" fmla="*/ 0 h 2255520"/>
              <a:gd name="connsiteX1" fmla="*/ 57150 w 3581400"/>
              <a:gd name="connsiteY1" fmla="*/ 25511 h 2255520"/>
              <a:gd name="connsiteX2" fmla="*/ 74772 w 3581400"/>
              <a:gd name="connsiteY2" fmla="*/ 69056 h 2255520"/>
              <a:gd name="connsiteX3" fmla="*/ 53340 w 3581400"/>
              <a:gd name="connsiteY3" fmla="*/ 121920 h 2255520"/>
              <a:gd name="connsiteX4" fmla="*/ 45720 w 3581400"/>
              <a:gd name="connsiteY4" fmla="*/ 182880 h 2255520"/>
              <a:gd name="connsiteX5" fmla="*/ 114300 w 3581400"/>
              <a:gd name="connsiteY5" fmla="*/ 266700 h 2255520"/>
              <a:gd name="connsiteX6" fmla="*/ 68580 w 3581400"/>
              <a:gd name="connsiteY6" fmla="*/ 358140 h 2255520"/>
              <a:gd name="connsiteX7" fmla="*/ 99060 w 3581400"/>
              <a:gd name="connsiteY7" fmla="*/ 449580 h 2255520"/>
              <a:gd name="connsiteX8" fmla="*/ 228600 w 3581400"/>
              <a:gd name="connsiteY8" fmla="*/ 464820 h 2255520"/>
              <a:gd name="connsiteX9" fmla="*/ 403860 w 3581400"/>
              <a:gd name="connsiteY9" fmla="*/ 472440 h 2255520"/>
              <a:gd name="connsiteX10" fmla="*/ 556260 w 3581400"/>
              <a:gd name="connsiteY10" fmla="*/ 510540 h 2255520"/>
              <a:gd name="connsiteX11" fmla="*/ 655320 w 3581400"/>
              <a:gd name="connsiteY11" fmla="*/ 632460 h 2255520"/>
              <a:gd name="connsiteX12" fmla="*/ 739140 w 3581400"/>
              <a:gd name="connsiteY12" fmla="*/ 716280 h 2255520"/>
              <a:gd name="connsiteX13" fmla="*/ 883920 w 3581400"/>
              <a:gd name="connsiteY13" fmla="*/ 746760 h 2255520"/>
              <a:gd name="connsiteX14" fmla="*/ 1005840 w 3581400"/>
              <a:gd name="connsiteY14" fmla="*/ 746760 h 2255520"/>
              <a:gd name="connsiteX15" fmla="*/ 1089660 w 3581400"/>
              <a:gd name="connsiteY15" fmla="*/ 861060 h 2255520"/>
              <a:gd name="connsiteX16" fmla="*/ 1150620 w 3581400"/>
              <a:gd name="connsiteY16" fmla="*/ 883920 h 2255520"/>
              <a:gd name="connsiteX17" fmla="*/ 1249680 w 3581400"/>
              <a:gd name="connsiteY17" fmla="*/ 853440 h 2255520"/>
              <a:gd name="connsiteX18" fmla="*/ 1379220 w 3581400"/>
              <a:gd name="connsiteY18" fmla="*/ 914400 h 2255520"/>
              <a:gd name="connsiteX19" fmla="*/ 1516380 w 3581400"/>
              <a:gd name="connsiteY19" fmla="*/ 876300 h 2255520"/>
              <a:gd name="connsiteX20" fmla="*/ 1684020 w 3581400"/>
              <a:gd name="connsiteY20" fmla="*/ 899160 h 2255520"/>
              <a:gd name="connsiteX21" fmla="*/ 1821180 w 3581400"/>
              <a:gd name="connsiteY21" fmla="*/ 899160 h 2255520"/>
              <a:gd name="connsiteX22" fmla="*/ 1897380 w 3581400"/>
              <a:gd name="connsiteY22" fmla="*/ 990600 h 2255520"/>
              <a:gd name="connsiteX23" fmla="*/ 1905000 w 3581400"/>
              <a:gd name="connsiteY23" fmla="*/ 1158240 h 2255520"/>
              <a:gd name="connsiteX24" fmla="*/ 1973580 w 3581400"/>
              <a:gd name="connsiteY24" fmla="*/ 1303020 h 2255520"/>
              <a:gd name="connsiteX25" fmla="*/ 2179320 w 3581400"/>
              <a:gd name="connsiteY25" fmla="*/ 1363980 h 2255520"/>
              <a:gd name="connsiteX26" fmla="*/ 2293620 w 3581400"/>
              <a:gd name="connsiteY26" fmla="*/ 1508760 h 2255520"/>
              <a:gd name="connsiteX27" fmla="*/ 2369820 w 3581400"/>
              <a:gd name="connsiteY27" fmla="*/ 1607820 h 2255520"/>
              <a:gd name="connsiteX28" fmla="*/ 2491740 w 3581400"/>
              <a:gd name="connsiteY28" fmla="*/ 1676400 h 2255520"/>
              <a:gd name="connsiteX29" fmla="*/ 2689860 w 3581400"/>
              <a:gd name="connsiteY29" fmla="*/ 1866900 h 2255520"/>
              <a:gd name="connsiteX30" fmla="*/ 2849880 w 3581400"/>
              <a:gd name="connsiteY30" fmla="*/ 1958340 h 2255520"/>
              <a:gd name="connsiteX31" fmla="*/ 2926080 w 3581400"/>
              <a:gd name="connsiteY31" fmla="*/ 1889760 h 2255520"/>
              <a:gd name="connsiteX32" fmla="*/ 2987040 w 3581400"/>
              <a:gd name="connsiteY32" fmla="*/ 1912620 h 2255520"/>
              <a:gd name="connsiteX33" fmla="*/ 3093720 w 3581400"/>
              <a:gd name="connsiteY33" fmla="*/ 1912620 h 2255520"/>
              <a:gd name="connsiteX34" fmla="*/ 3215640 w 3581400"/>
              <a:gd name="connsiteY34" fmla="*/ 1813560 h 2255520"/>
              <a:gd name="connsiteX35" fmla="*/ 3345180 w 3581400"/>
              <a:gd name="connsiteY35" fmla="*/ 1821180 h 2255520"/>
              <a:gd name="connsiteX36" fmla="*/ 3444240 w 3581400"/>
              <a:gd name="connsiteY36" fmla="*/ 1889760 h 2255520"/>
              <a:gd name="connsiteX37" fmla="*/ 3451860 w 3581400"/>
              <a:gd name="connsiteY37" fmla="*/ 2019300 h 2255520"/>
              <a:gd name="connsiteX38" fmla="*/ 3482340 w 3581400"/>
              <a:gd name="connsiteY38" fmla="*/ 2148840 h 2255520"/>
              <a:gd name="connsiteX39" fmla="*/ 3581400 w 3581400"/>
              <a:gd name="connsiteY39" fmla="*/ 2255520 h 2255520"/>
              <a:gd name="connsiteX0" fmla="*/ 0 w 3581400"/>
              <a:gd name="connsiteY0" fmla="*/ 0 h 2255520"/>
              <a:gd name="connsiteX1" fmla="*/ 57150 w 3581400"/>
              <a:gd name="connsiteY1" fmla="*/ 25511 h 2255520"/>
              <a:gd name="connsiteX2" fmla="*/ 53340 w 3581400"/>
              <a:gd name="connsiteY2" fmla="*/ 121920 h 2255520"/>
              <a:gd name="connsiteX3" fmla="*/ 45720 w 3581400"/>
              <a:gd name="connsiteY3" fmla="*/ 182880 h 2255520"/>
              <a:gd name="connsiteX4" fmla="*/ 114300 w 3581400"/>
              <a:gd name="connsiteY4" fmla="*/ 266700 h 2255520"/>
              <a:gd name="connsiteX5" fmla="*/ 68580 w 3581400"/>
              <a:gd name="connsiteY5" fmla="*/ 358140 h 2255520"/>
              <a:gd name="connsiteX6" fmla="*/ 99060 w 3581400"/>
              <a:gd name="connsiteY6" fmla="*/ 449580 h 2255520"/>
              <a:gd name="connsiteX7" fmla="*/ 228600 w 3581400"/>
              <a:gd name="connsiteY7" fmla="*/ 464820 h 2255520"/>
              <a:gd name="connsiteX8" fmla="*/ 403860 w 3581400"/>
              <a:gd name="connsiteY8" fmla="*/ 472440 h 2255520"/>
              <a:gd name="connsiteX9" fmla="*/ 556260 w 3581400"/>
              <a:gd name="connsiteY9" fmla="*/ 510540 h 2255520"/>
              <a:gd name="connsiteX10" fmla="*/ 655320 w 3581400"/>
              <a:gd name="connsiteY10" fmla="*/ 632460 h 2255520"/>
              <a:gd name="connsiteX11" fmla="*/ 739140 w 3581400"/>
              <a:gd name="connsiteY11" fmla="*/ 716280 h 2255520"/>
              <a:gd name="connsiteX12" fmla="*/ 883920 w 3581400"/>
              <a:gd name="connsiteY12" fmla="*/ 746760 h 2255520"/>
              <a:gd name="connsiteX13" fmla="*/ 1005840 w 3581400"/>
              <a:gd name="connsiteY13" fmla="*/ 746760 h 2255520"/>
              <a:gd name="connsiteX14" fmla="*/ 1089660 w 3581400"/>
              <a:gd name="connsiteY14" fmla="*/ 861060 h 2255520"/>
              <a:gd name="connsiteX15" fmla="*/ 1150620 w 3581400"/>
              <a:gd name="connsiteY15" fmla="*/ 883920 h 2255520"/>
              <a:gd name="connsiteX16" fmla="*/ 1249680 w 3581400"/>
              <a:gd name="connsiteY16" fmla="*/ 853440 h 2255520"/>
              <a:gd name="connsiteX17" fmla="*/ 1379220 w 3581400"/>
              <a:gd name="connsiteY17" fmla="*/ 914400 h 2255520"/>
              <a:gd name="connsiteX18" fmla="*/ 1516380 w 3581400"/>
              <a:gd name="connsiteY18" fmla="*/ 876300 h 2255520"/>
              <a:gd name="connsiteX19" fmla="*/ 1684020 w 3581400"/>
              <a:gd name="connsiteY19" fmla="*/ 899160 h 2255520"/>
              <a:gd name="connsiteX20" fmla="*/ 1821180 w 3581400"/>
              <a:gd name="connsiteY20" fmla="*/ 899160 h 2255520"/>
              <a:gd name="connsiteX21" fmla="*/ 1897380 w 3581400"/>
              <a:gd name="connsiteY21" fmla="*/ 990600 h 2255520"/>
              <a:gd name="connsiteX22" fmla="*/ 1905000 w 3581400"/>
              <a:gd name="connsiteY22" fmla="*/ 1158240 h 2255520"/>
              <a:gd name="connsiteX23" fmla="*/ 1973580 w 3581400"/>
              <a:gd name="connsiteY23" fmla="*/ 1303020 h 2255520"/>
              <a:gd name="connsiteX24" fmla="*/ 2179320 w 3581400"/>
              <a:gd name="connsiteY24" fmla="*/ 1363980 h 2255520"/>
              <a:gd name="connsiteX25" fmla="*/ 2293620 w 3581400"/>
              <a:gd name="connsiteY25" fmla="*/ 1508760 h 2255520"/>
              <a:gd name="connsiteX26" fmla="*/ 2369820 w 3581400"/>
              <a:gd name="connsiteY26" fmla="*/ 1607820 h 2255520"/>
              <a:gd name="connsiteX27" fmla="*/ 2491740 w 3581400"/>
              <a:gd name="connsiteY27" fmla="*/ 1676400 h 2255520"/>
              <a:gd name="connsiteX28" fmla="*/ 2689860 w 3581400"/>
              <a:gd name="connsiteY28" fmla="*/ 1866900 h 2255520"/>
              <a:gd name="connsiteX29" fmla="*/ 2849880 w 3581400"/>
              <a:gd name="connsiteY29" fmla="*/ 1958340 h 2255520"/>
              <a:gd name="connsiteX30" fmla="*/ 2926080 w 3581400"/>
              <a:gd name="connsiteY30" fmla="*/ 1889760 h 2255520"/>
              <a:gd name="connsiteX31" fmla="*/ 2987040 w 3581400"/>
              <a:gd name="connsiteY31" fmla="*/ 1912620 h 2255520"/>
              <a:gd name="connsiteX32" fmla="*/ 3093720 w 3581400"/>
              <a:gd name="connsiteY32" fmla="*/ 1912620 h 2255520"/>
              <a:gd name="connsiteX33" fmla="*/ 3215640 w 3581400"/>
              <a:gd name="connsiteY33" fmla="*/ 1813560 h 2255520"/>
              <a:gd name="connsiteX34" fmla="*/ 3345180 w 3581400"/>
              <a:gd name="connsiteY34" fmla="*/ 1821180 h 2255520"/>
              <a:gd name="connsiteX35" fmla="*/ 3444240 w 3581400"/>
              <a:gd name="connsiteY35" fmla="*/ 1889760 h 2255520"/>
              <a:gd name="connsiteX36" fmla="*/ 3451860 w 3581400"/>
              <a:gd name="connsiteY36" fmla="*/ 2019300 h 2255520"/>
              <a:gd name="connsiteX37" fmla="*/ 3482340 w 3581400"/>
              <a:gd name="connsiteY37" fmla="*/ 2148840 h 2255520"/>
              <a:gd name="connsiteX38" fmla="*/ 3581400 w 3581400"/>
              <a:gd name="connsiteY38" fmla="*/ 2255520 h 2255520"/>
              <a:gd name="connsiteX0" fmla="*/ 0 w 3581400"/>
              <a:gd name="connsiteY0" fmla="*/ 0 h 2255520"/>
              <a:gd name="connsiteX1" fmla="*/ 57150 w 3581400"/>
              <a:gd name="connsiteY1" fmla="*/ 25511 h 2255520"/>
              <a:gd name="connsiteX2" fmla="*/ 45720 w 3581400"/>
              <a:gd name="connsiteY2" fmla="*/ 182880 h 2255520"/>
              <a:gd name="connsiteX3" fmla="*/ 114300 w 3581400"/>
              <a:gd name="connsiteY3" fmla="*/ 266700 h 2255520"/>
              <a:gd name="connsiteX4" fmla="*/ 68580 w 3581400"/>
              <a:gd name="connsiteY4" fmla="*/ 358140 h 2255520"/>
              <a:gd name="connsiteX5" fmla="*/ 99060 w 3581400"/>
              <a:gd name="connsiteY5" fmla="*/ 449580 h 2255520"/>
              <a:gd name="connsiteX6" fmla="*/ 228600 w 3581400"/>
              <a:gd name="connsiteY6" fmla="*/ 464820 h 2255520"/>
              <a:gd name="connsiteX7" fmla="*/ 403860 w 3581400"/>
              <a:gd name="connsiteY7" fmla="*/ 472440 h 2255520"/>
              <a:gd name="connsiteX8" fmla="*/ 556260 w 3581400"/>
              <a:gd name="connsiteY8" fmla="*/ 510540 h 2255520"/>
              <a:gd name="connsiteX9" fmla="*/ 655320 w 3581400"/>
              <a:gd name="connsiteY9" fmla="*/ 632460 h 2255520"/>
              <a:gd name="connsiteX10" fmla="*/ 739140 w 3581400"/>
              <a:gd name="connsiteY10" fmla="*/ 716280 h 2255520"/>
              <a:gd name="connsiteX11" fmla="*/ 883920 w 3581400"/>
              <a:gd name="connsiteY11" fmla="*/ 746760 h 2255520"/>
              <a:gd name="connsiteX12" fmla="*/ 1005840 w 3581400"/>
              <a:gd name="connsiteY12" fmla="*/ 746760 h 2255520"/>
              <a:gd name="connsiteX13" fmla="*/ 1089660 w 3581400"/>
              <a:gd name="connsiteY13" fmla="*/ 861060 h 2255520"/>
              <a:gd name="connsiteX14" fmla="*/ 1150620 w 3581400"/>
              <a:gd name="connsiteY14" fmla="*/ 883920 h 2255520"/>
              <a:gd name="connsiteX15" fmla="*/ 1249680 w 3581400"/>
              <a:gd name="connsiteY15" fmla="*/ 853440 h 2255520"/>
              <a:gd name="connsiteX16" fmla="*/ 1379220 w 3581400"/>
              <a:gd name="connsiteY16" fmla="*/ 914400 h 2255520"/>
              <a:gd name="connsiteX17" fmla="*/ 1516380 w 3581400"/>
              <a:gd name="connsiteY17" fmla="*/ 876300 h 2255520"/>
              <a:gd name="connsiteX18" fmla="*/ 1684020 w 3581400"/>
              <a:gd name="connsiteY18" fmla="*/ 899160 h 2255520"/>
              <a:gd name="connsiteX19" fmla="*/ 1821180 w 3581400"/>
              <a:gd name="connsiteY19" fmla="*/ 899160 h 2255520"/>
              <a:gd name="connsiteX20" fmla="*/ 1897380 w 3581400"/>
              <a:gd name="connsiteY20" fmla="*/ 990600 h 2255520"/>
              <a:gd name="connsiteX21" fmla="*/ 1905000 w 3581400"/>
              <a:gd name="connsiteY21" fmla="*/ 1158240 h 2255520"/>
              <a:gd name="connsiteX22" fmla="*/ 1973580 w 3581400"/>
              <a:gd name="connsiteY22" fmla="*/ 1303020 h 2255520"/>
              <a:gd name="connsiteX23" fmla="*/ 2179320 w 3581400"/>
              <a:gd name="connsiteY23" fmla="*/ 1363980 h 2255520"/>
              <a:gd name="connsiteX24" fmla="*/ 2293620 w 3581400"/>
              <a:gd name="connsiteY24" fmla="*/ 1508760 h 2255520"/>
              <a:gd name="connsiteX25" fmla="*/ 2369820 w 3581400"/>
              <a:gd name="connsiteY25" fmla="*/ 1607820 h 2255520"/>
              <a:gd name="connsiteX26" fmla="*/ 2491740 w 3581400"/>
              <a:gd name="connsiteY26" fmla="*/ 1676400 h 2255520"/>
              <a:gd name="connsiteX27" fmla="*/ 2689860 w 3581400"/>
              <a:gd name="connsiteY27" fmla="*/ 1866900 h 2255520"/>
              <a:gd name="connsiteX28" fmla="*/ 2849880 w 3581400"/>
              <a:gd name="connsiteY28" fmla="*/ 1958340 h 2255520"/>
              <a:gd name="connsiteX29" fmla="*/ 2926080 w 3581400"/>
              <a:gd name="connsiteY29" fmla="*/ 1889760 h 2255520"/>
              <a:gd name="connsiteX30" fmla="*/ 2987040 w 3581400"/>
              <a:gd name="connsiteY30" fmla="*/ 1912620 h 2255520"/>
              <a:gd name="connsiteX31" fmla="*/ 3093720 w 3581400"/>
              <a:gd name="connsiteY31" fmla="*/ 1912620 h 2255520"/>
              <a:gd name="connsiteX32" fmla="*/ 3215640 w 3581400"/>
              <a:gd name="connsiteY32" fmla="*/ 1813560 h 2255520"/>
              <a:gd name="connsiteX33" fmla="*/ 3345180 w 3581400"/>
              <a:gd name="connsiteY33" fmla="*/ 1821180 h 2255520"/>
              <a:gd name="connsiteX34" fmla="*/ 3444240 w 3581400"/>
              <a:gd name="connsiteY34" fmla="*/ 1889760 h 2255520"/>
              <a:gd name="connsiteX35" fmla="*/ 3451860 w 3581400"/>
              <a:gd name="connsiteY35" fmla="*/ 2019300 h 2255520"/>
              <a:gd name="connsiteX36" fmla="*/ 3482340 w 3581400"/>
              <a:gd name="connsiteY36" fmla="*/ 2148840 h 2255520"/>
              <a:gd name="connsiteX37" fmla="*/ 3581400 w 3581400"/>
              <a:gd name="connsiteY37" fmla="*/ 2255520 h 2255520"/>
              <a:gd name="connsiteX0" fmla="*/ 0 w 3581400"/>
              <a:gd name="connsiteY0" fmla="*/ 0 h 2255520"/>
              <a:gd name="connsiteX1" fmla="*/ 57150 w 3581400"/>
              <a:gd name="connsiteY1" fmla="*/ 25511 h 2255520"/>
              <a:gd name="connsiteX2" fmla="*/ 114300 w 3581400"/>
              <a:gd name="connsiteY2" fmla="*/ 266700 h 2255520"/>
              <a:gd name="connsiteX3" fmla="*/ 68580 w 3581400"/>
              <a:gd name="connsiteY3" fmla="*/ 358140 h 2255520"/>
              <a:gd name="connsiteX4" fmla="*/ 99060 w 3581400"/>
              <a:gd name="connsiteY4" fmla="*/ 449580 h 2255520"/>
              <a:gd name="connsiteX5" fmla="*/ 228600 w 3581400"/>
              <a:gd name="connsiteY5" fmla="*/ 464820 h 2255520"/>
              <a:gd name="connsiteX6" fmla="*/ 403860 w 3581400"/>
              <a:gd name="connsiteY6" fmla="*/ 472440 h 2255520"/>
              <a:gd name="connsiteX7" fmla="*/ 556260 w 3581400"/>
              <a:gd name="connsiteY7" fmla="*/ 510540 h 2255520"/>
              <a:gd name="connsiteX8" fmla="*/ 655320 w 3581400"/>
              <a:gd name="connsiteY8" fmla="*/ 632460 h 2255520"/>
              <a:gd name="connsiteX9" fmla="*/ 739140 w 3581400"/>
              <a:gd name="connsiteY9" fmla="*/ 716280 h 2255520"/>
              <a:gd name="connsiteX10" fmla="*/ 883920 w 3581400"/>
              <a:gd name="connsiteY10" fmla="*/ 746760 h 2255520"/>
              <a:gd name="connsiteX11" fmla="*/ 1005840 w 3581400"/>
              <a:gd name="connsiteY11" fmla="*/ 746760 h 2255520"/>
              <a:gd name="connsiteX12" fmla="*/ 1089660 w 3581400"/>
              <a:gd name="connsiteY12" fmla="*/ 861060 h 2255520"/>
              <a:gd name="connsiteX13" fmla="*/ 1150620 w 3581400"/>
              <a:gd name="connsiteY13" fmla="*/ 883920 h 2255520"/>
              <a:gd name="connsiteX14" fmla="*/ 1249680 w 3581400"/>
              <a:gd name="connsiteY14" fmla="*/ 853440 h 2255520"/>
              <a:gd name="connsiteX15" fmla="*/ 1379220 w 3581400"/>
              <a:gd name="connsiteY15" fmla="*/ 914400 h 2255520"/>
              <a:gd name="connsiteX16" fmla="*/ 1516380 w 3581400"/>
              <a:gd name="connsiteY16" fmla="*/ 876300 h 2255520"/>
              <a:gd name="connsiteX17" fmla="*/ 1684020 w 3581400"/>
              <a:gd name="connsiteY17" fmla="*/ 899160 h 2255520"/>
              <a:gd name="connsiteX18" fmla="*/ 1821180 w 3581400"/>
              <a:gd name="connsiteY18" fmla="*/ 899160 h 2255520"/>
              <a:gd name="connsiteX19" fmla="*/ 1897380 w 3581400"/>
              <a:gd name="connsiteY19" fmla="*/ 990600 h 2255520"/>
              <a:gd name="connsiteX20" fmla="*/ 1905000 w 3581400"/>
              <a:gd name="connsiteY20" fmla="*/ 1158240 h 2255520"/>
              <a:gd name="connsiteX21" fmla="*/ 1973580 w 3581400"/>
              <a:gd name="connsiteY21" fmla="*/ 1303020 h 2255520"/>
              <a:gd name="connsiteX22" fmla="*/ 2179320 w 3581400"/>
              <a:gd name="connsiteY22" fmla="*/ 1363980 h 2255520"/>
              <a:gd name="connsiteX23" fmla="*/ 2293620 w 3581400"/>
              <a:gd name="connsiteY23" fmla="*/ 1508760 h 2255520"/>
              <a:gd name="connsiteX24" fmla="*/ 2369820 w 3581400"/>
              <a:gd name="connsiteY24" fmla="*/ 1607820 h 2255520"/>
              <a:gd name="connsiteX25" fmla="*/ 2491740 w 3581400"/>
              <a:gd name="connsiteY25" fmla="*/ 1676400 h 2255520"/>
              <a:gd name="connsiteX26" fmla="*/ 2689860 w 3581400"/>
              <a:gd name="connsiteY26" fmla="*/ 1866900 h 2255520"/>
              <a:gd name="connsiteX27" fmla="*/ 2849880 w 3581400"/>
              <a:gd name="connsiteY27" fmla="*/ 1958340 h 2255520"/>
              <a:gd name="connsiteX28" fmla="*/ 2926080 w 3581400"/>
              <a:gd name="connsiteY28" fmla="*/ 1889760 h 2255520"/>
              <a:gd name="connsiteX29" fmla="*/ 2987040 w 3581400"/>
              <a:gd name="connsiteY29" fmla="*/ 1912620 h 2255520"/>
              <a:gd name="connsiteX30" fmla="*/ 3093720 w 3581400"/>
              <a:gd name="connsiteY30" fmla="*/ 1912620 h 2255520"/>
              <a:gd name="connsiteX31" fmla="*/ 3215640 w 3581400"/>
              <a:gd name="connsiteY31" fmla="*/ 1813560 h 2255520"/>
              <a:gd name="connsiteX32" fmla="*/ 3345180 w 3581400"/>
              <a:gd name="connsiteY32" fmla="*/ 1821180 h 2255520"/>
              <a:gd name="connsiteX33" fmla="*/ 3444240 w 3581400"/>
              <a:gd name="connsiteY33" fmla="*/ 1889760 h 2255520"/>
              <a:gd name="connsiteX34" fmla="*/ 3451860 w 3581400"/>
              <a:gd name="connsiteY34" fmla="*/ 2019300 h 2255520"/>
              <a:gd name="connsiteX35" fmla="*/ 3482340 w 3581400"/>
              <a:gd name="connsiteY35" fmla="*/ 2148840 h 2255520"/>
              <a:gd name="connsiteX36" fmla="*/ 3581400 w 3581400"/>
              <a:gd name="connsiteY36" fmla="*/ 2255520 h 2255520"/>
              <a:gd name="connsiteX0" fmla="*/ 0 w 3581400"/>
              <a:gd name="connsiteY0" fmla="*/ 0 h 2255520"/>
              <a:gd name="connsiteX1" fmla="*/ 114300 w 3581400"/>
              <a:gd name="connsiteY1" fmla="*/ 266700 h 2255520"/>
              <a:gd name="connsiteX2" fmla="*/ 68580 w 3581400"/>
              <a:gd name="connsiteY2" fmla="*/ 358140 h 2255520"/>
              <a:gd name="connsiteX3" fmla="*/ 99060 w 3581400"/>
              <a:gd name="connsiteY3" fmla="*/ 449580 h 2255520"/>
              <a:gd name="connsiteX4" fmla="*/ 228600 w 3581400"/>
              <a:gd name="connsiteY4" fmla="*/ 464820 h 2255520"/>
              <a:gd name="connsiteX5" fmla="*/ 403860 w 3581400"/>
              <a:gd name="connsiteY5" fmla="*/ 472440 h 2255520"/>
              <a:gd name="connsiteX6" fmla="*/ 556260 w 3581400"/>
              <a:gd name="connsiteY6" fmla="*/ 510540 h 2255520"/>
              <a:gd name="connsiteX7" fmla="*/ 655320 w 3581400"/>
              <a:gd name="connsiteY7" fmla="*/ 632460 h 2255520"/>
              <a:gd name="connsiteX8" fmla="*/ 739140 w 3581400"/>
              <a:gd name="connsiteY8" fmla="*/ 716280 h 2255520"/>
              <a:gd name="connsiteX9" fmla="*/ 883920 w 3581400"/>
              <a:gd name="connsiteY9" fmla="*/ 746760 h 2255520"/>
              <a:gd name="connsiteX10" fmla="*/ 1005840 w 3581400"/>
              <a:gd name="connsiteY10" fmla="*/ 746760 h 2255520"/>
              <a:gd name="connsiteX11" fmla="*/ 1089660 w 3581400"/>
              <a:gd name="connsiteY11" fmla="*/ 861060 h 2255520"/>
              <a:gd name="connsiteX12" fmla="*/ 1150620 w 3581400"/>
              <a:gd name="connsiteY12" fmla="*/ 883920 h 2255520"/>
              <a:gd name="connsiteX13" fmla="*/ 1249680 w 3581400"/>
              <a:gd name="connsiteY13" fmla="*/ 853440 h 2255520"/>
              <a:gd name="connsiteX14" fmla="*/ 1379220 w 3581400"/>
              <a:gd name="connsiteY14" fmla="*/ 914400 h 2255520"/>
              <a:gd name="connsiteX15" fmla="*/ 1516380 w 3581400"/>
              <a:gd name="connsiteY15" fmla="*/ 876300 h 2255520"/>
              <a:gd name="connsiteX16" fmla="*/ 1684020 w 3581400"/>
              <a:gd name="connsiteY16" fmla="*/ 899160 h 2255520"/>
              <a:gd name="connsiteX17" fmla="*/ 1821180 w 3581400"/>
              <a:gd name="connsiteY17" fmla="*/ 899160 h 2255520"/>
              <a:gd name="connsiteX18" fmla="*/ 1897380 w 3581400"/>
              <a:gd name="connsiteY18" fmla="*/ 990600 h 2255520"/>
              <a:gd name="connsiteX19" fmla="*/ 1905000 w 3581400"/>
              <a:gd name="connsiteY19" fmla="*/ 1158240 h 2255520"/>
              <a:gd name="connsiteX20" fmla="*/ 1973580 w 3581400"/>
              <a:gd name="connsiteY20" fmla="*/ 1303020 h 2255520"/>
              <a:gd name="connsiteX21" fmla="*/ 2179320 w 3581400"/>
              <a:gd name="connsiteY21" fmla="*/ 1363980 h 2255520"/>
              <a:gd name="connsiteX22" fmla="*/ 2293620 w 3581400"/>
              <a:gd name="connsiteY22" fmla="*/ 1508760 h 2255520"/>
              <a:gd name="connsiteX23" fmla="*/ 2369820 w 3581400"/>
              <a:gd name="connsiteY23" fmla="*/ 1607820 h 2255520"/>
              <a:gd name="connsiteX24" fmla="*/ 2491740 w 3581400"/>
              <a:gd name="connsiteY24" fmla="*/ 1676400 h 2255520"/>
              <a:gd name="connsiteX25" fmla="*/ 2689860 w 3581400"/>
              <a:gd name="connsiteY25" fmla="*/ 1866900 h 2255520"/>
              <a:gd name="connsiteX26" fmla="*/ 2849880 w 3581400"/>
              <a:gd name="connsiteY26" fmla="*/ 1958340 h 2255520"/>
              <a:gd name="connsiteX27" fmla="*/ 2926080 w 3581400"/>
              <a:gd name="connsiteY27" fmla="*/ 1889760 h 2255520"/>
              <a:gd name="connsiteX28" fmla="*/ 2987040 w 3581400"/>
              <a:gd name="connsiteY28" fmla="*/ 1912620 h 2255520"/>
              <a:gd name="connsiteX29" fmla="*/ 3093720 w 3581400"/>
              <a:gd name="connsiteY29" fmla="*/ 1912620 h 2255520"/>
              <a:gd name="connsiteX30" fmla="*/ 3215640 w 3581400"/>
              <a:gd name="connsiteY30" fmla="*/ 1813560 h 2255520"/>
              <a:gd name="connsiteX31" fmla="*/ 3345180 w 3581400"/>
              <a:gd name="connsiteY31" fmla="*/ 1821180 h 2255520"/>
              <a:gd name="connsiteX32" fmla="*/ 3444240 w 3581400"/>
              <a:gd name="connsiteY32" fmla="*/ 1889760 h 2255520"/>
              <a:gd name="connsiteX33" fmla="*/ 3451860 w 3581400"/>
              <a:gd name="connsiteY33" fmla="*/ 2019300 h 2255520"/>
              <a:gd name="connsiteX34" fmla="*/ 3482340 w 3581400"/>
              <a:gd name="connsiteY34" fmla="*/ 2148840 h 2255520"/>
              <a:gd name="connsiteX35" fmla="*/ 3581400 w 3581400"/>
              <a:gd name="connsiteY35" fmla="*/ 2255520 h 2255520"/>
              <a:gd name="connsiteX0" fmla="*/ 45719 w 3512819"/>
              <a:gd name="connsiteY0" fmla="*/ 1 h 1988821"/>
              <a:gd name="connsiteX1" fmla="*/ -1 w 3512819"/>
              <a:gd name="connsiteY1" fmla="*/ 91441 h 1988821"/>
              <a:gd name="connsiteX2" fmla="*/ 30479 w 3512819"/>
              <a:gd name="connsiteY2" fmla="*/ 182881 h 1988821"/>
              <a:gd name="connsiteX3" fmla="*/ 160019 w 3512819"/>
              <a:gd name="connsiteY3" fmla="*/ 198121 h 1988821"/>
              <a:gd name="connsiteX4" fmla="*/ 335279 w 3512819"/>
              <a:gd name="connsiteY4" fmla="*/ 205741 h 1988821"/>
              <a:gd name="connsiteX5" fmla="*/ 487679 w 3512819"/>
              <a:gd name="connsiteY5" fmla="*/ 243841 h 1988821"/>
              <a:gd name="connsiteX6" fmla="*/ 586739 w 3512819"/>
              <a:gd name="connsiteY6" fmla="*/ 365761 h 1988821"/>
              <a:gd name="connsiteX7" fmla="*/ 670559 w 3512819"/>
              <a:gd name="connsiteY7" fmla="*/ 449581 h 1988821"/>
              <a:gd name="connsiteX8" fmla="*/ 815339 w 3512819"/>
              <a:gd name="connsiteY8" fmla="*/ 480061 h 1988821"/>
              <a:gd name="connsiteX9" fmla="*/ 937259 w 3512819"/>
              <a:gd name="connsiteY9" fmla="*/ 480061 h 1988821"/>
              <a:gd name="connsiteX10" fmla="*/ 1021079 w 3512819"/>
              <a:gd name="connsiteY10" fmla="*/ 594361 h 1988821"/>
              <a:gd name="connsiteX11" fmla="*/ 1082039 w 3512819"/>
              <a:gd name="connsiteY11" fmla="*/ 617221 h 1988821"/>
              <a:gd name="connsiteX12" fmla="*/ 1181099 w 3512819"/>
              <a:gd name="connsiteY12" fmla="*/ 586741 h 1988821"/>
              <a:gd name="connsiteX13" fmla="*/ 1310639 w 3512819"/>
              <a:gd name="connsiteY13" fmla="*/ 647701 h 1988821"/>
              <a:gd name="connsiteX14" fmla="*/ 1447799 w 3512819"/>
              <a:gd name="connsiteY14" fmla="*/ 609601 h 1988821"/>
              <a:gd name="connsiteX15" fmla="*/ 1615439 w 3512819"/>
              <a:gd name="connsiteY15" fmla="*/ 632461 h 1988821"/>
              <a:gd name="connsiteX16" fmla="*/ 1752599 w 3512819"/>
              <a:gd name="connsiteY16" fmla="*/ 632461 h 1988821"/>
              <a:gd name="connsiteX17" fmla="*/ 1828799 w 3512819"/>
              <a:gd name="connsiteY17" fmla="*/ 723901 h 1988821"/>
              <a:gd name="connsiteX18" fmla="*/ 1836419 w 3512819"/>
              <a:gd name="connsiteY18" fmla="*/ 891541 h 1988821"/>
              <a:gd name="connsiteX19" fmla="*/ 1904999 w 3512819"/>
              <a:gd name="connsiteY19" fmla="*/ 1036321 h 1988821"/>
              <a:gd name="connsiteX20" fmla="*/ 2110739 w 3512819"/>
              <a:gd name="connsiteY20" fmla="*/ 1097281 h 1988821"/>
              <a:gd name="connsiteX21" fmla="*/ 2225039 w 3512819"/>
              <a:gd name="connsiteY21" fmla="*/ 1242061 h 1988821"/>
              <a:gd name="connsiteX22" fmla="*/ 2301239 w 3512819"/>
              <a:gd name="connsiteY22" fmla="*/ 1341121 h 1988821"/>
              <a:gd name="connsiteX23" fmla="*/ 2423159 w 3512819"/>
              <a:gd name="connsiteY23" fmla="*/ 1409701 h 1988821"/>
              <a:gd name="connsiteX24" fmla="*/ 2621279 w 3512819"/>
              <a:gd name="connsiteY24" fmla="*/ 1600201 h 1988821"/>
              <a:gd name="connsiteX25" fmla="*/ 2781299 w 3512819"/>
              <a:gd name="connsiteY25" fmla="*/ 1691641 h 1988821"/>
              <a:gd name="connsiteX26" fmla="*/ 2857499 w 3512819"/>
              <a:gd name="connsiteY26" fmla="*/ 1623061 h 1988821"/>
              <a:gd name="connsiteX27" fmla="*/ 2918459 w 3512819"/>
              <a:gd name="connsiteY27" fmla="*/ 1645921 h 1988821"/>
              <a:gd name="connsiteX28" fmla="*/ 3025139 w 3512819"/>
              <a:gd name="connsiteY28" fmla="*/ 1645921 h 1988821"/>
              <a:gd name="connsiteX29" fmla="*/ 3147059 w 3512819"/>
              <a:gd name="connsiteY29" fmla="*/ 1546861 h 1988821"/>
              <a:gd name="connsiteX30" fmla="*/ 3276599 w 3512819"/>
              <a:gd name="connsiteY30" fmla="*/ 1554481 h 1988821"/>
              <a:gd name="connsiteX31" fmla="*/ 3375659 w 3512819"/>
              <a:gd name="connsiteY31" fmla="*/ 1623061 h 1988821"/>
              <a:gd name="connsiteX32" fmla="*/ 3383279 w 3512819"/>
              <a:gd name="connsiteY32" fmla="*/ 1752601 h 1988821"/>
              <a:gd name="connsiteX33" fmla="*/ 3413759 w 3512819"/>
              <a:gd name="connsiteY33" fmla="*/ 1882141 h 1988821"/>
              <a:gd name="connsiteX34" fmla="*/ 3512819 w 3512819"/>
              <a:gd name="connsiteY34" fmla="*/ 1988821 h 1988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3512819" h="1988821">
                <a:moveTo>
                  <a:pt x="45719" y="1"/>
                </a:moveTo>
                <a:lnTo>
                  <a:pt x="-1" y="91441"/>
                </a:lnTo>
                <a:lnTo>
                  <a:pt x="30479" y="182881"/>
                </a:lnTo>
                <a:lnTo>
                  <a:pt x="160019" y="198121"/>
                </a:lnTo>
                <a:lnTo>
                  <a:pt x="335279" y="205741"/>
                </a:lnTo>
                <a:lnTo>
                  <a:pt x="487679" y="243841"/>
                </a:lnTo>
                <a:lnTo>
                  <a:pt x="586739" y="365761"/>
                </a:lnTo>
                <a:lnTo>
                  <a:pt x="670559" y="449581"/>
                </a:lnTo>
                <a:lnTo>
                  <a:pt x="815339" y="480061"/>
                </a:lnTo>
                <a:lnTo>
                  <a:pt x="937259" y="480061"/>
                </a:lnTo>
                <a:lnTo>
                  <a:pt x="1021079" y="594361"/>
                </a:lnTo>
                <a:lnTo>
                  <a:pt x="1082039" y="617221"/>
                </a:lnTo>
                <a:lnTo>
                  <a:pt x="1181099" y="586741"/>
                </a:lnTo>
                <a:lnTo>
                  <a:pt x="1310639" y="647701"/>
                </a:lnTo>
                <a:lnTo>
                  <a:pt x="1447799" y="609601"/>
                </a:lnTo>
                <a:lnTo>
                  <a:pt x="1615439" y="632461"/>
                </a:lnTo>
                <a:lnTo>
                  <a:pt x="1752599" y="632461"/>
                </a:lnTo>
                <a:lnTo>
                  <a:pt x="1828799" y="723901"/>
                </a:lnTo>
                <a:lnTo>
                  <a:pt x="1836419" y="891541"/>
                </a:lnTo>
                <a:lnTo>
                  <a:pt x="1904999" y="1036321"/>
                </a:lnTo>
                <a:lnTo>
                  <a:pt x="2110739" y="1097281"/>
                </a:lnTo>
                <a:lnTo>
                  <a:pt x="2225039" y="1242061"/>
                </a:lnTo>
                <a:lnTo>
                  <a:pt x="2301239" y="1341121"/>
                </a:lnTo>
                <a:lnTo>
                  <a:pt x="2423159" y="1409701"/>
                </a:lnTo>
                <a:lnTo>
                  <a:pt x="2621279" y="1600201"/>
                </a:lnTo>
                <a:lnTo>
                  <a:pt x="2781299" y="1691641"/>
                </a:lnTo>
                <a:lnTo>
                  <a:pt x="2857499" y="1623061"/>
                </a:lnTo>
                <a:lnTo>
                  <a:pt x="2918459" y="1645921"/>
                </a:lnTo>
                <a:lnTo>
                  <a:pt x="3025139" y="1645921"/>
                </a:lnTo>
                <a:lnTo>
                  <a:pt x="3147059" y="1546861"/>
                </a:lnTo>
                <a:lnTo>
                  <a:pt x="3276599" y="1554481"/>
                </a:lnTo>
                <a:lnTo>
                  <a:pt x="3375659" y="1623061"/>
                </a:lnTo>
                <a:lnTo>
                  <a:pt x="3383279" y="1752601"/>
                </a:lnTo>
                <a:lnTo>
                  <a:pt x="3413759" y="1882141"/>
                </a:lnTo>
                <a:lnTo>
                  <a:pt x="3512819" y="1988821"/>
                </a:lnTo>
              </a:path>
            </a:pathLst>
          </a:cu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Freeform 21"/>
          <p:cNvSpPr/>
          <p:nvPr/>
        </p:nvSpPr>
        <p:spPr bwMode="auto">
          <a:xfrm>
            <a:off x="3547064" y="2246178"/>
            <a:ext cx="258799" cy="790430"/>
          </a:xfrm>
          <a:custGeom>
            <a:avLst/>
            <a:gdLst>
              <a:gd name="connsiteX0" fmla="*/ 0 w 426720"/>
              <a:gd name="connsiteY0" fmla="*/ 0 h 1318260"/>
              <a:gd name="connsiteX1" fmla="*/ 83820 w 426720"/>
              <a:gd name="connsiteY1" fmla="*/ 114300 h 1318260"/>
              <a:gd name="connsiteX2" fmla="*/ 99060 w 426720"/>
              <a:gd name="connsiteY2" fmla="*/ 266700 h 1318260"/>
              <a:gd name="connsiteX3" fmla="*/ 68580 w 426720"/>
              <a:gd name="connsiteY3" fmla="*/ 419100 h 1318260"/>
              <a:gd name="connsiteX4" fmla="*/ 144780 w 426720"/>
              <a:gd name="connsiteY4" fmla="*/ 609600 h 1318260"/>
              <a:gd name="connsiteX5" fmla="*/ 220980 w 426720"/>
              <a:gd name="connsiteY5" fmla="*/ 822960 h 1318260"/>
              <a:gd name="connsiteX6" fmla="*/ 175260 w 426720"/>
              <a:gd name="connsiteY6" fmla="*/ 914400 h 1318260"/>
              <a:gd name="connsiteX7" fmla="*/ 243840 w 426720"/>
              <a:gd name="connsiteY7" fmla="*/ 1112520 h 1318260"/>
              <a:gd name="connsiteX8" fmla="*/ 426720 w 426720"/>
              <a:gd name="connsiteY8" fmla="*/ 1318260 h 1318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720" h="1318260">
                <a:moveTo>
                  <a:pt x="0" y="0"/>
                </a:moveTo>
                <a:lnTo>
                  <a:pt x="83820" y="114300"/>
                </a:lnTo>
                <a:lnTo>
                  <a:pt x="99060" y="266700"/>
                </a:lnTo>
                <a:lnTo>
                  <a:pt x="68580" y="419100"/>
                </a:lnTo>
                <a:lnTo>
                  <a:pt x="144780" y="609600"/>
                </a:lnTo>
                <a:lnTo>
                  <a:pt x="220980" y="822960"/>
                </a:lnTo>
                <a:lnTo>
                  <a:pt x="175260" y="914400"/>
                </a:lnTo>
                <a:lnTo>
                  <a:pt x="243840" y="1112520"/>
                </a:lnTo>
                <a:lnTo>
                  <a:pt x="426720" y="1318260"/>
                </a:lnTo>
              </a:path>
            </a:pathLst>
          </a:custGeom>
          <a:noFill/>
          <a:ln w="19050">
            <a:solidFill>
              <a:srgbClr val="3861BE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Freeform 43"/>
          <p:cNvSpPr/>
          <p:nvPr/>
        </p:nvSpPr>
        <p:spPr bwMode="auto">
          <a:xfrm>
            <a:off x="1610694" y="4110314"/>
            <a:ext cx="817989" cy="219309"/>
          </a:xfrm>
          <a:custGeom>
            <a:avLst/>
            <a:gdLst>
              <a:gd name="connsiteX0" fmla="*/ 0 w 1348740"/>
              <a:gd name="connsiteY0" fmla="*/ 274320 h 365760"/>
              <a:gd name="connsiteX1" fmla="*/ 152400 w 1348740"/>
              <a:gd name="connsiteY1" fmla="*/ 365760 h 365760"/>
              <a:gd name="connsiteX2" fmla="*/ 327660 w 1348740"/>
              <a:gd name="connsiteY2" fmla="*/ 365760 h 365760"/>
              <a:gd name="connsiteX3" fmla="*/ 548640 w 1348740"/>
              <a:gd name="connsiteY3" fmla="*/ 236220 h 365760"/>
              <a:gd name="connsiteX4" fmla="*/ 792480 w 1348740"/>
              <a:gd name="connsiteY4" fmla="*/ 30480 h 365760"/>
              <a:gd name="connsiteX5" fmla="*/ 967740 w 1348740"/>
              <a:gd name="connsiteY5" fmla="*/ 0 h 365760"/>
              <a:gd name="connsiteX6" fmla="*/ 1196340 w 1348740"/>
              <a:gd name="connsiteY6" fmla="*/ 7620 h 365760"/>
              <a:gd name="connsiteX7" fmla="*/ 1348740 w 1348740"/>
              <a:gd name="connsiteY7" fmla="*/ 3048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8740" h="365760">
                <a:moveTo>
                  <a:pt x="0" y="274320"/>
                </a:moveTo>
                <a:lnTo>
                  <a:pt x="152400" y="365760"/>
                </a:lnTo>
                <a:lnTo>
                  <a:pt x="327660" y="365760"/>
                </a:lnTo>
                <a:lnTo>
                  <a:pt x="548640" y="236220"/>
                </a:lnTo>
                <a:lnTo>
                  <a:pt x="792480" y="30480"/>
                </a:lnTo>
                <a:lnTo>
                  <a:pt x="967740" y="0"/>
                </a:lnTo>
                <a:lnTo>
                  <a:pt x="1196340" y="7620"/>
                </a:lnTo>
                <a:lnTo>
                  <a:pt x="1348740" y="30480"/>
                </a:lnTo>
              </a:path>
            </a:pathLst>
          </a:custGeom>
          <a:noFill/>
          <a:ln w="28575">
            <a:solidFill>
              <a:srgbClr val="007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1775" tIns="15888" rIns="31775" bIns="15888"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 rot="19007743">
            <a:off x="664910" y="4937936"/>
            <a:ext cx="289918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latinLnBrk="0">
              <a:lnSpc>
                <a:spcPct val="80000"/>
              </a:lnSpc>
            </a:pPr>
            <a:r>
              <a:rPr lang="en-US" sz="700" b="1" dirty="0">
                <a:solidFill>
                  <a:srgbClr val="0070C0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INDUS</a:t>
            </a:r>
            <a:endParaRPr lang="en-US" sz="700" b="1" i="1" dirty="0">
              <a:solidFill>
                <a:srgbClr val="0070C0"/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9" name="Oval 483"/>
          <p:cNvSpPr/>
          <p:nvPr/>
        </p:nvSpPr>
        <p:spPr bwMode="auto">
          <a:xfrm>
            <a:off x="6478027" y="159643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0" name="Freeform 484"/>
          <p:cNvSpPr/>
          <p:nvPr/>
        </p:nvSpPr>
        <p:spPr bwMode="auto">
          <a:xfrm>
            <a:off x="6504833" y="169599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1" name="Freeform 485"/>
          <p:cNvSpPr/>
          <p:nvPr/>
        </p:nvSpPr>
        <p:spPr bwMode="auto">
          <a:xfrm flipH="1">
            <a:off x="6535070" y="169599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2" name="Oval 471"/>
          <p:cNvSpPr/>
          <p:nvPr/>
        </p:nvSpPr>
        <p:spPr bwMode="auto">
          <a:xfrm>
            <a:off x="325779" y="5379670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3" name="Freeform 472"/>
          <p:cNvSpPr/>
          <p:nvPr/>
        </p:nvSpPr>
        <p:spPr bwMode="auto">
          <a:xfrm>
            <a:off x="352586" y="5389627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4" name="Freeform 473"/>
          <p:cNvSpPr/>
          <p:nvPr/>
        </p:nvSpPr>
        <p:spPr bwMode="auto">
          <a:xfrm flipH="1">
            <a:off x="382823" y="5389627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1" name="Oval 447"/>
          <p:cNvSpPr/>
          <p:nvPr/>
        </p:nvSpPr>
        <p:spPr bwMode="auto">
          <a:xfrm>
            <a:off x="3907370" y="3683448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2" name="Freeform 448"/>
          <p:cNvSpPr/>
          <p:nvPr/>
        </p:nvSpPr>
        <p:spPr bwMode="auto">
          <a:xfrm>
            <a:off x="3934175" y="3693401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3" name="Freeform 449"/>
          <p:cNvSpPr/>
          <p:nvPr/>
        </p:nvSpPr>
        <p:spPr bwMode="auto">
          <a:xfrm flipH="1">
            <a:off x="3964413" y="3693401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4" name="Oval 441"/>
          <p:cNvSpPr/>
          <p:nvPr/>
        </p:nvSpPr>
        <p:spPr bwMode="auto">
          <a:xfrm>
            <a:off x="1920165" y="4180322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5" name="Freeform 442"/>
          <p:cNvSpPr/>
          <p:nvPr/>
        </p:nvSpPr>
        <p:spPr bwMode="auto">
          <a:xfrm>
            <a:off x="1946969" y="4190277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6" name="Freeform 443"/>
          <p:cNvSpPr/>
          <p:nvPr/>
        </p:nvSpPr>
        <p:spPr bwMode="auto">
          <a:xfrm flipH="1">
            <a:off x="1977208" y="4190277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7" name="Oval 438"/>
          <p:cNvSpPr/>
          <p:nvPr/>
        </p:nvSpPr>
        <p:spPr bwMode="auto">
          <a:xfrm>
            <a:off x="291119" y="2998107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8" name="Freeform 439"/>
          <p:cNvSpPr/>
          <p:nvPr/>
        </p:nvSpPr>
        <p:spPr bwMode="auto">
          <a:xfrm>
            <a:off x="317923" y="3008061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9" name="Freeform 440"/>
          <p:cNvSpPr/>
          <p:nvPr/>
        </p:nvSpPr>
        <p:spPr bwMode="auto">
          <a:xfrm flipH="1">
            <a:off x="348162" y="3008061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60" name="Oval 435"/>
          <p:cNvSpPr/>
          <p:nvPr/>
        </p:nvSpPr>
        <p:spPr bwMode="auto">
          <a:xfrm>
            <a:off x="-5662" y="2512655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61" name="Freeform 436"/>
          <p:cNvSpPr/>
          <p:nvPr/>
        </p:nvSpPr>
        <p:spPr bwMode="auto">
          <a:xfrm>
            <a:off x="21144" y="2522607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62" name="Freeform 437"/>
          <p:cNvSpPr/>
          <p:nvPr/>
        </p:nvSpPr>
        <p:spPr bwMode="auto">
          <a:xfrm flipH="1">
            <a:off x="51381" y="2522607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63" name="Oval 432"/>
          <p:cNvSpPr/>
          <p:nvPr/>
        </p:nvSpPr>
        <p:spPr bwMode="auto">
          <a:xfrm>
            <a:off x="2913767" y="2147139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64" name="Freeform 433"/>
          <p:cNvSpPr/>
          <p:nvPr/>
        </p:nvSpPr>
        <p:spPr bwMode="auto">
          <a:xfrm>
            <a:off x="2940573" y="2157094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65" name="Freeform 434"/>
          <p:cNvSpPr/>
          <p:nvPr/>
        </p:nvSpPr>
        <p:spPr bwMode="auto">
          <a:xfrm flipH="1">
            <a:off x="2970810" y="2157094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66" name="Oval 429"/>
          <p:cNvSpPr/>
          <p:nvPr/>
        </p:nvSpPr>
        <p:spPr bwMode="auto">
          <a:xfrm>
            <a:off x="3670521" y="1524619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67" name="Freeform 430"/>
          <p:cNvSpPr/>
          <p:nvPr/>
        </p:nvSpPr>
        <p:spPr bwMode="auto">
          <a:xfrm>
            <a:off x="3697327" y="1534573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68" name="Freeform 431"/>
          <p:cNvSpPr/>
          <p:nvPr/>
        </p:nvSpPr>
        <p:spPr bwMode="auto">
          <a:xfrm flipH="1">
            <a:off x="3727564" y="1534573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69" name="Oval 426"/>
          <p:cNvSpPr/>
          <p:nvPr/>
        </p:nvSpPr>
        <p:spPr bwMode="auto">
          <a:xfrm>
            <a:off x="3295032" y="953500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70" name="Freeform 427"/>
          <p:cNvSpPr/>
          <p:nvPr/>
        </p:nvSpPr>
        <p:spPr bwMode="auto">
          <a:xfrm>
            <a:off x="3321839" y="963455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71" name="Freeform 428"/>
          <p:cNvSpPr/>
          <p:nvPr/>
        </p:nvSpPr>
        <p:spPr bwMode="auto">
          <a:xfrm flipH="1">
            <a:off x="3352076" y="963455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72" name="Oval 423"/>
          <p:cNvSpPr/>
          <p:nvPr/>
        </p:nvSpPr>
        <p:spPr bwMode="auto">
          <a:xfrm>
            <a:off x="2919544" y="707917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73" name="Freeform 424"/>
          <p:cNvSpPr/>
          <p:nvPr/>
        </p:nvSpPr>
        <p:spPr bwMode="auto">
          <a:xfrm>
            <a:off x="2946350" y="717873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74" name="Freeform 425"/>
          <p:cNvSpPr/>
          <p:nvPr/>
        </p:nvSpPr>
        <p:spPr bwMode="auto">
          <a:xfrm flipH="1">
            <a:off x="2976587" y="717873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75" name="Oval 420"/>
          <p:cNvSpPr/>
          <p:nvPr/>
        </p:nvSpPr>
        <p:spPr bwMode="auto">
          <a:xfrm>
            <a:off x="2786677" y="525159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76" name="Freeform 421"/>
          <p:cNvSpPr/>
          <p:nvPr/>
        </p:nvSpPr>
        <p:spPr bwMode="auto">
          <a:xfrm>
            <a:off x="2813484" y="535115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77" name="Freeform 422"/>
          <p:cNvSpPr/>
          <p:nvPr/>
        </p:nvSpPr>
        <p:spPr bwMode="auto">
          <a:xfrm flipH="1">
            <a:off x="2843721" y="535115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78" name="Oval 417"/>
          <p:cNvSpPr/>
          <p:nvPr/>
        </p:nvSpPr>
        <p:spPr bwMode="auto">
          <a:xfrm>
            <a:off x="2330314" y="33997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79" name="Freeform 418"/>
          <p:cNvSpPr/>
          <p:nvPr/>
        </p:nvSpPr>
        <p:spPr bwMode="auto">
          <a:xfrm>
            <a:off x="2357120" y="43953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0" name="Freeform 419"/>
          <p:cNvSpPr/>
          <p:nvPr/>
        </p:nvSpPr>
        <p:spPr bwMode="auto">
          <a:xfrm flipH="1">
            <a:off x="2387357" y="43953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1" name="Oval 414"/>
          <p:cNvSpPr/>
          <p:nvPr/>
        </p:nvSpPr>
        <p:spPr bwMode="auto">
          <a:xfrm>
            <a:off x="2295654" y="393802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2" name="Freeform 415"/>
          <p:cNvSpPr/>
          <p:nvPr/>
        </p:nvSpPr>
        <p:spPr bwMode="auto">
          <a:xfrm>
            <a:off x="2322461" y="403757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3" name="Freeform 416"/>
          <p:cNvSpPr/>
          <p:nvPr/>
        </p:nvSpPr>
        <p:spPr bwMode="auto">
          <a:xfrm flipH="1">
            <a:off x="2352698" y="403757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4" name="Oval 411"/>
          <p:cNvSpPr/>
          <p:nvPr/>
        </p:nvSpPr>
        <p:spPr bwMode="auto">
          <a:xfrm>
            <a:off x="2214779" y="576560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5" name="Freeform 412"/>
          <p:cNvSpPr/>
          <p:nvPr/>
        </p:nvSpPr>
        <p:spPr bwMode="auto">
          <a:xfrm>
            <a:off x="2241586" y="586517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6" name="Freeform 413"/>
          <p:cNvSpPr/>
          <p:nvPr/>
        </p:nvSpPr>
        <p:spPr bwMode="auto">
          <a:xfrm flipH="1">
            <a:off x="2271823" y="586517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7" name="Oval 408"/>
          <p:cNvSpPr/>
          <p:nvPr/>
        </p:nvSpPr>
        <p:spPr bwMode="auto">
          <a:xfrm>
            <a:off x="2185896" y="999189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8" name="Freeform 409"/>
          <p:cNvSpPr/>
          <p:nvPr/>
        </p:nvSpPr>
        <p:spPr bwMode="auto">
          <a:xfrm>
            <a:off x="2212701" y="1009144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89" name="Freeform 410"/>
          <p:cNvSpPr/>
          <p:nvPr/>
        </p:nvSpPr>
        <p:spPr bwMode="auto">
          <a:xfrm flipH="1">
            <a:off x="2242939" y="1009144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90" name="Oval 405"/>
          <p:cNvSpPr/>
          <p:nvPr/>
        </p:nvSpPr>
        <p:spPr bwMode="auto">
          <a:xfrm>
            <a:off x="2041475" y="1347571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91" name="Freeform 406"/>
          <p:cNvSpPr/>
          <p:nvPr/>
        </p:nvSpPr>
        <p:spPr bwMode="auto">
          <a:xfrm>
            <a:off x="2068283" y="1357528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92" name="Freeform 407"/>
          <p:cNvSpPr/>
          <p:nvPr/>
        </p:nvSpPr>
        <p:spPr bwMode="auto">
          <a:xfrm flipH="1">
            <a:off x="2098518" y="1357528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93" name="Oval 384"/>
          <p:cNvSpPr/>
          <p:nvPr/>
        </p:nvSpPr>
        <p:spPr bwMode="auto">
          <a:xfrm>
            <a:off x="4617910" y="508025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94" name="Freeform 385"/>
          <p:cNvSpPr/>
          <p:nvPr/>
        </p:nvSpPr>
        <p:spPr bwMode="auto">
          <a:xfrm>
            <a:off x="4644717" y="517981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95" name="Freeform 386"/>
          <p:cNvSpPr/>
          <p:nvPr/>
        </p:nvSpPr>
        <p:spPr bwMode="auto">
          <a:xfrm flipH="1">
            <a:off x="4674952" y="517981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96" name="Oval 381"/>
          <p:cNvSpPr/>
          <p:nvPr/>
        </p:nvSpPr>
        <p:spPr bwMode="auto">
          <a:xfrm>
            <a:off x="7170775" y="776680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97" name="Freeform 382"/>
          <p:cNvSpPr/>
          <p:nvPr/>
        </p:nvSpPr>
        <p:spPr bwMode="auto">
          <a:xfrm>
            <a:off x="7197581" y="786637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98" name="Freeform 383"/>
          <p:cNvSpPr/>
          <p:nvPr/>
        </p:nvSpPr>
        <p:spPr bwMode="auto">
          <a:xfrm flipH="1">
            <a:off x="7227817" y="786637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99" name="Oval 378"/>
          <p:cNvSpPr/>
          <p:nvPr/>
        </p:nvSpPr>
        <p:spPr bwMode="auto">
          <a:xfrm>
            <a:off x="7644930" y="1364706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0" name="Freeform 379"/>
          <p:cNvSpPr/>
          <p:nvPr/>
        </p:nvSpPr>
        <p:spPr bwMode="auto">
          <a:xfrm>
            <a:off x="7671737" y="1374660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1" name="Freeform 380"/>
          <p:cNvSpPr/>
          <p:nvPr/>
        </p:nvSpPr>
        <p:spPr bwMode="auto">
          <a:xfrm flipH="1">
            <a:off x="7701974" y="1374660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2" name="Oval 375"/>
          <p:cNvSpPr/>
          <p:nvPr/>
        </p:nvSpPr>
        <p:spPr bwMode="auto">
          <a:xfrm>
            <a:off x="8170616" y="1096279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3" name="Freeform 376"/>
          <p:cNvSpPr/>
          <p:nvPr/>
        </p:nvSpPr>
        <p:spPr bwMode="auto">
          <a:xfrm>
            <a:off x="8197422" y="1106234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4" name="Freeform 377"/>
          <p:cNvSpPr/>
          <p:nvPr/>
        </p:nvSpPr>
        <p:spPr bwMode="auto">
          <a:xfrm flipH="1">
            <a:off x="8227658" y="1106234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5" name="Oval 372"/>
          <p:cNvSpPr/>
          <p:nvPr/>
        </p:nvSpPr>
        <p:spPr bwMode="auto">
          <a:xfrm>
            <a:off x="7968429" y="844986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6" name="Freeform 373"/>
          <p:cNvSpPr/>
          <p:nvPr/>
        </p:nvSpPr>
        <p:spPr bwMode="auto">
          <a:xfrm>
            <a:off x="7995235" y="854941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7" name="Freeform 374"/>
          <p:cNvSpPr/>
          <p:nvPr/>
        </p:nvSpPr>
        <p:spPr bwMode="auto">
          <a:xfrm flipH="1">
            <a:off x="8025472" y="854941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8" name="Oval 369"/>
          <p:cNvSpPr/>
          <p:nvPr/>
        </p:nvSpPr>
        <p:spPr bwMode="auto">
          <a:xfrm>
            <a:off x="8107071" y="1547463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09" name="Freeform 370"/>
          <p:cNvSpPr/>
          <p:nvPr/>
        </p:nvSpPr>
        <p:spPr bwMode="auto">
          <a:xfrm>
            <a:off x="8133877" y="1557417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10" name="Freeform 371"/>
          <p:cNvSpPr/>
          <p:nvPr/>
        </p:nvSpPr>
        <p:spPr bwMode="auto">
          <a:xfrm flipH="1">
            <a:off x="8164114" y="1557417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6609601" y="78362"/>
            <a:ext cx="584865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Bunji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7100MW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8070266" y="783284"/>
            <a:ext cx="682062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Tangus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2100MW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8258296" y="1001559"/>
            <a:ext cx="666979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Skardu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600MW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7092955" y="1363760"/>
            <a:ext cx="544644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Bashu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28MW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6626215" y="755068"/>
            <a:ext cx="529561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Harpo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33MW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7941867" y="1645473"/>
            <a:ext cx="603297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Satpara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7MW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4735997" y="509262"/>
            <a:ext cx="975332" cy="90092"/>
          </a:xfrm>
          <a:prstGeom prst="rect">
            <a:avLst/>
          </a:prstGeom>
        </p:spPr>
        <p:txBody>
          <a:bodyPr wrap="none" lIns="0" tIns="0" rIns="0" bIns="0" rtlCol="0" anchor="b">
            <a:spAutoFit/>
          </a:bodyPr>
          <a:lstStyle/>
          <a:p>
            <a:pPr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Diamer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Basha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4500MW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2359621" y="799146"/>
            <a:ext cx="616704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aigha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548MW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2662357" y="391492"/>
            <a:ext cx="626759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arang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458MW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3421701" y="991516"/>
            <a:ext cx="578162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Dasu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4320MW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3760317" y="1436744"/>
            <a:ext cx="762501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Spat 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ah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341MW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3048811" y="2059941"/>
            <a:ext cx="542968" cy="2091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Palas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Valley</a:t>
            </a:r>
          </a:p>
          <a:p>
            <a:pPr latinLnBrk="0"/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176MW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3161453" y="5102922"/>
            <a:ext cx="841266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zad 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Pattan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650MW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1381685" y="385774"/>
            <a:ext cx="911650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abral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alam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01MW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2541347" y="55208"/>
            <a:ext cx="616705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Matiltan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84MW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1377018" y="593385"/>
            <a:ext cx="827859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alam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srit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97MW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2322459" y="1006476"/>
            <a:ext cx="553023" cy="167315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srit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edam</a:t>
            </a:r>
            <a:endParaRPr lang="en-US" sz="7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80000"/>
              </a:lnSpc>
            </a:pP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215MW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1415699" y="1318551"/>
            <a:ext cx="628436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Madian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57MW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416927" y="3058036"/>
            <a:ext cx="606650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>
              <a:lnSpc>
                <a:spcPct val="80000"/>
              </a:lnSpc>
            </a:pP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Munda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740MW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-41886" y="2441140"/>
            <a:ext cx="675359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Sharmai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15MW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2044275" y="4182506"/>
            <a:ext cx="601622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khori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600MW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83504" y="5248103"/>
            <a:ext cx="832887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uram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Tangi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84MW</a:t>
            </a:r>
          </a:p>
        </p:txBody>
      </p:sp>
      <p:sp>
        <p:nvSpPr>
          <p:cNvPr id="143" name="Oval 568"/>
          <p:cNvSpPr/>
          <p:nvPr/>
        </p:nvSpPr>
        <p:spPr bwMode="auto">
          <a:xfrm>
            <a:off x="4367869" y="2764855"/>
            <a:ext cx="114396" cy="113097"/>
          </a:xfrm>
          <a:prstGeom prst="ellipse">
            <a:avLst/>
          </a:prstGeom>
          <a:solidFill>
            <a:srgbClr val="007A1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40" name="그룹 439"/>
          <p:cNvGrpSpPr/>
          <p:nvPr/>
        </p:nvGrpSpPr>
        <p:grpSpPr>
          <a:xfrm>
            <a:off x="4379400" y="2786420"/>
            <a:ext cx="77775" cy="76819"/>
            <a:chOff x="4379400" y="2786420"/>
            <a:chExt cx="77775" cy="76819"/>
          </a:xfrm>
        </p:grpSpPr>
        <p:sp>
          <p:nvSpPr>
            <p:cNvPr id="145" name="Oval 570"/>
            <p:cNvSpPr/>
            <p:nvPr/>
          </p:nvSpPr>
          <p:spPr>
            <a:xfrm>
              <a:off x="4402667" y="2786420"/>
              <a:ext cx="54508" cy="538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Freeform 571"/>
            <p:cNvSpPr/>
            <p:nvPr/>
          </p:nvSpPr>
          <p:spPr>
            <a:xfrm>
              <a:off x="4379400" y="2830927"/>
              <a:ext cx="33158" cy="32312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Oval 572"/>
            <p:cNvSpPr/>
            <p:nvPr/>
          </p:nvSpPr>
          <p:spPr>
            <a:xfrm>
              <a:off x="4411300" y="2794955"/>
              <a:ext cx="37242" cy="368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8" name="Oval 563"/>
          <p:cNvSpPr/>
          <p:nvPr/>
        </p:nvSpPr>
        <p:spPr bwMode="auto">
          <a:xfrm>
            <a:off x="4587385" y="2502139"/>
            <a:ext cx="174667" cy="172685"/>
          </a:xfrm>
          <a:prstGeom prst="ellipse">
            <a:avLst/>
          </a:prstGeom>
          <a:solidFill>
            <a:srgbClr val="007A1D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39" name="그룹 438"/>
          <p:cNvGrpSpPr/>
          <p:nvPr/>
        </p:nvGrpSpPr>
        <p:grpSpPr>
          <a:xfrm>
            <a:off x="4604994" y="2535070"/>
            <a:ext cx="118752" cy="117293"/>
            <a:chOff x="4604994" y="2535070"/>
            <a:chExt cx="118752" cy="117293"/>
          </a:xfrm>
        </p:grpSpPr>
        <p:sp>
          <p:nvSpPr>
            <p:cNvPr id="150" name="Oval 565"/>
            <p:cNvSpPr/>
            <p:nvPr/>
          </p:nvSpPr>
          <p:spPr>
            <a:xfrm>
              <a:off x="4640520" y="2535070"/>
              <a:ext cx="83226" cy="822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Freeform 566"/>
            <p:cNvSpPr/>
            <p:nvPr/>
          </p:nvSpPr>
          <p:spPr>
            <a:xfrm>
              <a:off x="4604994" y="2603026"/>
              <a:ext cx="50628" cy="49337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Oval 567"/>
            <p:cNvSpPr/>
            <p:nvPr/>
          </p:nvSpPr>
          <p:spPr>
            <a:xfrm>
              <a:off x="4653701" y="2548101"/>
              <a:ext cx="56864" cy="562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3" name="Oval 558"/>
          <p:cNvSpPr/>
          <p:nvPr/>
        </p:nvSpPr>
        <p:spPr bwMode="auto">
          <a:xfrm>
            <a:off x="3536015" y="2387915"/>
            <a:ext cx="114396" cy="113097"/>
          </a:xfrm>
          <a:prstGeom prst="ellipse">
            <a:avLst/>
          </a:prstGeom>
          <a:solidFill>
            <a:srgbClr val="007A1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38" name="그룹 437"/>
          <p:cNvGrpSpPr/>
          <p:nvPr/>
        </p:nvGrpSpPr>
        <p:grpSpPr>
          <a:xfrm>
            <a:off x="3547548" y="2409483"/>
            <a:ext cx="77775" cy="76819"/>
            <a:chOff x="3547548" y="2409483"/>
            <a:chExt cx="77775" cy="76819"/>
          </a:xfrm>
        </p:grpSpPr>
        <p:sp>
          <p:nvSpPr>
            <p:cNvPr id="155" name="Oval 560"/>
            <p:cNvSpPr/>
            <p:nvPr/>
          </p:nvSpPr>
          <p:spPr>
            <a:xfrm>
              <a:off x="3570815" y="2409483"/>
              <a:ext cx="54508" cy="538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 561"/>
            <p:cNvSpPr/>
            <p:nvPr/>
          </p:nvSpPr>
          <p:spPr>
            <a:xfrm>
              <a:off x="3547548" y="2453990"/>
              <a:ext cx="33158" cy="32312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Oval 562"/>
            <p:cNvSpPr/>
            <p:nvPr/>
          </p:nvSpPr>
          <p:spPr>
            <a:xfrm>
              <a:off x="3579448" y="2418018"/>
              <a:ext cx="37242" cy="368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8" name="Oval 553"/>
          <p:cNvSpPr/>
          <p:nvPr/>
        </p:nvSpPr>
        <p:spPr bwMode="auto">
          <a:xfrm>
            <a:off x="2819698" y="2005265"/>
            <a:ext cx="114396" cy="113097"/>
          </a:xfrm>
          <a:prstGeom prst="ellipse">
            <a:avLst/>
          </a:prstGeom>
          <a:solidFill>
            <a:srgbClr val="007A1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37" name="그룹 436"/>
          <p:cNvGrpSpPr/>
          <p:nvPr/>
        </p:nvGrpSpPr>
        <p:grpSpPr>
          <a:xfrm>
            <a:off x="2831231" y="2026831"/>
            <a:ext cx="77775" cy="76819"/>
            <a:chOff x="2831231" y="2026831"/>
            <a:chExt cx="77775" cy="76819"/>
          </a:xfrm>
        </p:grpSpPr>
        <p:sp>
          <p:nvSpPr>
            <p:cNvPr id="160" name="Oval 555"/>
            <p:cNvSpPr/>
            <p:nvPr/>
          </p:nvSpPr>
          <p:spPr>
            <a:xfrm>
              <a:off x="2854498" y="2026831"/>
              <a:ext cx="54508" cy="538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Freeform 556"/>
            <p:cNvSpPr/>
            <p:nvPr/>
          </p:nvSpPr>
          <p:spPr>
            <a:xfrm>
              <a:off x="2831231" y="2071338"/>
              <a:ext cx="33158" cy="32312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Oval 557"/>
            <p:cNvSpPr/>
            <p:nvPr/>
          </p:nvSpPr>
          <p:spPr>
            <a:xfrm>
              <a:off x="2863131" y="2035366"/>
              <a:ext cx="37242" cy="368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3" name="Oval 548"/>
          <p:cNvSpPr/>
          <p:nvPr/>
        </p:nvSpPr>
        <p:spPr bwMode="auto">
          <a:xfrm>
            <a:off x="3206740" y="1451281"/>
            <a:ext cx="174667" cy="172685"/>
          </a:xfrm>
          <a:prstGeom prst="ellipse">
            <a:avLst/>
          </a:prstGeom>
          <a:solidFill>
            <a:srgbClr val="007A1D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36" name="그룹 435"/>
          <p:cNvGrpSpPr/>
          <p:nvPr/>
        </p:nvGrpSpPr>
        <p:grpSpPr>
          <a:xfrm>
            <a:off x="3224349" y="1484210"/>
            <a:ext cx="118752" cy="117293"/>
            <a:chOff x="3224349" y="1484210"/>
            <a:chExt cx="118752" cy="117293"/>
          </a:xfrm>
        </p:grpSpPr>
        <p:sp>
          <p:nvSpPr>
            <p:cNvPr id="165" name="Oval 550"/>
            <p:cNvSpPr/>
            <p:nvPr/>
          </p:nvSpPr>
          <p:spPr>
            <a:xfrm>
              <a:off x="3259875" y="1484210"/>
              <a:ext cx="83226" cy="822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 551"/>
            <p:cNvSpPr/>
            <p:nvPr/>
          </p:nvSpPr>
          <p:spPr>
            <a:xfrm>
              <a:off x="3224349" y="1552166"/>
              <a:ext cx="50628" cy="49337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Oval 552"/>
            <p:cNvSpPr/>
            <p:nvPr/>
          </p:nvSpPr>
          <p:spPr>
            <a:xfrm>
              <a:off x="3273056" y="1497241"/>
              <a:ext cx="56864" cy="562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8" name="Oval 543"/>
          <p:cNvSpPr/>
          <p:nvPr/>
        </p:nvSpPr>
        <p:spPr bwMode="auto">
          <a:xfrm>
            <a:off x="2594402" y="2913344"/>
            <a:ext cx="114396" cy="113097"/>
          </a:xfrm>
          <a:prstGeom prst="ellipse">
            <a:avLst/>
          </a:prstGeom>
          <a:solidFill>
            <a:srgbClr val="007A1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35" name="그룹 434"/>
          <p:cNvGrpSpPr/>
          <p:nvPr/>
        </p:nvGrpSpPr>
        <p:grpSpPr>
          <a:xfrm>
            <a:off x="2605937" y="2934910"/>
            <a:ext cx="77775" cy="76819"/>
            <a:chOff x="2605937" y="2934910"/>
            <a:chExt cx="77775" cy="76819"/>
          </a:xfrm>
        </p:grpSpPr>
        <p:sp>
          <p:nvSpPr>
            <p:cNvPr id="170" name="Oval 545"/>
            <p:cNvSpPr/>
            <p:nvPr/>
          </p:nvSpPr>
          <p:spPr>
            <a:xfrm>
              <a:off x="2629204" y="2934910"/>
              <a:ext cx="54508" cy="538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Freeform 546"/>
            <p:cNvSpPr/>
            <p:nvPr/>
          </p:nvSpPr>
          <p:spPr>
            <a:xfrm>
              <a:off x="2605937" y="2979417"/>
              <a:ext cx="33158" cy="32312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Oval 547"/>
            <p:cNvSpPr/>
            <p:nvPr/>
          </p:nvSpPr>
          <p:spPr>
            <a:xfrm>
              <a:off x="2637837" y="2943445"/>
              <a:ext cx="37242" cy="368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3" name="Oval 518"/>
          <p:cNvSpPr/>
          <p:nvPr/>
        </p:nvSpPr>
        <p:spPr bwMode="auto">
          <a:xfrm>
            <a:off x="7175372" y="468956"/>
            <a:ext cx="114396" cy="113097"/>
          </a:xfrm>
          <a:prstGeom prst="ellipse">
            <a:avLst/>
          </a:prstGeom>
          <a:solidFill>
            <a:srgbClr val="007A1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34" name="그룹 433"/>
          <p:cNvGrpSpPr/>
          <p:nvPr/>
        </p:nvGrpSpPr>
        <p:grpSpPr>
          <a:xfrm>
            <a:off x="7186906" y="490522"/>
            <a:ext cx="77775" cy="76819"/>
            <a:chOff x="7186906" y="490522"/>
            <a:chExt cx="77775" cy="76819"/>
          </a:xfrm>
        </p:grpSpPr>
        <p:sp>
          <p:nvSpPr>
            <p:cNvPr id="175" name="Oval 520"/>
            <p:cNvSpPr/>
            <p:nvPr/>
          </p:nvSpPr>
          <p:spPr>
            <a:xfrm>
              <a:off x="7210173" y="490522"/>
              <a:ext cx="54508" cy="538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Freeform 521"/>
            <p:cNvSpPr/>
            <p:nvPr/>
          </p:nvSpPr>
          <p:spPr>
            <a:xfrm>
              <a:off x="7186906" y="535029"/>
              <a:ext cx="33158" cy="32312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Oval 522"/>
            <p:cNvSpPr/>
            <p:nvPr/>
          </p:nvSpPr>
          <p:spPr>
            <a:xfrm>
              <a:off x="7218806" y="499057"/>
              <a:ext cx="37242" cy="368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8" name="Oval 513"/>
          <p:cNvSpPr/>
          <p:nvPr/>
        </p:nvSpPr>
        <p:spPr bwMode="auto">
          <a:xfrm>
            <a:off x="9480300" y="1696861"/>
            <a:ext cx="114396" cy="113097"/>
          </a:xfrm>
          <a:prstGeom prst="ellipse">
            <a:avLst/>
          </a:prstGeom>
          <a:solidFill>
            <a:srgbClr val="007A1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33" name="그룹 432"/>
          <p:cNvGrpSpPr/>
          <p:nvPr/>
        </p:nvGrpSpPr>
        <p:grpSpPr>
          <a:xfrm>
            <a:off x="9491831" y="1718429"/>
            <a:ext cx="77775" cy="76819"/>
            <a:chOff x="9491831" y="1718429"/>
            <a:chExt cx="77775" cy="76819"/>
          </a:xfrm>
        </p:grpSpPr>
        <p:sp>
          <p:nvSpPr>
            <p:cNvPr id="180" name="Oval 515"/>
            <p:cNvSpPr/>
            <p:nvPr/>
          </p:nvSpPr>
          <p:spPr>
            <a:xfrm>
              <a:off x="9515098" y="1718429"/>
              <a:ext cx="54508" cy="538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Freeform 516"/>
            <p:cNvSpPr/>
            <p:nvPr/>
          </p:nvSpPr>
          <p:spPr>
            <a:xfrm>
              <a:off x="9491831" y="1762936"/>
              <a:ext cx="33158" cy="32312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Oval 517"/>
            <p:cNvSpPr/>
            <p:nvPr/>
          </p:nvSpPr>
          <p:spPr>
            <a:xfrm>
              <a:off x="9523731" y="1726964"/>
              <a:ext cx="37242" cy="368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3" name="TextBox 182"/>
          <p:cNvSpPr txBox="1"/>
          <p:nvPr/>
        </p:nvSpPr>
        <p:spPr>
          <a:xfrm>
            <a:off x="7278712" y="427829"/>
            <a:ext cx="610001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Yulbo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3000MW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9264753" y="1525350"/>
            <a:ext cx="537941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Yogo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500MW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2228285" y="1947680"/>
            <a:ext cx="604975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Patan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2800MW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2250923" y="2908105"/>
            <a:ext cx="323435" cy="1673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Thakot</a:t>
            </a:r>
            <a:endParaRPr lang="en-US" sz="7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  <a:p>
            <a:pPr algn="r" latinLnBrk="0">
              <a:lnSpc>
                <a:spcPct val="80000"/>
              </a:lnSpc>
            </a:pP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2800MW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3663987" y="2336101"/>
            <a:ext cx="643517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Balakot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90MW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4785187" y="2509412"/>
            <a:ext cx="794342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 latinLnBrk="0">
              <a:defRPr sz="5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en-US" sz="700" dirty="0" err="1"/>
              <a:t>Athmuqam</a:t>
            </a:r>
            <a:r>
              <a:rPr lang="en-US" sz="700" dirty="0"/>
              <a:t> </a:t>
            </a:r>
            <a:r>
              <a:rPr lang="en-US" sz="600" i="1" dirty="0"/>
              <a:t>350MW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2130695" y="1483359"/>
            <a:ext cx="1065826" cy="9009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 algn="r" latinLnBrk="0">
              <a:lnSpc>
                <a:spcPct val="80000"/>
              </a:lnSpc>
              <a:defRPr sz="5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en-US" sz="700" dirty="0"/>
              <a:t>Lower Spat </a:t>
            </a:r>
            <a:r>
              <a:rPr lang="en-US" sz="700" dirty="0" err="1"/>
              <a:t>Gah</a:t>
            </a:r>
            <a:r>
              <a:rPr lang="en-US" sz="700" dirty="0"/>
              <a:t> 496MW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4482825" y="2786119"/>
            <a:ext cx="621732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shkot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700MW</a:t>
            </a:r>
          </a:p>
        </p:txBody>
      </p:sp>
      <p:sp>
        <p:nvSpPr>
          <p:cNvPr id="192" name="Oval 634"/>
          <p:cNvSpPr/>
          <p:nvPr/>
        </p:nvSpPr>
        <p:spPr bwMode="auto">
          <a:xfrm>
            <a:off x="1921132" y="3675198"/>
            <a:ext cx="114396" cy="113097"/>
          </a:xfrm>
          <a:prstGeom prst="ellipse">
            <a:avLst/>
          </a:prstGeom>
          <a:solidFill>
            <a:srgbClr val="881C1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93" name="Freeform 635"/>
          <p:cNvSpPr/>
          <p:nvPr/>
        </p:nvSpPr>
        <p:spPr bwMode="auto">
          <a:xfrm>
            <a:off x="1971893" y="3714004"/>
            <a:ext cx="47290" cy="65047"/>
          </a:xfrm>
          <a:custGeom>
            <a:avLst/>
            <a:gdLst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214694 w 2214694"/>
              <a:gd name="connsiteY10" fmla="*/ 8389 h 2583809"/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004969 w 2214694"/>
              <a:gd name="connsiteY10" fmla="*/ 209725 h 2583809"/>
              <a:gd name="connsiteX11" fmla="*/ 2214694 w 2214694"/>
              <a:gd name="connsiteY11" fmla="*/ 8389 h 2583809"/>
              <a:gd name="connsiteX0" fmla="*/ 1367406 w 2004969"/>
              <a:gd name="connsiteY0" fmla="*/ 0 h 2583809"/>
              <a:gd name="connsiteX1" fmla="*/ 553674 w 2004969"/>
              <a:gd name="connsiteY1" fmla="*/ 847288 h 2583809"/>
              <a:gd name="connsiteX2" fmla="*/ 1098958 w 2004969"/>
              <a:gd name="connsiteY2" fmla="*/ 872455 h 2583809"/>
              <a:gd name="connsiteX3" fmla="*/ 293615 w 2004969"/>
              <a:gd name="connsiteY3" fmla="*/ 1627464 h 2583809"/>
              <a:gd name="connsiteX4" fmla="*/ 746621 w 2004969"/>
              <a:gd name="connsiteY4" fmla="*/ 1635853 h 2583809"/>
              <a:gd name="connsiteX5" fmla="*/ 0 w 2004969"/>
              <a:gd name="connsiteY5" fmla="*/ 2583809 h 2583809"/>
              <a:gd name="connsiteX6" fmla="*/ 1560353 w 2004969"/>
              <a:gd name="connsiteY6" fmla="*/ 1317072 h 2583809"/>
              <a:gd name="connsiteX7" fmla="*/ 1157681 w 2004969"/>
              <a:gd name="connsiteY7" fmla="*/ 1317072 h 2583809"/>
              <a:gd name="connsiteX8" fmla="*/ 1971413 w 2004969"/>
              <a:gd name="connsiteY8" fmla="*/ 562062 h 2583809"/>
              <a:gd name="connsiteX9" fmla="*/ 1602298 w 2004969"/>
              <a:gd name="connsiteY9" fmla="*/ 562062 h 2583809"/>
              <a:gd name="connsiteX10" fmla="*/ 2004969 w 2004969"/>
              <a:gd name="connsiteY10" fmla="*/ 209725 h 2583809"/>
              <a:gd name="connsiteX11" fmla="*/ 1375795 w 2004969"/>
              <a:gd name="connsiteY11" fmla="*/ 8389 h 2583809"/>
              <a:gd name="connsiteX0" fmla="*/ 1367406 w 2206305"/>
              <a:gd name="connsiteY0" fmla="*/ 0 h 2583809"/>
              <a:gd name="connsiteX1" fmla="*/ 553674 w 2206305"/>
              <a:gd name="connsiteY1" fmla="*/ 847288 h 2583809"/>
              <a:gd name="connsiteX2" fmla="*/ 1098958 w 2206305"/>
              <a:gd name="connsiteY2" fmla="*/ 872455 h 2583809"/>
              <a:gd name="connsiteX3" fmla="*/ 293615 w 2206305"/>
              <a:gd name="connsiteY3" fmla="*/ 1627464 h 2583809"/>
              <a:gd name="connsiteX4" fmla="*/ 746621 w 2206305"/>
              <a:gd name="connsiteY4" fmla="*/ 1635853 h 2583809"/>
              <a:gd name="connsiteX5" fmla="*/ 0 w 2206305"/>
              <a:gd name="connsiteY5" fmla="*/ 2583809 h 2583809"/>
              <a:gd name="connsiteX6" fmla="*/ 1560353 w 2206305"/>
              <a:gd name="connsiteY6" fmla="*/ 1317072 h 2583809"/>
              <a:gd name="connsiteX7" fmla="*/ 1157681 w 2206305"/>
              <a:gd name="connsiteY7" fmla="*/ 1317072 h 2583809"/>
              <a:gd name="connsiteX8" fmla="*/ 1971413 w 2206305"/>
              <a:gd name="connsiteY8" fmla="*/ 562062 h 2583809"/>
              <a:gd name="connsiteX9" fmla="*/ 1602298 w 2206305"/>
              <a:gd name="connsiteY9" fmla="*/ 562062 h 2583809"/>
              <a:gd name="connsiteX10" fmla="*/ 2206305 w 2206305"/>
              <a:gd name="connsiteY10" fmla="*/ 8389 h 2583809"/>
              <a:gd name="connsiteX11" fmla="*/ 1375795 w 2206305"/>
              <a:gd name="connsiteY11" fmla="*/ 8389 h 258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6305" h="2583809">
                <a:moveTo>
                  <a:pt x="1367406" y="0"/>
                </a:moveTo>
                <a:lnTo>
                  <a:pt x="553674" y="847288"/>
                </a:lnTo>
                <a:lnTo>
                  <a:pt x="1098958" y="872455"/>
                </a:lnTo>
                <a:lnTo>
                  <a:pt x="293615" y="1627464"/>
                </a:lnTo>
                <a:lnTo>
                  <a:pt x="746621" y="1635853"/>
                </a:lnTo>
                <a:lnTo>
                  <a:pt x="0" y="2583809"/>
                </a:lnTo>
                <a:lnTo>
                  <a:pt x="1560353" y="1317072"/>
                </a:lnTo>
                <a:lnTo>
                  <a:pt x="1157681" y="1317072"/>
                </a:lnTo>
                <a:lnTo>
                  <a:pt x="1971413" y="562062"/>
                </a:lnTo>
                <a:lnTo>
                  <a:pt x="1602298" y="562062"/>
                </a:lnTo>
                <a:lnTo>
                  <a:pt x="2206305" y="8389"/>
                </a:lnTo>
                <a:lnTo>
                  <a:pt x="1375795" y="8389"/>
                </a:lnTo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4" name="Freeform 636"/>
          <p:cNvSpPr/>
          <p:nvPr/>
        </p:nvSpPr>
        <p:spPr bwMode="auto">
          <a:xfrm>
            <a:off x="1944564" y="3701755"/>
            <a:ext cx="56281" cy="17968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5754" h="713707">
                <a:moveTo>
                  <a:pt x="0" y="461394"/>
                </a:moveTo>
                <a:cubicBezTo>
                  <a:pt x="394282" y="385893"/>
                  <a:pt x="528506" y="285226"/>
                  <a:pt x="755009" y="8389"/>
                </a:cubicBezTo>
                <a:cubicBezTo>
                  <a:pt x="1076589" y="525710"/>
                  <a:pt x="1817614" y="673915"/>
                  <a:pt x="2273416" y="0"/>
                </a:cubicBezTo>
                <a:cubicBezTo>
                  <a:pt x="2418176" y="239611"/>
                  <a:pt x="2466363" y="271244"/>
                  <a:pt x="2625754" y="343948"/>
                </a:cubicBezTo>
                <a:lnTo>
                  <a:pt x="2441196" y="536895"/>
                </a:lnTo>
                <a:cubicBezTo>
                  <a:pt x="2337218" y="481035"/>
                  <a:pt x="2321021" y="454437"/>
                  <a:pt x="2260933" y="413208"/>
                </a:cubicBezTo>
                <a:cubicBezTo>
                  <a:pt x="1785781" y="825656"/>
                  <a:pt x="1149693" y="799191"/>
                  <a:pt x="733063" y="421597"/>
                </a:cubicBezTo>
                <a:cubicBezTo>
                  <a:pt x="488709" y="623603"/>
                  <a:pt x="332136" y="701252"/>
                  <a:pt x="0" y="713064"/>
                </a:cubicBezTo>
                <a:lnTo>
                  <a:pt x="0" y="46139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95" name="Freeform 637"/>
          <p:cNvSpPr/>
          <p:nvPr/>
        </p:nvSpPr>
        <p:spPr bwMode="auto">
          <a:xfrm>
            <a:off x="1944564" y="3719461"/>
            <a:ext cx="38693" cy="17745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5243" h="704886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1010753" y="458800"/>
                  <a:pt x="1437223" y="511906"/>
                  <a:pt x="1805243" y="401263"/>
                </a:cubicBezTo>
                <a:cubicBezTo>
                  <a:pt x="1740022" y="525923"/>
                  <a:pt x="1559189" y="647217"/>
                  <a:pt x="1504851" y="704071"/>
                </a:cubicBezTo>
                <a:cubicBezTo>
                  <a:pt x="1189403" y="717012"/>
                  <a:pt x="949733" y="574042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96" name="Freeform 638"/>
          <p:cNvSpPr/>
          <p:nvPr/>
        </p:nvSpPr>
        <p:spPr bwMode="auto">
          <a:xfrm>
            <a:off x="1944564" y="3737324"/>
            <a:ext cx="32328" cy="17740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4"/>
              <a:gd name="connsiteY0" fmla="*/ 453016 h 704897"/>
              <a:gd name="connsiteX1" fmla="*/ 755009 w 1805244"/>
              <a:gd name="connsiteY1" fmla="*/ 11 h 704897"/>
              <a:gd name="connsiteX2" fmla="*/ 1508274 w 1805244"/>
              <a:gd name="connsiteY2" fmla="*/ 438787 h 704897"/>
              <a:gd name="connsiteX3" fmla="*/ 1805243 w 1805244"/>
              <a:gd name="connsiteY3" fmla="*/ 401274 h 704897"/>
              <a:gd name="connsiteX4" fmla="*/ 1504851 w 1805244"/>
              <a:gd name="connsiteY4" fmla="*/ 704082 h 704897"/>
              <a:gd name="connsiteX5" fmla="*/ 733063 w 1805244"/>
              <a:gd name="connsiteY5" fmla="*/ 413219 h 704897"/>
              <a:gd name="connsiteX6" fmla="*/ 0 w 1805244"/>
              <a:gd name="connsiteY6" fmla="*/ 704686 h 704897"/>
              <a:gd name="connsiteX7" fmla="*/ 0 w 1805244"/>
              <a:gd name="connsiteY7" fmla="*/ 453016 h 704897"/>
              <a:gd name="connsiteX0" fmla="*/ 0 w 1805244"/>
              <a:gd name="connsiteY0" fmla="*/ 453016 h 726953"/>
              <a:gd name="connsiteX1" fmla="*/ 755009 w 1805244"/>
              <a:gd name="connsiteY1" fmla="*/ 11 h 726953"/>
              <a:gd name="connsiteX2" fmla="*/ 1508274 w 1805244"/>
              <a:gd name="connsiteY2" fmla="*/ 438787 h 726953"/>
              <a:gd name="connsiteX3" fmla="*/ 1805243 w 1805244"/>
              <a:gd name="connsiteY3" fmla="*/ 401274 h 726953"/>
              <a:gd name="connsiteX4" fmla="*/ 1504851 w 1805244"/>
              <a:gd name="connsiteY4" fmla="*/ 704082 h 726953"/>
              <a:gd name="connsiteX5" fmla="*/ 1259556 w 1805244"/>
              <a:gd name="connsiteY5" fmla="*/ 672874 h 726953"/>
              <a:gd name="connsiteX6" fmla="*/ 733063 w 1805244"/>
              <a:gd name="connsiteY6" fmla="*/ 413219 h 726953"/>
              <a:gd name="connsiteX7" fmla="*/ 0 w 1805244"/>
              <a:gd name="connsiteY7" fmla="*/ 704686 h 726953"/>
              <a:gd name="connsiteX8" fmla="*/ 0 w 1805244"/>
              <a:gd name="connsiteY8" fmla="*/ 453016 h 726953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04675"/>
              <a:gd name="connsiteX1" fmla="*/ 755009 w 1805244"/>
              <a:gd name="connsiteY1" fmla="*/ 0 h 704675"/>
              <a:gd name="connsiteX2" fmla="*/ 1508274 w 1805244"/>
              <a:gd name="connsiteY2" fmla="*/ 438776 h 704675"/>
              <a:gd name="connsiteX3" fmla="*/ 1805243 w 1805244"/>
              <a:gd name="connsiteY3" fmla="*/ 401263 h 704675"/>
              <a:gd name="connsiteX4" fmla="*/ 1259556 w 1805244"/>
              <a:gd name="connsiteY4" fmla="*/ 672863 h 704675"/>
              <a:gd name="connsiteX5" fmla="*/ 733063 w 1805244"/>
              <a:gd name="connsiteY5" fmla="*/ 413208 h 704675"/>
              <a:gd name="connsiteX6" fmla="*/ 0 w 1805244"/>
              <a:gd name="connsiteY6" fmla="*/ 704675 h 704675"/>
              <a:gd name="connsiteX7" fmla="*/ 0 w 1805244"/>
              <a:gd name="connsiteY7" fmla="*/ 453005 h 704675"/>
              <a:gd name="connsiteX0" fmla="*/ 0 w 1528031"/>
              <a:gd name="connsiteY0" fmla="*/ 453005 h 704675"/>
              <a:gd name="connsiteX1" fmla="*/ 755009 w 1528031"/>
              <a:gd name="connsiteY1" fmla="*/ 0 h 704675"/>
              <a:gd name="connsiteX2" fmla="*/ 1508274 w 1528031"/>
              <a:gd name="connsiteY2" fmla="*/ 438776 h 704675"/>
              <a:gd name="connsiteX3" fmla="*/ 1259556 w 1528031"/>
              <a:gd name="connsiteY3" fmla="*/ 672863 h 704675"/>
              <a:gd name="connsiteX4" fmla="*/ 733063 w 1528031"/>
              <a:gd name="connsiteY4" fmla="*/ 413208 h 704675"/>
              <a:gd name="connsiteX5" fmla="*/ 0 w 1528031"/>
              <a:gd name="connsiteY5" fmla="*/ 704675 h 704675"/>
              <a:gd name="connsiteX6" fmla="*/ 0 w 1528031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8274" h="704675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955182" y="341443"/>
                  <a:pt x="1179615" y="430421"/>
                  <a:pt x="1508274" y="438776"/>
                </a:cubicBezTo>
                <a:cubicBezTo>
                  <a:pt x="1409485" y="565550"/>
                  <a:pt x="1381442" y="603972"/>
                  <a:pt x="1259556" y="672863"/>
                </a:cubicBezTo>
                <a:cubicBezTo>
                  <a:pt x="1079719" y="639017"/>
                  <a:pt x="942989" y="590786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97" name="Oval 629"/>
          <p:cNvSpPr/>
          <p:nvPr/>
        </p:nvSpPr>
        <p:spPr bwMode="auto">
          <a:xfrm>
            <a:off x="1543554" y="4048490"/>
            <a:ext cx="114396" cy="113097"/>
          </a:xfrm>
          <a:prstGeom prst="ellipse">
            <a:avLst/>
          </a:prstGeom>
          <a:solidFill>
            <a:srgbClr val="881C1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198" name="Freeform 630"/>
          <p:cNvSpPr/>
          <p:nvPr/>
        </p:nvSpPr>
        <p:spPr bwMode="auto">
          <a:xfrm>
            <a:off x="1594315" y="4087296"/>
            <a:ext cx="47290" cy="65047"/>
          </a:xfrm>
          <a:custGeom>
            <a:avLst/>
            <a:gdLst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214694 w 2214694"/>
              <a:gd name="connsiteY10" fmla="*/ 8389 h 2583809"/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004969 w 2214694"/>
              <a:gd name="connsiteY10" fmla="*/ 209725 h 2583809"/>
              <a:gd name="connsiteX11" fmla="*/ 2214694 w 2214694"/>
              <a:gd name="connsiteY11" fmla="*/ 8389 h 2583809"/>
              <a:gd name="connsiteX0" fmla="*/ 1367406 w 2004969"/>
              <a:gd name="connsiteY0" fmla="*/ 0 h 2583809"/>
              <a:gd name="connsiteX1" fmla="*/ 553674 w 2004969"/>
              <a:gd name="connsiteY1" fmla="*/ 847288 h 2583809"/>
              <a:gd name="connsiteX2" fmla="*/ 1098958 w 2004969"/>
              <a:gd name="connsiteY2" fmla="*/ 872455 h 2583809"/>
              <a:gd name="connsiteX3" fmla="*/ 293615 w 2004969"/>
              <a:gd name="connsiteY3" fmla="*/ 1627464 h 2583809"/>
              <a:gd name="connsiteX4" fmla="*/ 746621 w 2004969"/>
              <a:gd name="connsiteY4" fmla="*/ 1635853 h 2583809"/>
              <a:gd name="connsiteX5" fmla="*/ 0 w 2004969"/>
              <a:gd name="connsiteY5" fmla="*/ 2583809 h 2583809"/>
              <a:gd name="connsiteX6" fmla="*/ 1560353 w 2004969"/>
              <a:gd name="connsiteY6" fmla="*/ 1317072 h 2583809"/>
              <a:gd name="connsiteX7" fmla="*/ 1157681 w 2004969"/>
              <a:gd name="connsiteY7" fmla="*/ 1317072 h 2583809"/>
              <a:gd name="connsiteX8" fmla="*/ 1971413 w 2004969"/>
              <a:gd name="connsiteY8" fmla="*/ 562062 h 2583809"/>
              <a:gd name="connsiteX9" fmla="*/ 1602298 w 2004969"/>
              <a:gd name="connsiteY9" fmla="*/ 562062 h 2583809"/>
              <a:gd name="connsiteX10" fmla="*/ 2004969 w 2004969"/>
              <a:gd name="connsiteY10" fmla="*/ 209725 h 2583809"/>
              <a:gd name="connsiteX11" fmla="*/ 1375795 w 2004969"/>
              <a:gd name="connsiteY11" fmla="*/ 8389 h 2583809"/>
              <a:gd name="connsiteX0" fmla="*/ 1367406 w 2206305"/>
              <a:gd name="connsiteY0" fmla="*/ 0 h 2583809"/>
              <a:gd name="connsiteX1" fmla="*/ 553674 w 2206305"/>
              <a:gd name="connsiteY1" fmla="*/ 847288 h 2583809"/>
              <a:gd name="connsiteX2" fmla="*/ 1098958 w 2206305"/>
              <a:gd name="connsiteY2" fmla="*/ 872455 h 2583809"/>
              <a:gd name="connsiteX3" fmla="*/ 293615 w 2206305"/>
              <a:gd name="connsiteY3" fmla="*/ 1627464 h 2583809"/>
              <a:gd name="connsiteX4" fmla="*/ 746621 w 2206305"/>
              <a:gd name="connsiteY4" fmla="*/ 1635853 h 2583809"/>
              <a:gd name="connsiteX5" fmla="*/ 0 w 2206305"/>
              <a:gd name="connsiteY5" fmla="*/ 2583809 h 2583809"/>
              <a:gd name="connsiteX6" fmla="*/ 1560353 w 2206305"/>
              <a:gd name="connsiteY6" fmla="*/ 1317072 h 2583809"/>
              <a:gd name="connsiteX7" fmla="*/ 1157681 w 2206305"/>
              <a:gd name="connsiteY7" fmla="*/ 1317072 h 2583809"/>
              <a:gd name="connsiteX8" fmla="*/ 1971413 w 2206305"/>
              <a:gd name="connsiteY8" fmla="*/ 562062 h 2583809"/>
              <a:gd name="connsiteX9" fmla="*/ 1602298 w 2206305"/>
              <a:gd name="connsiteY9" fmla="*/ 562062 h 2583809"/>
              <a:gd name="connsiteX10" fmla="*/ 2206305 w 2206305"/>
              <a:gd name="connsiteY10" fmla="*/ 8389 h 2583809"/>
              <a:gd name="connsiteX11" fmla="*/ 1375795 w 2206305"/>
              <a:gd name="connsiteY11" fmla="*/ 8389 h 258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6305" h="2583809">
                <a:moveTo>
                  <a:pt x="1367406" y="0"/>
                </a:moveTo>
                <a:lnTo>
                  <a:pt x="553674" y="847288"/>
                </a:lnTo>
                <a:lnTo>
                  <a:pt x="1098958" y="872455"/>
                </a:lnTo>
                <a:lnTo>
                  <a:pt x="293615" y="1627464"/>
                </a:lnTo>
                <a:lnTo>
                  <a:pt x="746621" y="1635853"/>
                </a:lnTo>
                <a:lnTo>
                  <a:pt x="0" y="2583809"/>
                </a:lnTo>
                <a:lnTo>
                  <a:pt x="1560353" y="1317072"/>
                </a:lnTo>
                <a:lnTo>
                  <a:pt x="1157681" y="1317072"/>
                </a:lnTo>
                <a:lnTo>
                  <a:pt x="1971413" y="562062"/>
                </a:lnTo>
                <a:lnTo>
                  <a:pt x="1602298" y="562062"/>
                </a:lnTo>
                <a:lnTo>
                  <a:pt x="2206305" y="8389"/>
                </a:lnTo>
                <a:lnTo>
                  <a:pt x="1375795" y="8389"/>
                </a:lnTo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9" name="Freeform 631"/>
          <p:cNvSpPr/>
          <p:nvPr/>
        </p:nvSpPr>
        <p:spPr bwMode="auto">
          <a:xfrm>
            <a:off x="1566984" y="4075049"/>
            <a:ext cx="56281" cy="17968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5754" h="713707">
                <a:moveTo>
                  <a:pt x="0" y="461394"/>
                </a:moveTo>
                <a:cubicBezTo>
                  <a:pt x="394282" y="385893"/>
                  <a:pt x="528506" y="285226"/>
                  <a:pt x="755009" y="8389"/>
                </a:cubicBezTo>
                <a:cubicBezTo>
                  <a:pt x="1076589" y="525710"/>
                  <a:pt x="1817614" y="673915"/>
                  <a:pt x="2273416" y="0"/>
                </a:cubicBezTo>
                <a:cubicBezTo>
                  <a:pt x="2418176" y="239611"/>
                  <a:pt x="2466363" y="271244"/>
                  <a:pt x="2625754" y="343948"/>
                </a:cubicBezTo>
                <a:lnTo>
                  <a:pt x="2441196" y="536895"/>
                </a:lnTo>
                <a:cubicBezTo>
                  <a:pt x="2337218" y="481035"/>
                  <a:pt x="2321021" y="454437"/>
                  <a:pt x="2260933" y="413208"/>
                </a:cubicBezTo>
                <a:cubicBezTo>
                  <a:pt x="1785781" y="825656"/>
                  <a:pt x="1149693" y="799191"/>
                  <a:pt x="733063" y="421597"/>
                </a:cubicBezTo>
                <a:cubicBezTo>
                  <a:pt x="488709" y="623603"/>
                  <a:pt x="332136" y="701252"/>
                  <a:pt x="0" y="713064"/>
                </a:cubicBezTo>
                <a:lnTo>
                  <a:pt x="0" y="46139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00" name="Freeform 632"/>
          <p:cNvSpPr/>
          <p:nvPr/>
        </p:nvSpPr>
        <p:spPr bwMode="auto">
          <a:xfrm>
            <a:off x="1566984" y="4092753"/>
            <a:ext cx="38693" cy="17745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5243" h="704886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1010753" y="458800"/>
                  <a:pt x="1437223" y="511906"/>
                  <a:pt x="1805243" y="401263"/>
                </a:cubicBezTo>
                <a:cubicBezTo>
                  <a:pt x="1740022" y="525923"/>
                  <a:pt x="1559189" y="647217"/>
                  <a:pt x="1504851" y="704071"/>
                </a:cubicBezTo>
                <a:cubicBezTo>
                  <a:pt x="1189403" y="717012"/>
                  <a:pt x="949733" y="574042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01" name="Freeform 633"/>
          <p:cNvSpPr/>
          <p:nvPr/>
        </p:nvSpPr>
        <p:spPr bwMode="auto">
          <a:xfrm>
            <a:off x="1566984" y="4110618"/>
            <a:ext cx="32328" cy="17740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4"/>
              <a:gd name="connsiteY0" fmla="*/ 453016 h 704897"/>
              <a:gd name="connsiteX1" fmla="*/ 755009 w 1805244"/>
              <a:gd name="connsiteY1" fmla="*/ 11 h 704897"/>
              <a:gd name="connsiteX2" fmla="*/ 1508274 w 1805244"/>
              <a:gd name="connsiteY2" fmla="*/ 438787 h 704897"/>
              <a:gd name="connsiteX3" fmla="*/ 1805243 w 1805244"/>
              <a:gd name="connsiteY3" fmla="*/ 401274 h 704897"/>
              <a:gd name="connsiteX4" fmla="*/ 1504851 w 1805244"/>
              <a:gd name="connsiteY4" fmla="*/ 704082 h 704897"/>
              <a:gd name="connsiteX5" fmla="*/ 733063 w 1805244"/>
              <a:gd name="connsiteY5" fmla="*/ 413219 h 704897"/>
              <a:gd name="connsiteX6" fmla="*/ 0 w 1805244"/>
              <a:gd name="connsiteY6" fmla="*/ 704686 h 704897"/>
              <a:gd name="connsiteX7" fmla="*/ 0 w 1805244"/>
              <a:gd name="connsiteY7" fmla="*/ 453016 h 704897"/>
              <a:gd name="connsiteX0" fmla="*/ 0 w 1805244"/>
              <a:gd name="connsiteY0" fmla="*/ 453016 h 726953"/>
              <a:gd name="connsiteX1" fmla="*/ 755009 w 1805244"/>
              <a:gd name="connsiteY1" fmla="*/ 11 h 726953"/>
              <a:gd name="connsiteX2" fmla="*/ 1508274 w 1805244"/>
              <a:gd name="connsiteY2" fmla="*/ 438787 h 726953"/>
              <a:gd name="connsiteX3" fmla="*/ 1805243 w 1805244"/>
              <a:gd name="connsiteY3" fmla="*/ 401274 h 726953"/>
              <a:gd name="connsiteX4" fmla="*/ 1504851 w 1805244"/>
              <a:gd name="connsiteY4" fmla="*/ 704082 h 726953"/>
              <a:gd name="connsiteX5" fmla="*/ 1259556 w 1805244"/>
              <a:gd name="connsiteY5" fmla="*/ 672874 h 726953"/>
              <a:gd name="connsiteX6" fmla="*/ 733063 w 1805244"/>
              <a:gd name="connsiteY6" fmla="*/ 413219 h 726953"/>
              <a:gd name="connsiteX7" fmla="*/ 0 w 1805244"/>
              <a:gd name="connsiteY7" fmla="*/ 704686 h 726953"/>
              <a:gd name="connsiteX8" fmla="*/ 0 w 1805244"/>
              <a:gd name="connsiteY8" fmla="*/ 453016 h 726953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04675"/>
              <a:gd name="connsiteX1" fmla="*/ 755009 w 1805244"/>
              <a:gd name="connsiteY1" fmla="*/ 0 h 704675"/>
              <a:gd name="connsiteX2" fmla="*/ 1508274 w 1805244"/>
              <a:gd name="connsiteY2" fmla="*/ 438776 h 704675"/>
              <a:gd name="connsiteX3" fmla="*/ 1805243 w 1805244"/>
              <a:gd name="connsiteY3" fmla="*/ 401263 h 704675"/>
              <a:gd name="connsiteX4" fmla="*/ 1259556 w 1805244"/>
              <a:gd name="connsiteY4" fmla="*/ 672863 h 704675"/>
              <a:gd name="connsiteX5" fmla="*/ 733063 w 1805244"/>
              <a:gd name="connsiteY5" fmla="*/ 413208 h 704675"/>
              <a:gd name="connsiteX6" fmla="*/ 0 w 1805244"/>
              <a:gd name="connsiteY6" fmla="*/ 704675 h 704675"/>
              <a:gd name="connsiteX7" fmla="*/ 0 w 1805244"/>
              <a:gd name="connsiteY7" fmla="*/ 453005 h 704675"/>
              <a:gd name="connsiteX0" fmla="*/ 0 w 1528031"/>
              <a:gd name="connsiteY0" fmla="*/ 453005 h 704675"/>
              <a:gd name="connsiteX1" fmla="*/ 755009 w 1528031"/>
              <a:gd name="connsiteY1" fmla="*/ 0 h 704675"/>
              <a:gd name="connsiteX2" fmla="*/ 1508274 w 1528031"/>
              <a:gd name="connsiteY2" fmla="*/ 438776 h 704675"/>
              <a:gd name="connsiteX3" fmla="*/ 1259556 w 1528031"/>
              <a:gd name="connsiteY3" fmla="*/ 672863 h 704675"/>
              <a:gd name="connsiteX4" fmla="*/ 733063 w 1528031"/>
              <a:gd name="connsiteY4" fmla="*/ 413208 h 704675"/>
              <a:gd name="connsiteX5" fmla="*/ 0 w 1528031"/>
              <a:gd name="connsiteY5" fmla="*/ 704675 h 704675"/>
              <a:gd name="connsiteX6" fmla="*/ 0 w 1528031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8274" h="704675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955182" y="341443"/>
                  <a:pt x="1179615" y="430421"/>
                  <a:pt x="1508274" y="438776"/>
                </a:cubicBezTo>
                <a:cubicBezTo>
                  <a:pt x="1409485" y="565550"/>
                  <a:pt x="1381442" y="603972"/>
                  <a:pt x="1259556" y="672863"/>
                </a:cubicBezTo>
                <a:cubicBezTo>
                  <a:pt x="1079719" y="639017"/>
                  <a:pt x="942989" y="590786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02" name="Oval 619"/>
          <p:cNvSpPr/>
          <p:nvPr/>
        </p:nvSpPr>
        <p:spPr bwMode="auto">
          <a:xfrm>
            <a:off x="511113" y="2724467"/>
            <a:ext cx="114396" cy="113097"/>
          </a:xfrm>
          <a:prstGeom prst="ellipse">
            <a:avLst/>
          </a:prstGeom>
          <a:solidFill>
            <a:srgbClr val="881C1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03" name="Freeform 620"/>
          <p:cNvSpPr/>
          <p:nvPr/>
        </p:nvSpPr>
        <p:spPr bwMode="auto">
          <a:xfrm>
            <a:off x="561873" y="2763272"/>
            <a:ext cx="47290" cy="65047"/>
          </a:xfrm>
          <a:custGeom>
            <a:avLst/>
            <a:gdLst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214694 w 2214694"/>
              <a:gd name="connsiteY10" fmla="*/ 8389 h 2583809"/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004969 w 2214694"/>
              <a:gd name="connsiteY10" fmla="*/ 209725 h 2583809"/>
              <a:gd name="connsiteX11" fmla="*/ 2214694 w 2214694"/>
              <a:gd name="connsiteY11" fmla="*/ 8389 h 2583809"/>
              <a:gd name="connsiteX0" fmla="*/ 1367406 w 2004969"/>
              <a:gd name="connsiteY0" fmla="*/ 0 h 2583809"/>
              <a:gd name="connsiteX1" fmla="*/ 553674 w 2004969"/>
              <a:gd name="connsiteY1" fmla="*/ 847288 h 2583809"/>
              <a:gd name="connsiteX2" fmla="*/ 1098958 w 2004969"/>
              <a:gd name="connsiteY2" fmla="*/ 872455 h 2583809"/>
              <a:gd name="connsiteX3" fmla="*/ 293615 w 2004969"/>
              <a:gd name="connsiteY3" fmla="*/ 1627464 h 2583809"/>
              <a:gd name="connsiteX4" fmla="*/ 746621 w 2004969"/>
              <a:gd name="connsiteY4" fmla="*/ 1635853 h 2583809"/>
              <a:gd name="connsiteX5" fmla="*/ 0 w 2004969"/>
              <a:gd name="connsiteY5" fmla="*/ 2583809 h 2583809"/>
              <a:gd name="connsiteX6" fmla="*/ 1560353 w 2004969"/>
              <a:gd name="connsiteY6" fmla="*/ 1317072 h 2583809"/>
              <a:gd name="connsiteX7" fmla="*/ 1157681 w 2004969"/>
              <a:gd name="connsiteY7" fmla="*/ 1317072 h 2583809"/>
              <a:gd name="connsiteX8" fmla="*/ 1971413 w 2004969"/>
              <a:gd name="connsiteY8" fmla="*/ 562062 h 2583809"/>
              <a:gd name="connsiteX9" fmla="*/ 1602298 w 2004969"/>
              <a:gd name="connsiteY9" fmla="*/ 562062 h 2583809"/>
              <a:gd name="connsiteX10" fmla="*/ 2004969 w 2004969"/>
              <a:gd name="connsiteY10" fmla="*/ 209725 h 2583809"/>
              <a:gd name="connsiteX11" fmla="*/ 1375795 w 2004969"/>
              <a:gd name="connsiteY11" fmla="*/ 8389 h 2583809"/>
              <a:gd name="connsiteX0" fmla="*/ 1367406 w 2206305"/>
              <a:gd name="connsiteY0" fmla="*/ 0 h 2583809"/>
              <a:gd name="connsiteX1" fmla="*/ 553674 w 2206305"/>
              <a:gd name="connsiteY1" fmla="*/ 847288 h 2583809"/>
              <a:gd name="connsiteX2" fmla="*/ 1098958 w 2206305"/>
              <a:gd name="connsiteY2" fmla="*/ 872455 h 2583809"/>
              <a:gd name="connsiteX3" fmla="*/ 293615 w 2206305"/>
              <a:gd name="connsiteY3" fmla="*/ 1627464 h 2583809"/>
              <a:gd name="connsiteX4" fmla="*/ 746621 w 2206305"/>
              <a:gd name="connsiteY4" fmla="*/ 1635853 h 2583809"/>
              <a:gd name="connsiteX5" fmla="*/ 0 w 2206305"/>
              <a:gd name="connsiteY5" fmla="*/ 2583809 h 2583809"/>
              <a:gd name="connsiteX6" fmla="*/ 1560353 w 2206305"/>
              <a:gd name="connsiteY6" fmla="*/ 1317072 h 2583809"/>
              <a:gd name="connsiteX7" fmla="*/ 1157681 w 2206305"/>
              <a:gd name="connsiteY7" fmla="*/ 1317072 h 2583809"/>
              <a:gd name="connsiteX8" fmla="*/ 1971413 w 2206305"/>
              <a:gd name="connsiteY8" fmla="*/ 562062 h 2583809"/>
              <a:gd name="connsiteX9" fmla="*/ 1602298 w 2206305"/>
              <a:gd name="connsiteY9" fmla="*/ 562062 h 2583809"/>
              <a:gd name="connsiteX10" fmla="*/ 2206305 w 2206305"/>
              <a:gd name="connsiteY10" fmla="*/ 8389 h 2583809"/>
              <a:gd name="connsiteX11" fmla="*/ 1375795 w 2206305"/>
              <a:gd name="connsiteY11" fmla="*/ 8389 h 258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6305" h="2583809">
                <a:moveTo>
                  <a:pt x="1367406" y="0"/>
                </a:moveTo>
                <a:lnTo>
                  <a:pt x="553674" y="847288"/>
                </a:lnTo>
                <a:lnTo>
                  <a:pt x="1098958" y="872455"/>
                </a:lnTo>
                <a:lnTo>
                  <a:pt x="293615" y="1627464"/>
                </a:lnTo>
                <a:lnTo>
                  <a:pt x="746621" y="1635853"/>
                </a:lnTo>
                <a:lnTo>
                  <a:pt x="0" y="2583809"/>
                </a:lnTo>
                <a:lnTo>
                  <a:pt x="1560353" y="1317072"/>
                </a:lnTo>
                <a:lnTo>
                  <a:pt x="1157681" y="1317072"/>
                </a:lnTo>
                <a:lnTo>
                  <a:pt x="1971413" y="562062"/>
                </a:lnTo>
                <a:lnTo>
                  <a:pt x="1602298" y="562062"/>
                </a:lnTo>
                <a:lnTo>
                  <a:pt x="2206305" y="8389"/>
                </a:lnTo>
                <a:lnTo>
                  <a:pt x="1375795" y="8389"/>
                </a:lnTo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Freeform 621"/>
          <p:cNvSpPr/>
          <p:nvPr/>
        </p:nvSpPr>
        <p:spPr bwMode="auto">
          <a:xfrm>
            <a:off x="534543" y="2751024"/>
            <a:ext cx="56281" cy="17968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5754" h="713707">
                <a:moveTo>
                  <a:pt x="0" y="461394"/>
                </a:moveTo>
                <a:cubicBezTo>
                  <a:pt x="394282" y="385893"/>
                  <a:pt x="528506" y="285226"/>
                  <a:pt x="755009" y="8389"/>
                </a:cubicBezTo>
                <a:cubicBezTo>
                  <a:pt x="1076589" y="525710"/>
                  <a:pt x="1817614" y="673915"/>
                  <a:pt x="2273416" y="0"/>
                </a:cubicBezTo>
                <a:cubicBezTo>
                  <a:pt x="2418176" y="239611"/>
                  <a:pt x="2466363" y="271244"/>
                  <a:pt x="2625754" y="343948"/>
                </a:cubicBezTo>
                <a:lnTo>
                  <a:pt x="2441196" y="536895"/>
                </a:lnTo>
                <a:cubicBezTo>
                  <a:pt x="2337218" y="481035"/>
                  <a:pt x="2321021" y="454437"/>
                  <a:pt x="2260933" y="413208"/>
                </a:cubicBezTo>
                <a:cubicBezTo>
                  <a:pt x="1785781" y="825656"/>
                  <a:pt x="1149693" y="799191"/>
                  <a:pt x="733063" y="421597"/>
                </a:cubicBezTo>
                <a:cubicBezTo>
                  <a:pt x="488709" y="623603"/>
                  <a:pt x="332136" y="701252"/>
                  <a:pt x="0" y="713064"/>
                </a:cubicBezTo>
                <a:lnTo>
                  <a:pt x="0" y="46139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05" name="Freeform 622"/>
          <p:cNvSpPr/>
          <p:nvPr/>
        </p:nvSpPr>
        <p:spPr bwMode="auto">
          <a:xfrm>
            <a:off x="534543" y="2768730"/>
            <a:ext cx="38693" cy="17745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5243" h="704886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1010753" y="458800"/>
                  <a:pt x="1437223" y="511906"/>
                  <a:pt x="1805243" y="401263"/>
                </a:cubicBezTo>
                <a:cubicBezTo>
                  <a:pt x="1740022" y="525923"/>
                  <a:pt x="1559189" y="647217"/>
                  <a:pt x="1504851" y="704071"/>
                </a:cubicBezTo>
                <a:cubicBezTo>
                  <a:pt x="1189403" y="717012"/>
                  <a:pt x="949733" y="574042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06" name="Freeform 623"/>
          <p:cNvSpPr/>
          <p:nvPr/>
        </p:nvSpPr>
        <p:spPr bwMode="auto">
          <a:xfrm>
            <a:off x="534543" y="2786594"/>
            <a:ext cx="32328" cy="17740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4"/>
              <a:gd name="connsiteY0" fmla="*/ 453016 h 704897"/>
              <a:gd name="connsiteX1" fmla="*/ 755009 w 1805244"/>
              <a:gd name="connsiteY1" fmla="*/ 11 h 704897"/>
              <a:gd name="connsiteX2" fmla="*/ 1508274 w 1805244"/>
              <a:gd name="connsiteY2" fmla="*/ 438787 h 704897"/>
              <a:gd name="connsiteX3" fmla="*/ 1805243 w 1805244"/>
              <a:gd name="connsiteY3" fmla="*/ 401274 h 704897"/>
              <a:gd name="connsiteX4" fmla="*/ 1504851 w 1805244"/>
              <a:gd name="connsiteY4" fmla="*/ 704082 h 704897"/>
              <a:gd name="connsiteX5" fmla="*/ 733063 w 1805244"/>
              <a:gd name="connsiteY5" fmla="*/ 413219 h 704897"/>
              <a:gd name="connsiteX6" fmla="*/ 0 w 1805244"/>
              <a:gd name="connsiteY6" fmla="*/ 704686 h 704897"/>
              <a:gd name="connsiteX7" fmla="*/ 0 w 1805244"/>
              <a:gd name="connsiteY7" fmla="*/ 453016 h 704897"/>
              <a:gd name="connsiteX0" fmla="*/ 0 w 1805244"/>
              <a:gd name="connsiteY0" fmla="*/ 453016 h 726953"/>
              <a:gd name="connsiteX1" fmla="*/ 755009 w 1805244"/>
              <a:gd name="connsiteY1" fmla="*/ 11 h 726953"/>
              <a:gd name="connsiteX2" fmla="*/ 1508274 w 1805244"/>
              <a:gd name="connsiteY2" fmla="*/ 438787 h 726953"/>
              <a:gd name="connsiteX3" fmla="*/ 1805243 w 1805244"/>
              <a:gd name="connsiteY3" fmla="*/ 401274 h 726953"/>
              <a:gd name="connsiteX4" fmla="*/ 1504851 w 1805244"/>
              <a:gd name="connsiteY4" fmla="*/ 704082 h 726953"/>
              <a:gd name="connsiteX5" fmla="*/ 1259556 w 1805244"/>
              <a:gd name="connsiteY5" fmla="*/ 672874 h 726953"/>
              <a:gd name="connsiteX6" fmla="*/ 733063 w 1805244"/>
              <a:gd name="connsiteY6" fmla="*/ 413219 h 726953"/>
              <a:gd name="connsiteX7" fmla="*/ 0 w 1805244"/>
              <a:gd name="connsiteY7" fmla="*/ 704686 h 726953"/>
              <a:gd name="connsiteX8" fmla="*/ 0 w 1805244"/>
              <a:gd name="connsiteY8" fmla="*/ 453016 h 726953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04675"/>
              <a:gd name="connsiteX1" fmla="*/ 755009 w 1805244"/>
              <a:gd name="connsiteY1" fmla="*/ 0 h 704675"/>
              <a:gd name="connsiteX2" fmla="*/ 1508274 w 1805244"/>
              <a:gd name="connsiteY2" fmla="*/ 438776 h 704675"/>
              <a:gd name="connsiteX3" fmla="*/ 1805243 w 1805244"/>
              <a:gd name="connsiteY3" fmla="*/ 401263 h 704675"/>
              <a:gd name="connsiteX4" fmla="*/ 1259556 w 1805244"/>
              <a:gd name="connsiteY4" fmla="*/ 672863 h 704675"/>
              <a:gd name="connsiteX5" fmla="*/ 733063 w 1805244"/>
              <a:gd name="connsiteY5" fmla="*/ 413208 h 704675"/>
              <a:gd name="connsiteX6" fmla="*/ 0 w 1805244"/>
              <a:gd name="connsiteY6" fmla="*/ 704675 h 704675"/>
              <a:gd name="connsiteX7" fmla="*/ 0 w 1805244"/>
              <a:gd name="connsiteY7" fmla="*/ 453005 h 704675"/>
              <a:gd name="connsiteX0" fmla="*/ 0 w 1528031"/>
              <a:gd name="connsiteY0" fmla="*/ 453005 h 704675"/>
              <a:gd name="connsiteX1" fmla="*/ 755009 w 1528031"/>
              <a:gd name="connsiteY1" fmla="*/ 0 h 704675"/>
              <a:gd name="connsiteX2" fmla="*/ 1508274 w 1528031"/>
              <a:gd name="connsiteY2" fmla="*/ 438776 h 704675"/>
              <a:gd name="connsiteX3" fmla="*/ 1259556 w 1528031"/>
              <a:gd name="connsiteY3" fmla="*/ 672863 h 704675"/>
              <a:gd name="connsiteX4" fmla="*/ 733063 w 1528031"/>
              <a:gd name="connsiteY4" fmla="*/ 413208 h 704675"/>
              <a:gd name="connsiteX5" fmla="*/ 0 w 1528031"/>
              <a:gd name="connsiteY5" fmla="*/ 704675 h 704675"/>
              <a:gd name="connsiteX6" fmla="*/ 0 w 1528031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8274" h="704675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955182" y="341443"/>
                  <a:pt x="1179615" y="430421"/>
                  <a:pt x="1508274" y="438776"/>
                </a:cubicBezTo>
                <a:cubicBezTo>
                  <a:pt x="1409485" y="565550"/>
                  <a:pt x="1381442" y="603972"/>
                  <a:pt x="1259556" y="672863"/>
                </a:cubicBezTo>
                <a:cubicBezTo>
                  <a:pt x="1079719" y="639017"/>
                  <a:pt x="942989" y="590786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07" name="Oval 614"/>
          <p:cNvSpPr/>
          <p:nvPr/>
        </p:nvSpPr>
        <p:spPr bwMode="auto">
          <a:xfrm>
            <a:off x="658607" y="2176193"/>
            <a:ext cx="114396" cy="113097"/>
          </a:xfrm>
          <a:prstGeom prst="ellipse">
            <a:avLst/>
          </a:prstGeom>
          <a:solidFill>
            <a:srgbClr val="881C1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08" name="Freeform 615"/>
          <p:cNvSpPr/>
          <p:nvPr/>
        </p:nvSpPr>
        <p:spPr bwMode="auto">
          <a:xfrm>
            <a:off x="709364" y="2214998"/>
            <a:ext cx="47290" cy="65047"/>
          </a:xfrm>
          <a:custGeom>
            <a:avLst/>
            <a:gdLst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214694 w 2214694"/>
              <a:gd name="connsiteY10" fmla="*/ 8389 h 2583809"/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004969 w 2214694"/>
              <a:gd name="connsiteY10" fmla="*/ 209725 h 2583809"/>
              <a:gd name="connsiteX11" fmla="*/ 2214694 w 2214694"/>
              <a:gd name="connsiteY11" fmla="*/ 8389 h 2583809"/>
              <a:gd name="connsiteX0" fmla="*/ 1367406 w 2004969"/>
              <a:gd name="connsiteY0" fmla="*/ 0 h 2583809"/>
              <a:gd name="connsiteX1" fmla="*/ 553674 w 2004969"/>
              <a:gd name="connsiteY1" fmla="*/ 847288 h 2583809"/>
              <a:gd name="connsiteX2" fmla="*/ 1098958 w 2004969"/>
              <a:gd name="connsiteY2" fmla="*/ 872455 h 2583809"/>
              <a:gd name="connsiteX3" fmla="*/ 293615 w 2004969"/>
              <a:gd name="connsiteY3" fmla="*/ 1627464 h 2583809"/>
              <a:gd name="connsiteX4" fmla="*/ 746621 w 2004969"/>
              <a:gd name="connsiteY4" fmla="*/ 1635853 h 2583809"/>
              <a:gd name="connsiteX5" fmla="*/ 0 w 2004969"/>
              <a:gd name="connsiteY5" fmla="*/ 2583809 h 2583809"/>
              <a:gd name="connsiteX6" fmla="*/ 1560353 w 2004969"/>
              <a:gd name="connsiteY6" fmla="*/ 1317072 h 2583809"/>
              <a:gd name="connsiteX7" fmla="*/ 1157681 w 2004969"/>
              <a:gd name="connsiteY7" fmla="*/ 1317072 h 2583809"/>
              <a:gd name="connsiteX8" fmla="*/ 1971413 w 2004969"/>
              <a:gd name="connsiteY8" fmla="*/ 562062 h 2583809"/>
              <a:gd name="connsiteX9" fmla="*/ 1602298 w 2004969"/>
              <a:gd name="connsiteY9" fmla="*/ 562062 h 2583809"/>
              <a:gd name="connsiteX10" fmla="*/ 2004969 w 2004969"/>
              <a:gd name="connsiteY10" fmla="*/ 209725 h 2583809"/>
              <a:gd name="connsiteX11" fmla="*/ 1375795 w 2004969"/>
              <a:gd name="connsiteY11" fmla="*/ 8389 h 2583809"/>
              <a:gd name="connsiteX0" fmla="*/ 1367406 w 2206305"/>
              <a:gd name="connsiteY0" fmla="*/ 0 h 2583809"/>
              <a:gd name="connsiteX1" fmla="*/ 553674 w 2206305"/>
              <a:gd name="connsiteY1" fmla="*/ 847288 h 2583809"/>
              <a:gd name="connsiteX2" fmla="*/ 1098958 w 2206305"/>
              <a:gd name="connsiteY2" fmla="*/ 872455 h 2583809"/>
              <a:gd name="connsiteX3" fmla="*/ 293615 w 2206305"/>
              <a:gd name="connsiteY3" fmla="*/ 1627464 h 2583809"/>
              <a:gd name="connsiteX4" fmla="*/ 746621 w 2206305"/>
              <a:gd name="connsiteY4" fmla="*/ 1635853 h 2583809"/>
              <a:gd name="connsiteX5" fmla="*/ 0 w 2206305"/>
              <a:gd name="connsiteY5" fmla="*/ 2583809 h 2583809"/>
              <a:gd name="connsiteX6" fmla="*/ 1560353 w 2206305"/>
              <a:gd name="connsiteY6" fmla="*/ 1317072 h 2583809"/>
              <a:gd name="connsiteX7" fmla="*/ 1157681 w 2206305"/>
              <a:gd name="connsiteY7" fmla="*/ 1317072 h 2583809"/>
              <a:gd name="connsiteX8" fmla="*/ 1971413 w 2206305"/>
              <a:gd name="connsiteY8" fmla="*/ 562062 h 2583809"/>
              <a:gd name="connsiteX9" fmla="*/ 1602298 w 2206305"/>
              <a:gd name="connsiteY9" fmla="*/ 562062 h 2583809"/>
              <a:gd name="connsiteX10" fmla="*/ 2206305 w 2206305"/>
              <a:gd name="connsiteY10" fmla="*/ 8389 h 2583809"/>
              <a:gd name="connsiteX11" fmla="*/ 1375795 w 2206305"/>
              <a:gd name="connsiteY11" fmla="*/ 8389 h 258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6305" h="2583809">
                <a:moveTo>
                  <a:pt x="1367406" y="0"/>
                </a:moveTo>
                <a:lnTo>
                  <a:pt x="553674" y="847288"/>
                </a:lnTo>
                <a:lnTo>
                  <a:pt x="1098958" y="872455"/>
                </a:lnTo>
                <a:lnTo>
                  <a:pt x="293615" y="1627464"/>
                </a:lnTo>
                <a:lnTo>
                  <a:pt x="746621" y="1635853"/>
                </a:lnTo>
                <a:lnTo>
                  <a:pt x="0" y="2583809"/>
                </a:lnTo>
                <a:lnTo>
                  <a:pt x="1560353" y="1317072"/>
                </a:lnTo>
                <a:lnTo>
                  <a:pt x="1157681" y="1317072"/>
                </a:lnTo>
                <a:lnTo>
                  <a:pt x="1971413" y="562062"/>
                </a:lnTo>
                <a:lnTo>
                  <a:pt x="1602298" y="562062"/>
                </a:lnTo>
                <a:lnTo>
                  <a:pt x="2206305" y="8389"/>
                </a:lnTo>
                <a:lnTo>
                  <a:pt x="1375795" y="8389"/>
                </a:lnTo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9" name="Freeform 616"/>
          <p:cNvSpPr/>
          <p:nvPr/>
        </p:nvSpPr>
        <p:spPr bwMode="auto">
          <a:xfrm>
            <a:off x="682033" y="2202752"/>
            <a:ext cx="56281" cy="17968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5754" h="713707">
                <a:moveTo>
                  <a:pt x="0" y="461394"/>
                </a:moveTo>
                <a:cubicBezTo>
                  <a:pt x="394282" y="385893"/>
                  <a:pt x="528506" y="285226"/>
                  <a:pt x="755009" y="8389"/>
                </a:cubicBezTo>
                <a:cubicBezTo>
                  <a:pt x="1076589" y="525710"/>
                  <a:pt x="1817614" y="673915"/>
                  <a:pt x="2273416" y="0"/>
                </a:cubicBezTo>
                <a:cubicBezTo>
                  <a:pt x="2418176" y="239611"/>
                  <a:pt x="2466363" y="271244"/>
                  <a:pt x="2625754" y="343948"/>
                </a:cubicBezTo>
                <a:lnTo>
                  <a:pt x="2441196" y="536895"/>
                </a:lnTo>
                <a:cubicBezTo>
                  <a:pt x="2337218" y="481035"/>
                  <a:pt x="2321021" y="454437"/>
                  <a:pt x="2260933" y="413208"/>
                </a:cubicBezTo>
                <a:cubicBezTo>
                  <a:pt x="1785781" y="825656"/>
                  <a:pt x="1149693" y="799191"/>
                  <a:pt x="733063" y="421597"/>
                </a:cubicBezTo>
                <a:cubicBezTo>
                  <a:pt x="488709" y="623603"/>
                  <a:pt x="332136" y="701252"/>
                  <a:pt x="0" y="713064"/>
                </a:cubicBezTo>
                <a:lnTo>
                  <a:pt x="0" y="46139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10" name="Freeform 617"/>
          <p:cNvSpPr/>
          <p:nvPr/>
        </p:nvSpPr>
        <p:spPr bwMode="auto">
          <a:xfrm>
            <a:off x="682033" y="2220456"/>
            <a:ext cx="38693" cy="17745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5243" h="704886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1010753" y="458800"/>
                  <a:pt x="1437223" y="511906"/>
                  <a:pt x="1805243" y="401263"/>
                </a:cubicBezTo>
                <a:cubicBezTo>
                  <a:pt x="1740022" y="525923"/>
                  <a:pt x="1559189" y="647217"/>
                  <a:pt x="1504851" y="704071"/>
                </a:cubicBezTo>
                <a:cubicBezTo>
                  <a:pt x="1189403" y="717012"/>
                  <a:pt x="949733" y="574042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11" name="Freeform 618"/>
          <p:cNvSpPr/>
          <p:nvPr/>
        </p:nvSpPr>
        <p:spPr bwMode="auto">
          <a:xfrm>
            <a:off x="682033" y="2238322"/>
            <a:ext cx="32328" cy="17740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4"/>
              <a:gd name="connsiteY0" fmla="*/ 453016 h 704897"/>
              <a:gd name="connsiteX1" fmla="*/ 755009 w 1805244"/>
              <a:gd name="connsiteY1" fmla="*/ 11 h 704897"/>
              <a:gd name="connsiteX2" fmla="*/ 1508274 w 1805244"/>
              <a:gd name="connsiteY2" fmla="*/ 438787 h 704897"/>
              <a:gd name="connsiteX3" fmla="*/ 1805243 w 1805244"/>
              <a:gd name="connsiteY3" fmla="*/ 401274 h 704897"/>
              <a:gd name="connsiteX4" fmla="*/ 1504851 w 1805244"/>
              <a:gd name="connsiteY4" fmla="*/ 704082 h 704897"/>
              <a:gd name="connsiteX5" fmla="*/ 733063 w 1805244"/>
              <a:gd name="connsiteY5" fmla="*/ 413219 h 704897"/>
              <a:gd name="connsiteX6" fmla="*/ 0 w 1805244"/>
              <a:gd name="connsiteY6" fmla="*/ 704686 h 704897"/>
              <a:gd name="connsiteX7" fmla="*/ 0 w 1805244"/>
              <a:gd name="connsiteY7" fmla="*/ 453016 h 704897"/>
              <a:gd name="connsiteX0" fmla="*/ 0 w 1805244"/>
              <a:gd name="connsiteY0" fmla="*/ 453016 h 726953"/>
              <a:gd name="connsiteX1" fmla="*/ 755009 w 1805244"/>
              <a:gd name="connsiteY1" fmla="*/ 11 h 726953"/>
              <a:gd name="connsiteX2" fmla="*/ 1508274 w 1805244"/>
              <a:gd name="connsiteY2" fmla="*/ 438787 h 726953"/>
              <a:gd name="connsiteX3" fmla="*/ 1805243 w 1805244"/>
              <a:gd name="connsiteY3" fmla="*/ 401274 h 726953"/>
              <a:gd name="connsiteX4" fmla="*/ 1504851 w 1805244"/>
              <a:gd name="connsiteY4" fmla="*/ 704082 h 726953"/>
              <a:gd name="connsiteX5" fmla="*/ 1259556 w 1805244"/>
              <a:gd name="connsiteY5" fmla="*/ 672874 h 726953"/>
              <a:gd name="connsiteX6" fmla="*/ 733063 w 1805244"/>
              <a:gd name="connsiteY6" fmla="*/ 413219 h 726953"/>
              <a:gd name="connsiteX7" fmla="*/ 0 w 1805244"/>
              <a:gd name="connsiteY7" fmla="*/ 704686 h 726953"/>
              <a:gd name="connsiteX8" fmla="*/ 0 w 1805244"/>
              <a:gd name="connsiteY8" fmla="*/ 453016 h 726953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04675"/>
              <a:gd name="connsiteX1" fmla="*/ 755009 w 1805244"/>
              <a:gd name="connsiteY1" fmla="*/ 0 h 704675"/>
              <a:gd name="connsiteX2" fmla="*/ 1508274 w 1805244"/>
              <a:gd name="connsiteY2" fmla="*/ 438776 h 704675"/>
              <a:gd name="connsiteX3" fmla="*/ 1805243 w 1805244"/>
              <a:gd name="connsiteY3" fmla="*/ 401263 h 704675"/>
              <a:gd name="connsiteX4" fmla="*/ 1259556 w 1805244"/>
              <a:gd name="connsiteY4" fmla="*/ 672863 h 704675"/>
              <a:gd name="connsiteX5" fmla="*/ 733063 w 1805244"/>
              <a:gd name="connsiteY5" fmla="*/ 413208 h 704675"/>
              <a:gd name="connsiteX6" fmla="*/ 0 w 1805244"/>
              <a:gd name="connsiteY6" fmla="*/ 704675 h 704675"/>
              <a:gd name="connsiteX7" fmla="*/ 0 w 1805244"/>
              <a:gd name="connsiteY7" fmla="*/ 453005 h 704675"/>
              <a:gd name="connsiteX0" fmla="*/ 0 w 1528031"/>
              <a:gd name="connsiteY0" fmla="*/ 453005 h 704675"/>
              <a:gd name="connsiteX1" fmla="*/ 755009 w 1528031"/>
              <a:gd name="connsiteY1" fmla="*/ 0 h 704675"/>
              <a:gd name="connsiteX2" fmla="*/ 1508274 w 1528031"/>
              <a:gd name="connsiteY2" fmla="*/ 438776 h 704675"/>
              <a:gd name="connsiteX3" fmla="*/ 1259556 w 1528031"/>
              <a:gd name="connsiteY3" fmla="*/ 672863 h 704675"/>
              <a:gd name="connsiteX4" fmla="*/ 733063 w 1528031"/>
              <a:gd name="connsiteY4" fmla="*/ 413208 h 704675"/>
              <a:gd name="connsiteX5" fmla="*/ 0 w 1528031"/>
              <a:gd name="connsiteY5" fmla="*/ 704675 h 704675"/>
              <a:gd name="connsiteX6" fmla="*/ 0 w 1528031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8274" h="704675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955182" y="341443"/>
                  <a:pt x="1179615" y="430421"/>
                  <a:pt x="1508274" y="438776"/>
                </a:cubicBezTo>
                <a:cubicBezTo>
                  <a:pt x="1409485" y="565550"/>
                  <a:pt x="1381442" y="603972"/>
                  <a:pt x="1259556" y="672863"/>
                </a:cubicBezTo>
                <a:cubicBezTo>
                  <a:pt x="1079719" y="639017"/>
                  <a:pt x="942989" y="590786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12" name="Oval 609"/>
          <p:cNvSpPr/>
          <p:nvPr/>
        </p:nvSpPr>
        <p:spPr bwMode="auto">
          <a:xfrm>
            <a:off x="859193" y="1855394"/>
            <a:ext cx="114396" cy="113097"/>
          </a:xfrm>
          <a:prstGeom prst="ellipse">
            <a:avLst/>
          </a:prstGeom>
          <a:solidFill>
            <a:srgbClr val="881C1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13" name="Freeform 610"/>
          <p:cNvSpPr/>
          <p:nvPr/>
        </p:nvSpPr>
        <p:spPr bwMode="auto">
          <a:xfrm>
            <a:off x="909953" y="1894200"/>
            <a:ext cx="47290" cy="65047"/>
          </a:xfrm>
          <a:custGeom>
            <a:avLst/>
            <a:gdLst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214694 w 2214694"/>
              <a:gd name="connsiteY10" fmla="*/ 8389 h 2583809"/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004969 w 2214694"/>
              <a:gd name="connsiteY10" fmla="*/ 209725 h 2583809"/>
              <a:gd name="connsiteX11" fmla="*/ 2214694 w 2214694"/>
              <a:gd name="connsiteY11" fmla="*/ 8389 h 2583809"/>
              <a:gd name="connsiteX0" fmla="*/ 1367406 w 2004969"/>
              <a:gd name="connsiteY0" fmla="*/ 0 h 2583809"/>
              <a:gd name="connsiteX1" fmla="*/ 553674 w 2004969"/>
              <a:gd name="connsiteY1" fmla="*/ 847288 h 2583809"/>
              <a:gd name="connsiteX2" fmla="*/ 1098958 w 2004969"/>
              <a:gd name="connsiteY2" fmla="*/ 872455 h 2583809"/>
              <a:gd name="connsiteX3" fmla="*/ 293615 w 2004969"/>
              <a:gd name="connsiteY3" fmla="*/ 1627464 h 2583809"/>
              <a:gd name="connsiteX4" fmla="*/ 746621 w 2004969"/>
              <a:gd name="connsiteY4" fmla="*/ 1635853 h 2583809"/>
              <a:gd name="connsiteX5" fmla="*/ 0 w 2004969"/>
              <a:gd name="connsiteY5" fmla="*/ 2583809 h 2583809"/>
              <a:gd name="connsiteX6" fmla="*/ 1560353 w 2004969"/>
              <a:gd name="connsiteY6" fmla="*/ 1317072 h 2583809"/>
              <a:gd name="connsiteX7" fmla="*/ 1157681 w 2004969"/>
              <a:gd name="connsiteY7" fmla="*/ 1317072 h 2583809"/>
              <a:gd name="connsiteX8" fmla="*/ 1971413 w 2004969"/>
              <a:gd name="connsiteY8" fmla="*/ 562062 h 2583809"/>
              <a:gd name="connsiteX9" fmla="*/ 1602298 w 2004969"/>
              <a:gd name="connsiteY9" fmla="*/ 562062 h 2583809"/>
              <a:gd name="connsiteX10" fmla="*/ 2004969 w 2004969"/>
              <a:gd name="connsiteY10" fmla="*/ 209725 h 2583809"/>
              <a:gd name="connsiteX11" fmla="*/ 1375795 w 2004969"/>
              <a:gd name="connsiteY11" fmla="*/ 8389 h 2583809"/>
              <a:gd name="connsiteX0" fmla="*/ 1367406 w 2206305"/>
              <a:gd name="connsiteY0" fmla="*/ 0 h 2583809"/>
              <a:gd name="connsiteX1" fmla="*/ 553674 w 2206305"/>
              <a:gd name="connsiteY1" fmla="*/ 847288 h 2583809"/>
              <a:gd name="connsiteX2" fmla="*/ 1098958 w 2206305"/>
              <a:gd name="connsiteY2" fmla="*/ 872455 h 2583809"/>
              <a:gd name="connsiteX3" fmla="*/ 293615 w 2206305"/>
              <a:gd name="connsiteY3" fmla="*/ 1627464 h 2583809"/>
              <a:gd name="connsiteX4" fmla="*/ 746621 w 2206305"/>
              <a:gd name="connsiteY4" fmla="*/ 1635853 h 2583809"/>
              <a:gd name="connsiteX5" fmla="*/ 0 w 2206305"/>
              <a:gd name="connsiteY5" fmla="*/ 2583809 h 2583809"/>
              <a:gd name="connsiteX6" fmla="*/ 1560353 w 2206305"/>
              <a:gd name="connsiteY6" fmla="*/ 1317072 h 2583809"/>
              <a:gd name="connsiteX7" fmla="*/ 1157681 w 2206305"/>
              <a:gd name="connsiteY7" fmla="*/ 1317072 h 2583809"/>
              <a:gd name="connsiteX8" fmla="*/ 1971413 w 2206305"/>
              <a:gd name="connsiteY8" fmla="*/ 562062 h 2583809"/>
              <a:gd name="connsiteX9" fmla="*/ 1602298 w 2206305"/>
              <a:gd name="connsiteY9" fmla="*/ 562062 h 2583809"/>
              <a:gd name="connsiteX10" fmla="*/ 2206305 w 2206305"/>
              <a:gd name="connsiteY10" fmla="*/ 8389 h 2583809"/>
              <a:gd name="connsiteX11" fmla="*/ 1375795 w 2206305"/>
              <a:gd name="connsiteY11" fmla="*/ 8389 h 258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6305" h="2583809">
                <a:moveTo>
                  <a:pt x="1367406" y="0"/>
                </a:moveTo>
                <a:lnTo>
                  <a:pt x="553674" y="847288"/>
                </a:lnTo>
                <a:lnTo>
                  <a:pt x="1098958" y="872455"/>
                </a:lnTo>
                <a:lnTo>
                  <a:pt x="293615" y="1627464"/>
                </a:lnTo>
                <a:lnTo>
                  <a:pt x="746621" y="1635853"/>
                </a:lnTo>
                <a:lnTo>
                  <a:pt x="0" y="2583809"/>
                </a:lnTo>
                <a:lnTo>
                  <a:pt x="1560353" y="1317072"/>
                </a:lnTo>
                <a:lnTo>
                  <a:pt x="1157681" y="1317072"/>
                </a:lnTo>
                <a:lnTo>
                  <a:pt x="1971413" y="562062"/>
                </a:lnTo>
                <a:lnTo>
                  <a:pt x="1602298" y="562062"/>
                </a:lnTo>
                <a:lnTo>
                  <a:pt x="2206305" y="8389"/>
                </a:lnTo>
                <a:lnTo>
                  <a:pt x="1375795" y="8389"/>
                </a:lnTo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Freeform 611"/>
          <p:cNvSpPr/>
          <p:nvPr/>
        </p:nvSpPr>
        <p:spPr bwMode="auto">
          <a:xfrm>
            <a:off x="882625" y="1881951"/>
            <a:ext cx="56281" cy="17968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5754" h="713707">
                <a:moveTo>
                  <a:pt x="0" y="461394"/>
                </a:moveTo>
                <a:cubicBezTo>
                  <a:pt x="394282" y="385893"/>
                  <a:pt x="528506" y="285226"/>
                  <a:pt x="755009" y="8389"/>
                </a:cubicBezTo>
                <a:cubicBezTo>
                  <a:pt x="1076589" y="525710"/>
                  <a:pt x="1817614" y="673915"/>
                  <a:pt x="2273416" y="0"/>
                </a:cubicBezTo>
                <a:cubicBezTo>
                  <a:pt x="2418176" y="239611"/>
                  <a:pt x="2466363" y="271244"/>
                  <a:pt x="2625754" y="343948"/>
                </a:cubicBezTo>
                <a:lnTo>
                  <a:pt x="2441196" y="536895"/>
                </a:lnTo>
                <a:cubicBezTo>
                  <a:pt x="2337218" y="481035"/>
                  <a:pt x="2321021" y="454437"/>
                  <a:pt x="2260933" y="413208"/>
                </a:cubicBezTo>
                <a:cubicBezTo>
                  <a:pt x="1785781" y="825656"/>
                  <a:pt x="1149693" y="799191"/>
                  <a:pt x="733063" y="421597"/>
                </a:cubicBezTo>
                <a:cubicBezTo>
                  <a:pt x="488709" y="623603"/>
                  <a:pt x="332136" y="701252"/>
                  <a:pt x="0" y="713064"/>
                </a:cubicBezTo>
                <a:lnTo>
                  <a:pt x="0" y="46139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15" name="Freeform 612"/>
          <p:cNvSpPr/>
          <p:nvPr/>
        </p:nvSpPr>
        <p:spPr bwMode="auto">
          <a:xfrm>
            <a:off x="882625" y="1899657"/>
            <a:ext cx="38693" cy="17745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5243" h="704886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1010753" y="458800"/>
                  <a:pt x="1437223" y="511906"/>
                  <a:pt x="1805243" y="401263"/>
                </a:cubicBezTo>
                <a:cubicBezTo>
                  <a:pt x="1740022" y="525923"/>
                  <a:pt x="1559189" y="647217"/>
                  <a:pt x="1504851" y="704071"/>
                </a:cubicBezTo>
                <a:cubicBezTo>
                  <a:pt x="1189403" y="717012"/>
                  <a:pt x="949733" y="574042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16" name="Freeform 613"/>
          <p:cNvSpPr/>
          <p:nvPr/>
        </p:nvSpPr>
        <p:spPr bwMode="auto">
          <a:xfrm>
            <a:off x="882625" y="1917520"/>
            <a:ext cx="32328" cy="17740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4"/>
              <a:gd name="connsiteY0" fmla="*/ 453016 h 704897"/>
              <a:gd name="connsiteX1" fmla="*/ 755009 w 1805244"/>
              <a:gd name="connsiteY1" fmla="*/ 11 h 704897"/>
              <a:gd name="connsiteX2" fmla="*/ 1508274 w 1805244"/>
              <a:gd name="connsiteY2" fmla="*/ 438787 h 704897"/>
              <a:gd name="connsiteX3" fmla="*/ 1805243 w 1805244"/>
              <a:gd name="connsiteY3" fmla="*/ 401274 h 704897"/>
              <a:gd name="connsiteX4" fmla="*/ 1504851 w 1805244"/>
              <a:gd name="connsiteY4" fmla="*/ 704082 h 704897"/>
              <a:gd name="connsiteX5" fmla="*/ 733063 w 1805244"/>
              <a:gd name="connsiteY5" fmla="*/ 413219 h 704897"/>
              <a:gd name="connsiteX6" fmla="*/ 0 w 1805244"/>
              <a:gd name="connsiteY6" fmla="*/ 704686 h 704897"/>
              <a:gd name="connsiteX7" fmla="*/ 0 w 1805244"/>
              <a:gd name="connsiteY7" fmla="*/ 453016 h 704897"/>
              <a:gd name="connsiteX0" fmla="*/ 0 w 1805244"/>
              <a:gd name="connsiteY0" fmla="*/ 453016 h 726953"/>
              <a:gd name="connsiteX1" fmla="*/ 755009 w 1805244"/>
              <a:gd name="connsiteY1" fmla="*/ 11 h 726953"/>
              <a:gd name="connsiteX2" fmla="*/ 1508274 w 1805244"/>
              <a:gd name="connsiteY2" fmla="*/ 438787 h 726953"/>
              <a:gd name="connsiteX3" fmla="*/ 1805243 w 1805244"/>
              <a:gd name="connsiteY3" fmla="*/ 401274 h 726953"/>
              <a:gd name="connsiteX4" fmla="*/ 1504851 w 1805244"/>
              <a:gd name="connsiteY4" fmla="*/ 704082 h 726953"/>
              <a:gd name="connsiteX5" fmla="*/ 1259556 w 1805244"/>
              <a:gd name="connsiteY5" fmla="*/ 672874 h 726953"/>
              <a:gd name="connsiteX6" fmla="*/ 733063 w 1805244"/>
              <a:gd name="connsiteY6" fmla="*/ 413219 h 726953"/>
              <a:gd name="connsiteX7" fmla="*/ 0 w 1805244"/>
              <a:gd name="connsiteY7" fmla="*/ 704686 h 726953"/>
              <a:gd name="connsiteX8" fmla="*/ 0 w 1805244"/>
              <a:gd name="connsiteY8" fmla="*/ 453016 h 726953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04675"/>
              <a:gd name="connsiteX1" fmla="*/ 755009 w 1805244"/>
              <a:gd name="connsiteY1" fmla="*/ 0 h 704675"/>
              <a:gd name="connsiteX2" fmla="*/ 1508274 w 1805244"/>
              <a:gd name="connsiteY2" fmla="*/ 438776 h 704675"/>
              <a:gd name="connsiteX3" fmla="*/ 1805243 w 1805244"/>
              <a:gd name="connsiteY3" fmla="*/ 401263 h 704675"/>
              <a:gd name="connsiteX4" fmla="*/ 1259556 w 1805244"/>
              <a:gd name="connsiteY4" fmla="*/ 672863 h 704675"/>
              <a:gd name="connsiteX5" fmla="*/ 733063 w 1805244"/>
              <a:gd name="connsiteY5" fmla="*/ 413208 h 704675"/>
              <a:gd name="connsiteX6" fmla="*/ 0 w 1805244"/>
              <a:gd name="connsiteY6" fmla="*/ 704675 h 704675"/>
              <a:gd name="connsiteX7" fmla="*/ 0 w 1805244"/>
              <a:gd name="connsiteY7" fmla="*/ 453005 h 704675"/>
              <a:gd name="connsiteX0" fmla="*/ 0 w 1528031"/>
              <a:gd name="connsiteY0" fmla="*/ 453005 h 704675"/>
              <a:gd name="connsiteX1" fmla="*/ 755009 w 1528031"/>
              <a:gd name="connsiteY1" fmla="*/ 0 h 704675"/>
              <a:gd name="connsiteX2" fmla="*/ 1508274 w 1528031"/>
              <a:gd name="connsiteY2" fmla="*/ 438776 h 704675"/>
              <a:gd name="connsiteX3" fmla="*/ 1259556 w 1528031"/>
              <a:gd name="connsiteY3" fmla="*/ 672863 h 704675"/>
              <a:gd name="connsiteX4" fmla="*/ 733063 w 1528031"/>
              <a:gd name="connsiteY4" fmla="*/ 413208 h 704675"/>
              <a:gd name="connsiteX5" fmla="*/ 0 w 1528031"/>
              <a:gd name="connsiteY5" fmla="*/ 704675 h 704675"/>
              <a:gd name="connsiteX6" fmla="*/ 0 w 1528031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8274" h="704675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955182" y="341443"/>
                  <a:pt x="1179615" y="430421"/>
                  <a:pt x="1508274" y="438776"/>
                </a:cubicBezTo>
                <a:cubicBezTo>
                  <a:pt x="1409485" y="565550"/>
                  <a:pt x="1381442" y="603972"/>
                  <a:pt x="1259556" y="672863"/>
                </a:cubicBezTo>
                <a:cubicBezTo>
                  <a:pt x="1079719" y="639017"/>
                  <a:pt x="942989" y="590786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17" name="Oval 604"/>
          <p:cNvSpPr/>
          <p:nvPr/>
        </p:nvSpPr>
        <p:spPr bwMode="auto">
          <a:xfrm>
            <a:off x="4735273" y="2047873"/>
            <a:ext cx="114396" cy="113097"/>
          </a:xfrm>
          <a:prstGeom prst="ellipse">
            <a:avLst/>
          </a:prstGeom>
          <a:solidFill>
            <a:srgbClr val="881C1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18" name="Freeform 605"/>
          <p:cNvSpPr/>
          <p:nvPr/>
        </p:nvSpPr>
        <p:spPr bwMode="auto">
          <a:xfrm>
            <a:off x="4786034" y="2086680"/>
            <a:ext cx="47290" cy="65047"/>
          </a:xfrm>
          <a:custGeom>
            <a:avLst/>
            <a:gdLst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214694 w 2214694"/>
              <a:gd name="connsiteY10" fmla="*/ 8389 h 2583809"/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004969 w 2214694"/>
              <a:gd name="connsiteY10" fmla="*/ 209725 h 2583809"/>
              <a:gd name="connsiteX11" fmla="*/ 2214694 w 2214694"/>
              <a:gd name="connsiteY11" fmla="*/ 8389 h 2583809"/>
              <a:gd name="connsiteX0" fmla="*/ 1367406 w 2004969"/>
              <a:gd name="connsiteY0" fmla="*/ 0 h 2583809"/>
              <a:gd name="connsiteX1" fmla="*/ 553674 w 2004969"/>
              <a:gd name="connsiteY1" fmla="*/ 847288 h 2583809"/>
              <a:gd name="connsiteX2" fmla="*/ 1098958 w 2004969"/>
              <a:gd name="connsiteY2" fmla="*/ 872455 h 2583809"/>
              <a:gd name="connsiteX3" fmla="*/ 293615 w 2004969"/>
              <a:gd name="connsiteY3" fmla="*/ 1627464 h 2583809"/>
              <a:gd name="connsiteX4" fmla="*/ 746621 w 2004969"/>
              <a:gd name="connsiteY4" fmla="*/ 1635853 h 2583809"/>
              <a:gd name="connsiteX5" fmla="*/ 0 w 2004969"/>
              <a:gd name="connsiteY5" fmla="*/ 2583809 h 2583809"/>
              <a:gd name="connsiteX6" fmla="*/ 1560353 w 2004969"/>
              <a:gd name="connsiteY6" fmla="*/ 1317072 h 2583809"/>
              <a:gd name="connsiteX7" fmla="*/ 1157681 w 2004969"/>
              <a:gd name="connsiteY7" fmla="*/ 1317072 h 2583809"/>
              <a:gd name="connsiteX8" fmla="*/ 1971413 w 2004969"/>
              <a:gd name="connsiteY8" fmla="*/ 562062 h 2583809"/>
              <a:gd name="connsiteX9" fmla="*/ 1602298 w 2004969"/>
              <a:gd name="connsiteY9" fmla="*/ 562062 h 2583809"/>
              <a:gd name="connsiteX10" fmla="*/ 2004969 w 2004969"/>
              <a:gd name="connsiteY10" fmla="*/ 209725 h 2583809"/>
              <a:gd name="connsiteX11" fmla="*/ 1375795 w 2004969"/>
              <a:gd name="connsiteY11" fmla="*/ 8389 h 2583809"/>
              <a:gd name="connsiteX0" fmla="*/ 1367406 w 2206305"/>
              <a:gd name="connsiteY0" fmla="*/ 0 h 2583809"/>
              <a:gd name="connsiteX1" fmla="*/ 553674 w 2206305"/>
              <a:gd name="connsiteY1" fmla="*/ 847288 h 2583809"/>
              <a:gd name="connsiteX2" fmla="*/ 1098958 w 2206305"/>
              <a:gd name="connsiteY2" fmla="*/ 872455 h 2583809"/>
              <a:gd name="connsiteX3" fmla="*/ 293615 w 2206305"/>
              <a:gd name="connsiteY3" fmla="*/ 1627464 h 2583809"/>
              <a:gd name="connsiteX4" fmla="*/ 746621 w 2206305"/>
              <a:gd name="connsiteY4" fmla="*/ 1635853 h 2583809"/>
              <a:gd name="connsiteX5" fmla="*/ 0 w 2206305"/>
              <a:gd name="connsiteY5" fmla="*/ 2583809 h 2583809"/>
              <a:gd name="connsiteX6" fmla="*/ 1560353 w 2206305"/>
              <a:gd name="connsiteY6" fmla="*/ 1317072 h 2583809"/>
              <a:gd name="connsiteX7" fmla="*/ 1157681 w 2206305"/>
              <a:gd name="connsiteY7" fmla="*/ 1317072 h 2583809"/>
              <a:gd name="connsiteX8" fmla="*/ 1971413 w 2206305"/>
              <a:gd name="connsiteY8" fmla="*/ 562062 h 2583809"/>
              <a:gd name="connsiteX9" fmla="*/ 1602298 w 2206305"/>
              <a:gd name="connsiteY9" fmla="*/ 562062 h 2583809"/>
              <a:gd name="connsiteX10" fmla="*/ 2206305 w 2206305"/>
              <a:gd name="connsiteY10" fmla="*/ 8389 h 2583809"/>
              <a:gd name="connsiteX11" fmla="*/ 1375795 w 2206305"/>
              <a:gd name="connsiteY11" fmla="*/ 8389 h 258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6305" h="2583809">
                <a:moveTo>
                  <a:pt x="1367406" y="0"/>
                </a:moveTo>
                <a:lnTo>
                  <a:pt x="553674" y="847288"/>
                </a:lnTo>
                <a:lnTo>
                  <a:pt x="1098958" y="872455"/>
                </a:lnTo>
                <a:lnTo>
                  <a:pt x="293615" y="1627464"/>
                </a:lnTo>
                <a:lnTo>
                  <a:pt x="746621" y="1635853"/>
                </a:lnTo>
                <a:lnTo>
                  <a:pt x="0" y="2583809"/>
                </a:lnTo>
                <a:lnTo>
                  <a:pt x="1560353" y="1317072"/>
                </a:lnTo>
                <a:lnTo>
                  <a:pt x="1157681" y="1317072"/>
                </a:lnTo>
                <a:lnTo>
                  <a:pt x="1971413" y="562062"/>
                </a:lnTo>
                <a:lnTo>
                  <a:pt x="1602298" y="562062"/>
                </a:lnTo>
                <a:lnTo>
                  <a:pt x="2206305" y="8389"/>
                </a:lnTo>
                <a:lnTo>
                  <a:pt x="1375795" y="8389"/>
                </a:lnTo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Freeform 606"/>
          <p:cNvSpPr/>
          <p:nvPr/>
        </p:nvSpPr>
        <p:spPr bwMode="auto">
          <a:xfrm>
            <a:off x="4758703" y="2074432"/>
            <a:ext cx="56281" cy="17968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5754" h="713707">
                <a:moveTo>
                  <a:pt x="0" y="461394"/>
                </a:moveTo>
                <a:cubicBezTo>
                  <a:pt x="394282" y="385893"/>
                  <a:pt x="528506" y="285226"/>
                  <a:pt x="755009" y="8389"/>
                </a:cubicBezTo>
                <a:cubicBezTo>
                  <a:pt x="1076589" y="525710"/>
                  <a:pt x="1817614" y="673915"/>
                  <a:pt x="2273416" y="0"/>
                </a:cubicBezTo>
                <a:cubicBezTo>
                  <a:pt x="2418176" y="239611"/>
                  <a:pt x="2466363" y="271244"/>
                  <a:pt x="2625754" y="343948"/>
                </a:cubicBezTo>
                <a:lnTo>
                  <a:pt x="2441196" y="536895"/>
                </a:lnTo>
                <a:cubicBezTo>
                  <a:pt x="2337218" y="481035"/>
                  <a:pt x="2321021" y="454437"/>
                  <a:pt x="2260933" y="413208"/>
                </a:cubicBezTo>
                <a:cubicBezTo>
                  <a:pt x="1785781" y="825656"/>
                  <a:pt x="1149693" y="799191"/>
                  <a:pt x="733063" y="421597"/>
                </a:cubicBezTo>
                <a:cubicBezTo>
                  <a:pt x="488709" y="623603"/>
                  <a:pt x="332136" y="701252"/>
                  <a:pt x="0" y="713064"/>
                </a:cubicBezTo>
                <a:lnTo>
                  <a:pt x="0" y="46139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20" name="Freeform 607"/>
          <p:cNvSpPr/>
          <p:nvPr/>
        </p:nvSpPr>
        <p:spPr bwMode="auto">
          <a:xfrm>
            <a:off x="4758703" y="2092137"/>
            <a:ext cx="38693" cy="17745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5243" h="704886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1010753" y="458800"/>
                  <a:pt x="1437223" y="511906"/>
                  <a:pt x="1805243" y="401263"/>
                </a:cubicBezTo>
                <a:cubicBezTo>
                  <a:pt x="1740022" y="525923"/>
                  <a:pt x="1559189" y="647217"/>
                  <a:pt x="1504851" y="704071"/>
                </a:cubicBezTo>
                <a:cubicBezTo>
                  <a:pt x="1189403" y="717012"/>
                  <a:pt x="949733" y="574042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21" name="Freeform 608"/>
          <p:cNvSpPr/>
          <p:nvPr/>
        </p:nvSpPr>
        <p:spPr bwMode="auto">
          <a:xfrm>
            <a:off x="4758703" y="2109999"/>
            <a:ext cx="32328" cy="17740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4"/>
              <a:gd name="connsiteY0" fmla="*/ 453016 h 704897"/>
              <a:gd name="connsiteX1" fmla="*/ 755009 w 1805244"/>
              <a:gd name="connsiteY1" fmla="*/ 11 h 704897"/>
              <a:gd name="connsiteX2" fmla="*/ 1508274 w 1805244"/>
              <a:gd name="connsiteY2" fmla="*/ 438787 h 704897"/>
              <a:gd name="connsiteX3" fmla="*/ 1805243 w 1805244"/>
              <a:gd name="connsiteY3" fmla="*/ 401274 h 704897"/>
              <a:gd name="connsiteX4" fmla="*/ 1504851 w 1805244"/>
              <a:gd name="connsiteY4" fmla="*/ 704082 h 704897"/>
              <a:gd name="connsiteX5" fmla="*/ 733063 w 1805244"/>
              <a:gd name="connsiteY5" fmla="*/ 413219 h 704897"/>
              <a:gd name="connsiteX6" fmla="*/ 0 w 1805244"/>
              <a:gd name="connsiteY6" fmla="*/ 704686 h 704897"/>
              <a:gd name="connsiteX7" fmla="*/ 0 w 1805244"/>
              <a:gd name="connsiteY7" fmla="*/ 453016 h 704897"/>
              <a:gd name="connsiteX0" fmla="*/ 0 w 1805244"/>
              <a:gd name="connsiteY0" fmla="*/ 453016 h 726953"/>
              <a:gd name="connsiteX1" fmla="*/ 755009 w 1805244"/>
              <a:gd name="connsiteY1" fmla="*/ 11 h 726953"/>
              <a:gd name="connsiteX2" fmla="*/ 1508274 w 1805244"/>
              <a:gd name="connsiteY2" fmla="*/ 438787 h 726953"/>
              <a:gd name="connsiteX3" fmla="*/ 1805243 w 1805244"/>
              <a:gd name="connsiteY3" fmla="*/ 401274 h 726953"/>
              <a:gd name="connsiteX4" fmla="*/ 1504851 w 1805244"/>
              <a:gd name="connsiteY4" fmla="*/ 704082 h 726953"/>
              <a:gd name="connsiteX5" fmla="*/ 1259556 w 1805244"/>
              <a:gd name="connsiteY5" fmla="*/ 672874 h 726953"/>
              <a:gd name="connsiteX6" fmla="*/ 733063 w 1805244"/>
              <a:gd name="connsiteY6" fmla="*/ 413219 h 726953"/>
              <a:gd name="connsiteX7" fmla="*/ 0 w 1805244"/>
              <a:gd name="connsiteY7" fmla="*/ 704686 h 726953"/>
              <a:gd name="connsiteX8" fmla="*/ 0 w 1805244"/>
              <a:gd name="connsiteY8" fmla="*/ 453016 h 726953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04675"/>
              <a:gd name="connsiteX1" fmla="*/ 755009 w 1805244"/>
              <a:gd name="connsiteY1" fmla="*/ 0 h 704675"/>
              <a:gd name="connsiteX2" fmla="*/ 1508274 w 1805244"/>
              <a:gd name="connsiteY2" fmla="*/ 438776 h 704675"/>
              <a:gd name="connsiteX3" fmla="*/ 1805243 w 1805244"/>
              <a:gd name="connsiteY3" fmla="*/ 401263 h 704675"/>
              <a:gd name="connsiteX4" fmla="*/ 1259556 w 1805244"/>
              <a:gd name="connsiteY4" fmla="*/ 672863 h 704675"/>
              <a:gd name="connsiteX5" fmla="*/ 733063 w 1805244"/>
              <a:gd name="connsiteY5" fmla="*/ 413208 h 704675"/>
              <a:gd name="connsiteX6" fmla="*/ 0 w 1805244"/>
              <a:gd name="connsiteY6" fmla="*/ 704675 h 704675"/>
              <a:gd name="connsiteX7" fmla="*/ 0 w 1805244"/>
              <a:gd name="connsiteY7" fmla="*/ 453005 h 704675"/>
              <a:gd name="connsiteX0" fmla="*/ 0 w 1528031"/>
              <a:gd name="connsiteY0" fmla="*/ 453005 h 704675"/>
              <a:gd name="connsiteX1" fmla="*/ 755009 w 1528031"/>
              <a:gd name="connsiteY1" fmla="*/ 0 h 704675"/>
              <a:gd name="connsiteX2" fmla="*/ 1508274 w 1528031"/>
              <a:gd name="connsiteY2" fmla="*/ 438776 h 704675"/>
              <a:gd name="connsiteX3" fmla="*/ 1259556 w 1528031"/>
              <a:gd name="connsiteY3" fmla="*/ 672863 h 704675"/>
              <a:gd name="connsiteX4" fmla="*/ 733063 w 1528031"/>
              <a:gd name="connsiteY4" fmla="*/ 413208 h 704675"/>
              <a:gd name="connsiteX5" fmla="*/ 0 w 1528031"/>
              <a:gd name="connsiteY5" fmla="*/ 704675 h 704675"/>
              <a:gd name="connsiteX6" fmla="*/ 0 w 1528031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8274" h="704675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955182" y="341443"/>
                  <a:pt x="1179615" y="430421"/>
                  <a:pt x="1508274" y="438776"/>
                </a:cubicBezTo>
                <a:cubicBezTo>
                  <a:pt x="1409485" y="565550"/>
                  <a:pt x="1381442" y="603972"/>
                  <a:pt x="1259556" y="672863"/>
                </a:cubicBezTo>
                <a:cubicBezTo>
                  <a:pt x="1079719" y="639017"/>
                  <a:pt x="942989" y="590786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22" name="TextBox 221"/>
          <p:cNvSpPr txBox="1"/>
          <p:nvPr/>
        </p:nvSpPr>
        <p:spPr>
          <a:xfrm>
            <a:off x="4852020" y="2074477"/>
            <a:ext cx="566430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Jagran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30MW</a:t>
            </a:r>
          </a:p>
        </p:txBody>
      </p:sp>
      <p:sp>
        <p:nvSpPr>
          <p:cNvPr id="223" name="TextBox 222"/>
          <p:cNvSpPr txBox="1"/>
          <p:nvPr/>
        </p:nvSpPr>
        <p:spPr>
          <a:xfrm>
            <a:off x="91443" y="2180445"/>
            <a:ext cx="551347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Dargai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20MW</a:t>
            </a:r>
          </a:p>
        </p:txBody>
      </p:sp>
      <p:sp>
        <p:nvSpPr>
          <p:cNvPr id="224" name="TextBox 223"/>
          <p:cNvSpPr txBox="1"/>
          <p:nvPr/>
        </p:nvSpPr>
        <p:spPr>
          <a:xfrm>
            <a:off x="264157" y="1850060"/>
            <a:ext cx="586541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Jabban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20MW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641462" y="2746121"/>
            <a:ext cx="794342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Malakand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III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81MW</a:t>
            </a:r>
          </a:p>
        </p:txBody>
      </p:sp>
      <p:sp>
        <p:nvSpPr>
          <p:cNvPr id="226" name="TextBox 225"/>
          <p:cNvSpPr txBox="1"/>
          <p:nvPr/>
        </p:nvSpPr>
        <p:spPr>
          <a:xfrm>
            <a:off x="1325277" y="3588569"/>
            <a:ext cx="683738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Tarbela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3470MW</a:t>
            </a:r>
          </a:p>
        </p:txBody>
      </p:sp>
      <p:sp>
        <p:nvSpPr>
          <p:cNvPr id="227" name="TextBox 226"/>
          <p:cNvSpPr txBox="1"/>
          <p:nvPr/>
        </p:nvSpPr>
        <p:spPr>
          <a:xfrm>
            <a:off x="544040" y="4064819"/>
            <a:ext cx="987062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hazi 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Barotha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450MW</a:t>
            </a:r>
          </a:p>
        </p:txBody>
      </p:sp>
      <p:sp>
        <p:nvSpPr>
          <p:cNvPr id="228" name="TextBox 227"/>
          <p:cNvSpPr txBox="1"/>
          <p:nvPr/>
        </p:nvSpPr>
        <p:spPr>
          <a:xfrm>
            <a:off x="2881658" y="2596427"/>
            <a:ext cx="628436" cy="9009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 algn="r" latinLnBrk="0">
              <a:lnSpc>
                <a:spcPct val="80000"/>
              </a:lnSpc>
              <a:defRPr sz="5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en-US" sz="700" dirty="0" err="1"/>
              <a:t>Patrind</a:t>
            </a:r>
            <a:r>
              <a:rPr lang="en-US" sz="700" dirty="0"/>
              <a:t> </a:t>
            </a:r>
            <a:r>
              <a:rPr lang="en-US" sz="600" i="1" dirty="0"/>
              <a:t>147MW</a:t>
            </a:r>
          </a:p>
        </p:txBody>
      </p:sp>
      <p:sp>
        <p:nvSpPr>
          <p:cNvPr id="229" name="Oval 799"/>
          <p:cNvSpPr/>
          <p:nvPr/>
        </p:nvSpPr>
        <p:spPr bwMode="auto">
          <a:xfrm>
            <a:off x="3827227" y="3234751"/>
            <a:ext cx="114396" cy="113097"/>
          </a:xfrm>
          <a:prstGeom prst="ellipse">
            <a:avLst/>
          </a:prstGeom>
          <a:solidFill>
            <a:srgbClr val="4C2B7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30" name="Freeform 800"/>
          <p:cNvSpPr/>
          <p:nvPr/>
        </p:nvSpPr>
        <p:spPr bwMode="auto">
          <a:xfrm>
            <a:off x="3852330" y="3264316"/>
            <a:ext cx="71971" cy="57039"/>
          </a:xfrm>
          <a:custGeom>
            <a:avLst/>
            <a:gdLst>
              <a:gd name="connsiteX0" fmla="*/ 0 w 2072081"/>
              <a:gd name="connsiteY0" fmla="*/ 444617 h 1661021"/>
              <a:gd name="connsiteX1" fmla="*/ 1392572 w 2072081"/>
              <a:gd name="connsiteY1" fmla="*/ 1132514 h 1661021"/>
              <a:gd name="connsiteX2" fmla="*/ 1342239 w 2072081"/>
              <a:gd name="connsiteY2" fmla="*/ 1208015 h 1661021"/>
              <a:gd name="connsiteX3" fmla="*/ 1208015 w 2072081"/>
              <a:gd name="connsiteY3" fmla="*/ 1241571 h 1661021"/>
              <a:gd name="connsiteX4" fmla="*/ 998290 w 2072081"/>
              <a:gd name="connsiteY4" fmla="*/ 1661021 h 1661021"/>
              <a:gd name="connsiteX5" fmla="*/ 2072081 w 2072081"/>
              <a:gd name="connsiteY5" fmla="*/ 1661021 h 1661021"/>
              <a:gd name="connsiteX6" fmla="*/ 1719743 w 2072081"/>
              <a:gd name="connsiteY6" fmla="*/ 897622 h 1661021"/>
              <a:gd name="connsiteX7" fmla="*/ 1644242 w 2072081"/>
              <a:gd name="connsiteY7" fmla="*/ 855678 h 1661021"/>
              <a:gd name="connsiteX8" fmla="*/ 1526796 w 2072081"/>
              <a:gd name="connsiteY8" fmla="*/ 947956 h 1661021"/>
              <a:gd name="connsiteX9" fmla="*/ 1468073 w 2072081"/>
              <a:gd name="connsiteY9" fmla="*/ 1031846 h 1661021"/>
              <a:gd name="connsiteX10" fmla="*/ 1166070 w 2072081"/>
              <a:gd name="connsiteY10" fmla="*/ 880844 h 1661021"/>
              <a:gd name="connsiteX11" fmla="*/ 1023457 w 2072081"/>
              <a:gd name="connsiteY11" fmla="*/ 226503 h 1661021"/>
              <a:gd name="connsiteX12" fmla="*/ 721453 w 2072081"/>
              <a:gd name="connsiteY12" fmla="*/ 0 h 1661021"/>
              <a:gd name="connsiteX13" fmla="*/ 377505 w 2072081"/>
              <a:gd name="connsiteY13" fmla="*/ 16778 h 1661021"/>
              <a:gd name="connsiteX14" fmla="*/ 75501 w 2072081"/>
              <a:gd name="connsiteY14" fmla="*/ 352338 h 1661021"/>
              <a:gd name="connsiteX15" fmla="*/ 218114 w 2072081"/>
              <a:gd name="connsiteY15" fmla="*/ 427839 h 1661021"/>
              <a:gd name="connsiteX16" fmla="*/ 402672 w 2072081"/>
              <a:gd name="connsiteY16" fmla="*/ 234892 h 1661021"/>
              <a:gd name="connsiteX17" fmla="*/ 494950 w 2072081"/>
              <a:gd name="connsiteY17" fmla="*/ 226503 h 1661021"/>
              <a:gd name="connsiteX18" fmla="*/ 343949 w 2072081"/>
              <a:gd name="connsiteY18" fmla="*/ 478173 h 1661021"/>
              <a:gd name="connsiteX19" fmla="*/ 738231 w 2072081"/>
              <a:gd name="connsiteY19" fmla="*/ 671120 h 1661021"/>
              <a:gd name="connsiteX20" fmla="*/ 880844 w 2072081"/>
              <a:gd name="connsiteY20" fmla="*/ 453006 h 1661021"/>
              <a:gd name="connsiteX21" fmla="*/ 981512 w 2072081"/>
              <a:gd name="connsiteY21" fmla="*/ 805344 h 1661021"/>
              <a:gd name="connsiteX22" fmla="*/ 75501 w 2072081"/>
              <a:gd name="connsiteY22" fmla="*/ 352338 h 1661021"/>
              <a:gd name="connsiteX23" fmla="*/ 8389 w 2072081"/>
              <a:gd name="connsiteY23" fmla="*/ 377505 h 1661021"/>
              <a:gd name="connsiteX24" fmla="*/ 0 w 2072081"/>
              <a:gd name="connsiteY24" fmla="*/ 444617 h 1661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072081" h="1661021">
                <a:moveTo>
                  <a:pt x="0" y="444617"/>
                </a:moveTo>
                <a:lnTo>
                  <a:pt x="1392572" y="1132514"/>
                </a:lnTo>
                <a:lnTo>
                  <a:pt x="1342239" y="1208015"/>
                </a:lnTo>
                <a:lnTo>
                  <a:pt x="1208015" y="1241571"/>
                </a:lnTo>
                <a:lnTo>
                  <a:pt x="998290" y="1661021"/>
                </a:lnTo>
                <a:lnTo>
                  <a:pt x="2072081" y="1661021"/>
                </a:lnTo>
                <a:lnTo>
                  <a:pt x="1719743" y="897622"/>
                </a:lnTo>
                <a:lnTo>
                  <a:pt x="1644242" y="855678"/>
                </a:lnTo>
                <a:lnTo>
                  <a:pt x="1526796" y="947956"/>
                </a:lnTo>
                <a:lnTo>
                  <a:pt x="1468073" y="1031846"/>
                </a:lnTo>
                <a:lnTo>
                  <a:pt x="1166070" y="880844"/>
                </a:lnTo>
                <a:lnTo>
                  <a:pt x="1023457" y="226503"/>
                </a:lnTo>
                <a:lnTo>
                  <a:pt x="721453" y="0"/>
                </a:lnTo>
                <a:lnTo>
                  <a:pt x="377505" y="16778"/>
                </a:lnTo>
                <a:lnTo>
                  <a:pt x="75501" y="352338"/>
                </a:lnTo>
                <a:lnTo>
                  <a:pt x="218114" y="427839"/>
                </a:lnTo>
                <a:lnTo>
                  <a:pt x="402672" y="234892"/>
                </a:lnTo>
                <a:lnTo>
                  <a:pt x="494950" y="226503"/>
                </a:lnTo>
                <a:lnTo>
                  <a:pt x="343949" y="478173"/>
                </a:lnTo>
                <a:lnTo>
                  <a:pt x="738231" y="671120"/>
                </a:lnTo>
                <a:lnTo>
                  <a:pt x="880844" y="453006"/>
                </a:lnTo>
                <a:lnTo>
                  <a:pt x="981512" y="805344"/>
                </a:lnTo>
                <a:lnTo>
                  <a:pt x="75501" y="352338"/>
                </a:lnTo>
                <a:lnTo>
                  <a:pt x="8389" y="377505"/>
                </a:lnTo>
                <a:lnTo>
                  <a:pt x="0" y="444617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31" name="Oval 801"/>
          <p:cNvSpPr/>
          <p:nvPr/>
        </p:nvSpPr>
        <p:spPr bwMode="auto">
          <a:xfrm>
            <a:off x="3880010" y="3251352"/>
            <a:ext cx="13113" cy="12963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32" name="Freeform 802"/>
          <p:cNvSpPr/>
          <p:nvPr/>
        </p:nvSpPr>
        <p:spPr bwMode="auto">
          <a:xfrm>
            <a:off x="3851165" y="3288224"/>
            <a:ext cx="30887" cy="33992"/>
          </a:xfrm>
          <a:custGeom>
            <a:avLst/>
            <a:gdLst>
              <a:gd name="connsiteX0" fmla="*/ 268448 w 889233"/>
              <a:gd name="connsiteY0" fmla="*/ 0 h 989901"/>
              <a:gd name="connsiteX1" fmla="*/ 763398 w 889233"/>
              <a:gd name="connsiteY1" fmla="*/ 234891 h 989901"/>
              <a:gd name="connsiteX2" fmla="*/ 880844 w 889233"/>
              <a:gd name="connsiteY2" fmla="*/ 461394 h 989901"/>
              <a:gd name="connsiteX3" fmla="*/ 889233 w 889233"/>
              <a:gd name="connsiteY3" fmla="*/ 947956 h 989901"/>
              <a:gd name="connsiteX4" fmla="*/ 864066 w 889233"/>
              <a:gd name="connsiteY4" fmla="*/ 989901 h 989901"/>
              <a:gd name="connsiteX5" fmla="*/ 746620 w 889233"/>
              <a:gd name="connsiteY5" fmla="*/ 964734 h 989901"/>
              <a:gd name="connsiteX6" fmla="*/ 679508 w 889233"/>
              <a:gd name="connsiteY6" fmla="*/ 469783 h 989901"/>
              <a:gd name="connsiteX7" fmla="*/ 444617 w 889233"/>
              <a:gd name="connsiteY7" fmla="*/ 293614 h 989901"/>
              <a:gd name="connsiteX8" fmla="*/ 184558 w 889233"/>
              <a:gd name="connsiteY8" fmla="*/ 939567 h 989901"/>
              <a:gd name="connsiteX9" fmla="*/ 83890 w 889233"/>
              <a:gd name="connsiteY9" fmla="*/ 964734 h 989901"/>
              <a:gd name="connsiteX10" fmla="*/ 0 w 889233"/>
              <a:gd name="connsiteY10" fmla="*/ 880844 h 989901"/>
              <a:gd name="connsiteX11" fmla="*/ 268448 w 889233"/>
              <a:gd name="connsiteY11" fmla="*/ 0 h 989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233" h="989901">
                <a:moveTo>
                  <a:pt x="268448" y="0"/>
                </a:moveTo>
                <a:lnTo>
                  <a:pt x="763398" y="234891"/>
                </a:lnTo>
                <a:lnTo>
                  <a:pt x="880844" y="461394"/>
                </a:lnTo>
                <a:lnTo>
                  <a:pt x="889233" y="947956"/>
                </a:lnTo>
                <a:lnTo>
                  <a:pt x="864066" y="989901"/>
                </a:lnTo>
                <a:lnTo>
                  <a:pt x="746620" y="964734"/>
                </a:lnTo>
                <a:lnTo>
                  <a:pt x="679508" y="469783"/>
                </a:lnTo>
                <a:lnTo>
                  <a:pt x="444617" y="293614"/>
                </a:lnTo>
                <a:lnTo>
                  <a:pt x="184558" y="939567"/>
                </a:lnTo>
                <a:lnTo>
                  <a:pt x="83890" y="964734"/>
                </a:lnTo>
                <a:lnTo>
                  <a:pt x="0" y="880844"/>
                </a:lnTo>
                <a:lnTo>
                  <a:pt x="268448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33" name="Oval 795"/>
          <p:cNvSpPr/>
          <p:nvPr/>
        </p:nvSpPr>
        <p:spPr bwMode="auto">
          <a:xfrm>
            <a:off x="3517685" y="2569169"/>
            <a:ext cx="152835" cy="151099"/>
          </a:xfrm>
          <a:prstGeom prst="ellipse">
            <a:avLst/>
          </a:prstGeom>
          <a:solidFill>
            <a:srgbClr val="4C2B7D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34" name="Freeform 796"/>
          <p:cNvSpPr/>
          <p:nvPr/>
        </p:nvSpPr>
        <p:spPr bwMode="auto">
          <a:xfrm>
            <a:off x="3550891" y="2617352"/>
            <a:ext cx="96154" cy="71189"/>
          </a:xfrm>
          <a:custGeom>
            <a:avLst/>
            <a:gdLst>
              <a:gd name="connsiteX0" fmla="*/ 0 w 2072081"/>
              <a:gd name="connsiteY0" fmla="*/ 444617 h 1661021"/>
              <a:gd name="connsiteX1" fmla="*/ 1392572 w 2072081"/>
              <a:gd name="connsiteY1" fmla="*/ 1132514 h 1661021"/>
              <a:gd name="connsiteX2" fmla="*/ 1342239 w 2072081"/>
              <a:gd name="connsiteY2" fmla="*/ 1208015 h 1661021"/>
              <a:gd name="connsiteX3" fmla="*/ 1208015 w 2072081"/>
              <a:gd name="connsiteY3" fmla="*/ 1241571 h 1661021"/>
              <a:gd name="connsiteX4" fmla="*/ 998290 w 2072081"/>
              <a:gd name="connsiteY4" fmla="*/ 1661021 h 1661021"/>
              <a:gd name="connsiteX5" fmla="*/ 2072081 w 2072081"/>
              <a:gd name="connsiteY5" fmla="*/ 1661021 h 1661021"/>
              <a:gd name="connsiteX6" fmla="*/ 1719743 w 2072081"/>
              <a:gd name="connsiteY6" fmla="*/ 897622 h 1661021"/>
              <a:gd name="connsiteX7" fmla="*/ 1644242 w 2072081"/>
              <a:gd name="connsiteY7" fmla="*/ 855678 h 1661021"/>
              <a:gd name="connsiteX8" fmla="*/ 1526796 w 2072081"/>
              <a:gd name="connsiteY8" fmla="*/ 947956 h 1661021"/>
              <a:gd name="connsiteX9" fmla="*/ 1468073 w 2072081"/>
              <a:gd name="connsiteY9" fmla="*/ 1031846 h 1661021"/>
              <a:gd name="connsiteX10" fmla="*/ 1166070 w 2072081"/>
              <a:gd name="connsiteY10" fmla="*/ 880844 h 1661021"/>
              <a:gd name="connsiteX11" fmla="*/ 1023457 w 2072081"/>
              <a:gd name="connsiteY11" fmla="*/ 226503 h 1661021"/>
              <a:gd name="connsiteX12" fmla="*/ 721453 w 2072081"/>
              <a:gd name="connsiteY12" fmla="*/ 0 h 1661021"/>
              <a:gd name="connsiteX13" fmla="*/ 377505 w 2072081"/>
              <a:gd name="connsiteY13" fmla="*/ 16778 h 1661021"/>
              <a:gd name="connsiteX14" fmla="*/ 75501 w 2072081"/>
              <a:gd name="connsiteY14" fmla="*/ 352338 h 1661021"/>
              <a:gd name="connsiteX15" fmla="*/ 218114 w 2072081"/>
              <a:gd name="connsiteY15" fmla="*/ 427839 h 1661021"/>
              <a:gd name="connsiteX16" fmla="*/ 402672 w 2072081"/>
              <a:gd name="connsiteY16" fmla="*/ 234892 h 1661021"/>
              <a:gd name="connsiteX17" fmla="*/ 494950 w 2072081"/>
              <a:gd name="connsiteY17" fmla="*/ 226503 h 1661021"/>
              <a:gd name="connsiteX18" fmla="*/ 343949 w 2072081"/>
              <a:gd name="connsiteY18" fmla="*/ 478173 h 1661021"/>
              <a:gd name="connsiteX19" fmla="*/ 738231 w 2072081"/>
              <a:gd name="connsiteY19" fmla="*/ 671120 h 1661021"/>
              <a:gd name="connsiteX20" fmla="*/ 880844 w 2072081"/>
              <a:gd name="connsiteY20" fmla="*/ 453006 h 1661021"/>
              <a:gd name="connsiteX21" fmla="*/ 981512 w 2072081"/>
              <a:gd name="connsiteY21" fmla="*/ 805344 h 1661021"/>
              <a:gd name="connsiteX22" fmla="*/ 75501 w 2072081"/>
              <a:gd name="connsiteY22" fmla="*/ 352338 h 1661021"/>
              <a:gd name="connsiteX23" fmla="*/ 8389 w 2072081"/>
              <a:gd name="connsiteY23" fmla="*/ 377505 h 1661021"/>
              <a:gd name="connsiteX24" fmla="*/ 0 w 2072081"/>
              <a:gd name="connsiteY24" fmla="*/ 444617 h 1661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072081" h="1661021">
                <a:moveTo>
                  <a:pt x="0" y="444617"/>
                </a:moveTo>
                <a:lnTo>
                  <a:pt x="1392572" y="1132514"/>
                </a:lnTo>
                <a:lnTo>
                  <a:pt x="1342239" y="1208015"/>
                </a:lnTo>
                <a:lnTo>
                  <a:pt x="1208015" y="1241571"/>
                </a:lnTo>
                <a:lnTo>
                  <a:pt x="998290" y="1661021"/>
                </a:lnTo>
                <a:lnTo>
                  <a:pt x="2072081" y="1661021"/>
                </a:lnTo>
                <a:lnTo>
                  <a:pt x="1719743" y="897622"/>
                </a:lnTo>
                <a:lnTo>
                  <a:pt x="1644242" y="855678"/>
                </a:lnTo>
                <a:lnTo>
                  <a:pt x="1526796" y="947956"/>
                </a:lnTo>
                <a:lnTo>
                  <a:pt x="1468073" y="1031846"/>
                </a:lnTo>
                <a:lnTo>
                  <a:pt x="1166070" y="880844"/>
                </a:lnTo>
                <a:lnTo>
                  <a:pt x="1023457" y="226503"/>
                </a:lnTo>
                <a:lnTo>
                  <a:pt x="721453" y="0"/>
                </a:lnTo>
                <a:lnTo>
                  <a:pt x="377505" y="16778"/>
                </a:lnTo>
                <a:lnTo>
                  <a:pt x="75501" y="352338"/>
                </a:lnTo>
                <a:lnTo>
                  <a:pt x="218114" y="427839"/>
                </a:lnTo>
                <a:lnTo>
                  <a:pt x="402672" y="234892"/>
                </a:lnTo>
                <a:lnTo>
                  <a:pt x="494950" y="226503"/>
                </a:lnTo>
                <a:lnTo>
                  <a:pt x="343949" y="478173"/>
                </a:lnTo>
                <a:lnTo>
                  <a:pt x="738231" y="671120"/>
                </a:lnTo>
                <a:lnTo>
                  <a:pt x="880844" y="453006"/>
                </a:lnTo>
                <a:lnTo>
                  <a:pt x="981512" y="805344"/>
                </a:lnTo>
                <a:lnTo>
                  <a:pt x="75501" y="352338"/>
                </a:lnTo>
                <a:lnTo>
                  <a:pt x="8389" y="377505"/>
                </a:lnTo>
                <a:lnTo>
                  <a:pt x="0" y="444617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35" name="Oval 797"/>
          <p:cNvSpPr/>
          <p:nvPr/>
        </p:nvSpPr>
        <p:spPr bwMode="auto">
          <a:xfrm>
            <a:off x="3587872" y="2595017"/>
            <a:ext cx="17519" cy="17319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36" name="Freeform 798"/>
          <p:cNvSpPr/>
          <p:nvPr/>
        </p:nvSpPr>
        <p:spPr bwMode="auto">
          <a:xfrm>
            <a:off x="3549333" y="2644281"/>
            <a:ext cx="41265" cy="45414"/>
          </a:xfrm>
          <a:custGeom>
            <a:avLst/>
            <a:gdLst>
              <a:gd name="connsiteX0" fmla="*/ 268448 w 889233"/>
              <a:gd name="connsiteY0" fmla="*/ 0 h 989901"/>
              <a:gd name="connsiteX1" fmla="*/ 763398 w 889233"/>
              <a:gd name="connsiteY1" fmla="*/ 234891 h 989901"/>
              <a:gd name="connsiteX2" fmla="*/ 880844 w 889233"/>
              <a:gd name="connsiteY2" fmla="*/ 461394 h 989901"/>
              <a:gd name="connsiteX3" fmla="*/ 889233 w 889233"/>
              <a:gd name="connsiteY3" fmla="*/ 947956 h 989901"/>
              <a:gd name="connsiteX4" fmla="*/ 864066 w 889233"/>
              <a:gd name="connsiteY4" fmla="*/ 989901 h 989901"/>
              <a:gd name="connsiteX5" fmla="*/ 746620 w 889233"/>
              <a:gd name="connsiteY5" fmla="*/ 964734 h 989901"/>
              <a:gd name="connsiteX6" fmla="*/ 679508 w 889233"/>
              <a:gd name="connsiteY6" fmla="*/ 469783 h 989901"/>
              <a:gd name="connsiteX7" fmla="*/ 444617 w 889233"/>
              <a:gd name="connsiteY7" fmla="*/ 293614 h 989901"/>
              <a:gd name="connsiteX8" fmla="*/ 184558 w 889233"/>
              <a:gd name="connsiteY8" fmla="*/ 939567 h 989901"/>
              <a:gd name="connsiteX9" fmla="*/ 83890 w 889233"/>
              <a:gd name="connsiteY9" fmla="*/ 964734 h 989901"/>
              <a:gd name="connsiteX10" fmla="*/ 0 w 889233"/>
              <a:gd name="connsiteY10" fmla="*/ 880844 h 989901"/>
              <a:gd name="connsiteX11" fmla="*/ 268448 w 889233"/>
              <a:gd name="connsiteY11" fmla="*/ 0 h 989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233" h="989901">
                <a:moveTo>
                  <a:pt x="268448" y="0"/>
                </a:moveTo>
                <a:lnTo>
                  <a:pt x="763398" y="234891"/>
                </a:lnTo>
                <a:lnTo>
                  <a:pt x="880844" y="461394"/>
                </a:lnTo>
                <a:lnTo>
                  <a:pt x="889233" y="947956"/>
                </a:lnTo>
                <a:lnTo>
                  <a:pt x="864066" y="989901"/>
                </a:lnTo>
                <a:lnTo>
                  <a:pt x="746620" y="964734"/>
                </a:lnTo>
                <a:lnTo>
                  <a:pt x="679508" y="469783"/>
                </a:lnTo>
                <a:lnTo>
                  <a:pt x="444617" y="293614"/>
                </a:lnTo>
                <a:lnTo>
                  <a:pt x="184558" y="939567"/>
                </a:lnTo>
                <a:lnTo>
                  <a:pt x="83890" y="964734"/>
                </a:lnTo>
                <a:lnTo>
                  <a:pt x="0" y="880844"/>
                </a:lnTo>
                <a:lnTo>
                  <a:pt x="268448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37" name="Oval 791"/>
          <p:cNvSpPr/>
          <p:nvPr/>
        </p:nvSpPr>
        <p:spPr bwMode="auto">
          <a:xfrm>
            <a:off x="2654546" y="2635076"/>
            <a:ext cx="114396" cy="113097"/>
          </a:xfrm>
          <a:prstGeom prst="ellipse">
            <a:avLst/>
          </a:prstGeom>
          <a:solidFill>
            <a:srgbClr val="4C2B7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38" name="Freeform 792"/>
          <p:cNvSpPr/>
          <p:nvPr/>
        </p:nvSpPr>
        <p:spPr bwMode="auto">
          <a:xfrm>
            <a:off x="2679649" y="2664640"/>
            <a:ext cx="71971" cy="57039"/>
          </a:xfrm>
          <a:custGeom>
            <a:avLst/>
            <a:gdLst>
              <a:gd name="connsiteX0" fmla="*/ 0 w 2072081"/>
              <a:gd name="connsiteY0" fmla="*/ 444617 h 1661021"/>
              <a:gd name="connsiteX1" fmla="*/ 1392572 w 2072081"/>
              <a:gd name="connsiteY1" fmla="*/ 1132514 h 1661021"/>
              <a:gd name="connsiteX2" fmla="*/ 1342239 w 2072081"/>
              <a:gd name="connsiteY2" fmla="*/ 1208015 h 1661021"/>
              <a:gd name="connsiteX3" fmla="*/ 1208015 w 2072081"/>
              <a:gd name="connsiteY3" fmla="*/ 1241571 h 1661021"/>
              <a:gd name="connsiteX4" fmla="*/ 998290 w 2072081"/>
              <a:gd name="connsiteY4" fmla="*/ 1661021 h 1661021"/>
              <a:gd name="connsiteX5" fmla="*/ 2072081 w 2072081"/>
              <a:gd name="connsiteY5" fmla="*/ 1661021 h 1661021"/>
              <a:gd name="connsiteX6" fmla="*/ 1719743 w 2072081"/>
              <a:gd name="connsiteY6" fmla="*/ 897622 h 1661021"/>
              <a:gd name="connsiteX7" fmla="*/ 1644242 w 2072081"/>
              <a:gd name="connsiteY7" fmla="*/ 855678 h 1661021"/>
              <a:gd name="connsiteX8" fmla="*/ 1526796 w 2072081"/>
              <a:gd name="connsiteY8" fmla="*/ 947956 h 1661021"/>
              <a:gd name="connsiteX9" fmla="*/ 1468073 w 2072081"/>
              <a:gd name="connsiteY9" fmla="*/ 1031846 h 1661021"/>
              <a:gd name="connsiteX10" fmla="*/ 1166070 w 2072081"/>
              <a:gd name="connsiteY10" fmla="*/ 880844 h 1661021"/>
              <a:gd name="connsiteX11" fmla="*/ 1023457 w 2072081"/>
              <a:gd name="connsiteY11" fmla="*/ 226503 h 1661021"/>
              <a:gd name="connsiteX12" fmla="*/ 721453 w 2072081"/>
              <a:gd name="connsiteY12" fmla="*/ 0 h 1661021"/>
              <a:gd name="connsiteX13" fmla="*/ 377505 w 2072081"/>
              <a:gd name="connsiteY13" fmla="*/ 16778 h 1661021"/>
              <a:gd name="connsiteX14" fmla="*/ 75501 w 2072081"/>
              <a:gd name="connsiteY14" fmla="*/ 352338 h 1661021"/>
              <a:gd name="connsiteX15" fmla="*/ 218114 w 2072081"/>
              <a:gd name="connsiteY15" fmla="*/ 427839 h 1661021"/>
              <a:gd name="connsiteX16" fmla="*/ 402672 w 2072081"/>
              <a:gd name="connsiteY16" fmla="*/ 234892 h 1661021"/>
              <a:gd name="connsiteX17" fmla="*/ 494950 w 2072081"/>
              <a:gd name="connsiteY17" fmla="*/ 226503 h 1661021"/>
              <a:gd name="connsiteX18" fmla="*/ 343949 w 2072081"/>
              <a:gd name="connsiteY18" fmla="*/ 478173 h 1661021"/>
              <a:gd name="connsiteX19" fmla="*/ 738231 w 2072081"/>
              <a:gd name="connsiteY19" fmla="*/ 671120 h 1661021"/>
              <a:gd name="connsiteX20" fmla="*/ 880844 w 2072081"/>
              <a:gd name="connsiteY20" fmla="*/ 453006 h 1661021"/>
              <a:gd name="connsiteX21" fmla="*/ 981512 w 2072081"/>
              <a:gd name="connsiteY21" fmla="*/ 805344 h 1661021"/>
              <a:gd name="connsiteX22" fmla="*/ 75501 w 2072081"/>
              <a:gd name="connsiteY22" fmla="*/ 352338 h 1661021"/>
              <a:gd name="connsiteX23" fmla="*/ 8389 w 2072081"/>
              <a:gd name="connsiteY23" fmla="*/ 377505 h 1661021"/>
              <a:gd name="connsiteX24" fmla="*/ 0 w 2072081"/>
              <a:gd name="connsiteY24" fmla="*/ 444617 h 1661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072081" h="1661021">
                <a:moveTo>
                  <a:pt x="0" y="444617"/>
                </a:moveTo>
                <a:lnTo>
                  <a:pt x="1392572" y="1132514"/>
                </a:lnTo>
                <a:lnTo>
                  <a:pt x="1342239" y="1208015"/>
                </a:lnTo>
                <a:lnTo>
                  <a:pt x="1208015" y="1241571"/>
                </a:lnTo>
                <a:lnTo>
                  <a:pt x="998290" y="1661021"/>
                </a:lnTo>
                <a:lnTo>
                  <a:pt x="2072081" y="1661021"/>
                </a:lnTo>
                <a:lnTo>
                  <a:pt x="1719743" y="897622"/>
                </a:lnTo>
                <a:lnTo>
                  <a:pt x="1644242" y="855678"/>
                </a:lnTo>
                <a:lnTo>
                  <a:pt x="1526796" y="947956"/>
                </a:lnTo>
                <a:lnTo>
                  <a:pt x="1468073" y="1031846"/>
                </a:lnTo>
                <a:lnTo>
                  <a:pt x="1166070" y="880844"/>
                </a:lnTo>
                <a:lnTo>
                  <a:pt x="1023457" y="226503"/>
                </a:lnTo>
                <a:lnTo>
                  <a:pt x="721453" y="0"/>
                </a:lnTo>
                <a:lnTo>
                  <a:pt x="377505" y="16778"/>
                </a:lnTo>
                <a:lnTo>
                  <a:pt x="75501" y="352338"/>
                </a:lnTo>
                <a:lnTo>
                  <a:pt x="218114" y="427839"/>
                </a:lnTo>
                <a:lnTo>
                  <a:pt x="402672" y="234892"/>
                </a:lnTo>
                <a:lnTo>
                  <a:pt x="494950" y="226503"/>
                </a:lnTo>
                <a:lnTo>
                  <a:pt x="343949" y="478173"/>
                </a:lnTo>
                <a:lnTo>
                  <a:pt x="738231" y="671120"/>
                </a:lnTo>
                <a:lnTo>
                  <a:pt x="880844" y="453006"/>
                </a:lnTo>
                <a:lnTo>
                  <a:pt x="981512" y="805344"/>
                </a:lnTo>
                <a:lnTo>
                  <a:pt x="75501" y="352338"/>
                </a:lnTo>
                <a:lnTo>
                  <a:pt x="8389" y="377505"/>
                </a:lnTo>
                <a:lnTo>
                  <a:pt x="0" y="444617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39" name="Oval 793"/>
          <p:cNvSpPr/>
          <p:nvPr/>
        </p:nvSpPr>
        <p:spPr bwMode="auto">
          <a:xfrm>
            <a:off x="2707328" y="2651677"/>
            <a:ext cx="13113" cy="12963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40" name="Freeform 794"/>
          <p:cNvSpPr/>
          <p:nvPr/>
        </p:nvSpPr>
        <p:spPr bwMode="auto">
          <a:xfrm>
            <a:off x="2678484" y="2688550"/>
            <a:ext cx="30887" cy="33992"/>
          </a:xfrm>
          <a:custGeom>
            <a:avLst/>
            <a:gdLst>
              <a:gd name="connsiteX0" fmla="*/ 268448 w 889233"/>
              <a:gd name="connsiteY0" fmla="*/ 0 h 989901"/>
              <a:gd name="connsiteX1" fmla="*/ 763398 w 889233"/>
              <a:gd name="connsiteY1" fmla="*/ 234891 h 989901"/>
              <a:gd name="connsiteX2" fmla="*/ 880844 w 889233"/>
              <a:gd name="connsiteY2" fmla="*/ 461394 h 989901"/>
              <a:gd name="connsiteX3" fmla="*/ 889233 w 889233"/>
              <a:gd name="connsiteY3" fmla="*/ 947956 h 989901"/>
              <a:gd name="connsiteX4" fmla="*/ 864066 w 889233"/>
              <a:gd name="connsiteY4" fmla="*/ 989901 h 989901"/>
              <a:gd name="connsiteX5" fmla="*/ 746620 w 889233"/>
              <a:gd name="connsiteY5" fmla="*/ 964734 h 989901"/>
              <a:gd name="connsiteX6" fmla="*/ 679508 w 889233"/>
              <a:gd name="connsiteY6" fmla="*/ 469783 h 989901"/>
              <a:gd name="connsiteX7" fmla="*/ 444617 w 889233"/>
              <a:gd name="connsiteY7" fmla="*/ 293614 h 989901"/>
              <a:gd name="connsiteX8" fmla="*/ 184558 w 889233"/>
              <a:gd name="connsiteY8" fmla="*/ 939567 h 989901"/>
              <a:gd name="connsiteX9" fmla="*/ 83890 w 889233"/>
              <a:gd name="connsiteY9" fmla="*/ 964734 h 989901"/>
              <a:gd name="connsiteX10" fmla="*/ 0 w 889233"/>
              <a:gd name="connsiteY10" fmla="*/ 880844 h 989901"/>
              <a:gd name="connsiteX11" fmla="*/ 268448 w 889233"/>
              <a:gd name="connsiteY11" fmla="*/ 0 h 989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233" h="989901">
                <a:moveTo>
                  <a:pt x="268448" y="0"/>
                </a:moveTo>
                <a:lnTo>
                  <a:pt x="763398" y="234891"/>
                </a:lnTo>
                <a:lnTo>
                  <a:pt x="880844" y="461394"/>
                </a:lnTo>
                <a:lnTo>
                  <a:pt x="889233" y="947956"/>
                </a:lnTo>
                <a:lnTo>
                  <a:pt x="864066" y="989901"/>
                </a:lnTo>
                <a:lnTo>
                  <a:pt x="746620" y="964734"/>
                </a:lnTo>
                <a:lnTo>
                  <a:pt x="679508" y="469783"/>
                </a:lnTo>
                <a:lnTo>
                  <a:pt x="444617" y="293614"/>
                </a:lnTo>
                <a:lnTo>
                  <a:pt x="184558" y="939567"/>
                </a:lnTo>
                <a:lnTo>
                  <a:pt x="83890" y="964734"/>
                </a:lnTo>
                <a:lnTo>
                  <a:pt x="0" y="880844"/>
                </a:lnTo>
                <a:lnTo>
                  <a:pt x="268448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41" name="Oval 787"/>
          <p:cNvSpPr/>
          <p:nvPr/>
        </p:nvSpPr>
        <p:spPr bwMode="auto">
          <a:xfrm>
            <a:off x="2579447" y="2440896"/>
            <a:ext cx="114396" cy="113097"/>
          </a:xfrm>
          <a:prstGeom prst="ellipse">
            <a:avLst/>
          </a:prstGeom>
          <a:solidFill>
            <a:srgbClr val="4C2B7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42" name="Freeform 788"/>
          <p:cNvSpPr/>
          <p:nvPr/>
        </p:nvSpPr>
        <p:spPr bwMode="auto">
          <a:xfrm>
            <a:off x="2604550" y="2470461"/>
            <a:ext cx="71971" cy="57039"/>
          </a:xfrm>
          <a:custGeom>
            <a:avLst/>
            <a:gdLst>
              <a:gd name="connsiteX0" fmla="*/ 0 w 2072081"/>
              <a:gd name="connsiteY0" fmla="*/ 444617 h 1661021"/>
              <a:gd name="connsiteX1" fmla="*/ 1392572 w 2072081"/>
              <a:gd name="connsiteY1" fmla="*/ 1132514 h 1661021"/>
              <a:gd name="connsiteX2" fmla="*/ 1342239 w 2072081"/>
              <a:gd name="connsiteY2" fmla="*/ 1208015 h 1661021"/>
              <a:gd name="connsiteX3" fmla="*/ 1208015 w 2072081"/>
              <a:gd name="connsiteY3" fmla="*/ 1241571 h 1661021"/>
              <a:gd name="connsiteX4" fmla="*/ 998290 w 2072081"/>
              <a:gd name="connsiteY4" fmla="*/ 1661021 h 1661021"/>
              <a:gd name="connsiteX5" fmla="*/ 2072081 w 2072081"/>
              <a:gd name="connsiteY5" fmla="*/ 1661021 h 1661021"/>
              <a:gd name="connsiteX6" fmla="*/ 1719743 w 2072081"/>
              <a:gd name="connsiteY6" fmla="*/ 897622 h 1661021"/>
              <a:gd name="connsiteX7" fmla="*/ 1644242 w 2072081"/>
              <a:gd name="connsiteY7" fmla="*/ 855678 h 1661021"/>
              <a:gd name="connsiteX8" fmla="*/ 1526796 w 2072081"/>
              <a:gd name="connsiteY8" fmla="*/ 947956 h 1661021"/>
              <a:gd name="connsiteX9" fmla="*/ 1468073 w 2072081"/>
              <a:gd name="connsiteY9" fmla="*/ 1031846 h 1661021"/>
              <a:gd name="connsiteX10" fmla="*/ 1166070 w 2072081"/>
              <a:gd name="connsiteY10" fmla="*/ 880844 h 1661021"/>
              <a:gd name="connsiteX11" fmla="*/ 1023457 w 2072081"/>
              <a:gd name="connsiteY11" fmla="*/ 226503 h 1661021"/>
              <a:gd name="connsiteX12" fmla="*/ 721453 w 2072081"/>
              <a:gd name="connsiteY12" fmla="*/ 0 h 1661021"/>
              <a:gd name="connsiteX13" fmla="*/ 377505 w 2072081"/>
              <a:gd name="connsiteY13" fmla="*/ 16778 h 1661021"/>
              <a:gd name="connsiteX14" fmla="*/ 75501 w 2072081"/>
              <a:gd name="connsiteY14" fmla="*/ 352338 h 1661021"/>
              <a:gd name="connsiteX15" fmla="*/ 218114 w 2072081"/>
              <a:gd name="connsiteY15" fmla="*/ 427839 h 1661021"/>
              <a:gd name="connsiteX16" fmla="*/ 402672 w 2072081"/>
              <a:gd name="connsiteY16" fmla="*/ 234892 h 1661021"/>
              <a:gd name="connsiteX17" fmla="*/ 494950 w 2072081"/>
              <a:gd name="connsiteY17" fmla="*/ 226503 h 1661021"/>
              <a:gd name="connsiteX18" fmla="*/ 343949 w 2072081"/>
              <a:gd name="connsiteY18" fmla="*/ 478173 h 1661021"/>
              <a:gd name="connsiteX19" fmla="*/ 738231 w 2072081"/>
              <a:gd name="connsiteY19" fmla="*/ 671120 h 1661021"/>
              <a:gd name="connsiteX20" fmla="*/ 880844 w 2072081"/>
              <a:gd name="connsiteY20" fmla="*/ 453006 h 1661021"/>
              <a:gd name="connsiteX21" fmla="*/ 981512 w 2072081"/>
              <a:gd name="connsiteY21" fmla="*/ 805344 h 1661021"/>
              <a:gd name="connsiteX22" fmla="*/ 75501 w 2072081"/>
              <a:gd name="connsiteY22" fmla="*/ 352338 h 1661021"/>
              <a:gd name="connsiteX23" fmla="*/ 8389 w 2072081"/>
              <a:gd name="connsiteY23" fmla="*/ 377505 h 1661021"/>
              <a:gd name="connsiteX24" fmla="*/ 0 w 2072081"/>
              <a:gd name="connsiteY24" fmla="*/ 444617 h 1661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072081" h="1661021">
                <a:moveTo>
                  <a:pt x="0" y="444617"/>
                </a:moveTo>
                <a:lnTo>
                  <a:pt x="1392572" y="1132514"/>
                </a:lnTo>
                <a:lnTo>
                  <a:pt x="1342239" y="1208015"/>
                </a:lnTo>
                <a:lnTo>
                  <a:pt x="1208015" y="1241571"/>
                </a:lnTo>
                <a:lnTo>
                  <a:pt x="998290" y="1661021"/>
                </a:lnTo>
                <a:lnTo>
                  <a:pt x="2072081" y="1661021"/>
                </a:lnTo>
                <a:lnTo>
                  <a:pt x="1719743" y="897622"/>
                </a:lnTo>
                <a:lnTo>
                  <a:pt x="1644242" y="855678"/>
                </a:lnTo>
                <a:lnTo>
                  <a:pt x="1526796" y="947956"/>
                </a:lnTo>
                <a:lnTo>
                  <a:pt x="1468073" y="1031846"/>
                </a:lnTo>
                <a:lnTo>
                  <a:pt x="1166070" y="880844"/>
                </a:lnTo>
                <a:lnTo>
                  <a:pt x="1023457" y="226503"/>
                </a:lnTo>
                <a:lnTo>
                  <a:pt x="721453" y="0"/>
                </a:lnTo>
                <a:lnTo>
                  <a:pt x="377505" y="16778"/>
                </a:lnTo>
                <a:lnTo>
                  <a:pt x="75501" y="352338"/>
                </a:lnTo>
                <a:lnTo>
                  <a:pt x="218114" y="427839"/>
                </a:lnTo>
                <a:lnTo>
                  <a:pt x="402672" y="234892"/>
                </a:lnTo>
                <a:lnTo>
                  <a:pt x="494950" y="226503"/>
                </a:lnTo>
                <a:lnTo>
                  <a:pt x="343949" y="478173"/>
                </a:lnTo>
                <a:lnTo>
                  <a:pt x="738231" y="671120"/>
                </a:lnTo>
                <a:lnTo>
                  <a:pt x="880844" y="453006"/>
                </a:lnTo>
                <a:lnTo>
                  <a:pt x="981512" y="805344"/>
                </a:lnTo>
                <a:lnTo>
                  <a:pt x="75501" y="352338"/>
                </a:lnTo>
                <a:lnTo>
                  <a:pt x="8389" y="377505"/>
                </a:lnTo>
                <a:lnTo>
                  <a:pt x="0" y="444617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43" name="Oval 789"/>
          <p:cNvSpPr/>
          <p:nvPr/>
        </p:nvSpPr>
        <p:spPr bwMode="auto">
          <a:xfrm>
            <a:off x="2632230" y="2457498"/>
            <a:ext cx="13113" cy="12963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44" name="Freeform 790"/>
          <p:cNvSpPr/>
          <p:nvPr/>
        </p:nvSpPr>
        <p:spPr bwMode="auto">
          <a:xfrm>
            <a:off x="2603385" y="2494369"/>
            <a:ext cx="30887" cy="33992"/>
          </a:xfrm>
          <a:custGeom>
            <a:avLst/>
            <a:gdLst>
              <a:gd name="connsiteX0" fmla="*/ 268448 w 889233"/>
              <a:gd name="connsiteY0" fmla="*/ 0 h 989901"/>
              <a:gd name="connsiteX1" fmla="*/ 763398 w 889233"/>
              <a:gd name="connsiteY1" fmla="*/ 234891 h 989901"/>
              <a:gd name="connsiteX2" fmla="*/ 880844 w 889233"/>
              <a:gd name="connsiteY2" fmla="*/ 461394 h 989901"/>
              <a:gd name="connsiteX3" fmla="*/ 889233 w 889233"/>
              <a:gd name="connsiteY3" fmla="*/ 947956 h 989901"/>
              <a:gd name="connsiteX4" fmla="*/ 864066 w 889233"/>
              <a:gd name="connsiteY4" fmla="*/ 989901 h 989901"/>
              <a:gd name="connsiteX5" fmla="*/ 746620 w 889233"/>
              <a:gd name="connsiteY5" fmla="*/ 964734 h 989901"/>
              <a:gd name="connsiteX6" fmla="*/ 679508 w 889233"/>
              <a:gd name="connsiteY6" fmla="*/ 469783 h 989901"/>
              <a:gd name="connsiteX7" fmla="*/ 444617 w 889233"/>
              <a:gd name="connsiteY7" fmla="*/ 293614 h 989901"/>
              <a:gd name="connsiteX8" fmla="*/ 184558 w 889233"/>
              <a:gd name="connsiteY8" fmla="*/ 939567 h 989901"/>
              <a:gd name="connsiteX9" fmla="*/ 83890 w 889233"/>
              <a:gd name="connsiteY9" fmla="*/ 964734 h 989901"/>
              <a:gd name="connsiteX10" fmla="*/ 0 w 889233"/>
              <a:gd name="connsiteY10" fmla="*/ 880844 h 989901"/>
              <a:gd name="connsiteX11" fmla="*/ 268448 w 889233"/>
              <a:gd name="connsiteY11" fmla="*/ 0 h 989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233" h="989901">
                <a:moveTo>
                  <a:pt x="268448" y="0"/>
                </a:moveTo>
                <a:lnTo>
                  <a:pt x="763398" y="234891"/>
                </a:lnTo>
                <a:lnTo>
                  <a:pt x="880844" y="461394"/>
                </a:lnTo>
                <a:lnTo>
                  <a:pt x="889233" y="947956"/>
                </a:lnTo>
                <a:lnTo>
                  <a:pt x="864066" y="989901"/>
                </a:lnTo>
                <a:lnTo>
                  <a:pt x="746620" y="964734"/>
                </a:lnTo>
                <a:lnTo>
                  <a:pt x="679508" y="469783"/>
                </a:lnTo>
                <a:lnTo>
                  <a:pt x="444617" y="293614"/>
                </a:lnTo>
                <a:lnTo>
                  <a:pt x="184558" y="939567"/>
                </a:lnTo>
                <a:lnTo>
                  <a:pt x="83890" y="964734"/>
                </a:lnTo>
                <a:lnTo>
                  <a:pt x="0" y="880844"/>
                </a:lnTo>
                <a:lnTo>
                  <a:pt x="268448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45" name="Oval 783"/>
          <p:cNvSpPr/>
          <p:nvPr/>
        </p:nvSpPr>
        <p:spPr bwMode="auto">
          <a:xfrm>
            <a:off x="2683424" y="1738424"/>
            <a:ext cx="114396" cy="113097"/>
          </a:xfrm>
          <a:prstGeom prst="ellipse">
            <a:avLst/>
          </a:prstGeom>
          <a:solidFill>
            <a:srgbClr val="4C2B7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46" name="Freeform 784"/>
          <p:cNvSpPr/>
          <p:nvPr/>
        </p:nvSpPr>
        <p:spPr bwMode="auto">
          <a:xfrm>
            <a:off x="2708527" y="1767987"/>
            <a:ext cx="71971" cy="57039"/>
          </a:xfrm>
          <a:custGeom>
            <a:avLst/>
            <a:gdLst>
              <a:gd name="connsiteX0" fmla="*/ 0 w 2072081"/>
              <a:gd name="connsiteY0" fmla="*/ 444617 h 1661021"/>
              <a:gd name="connsiteX1" fmla="*/ 1392572 w 2072081"/>
              <a:gd name="connsiteY1" fmla="*/ 1132514 h 1661021"/>
              <a:gd name="connsiteX2" fmla="*/ 1342239 w 2072081"/>
              <a:gd name="connsiteY2" fmla="*/ 1208015 h 1661021"/>
              <a:gd name="connsiteX3" fmla="*/ 1208015 w 2072081"/>
              <a:gd name="connsiteY3" fmla="*/ 1241571 h 1661021"/>
              <a:gd name="connsiteX4" fmla="*/ 998290 w 2072081"/>
              <a:gd name="connsiteY4" fmla="*/ 1661021 h 1661021"/>
              <a:gd name="connsiteX5" fmla="*/ 2072081 w 2072081"/>
              <a:gd name="connsiteY5" fmla="*/ 1661021 h 1661021"/>
              <a:gd name="connsiteX6" fmla="*/ 1719743 w 2072081"/>
              <a:gd name="connsiteY6" fmla="*/ 897622 h 1661021"/>
              <a:gd name="connsiteX7" fmla="*/ 1644242 w 2072081"/>
              <a:gd name="connsiteY7" fmla="*/ 855678 h 1661021"/>
              <a:gd name="connsiteX8" fmla="*/ 1526796 w 2072081"/>
              <a:gd name="connsiteY8" fmla="*/ 947956 h 1661021"/>
              <a:gd name="connsiteX9" fmla="*/ 1468073 w 2072081"/>
              <a:gd name="connsiteY9" fmla="*/ 1031846 h 1661021"/>
              <a:gd name="connsiteX10" fmla="*/ 1166070 w 2072081"/>
              <a:gd name="connsiteY10" fmla="*/ 880844 h 1661021"/>
              <a:gd name="connsiteX11" fmla="*/ 1023457 w 2072081"/>
              <a:gd name="connsiteY11" fmla="*/ 226503 h 1661021"/>
              <a:gd name="connsiteX12" fmla="*/ 721453 w 2072081"/>
              <a:gd name="connsiteY12" fmla="*/ 0 h 1661021"/>
              <a:gd name="connsiteX13" fmla="*/ 377505 w 2072081"/>
              <a:gd name="connsiteY13" fmla="*/ 16778 h 1661021"/>
              <a:gd name="connsiteX14" fmla="*/ 75501 w 2072081"/>
              <a:gd name="connsiteY14" fmla="*/ 352338 h 1661021"/>
              <a:gd name="connsiteX15" fmla="*/ 218114 w 2072081"/>
              <a:gd name="connsiteY15" fmla="*/ 427839 h 1661021"/>
              <a:gd name="connsiteX16" fmla="*/ 402672 w 2072081"/>
              <a:gd name="connsiteY16" fmla="*/ 234892 h 1661021"/>
              <a:gd name="connsiteX17" fmla="*/ 494950 w 2072081"/>
              <a:gd name="connsiteY17" fmla="*/ 226503 h 1661021"/>
              <a:gd name="connsiteX18" fmla="*/ 343949 w 2072081"/>
              <a:gd name="connsiteY18" fmla="*/ 478173 h 1661021"/>
              <a:gd name="connsiteX19" fmla="*/ 738231 w 2072081"/>
              <a:gd name="connsiteY19" fmla="*/ 671120 h 1661021"/>
              <a:gd name="connsiteX20" fmla="*/ 880844 w 2072081"/>
              <a:gd name="connsiteY20" fmla="*/ 453006 h 1661021"/>
              <a:gd name="connsiteX21" fmla="*/ 981512 w 2072081"/>
              <a:gd name="connsiteY21" fmla="*/ 805344 h 1661021"/>
              <a:gd name="connsiteX22" fmla="*/ 75501 w 2072081"/>
              <a:gd name="connsiteY22" fmla="*/ 352338 h 1661021"/>
              <a:gd name="connsiteX23" fmla="*/ 8389 w 2072081"/>
              <a:gd name="connsiteY23" fmla="*/ 377505 h 1661021"/>
              <a:gd name="connsiteX24" fmla="*/ 0 w 2072081"/>
              <a:gd name="connsiteY24" fmla="*/ 444617 h 1661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072081" h="1661021">
                <a:moveTo>
                  <a:pt x="0" y="444617"/>
                </a:moveTo>
                <a:lnTo>
                  <a:pt x="1392572" y="1132514"/>
                </a:lnTo>
                <a:lnTo>
                  <a:pt x="1342239" y="1208015"/>
                </a:lnTo>
                <a:lnTo>
                  <a:pt x="1208015" y="1241571"/>
                </a:lnTo>
                <a:lnTo>
                  <a:pt x="998290" y="1661021"/>
                </a:lnTo>
                <a:lnTo>
                  <a:pt x="2072081" y="1661021"/>
                </a:lnTo>
                <a:lnTo>
                  <a:pt x="1719743" y="897622"/>
                </a:lnTo>
                <a:lnTo>
                  <a:pt x="1644242" y="855678"/>
                </a:lnTo>
                <a:lnTo>
                  <a:pt x="1526796" y="947956"/>
                </a:lnTo>
                <a:lnTo>
                  <a:pt x="1468073" y="1031846"/>
                </a:lnTo>
                <a:lnTo>
                  <a:pt x="1166070" y="880844"/>
                </a:lnTo>
                <a:lnTo>
                  <a:pt x="1023457" y="226503"/>
                </a:lnTo>
                <a:lnTo>
                  <a:pt x="721453" y="0"/>
                </a:lnTo>
                <a:lnTo>
                  <a:pt x="377505" y="16778"/>
                </a:lnTo>
                <a:lnTo>
                  <a:pt x="75501" y="352338"/>
                </a:lnTo>
                <a:lnTo>
                  <a:pt x="218114" y="427839"/>
                </a:lnTo>
                <a:lnTo>
                  <a:pt x="402672" y="234892"/>
                </a:lnTo>
                <a:lnTo>
                  <a:pt x="494950" y="226503"/>
                </a:lnTo>
                <a:lnTo>
                  <a:pt x="343949" y="478173"/>
                </a:lnTo>
                <a:lnTo>
                  <a:pt x="738231" y="671120"/>
                </a:lnTo>
                <a:lnTo>
                  <a:pt x="880844" y="453006"/>
                </a:lnTo>
                <a:lnTo>
                  <a:pt x="981512" y="805344"/>
                </a:lnTo>
                <a:lnTo>
                  <a:pt x="75501" y="352338"/>
                </a:lnTo>
                <a:lnTo>
                  <a:pt x="8389" y="377505"/>
                </a:lnTo>
                <a:lnTo>
                  <a:pt x="0" y="444617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47" name="Oval 785"/>
          <p:cNvSpPr/>
          <p:nvPr/>
        </p:nvSpPr>
        <p:spPr bwMode="auto">
          <a:xfrm>
            <a:off x="2736208" y="1755024"/>
            <a:ext cx="13113" cy="12963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48" name="Freeform 786"/>
          <p:cNvSpPr/>
          <p:nvPr/>
        </p:nvSpPr>
        <p:spPr bwMode="auto">
          <a:xfrm>
            <a:off x="2707362" y="1791900"/>
            <a:ext cx="30887" cy="33992"/>
          </a:xfrm>
          <a:custGeom>
            <a:avLst/>
            <a:gdLst>
              <a:gd name="connsiteX0" fmla="*/ 268448 w 889233"/>
              <a:gd name="connsiteY0" fmla="*/ 0 h 989901"/>
              <a:gd name="connsiteX1" fmla="*/ 763398 w 889233"/>
              <a:gd name="connsiteY1" fmla="*/ 234891 h 989901"/>
              <a:gd name="connsiteX2" fmla="*/ 880844 w 889233"/>
              <a:gd name="connsiteY2" fmla="*/ 461394 h 989901"/>
              <a:gd name="connsiteX3" fmla="*/ 889233 w 889233"/>
              <a:gd name="connsiteY3" fmla="*/ 947956 h 989901"/>
              <a:gd name="connsiteX4" fmla="*/ 864066 w 889233"/>
              <a:gd name="connsiteY4" fmla="*/ 989901 h 989901"/>
              <a:gd name="connsiteX5" fmla="*/ 746620 w 889233"/>
              <a:gd name="connsiteY5" fmla="*/ 964734 h 989901"/>
              <a:gd name="connsiteX6" fmla="*/ 679508 w 889233"/>
              <a:gd name="connsiteY6" fmla="*/ 469783 h 989901"/>
              <a:gd name="connsiteX7" fmla="*/ 444617 w 889233"/>
              <a:gd name="connsiteY7" fmla="*/ 293614 h 989901"/>
              <a:gd name="connsiteX8" fmla="*/ 184558 w 889233"/>
              <a:gd name="connsiteY8" fmla="*/ 939567 h 989901"/>
              <a:gd name="connsiteX9" fmla="*/ 83890 w 889233"/>
              <a:gd name="connsiteY9" fmla="*/ 964734 h 989901"/>
              <a:gd name="connsiteX10" fmla="*/ 0 w 889233"/>
              <a:gd name="connsiteY10" fmla="*/ 880844 h 989901"/>
              <a:gd name="connsiteX11" fmla="*/ 268448 w 889233"/>
              <a:gd name="connsiteY11" fmla="*/ 0 h 989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233" h="989901">
                <a:moveTo>
                  <a:pt x="268448" y="0"/>
                </a:moveTo>
                <a:lnTo>
                  <a:pt x="763398" y="234891"/>
                </a:lnTo>
                <a:lnTo>
                  <a:pt x="880844" y="461394"/>
                </a:lnTo>
                <a:lnTo>
                  <a:pt x="889233" y="947956"/>
                </a:lnTo>
                <a:lnTo>
                  <a:pt x="864066" y="989901"/>
                </a:lnTo>
                <a:lnTo>
                  <a:pt x="746620" y="964734"/>
                </a:lnTo>
                <a:lnTo>
                  <a:pt x="679508" y="469783"/>
                </a:lnTo>
                <a:lnTo>
                  <a:pt x="444617" y="293614"/>
                </a:lnTo>
                <a:lnTo>
                  <a:pt x="184558" y="939567"/>
                </a:lnTo>
                <a:lnTo>
                  <a:pt x="83890" y="964734"/>
                </a:lnTo>
                <a:lnTo>
                  <a:pt x="0" y="880844"/>
                </a:lnTo>
                <a:lnTo>
                  <a:pt x="268448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49" name="Oval 779"/>
          <p:cNvSpPr/>
          <p:nvPr/>
        </p:nvSpPr>
        <p:spPr bwMode="auto">
          <a:xfrm>
            <a:off x="3117029" y="1210389"/>
            <a:ext cx="114396" cy="113097"/>
          </a:xfrm>
          <a:prstGeom prst="ellipse">
            <a:avLst/>
          </a:prstGeom>
          <a:solidFill>
            <a:srgbClr val="4C2B7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50" name="Freeform 780"/>
          <p:cNvSpPr/>
          <p:nvPr/>
        </p:nvSpPr>
        <p:spPr bwMode="auto">
          <a:xfrm>
            <a:off x="3142132" y="1239950"/>
            <a:ext cx="71971" cy="57039"/>
          </a:xfrm>
          <a:custGeom>
            <a:avLst/>
            <a:gdLst>
              <a:gd name="connsiteX0" fmla="*/ 0 w 2072081"/>
              <a:gd name="connsiteY0" fmla="*/ 444617 h 1661021"/>
              <a:gd name="connsiteX1" fmla="*/ 1392572 w 2072081"/>
              <a:gd name="connsiteY1" fmla="*/ 1132514 h 1661021"/>
              <a:gd name="connsiteX2" fmla="*/ 1342239 w 2072081"/>
              <a:gd name="connsiteY2" fmla="*/ 1208015 h 1661021"/>
              <a:gd name="connsiteX3" fmla="*/ 1208015 w 2072081"/>
              <a:gd name="connsiteY3" fmla="*/ 1241571 h 1661021"/>
              <a:gd name="connsiteX4" fmla="*/ 998290 w 2072081"/>
              <a:gd name="connsiteY4" fmla="*/ 1661021 h 1661021"/>
              <a:gd name="connsiteX5" fmla="*/ 2072081 w 2072081"/>
              <a:gd name="connsiteY5" fmla="*/ 1661021 h 1661021"/>
              <a:gd name="connsiteX6" fmla="*/ 1719743 w 2072081"/>
              <a:gd name="connsiteY6" fmla="*/ 897622 h 1661021"/>
              <a:gd name="connsiteX7" fmla="*/ 1644242 w 2072081"/>
              <a:gd name="connsiteY7" fmla="*/ 855678 h 1661021"/>
              <a:gd name="connsiteX8" fmla="*/ 1526796 w 2072081"/>
              <a:gd name="connsiteY8" fmla="*/ 947956 h 1661021"/>
              <a:gd name="connsiteX9" fmla="*/ 1468073 w 2072081"/>
              <a:gd name="connsiteY9" fmla="*/ 1031846 h 1661021"/>
              <a:gd name="connsiteX10" fmla="*/ 1166070 w 2072081"/>
              <a:gd name="connsiteY10" fmla="*/ 880844 h 1661021"/>
              <a:gd name="connsiteX11" fmla="*/ 1023457 w 2072081"/>
              <a:gd name="connsiteY11" fmla="*/ 226503 h 1661021"/>
              <a:gd name="connsiteX12" fmla="*/ 721453 w 2072081"/>
              <a:gd name="connsiteY12" fmla="*/ 0 h 1661021"/>
              <a:gd name="connsiteX13" fmla="*/ 377505 w 2072081"/>
              <a:gd name="connsiteY13" fmla="*/ 16778 h 1661021"/>
              <a:gd name="connsiteX14" fmla="*/ 75501 w 2072081"/>
              <a:gd name="connsiteY14" fmla="*/ 352338 h 1661021"/>
              <a:gd name="connsiteX15" fmla="*/ 218114 w 2072081"/>
              <a:gd name="connsiteY15" fmla="*/ 427839 h 1661021"/>
              <a:gd name="connsiteX16" fmla="*/ 402672 w 2072081"/>
              <a:gd name="connsiteY16" fmla="*/ 234892 h 1661021"/>
              <a:gd name="connsiteX17" fmla="*/ 494950 w 2072081"/>
              <a:gd name="connsiteY17" fmla="*/ 226503 h 1661021"/>
              <a:gd name="connsiteX18" fmla="*/ 343949 w 2072081"/>
              <a:gd name="connsiteY18" fmla="*/ 478173 h 1661021"/>
              <a:gd name="connsiteX19" fmla="*/ 738231 w 2072081"/>
              <a:gd name="connsiteY19" fmla="*/ 671120 h 1661021"/>
              <a:gd name="connsiteX20" fmla="*/ 880844 w 2072081"/>
              <a:gd name="connsiteY20" fmla="*/ 453006 h 1661021"/>
              <a:gd name="connsiteX21" fmla="*/ 981512 w 2072081"/>
              <a:gd name="connsiteY21" fmla="*/ 805344 h 1661021"/>
              <a:gd name="connsiteX22" fmla="*/ 75501 w 2072081"/>
              <a:gd name="connsiteY22" fmla="*/ 352338 h 1661021"/>
              <a:gd name="connsiteX23" fmla="*/ 8389 w 2072081"/>
              <a:gd name="connsiteY23" fmla="*/ 377505 h 1661021"/>
              <a:gd name="connsiteX24" fmla="*/ 0 w 2072081"/>
              <a:gd name="connsiteY24" fmla="*/ 444617 h 1661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072081" h="1661021">
                <a:moveTo>
                  <a:pt x="0" y="444617"/>
                </a:moveTo>
                <a:lnTo>
                  <a:pt x="1392572" y="1132514"/>
                </a:lnTo>
                <a:lnTo>
                  <a:pt x="1342239" y="1208015"/>
                </a:lnTo>
                <a:lnTo>
                  <a:pt x="1208015" y="1241571"/>
                </a:lnTo>
                <a:lnTo>
                  <a:pt x="998290" y="1661021"/>
                </a:lnTo>
                <a:lnTo>
                  <a:pt x="2072081" y="1661021"/>
                </a:lnTo>
                <a:lnTo>
                  <a:pt x="1719743" y="897622"/>
                </a:lnTo>
                <a:lnTo>
                  <a:pt x="1644242" y="855678"/>
                </a:lnTo>
                <a:lnTo>
                  <a:pt x="1526796" y="947956"/>
                </a:lnTo>
                <a:lnTo>
                  <a:pt x="1468073" y="1031846"/>
                </a:lnTo>
                <a:lnTo>
                  <a:pt x="1166070" y="880844"/>
                </a:lnTo>
                <a:lnTo>
                  <a:pt x="1023457" y="226503"/>
                </a:lnTo>
                <a:lnTo>
                  <a:pt x="721453" y="0"/>
                </a:lnTo>
                <a:lnTo>
                  <a:pt x="377505" y="16778"/>
                </a:lnTo>
                <a:lnTo>
                  <a:pt x="75501" y="352338"/>
                </a:lnTo>
                <a:lnTo>
                  <a:pt x="218114" y="427839"/>
                </a:lnTo>
                <a:lnTo>
                  <a:pt x="402672" y="234892"/>
                </a:lnTo>
                <a:lnTo>
                  <a:pt x="494950" y="226503"/>
                </a:lnTo>
                <a:lnTo>
                  <a:pt x="343949" y="478173"/>
                </a:lnTo>
                <a:lnTo>
                  <a:pt x="738231" y="671120"/>
                </a:lnTo>
                <a:lnTo>
                  <a:pt x="880844" y="453006"/>
                </a:lnTo>
                <a:lnTo>
                  <a:pt x="981512" y="805344"/>
                </a:lnTo>
                <a:lnTo>
                  <a:pt x="75501" y="352338"/>
                </a:lnTo>
                <a:lnTo>
                  <a:pt x="8389" y="377505"/>
                </a:lnTo>
                <a:lnTo>
                  <a:pt x="0" y="444617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51" name="Oval 781"/>
          <p:cNvSpPr/>
          <p:nvPr/>
        </p:nvSpPr>
        <p:spPr bwMode="auto">
          <a:xfrm>
            <a:off x="3169812" y="1226988"/>
            <a:ext cx="13113" cy="12963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52" name="Freeform 782"/>
          <p:cNvSpPr/>
          <p:nvPr/>
        </p:nvSpPr>
        <p:spPr bwMode="auto">
          <a:xfrm>
            <a:off x="3140967" y="1263863"/>
            <a:ext cx="30887" cy="33992"/>
          </a:xfrm>
          <a:custGeom>
            <a:avLst/>
            <a:gdLst>
              <a:gd name="connsiteX0" fmla="*/ 268448 w 889233"/>
              <a:gd name="connsiteY0" fmla="*/ 0 h 989901"/>
              <a:gd name="connsiteX1" fmla="*/ 763398 w 889233"/>
              <a:gd name="connsiteY1" fmla="*/ 234891 h 989901"/>
              <a:gd name="connsiteX2" fmla="*/ 880844 w 889233"/>
              <a:gd name="connsiteY2" fmla="*/ 461394 h 989901"/>
              <a:gd name="connsiteX3" fmla="*/ 889233 w 889233"/>
              <a:gd name="connsiteY3" fmla="*/ 947956 h 989901"/>
              <a:gd name="connsiteX4" fmla="*/ 864066 w 889233"/>
              <a:gd name="connsiteY4" fmla="*/ 989901 h 989901"/>
              <a:gd name="connsiteX5" fmla="*/ 746620 w 889233"/>
              <a:gd name="connsiteY5" fmla="*/ 964734 h 989901"/>
              <a:gd name="connsiteX6" fmla="*/ 679508 w 889233"/>
              <a:gd name="connsiteY6" fmla="*/ 469783 h 989901"/>
              <a:gd name="connsiteX7" fmla="*/ 444617 w 889233"/>
              <a:gd name="connsiteY7" fmla="*/ 293614 h 989901"/>
              <a:gd name="connsiteX8" fmla="*/ 184558 w 889233"/>
              <a:gd name="connsiteY8" fmla="*/ 939567 h 989901"/>
              <a:gd name="connsiteX9" fmla="*/ 83890 w 889233"/>
              <a:gd name="connsiteY9" fmla="*/ 964734 h 989901"/>
              <a:gd name="connsiteX10" fmla="*/ 0 w 889233"/>
              <a:gd name="connsiteY10" fmla="*/ 880844 h 989901"/>
              <a:gd name="connsiteX11" fmla="*/ 268448 w 889233"/>
              <a:gd name="connsiteY11" fmla="*/ 0 h 989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233" h="989901">
                <a:moveTo>
                  <a:pt x="268448" y="0"/>
                </a:moveTo>
                <a:lnTo>
                  <a:pt x="763398" y="234891"/>
                </a:lnTo>
                <a:lnTo>
                  <a:pt x="880844" y="461394"/>
                </a:lnTo>
                <a:lnTo>
                  <a:pt x="889233" y="947956"/>
                </a:lnTo>
                <a:lnTo>
                  <a:pt x="864066" y="989901"/>
                </a:lnTo>
                <a:lnTo>
                  <a:pt x="746620" y="964734"/>
                </a:lnTo>
                <a:lnTo>
                  <a:pt x="679508" y="469783"/>
                </a:lnTo>
                <a:lnTo>
                  <a:pt x="444617" y="293614"/>
                </a:lnTo>
                <a:lnTo>
                  <a:pt x="184558" y="939567"/>
                </a:lnTo>
                <a:lnTo>
                  <a:pt x="83890" y="964734"/>
                </a:lnTo>
                <a:lnTo>
                  <a:pt x="0" y="880844"/>
                </a:lnTo>
                <a:lnTo>
                  <a:pt x="268448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1739025" y="1709770"/>
            <a:ext cx="940139" cy="9009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Duber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hawar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30MW</a:t>
            </a:r>
          </a:p>
        </p:txBody>
      </p:sp>
      <p:sp>
        <p:nvSpPr>
          <p:cNvPr id="254" name="TextBox 253"/>
          <p:cNvSpPr txBox="1"/>
          <p:nvPr/>
        </p:nvSpPr>
        <p:spPr>
          <a:xfrm>
            <a:off x="1320209" y="2557317"/>
            <a:ext cx="817802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llai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hwar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21MW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3088384" y="3244188"/>
            <a:ext cx="663643" cy="1600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Neelum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Jhelum</a:t>
            </a:r>
          </a:p>
          <a:p>
            <a:pPr algn="ctr" latinLnBrk="0">
              <a:lnSpc>
                <a:spcPct val="80000"/>
              </a:lnSpc>
            </a:pPr>
            <a:r>
              <a:rPr lang="en-US" sz="600" b="1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969MW  </a:t>
            </a:r>
            <a:endParaRPr lang="en-US" sz="600" b="1" i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56" name="TextBox 255"/>
          <p:cNvSpPr txBox="1"/>
          <p:nvPr/>
        </p:nvSpPr>
        <p:spPr>
          <a:xfrm>
            <a:off x="3253959" y="1200133"/>
            <a:ext cx="554699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eyal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25MW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9225609" y="1008237"/>
            <a:ext cx="653372" cy="2252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latinLnBrk="0"/>
            <a:r>
              <a:rPr lang="en-US" altLang="ko-KR" sz="700" b="1" cap="all" spc="104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ilgit</a:t>
            </a:r>
            <a:endParaRPr lang="en-US" altLang="ko-KR" sz="700" b="1" cap="all" spc="104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  <a:p>
            <a:pPr algn="ctr" latinLnBrk="0"/>
            <a:r>
              <a:rPr lang="en-US" altLang="ko-KR" sz="700" b="1" cap="all" spc="104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Baltistan</a:t>
            </a:r>
            <a:endParaRPr lang="en-US" sz="700" b="1" cap="all" spc="104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58" name="TextBox 257"/>
          <p:cNvSpPr txBox="1"/>
          <p:nvPr/>
        </p:nvSpPr>
        <p:spPr>
          <a:xfrm>
            <a:off x="2601310" y="6242799"/>
            <a:ext cx="465746" cy="11261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latinLnBrk="0"/>
            <a:r>
              <a:rPr lang="en-US" altLang="ko-KR" sz="700" b="1" cap="all" spc="104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Punjab</a:t>
            </a:r>
          </a:p>
        </p:txBody>
      </p:sp>
      <p:sp>
        <p:nvSpPr>
          <p:cNvPr id="259" name="TextBox 258"/>
          <p:cNvSpPr txBox="1"/>
          <p:nvPr/>
        </p:nvSpPr>
        <p:spPr>
          <a:xfrm>
            <a:off x="5893924" y="1204579"/>
            <a:ext cx="914197" cy="25740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latinLnBrk="0"/>
            <a:r>
              <a:rPr lang="en-US" sz="800" b="1" cap="all" spc="104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zad Jammu</a:t>
            </a:r>
          </a:p>
          <a:p>
            <a:pPr algn="ctr" latinLnBrk="0"/>
            <a:r>
              <a:rPr lang="en-US" sz="800" b="1" cap="all" spc="104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nd Kashmir</a:t>
            </a:r>
          </a:p>
        </p:txBody>
      </p:sp>
      <p:sp>
        <p:nvSpPr>
          <p:cNvPr id="260" name="TextBox 259"/>
          <p:cNvSpPr txBox="1"/>
          <p:nvPr/>
        </p:nvSpPr>
        <p:spPr>
          <a:xfrm>
            <a:off x="7284970" y="1030135"/>
            <a:ext cx="397170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SKARDU</a:t>
            </a:r>
          </a:p>
        </p:txBody>
      </p:sp>
      <p:sp>
        <p:nvSpPr>
          <p:cNvPr id="261" name="5-Point Star 170"/>
          <p:cNvSpPr/>
          <p:nvPr/>
        </p:nvSpPr>
        <p:spPr bwMode="auto">
          <a:xfrm>
            <a:off x="7687298" y="974291"/>
            <a:ext cx="130884" cy="131440"/>
          </a:xfrm>
          <a:prstGeom prst="star5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700"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63" name="TextBox 262"/>
          <p:cNvSpPr txBox="1"/>
          <p:nvPr/>
        </p:nvSpPr>
        <p:spPr>
          <a:xfrm>
            <a:off x="3215750" y="3686086"/>
            <a:ext cx="661952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ohala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100MW</a:t>
            </a:r>
          </a:p>
        </p:txBody>
      </p:sp>
      <p:sp>
        <p:nvSpPr>
          <p:cNvPr id="264" name="TextBox 263"/>
          <p:cNvSpPr txBox="1"/>
          <p:nvPr/>
        </p:nvSpPr>
        <p:spPr>
          <a:xfrm>
            <a:off x="5251870" y="1577502"/>
            <a:ext cx="601368" cy="138499"/>
          </a:xfrm>
          <a:prstGeom prst="rect">
            <a:avLst/>
          </a:prstGeom>
          <a:solidFill>
            <a:srgbClr val="3861BE"/>
          </a:solidFill>
        </p:spPr>
        <p:txBody>
          <a:bodyPr wrap="square" lIns="0" tIns="0" rIns="0" bIns="0" rtlCol="0" anchor="ctr" anchorCtr="0">
            <a:spAutoFit/>
          </a:bodyPr>
          <a:lstStyle/>
          <a:p>
            <a:pPr algn="ctr" latinLnBrk="0"/>
            <a:r>
              <a:rPr lang="en-US" sz="900" b="1" dirty="0" smtClean="0">
                <a:solidFill>
                  <a:schemeClr val="bg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NEELUM</a:t>
            </a:r>
            <a:endParaRPr lang="en-US" sz="900" b="1" i="1" dirty="0">
              <a:solidFill>
                <a:schemeClr val="bg1"/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65" name="TextBox 264"/>
          <p:cNvSpPr txBox="1"/>
          <p:nvPr/>
        </p:nvSpPr>
        <p:spPr>
          <a:xfrm>
            <a:off x="3871771" y="491829"/>
            <a:ext cx="496998" cy="138499"/>
          </a:xfrm>
          <a:prstGeom prst="rect">
            <a:avLst/>
          </a:prstGeom>
          <a:solidFill>
            <a:srgbClr val="0070C0"/>
          </a:solidFill>
        </p:spPr>
        <p:txBody>
          <a:bodyPr wrap="square" lIns="0" tIns="0" rIns="0" bIns="0" rtlCol="0" anchor="ctr" anchorCtr="0">
            <a:spAutoFit/>
          </a:bodyPr>
          <a:lstStyle/>
          <a:p>
            <a:pPr algn="ctr" latinLnBrk="0"/>
            <a:r>
              <a:rPr lang="en-US" sz="900" b="1" dirty="0" smtClean="0">
                <a:solidFill>
                  <a:schemeClr val="bg1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INDUS</a:t>
            </a:r>
            <a:endParaRPr lang="en-US" sz="900" b="1" i="1" dirty="0">
              <a:solidFill>
                <a:schemeClr val="bg1"/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66" name="Freeform 33"/>
          <p:cNvSpPr/>
          <p:nvPr/>
        </p:nvSpPr>
        <p:spPr bwMode="auto">
          <a:xfrm>
            <a:off x="2041" y="3380958"/>
            <a:ext cx="1600926" cy="564097"/>
          </a:xfrm>
          <a:custGeom>
            <a:avLst/>
            <a:gdLst>
              <a:gd name="connsiteX0" fmla="*/ 1768475 w 1768475"/>
              <a:gd name="connsiteY0" fmla="*/ 2879725 h 2879725"/>
              <a:gd name="connsiteX1" fmla="*/ 1752600 w 1768475"/>
              <a:gd name="connsiteY1" fmla="*/ 2822575 h 2879725"/>
              <a:gd name="connsiteX2" fmla="*/ 1720850 w 1768475"/>
              <a:gd name="connsiteY2" fmla="*/ 2778125 h 2879725"/>
              <a:gd name="connsiteX3" fmla="*/ 1682750 w 1768475"/>
              <a:gd name="connsiteY3" fmla="*/ 2765425 h 2879725"/>
              <a:gd name="connsiteX4" fmla="*/ 1628775 w 1768475"/>
              <a:gd name="connsiteY4" fmla="*/ 2768600 h 2879725"/>
              <a:gd name="connsiteX5" fmla="*/ 1587500 w 1768475"/>
              <a:gd name="connsiteY5" fmla="*/ 2765425 h 2879725"/>
              <a:gd name="connsiteX6" fmla="*/ 1552575 w 1768475"/>
              <a:gd name="connsiteY6" fmla="*/ 2746375 h 2879725"/>
              <a:gd name="connsiteX7" fmla="*/ 1524000 w 1768475"/>
              <a:gd name="connsiteY7" fmla="*/ 2759075 h 2879725"/>
              <a:gd name="connsiteX8" fmla="*/ 1473200 w 1768475"/>
              <a:gd name="connsiteY8" fmla="*/ 2746375 h 2879725"/>
              <a:gd name="connsiteX9" fmla="*/ 1438275 w 1768475"/>
              <a:gd name="connsiteY9" fmla="*/ 2733675 h 2879725"/>
              <a:gd name="connsiteX10" fmla="*/ 1422400 w 1768475"/>
              <a:gd name="connsiteY10" fmla="*/ 2727325 h 2879725"/>
              <a:gd name="connsiteX11" fmla="*/ 1362075 w 1768475"/>
              <a:gd name="connsiteY11" fmla="*/ 2733675 h 2879725"/>
              <a:gd name="connsiteX12" fmla="*/ 1308100 w 1768475"/>
              <a:gd name="connsiteY12" fmla="*/ 2689225 h 2879725"/>
              <a:gd name="connsiteX13" fmla="*/ 1276350 w 1768475"/>
              <a:gd name="connsiteY13" fmla="*/ 2667000 h 2879725"/>
              <a:gd name="connsiteX14" fmla="*/ 1241425 w 1768475"/>
              <a:gd name="connsiteY14" fmla="*/ 2654300 h 2879725"/>
              <a:gd name="connsiteX15" fmla="*/ 1216025 w 1768475"/>
              <a:gd name="connsiteY15" fmla="*/ 2619375 h 2879725"/>
              <a:gd name="connsiteX16" fmla="*/ 1168400 w 1768475"/>
              <a:gd name="connsiteY16" fmla="*/ 2606675 h 2879725"/>
              <a:gd name="connsiteX17" fmla="*/ 1130300 w 1768475"/>
              <a:gd name="connsiteY17" fmla="*/ 2584450 h 2879725"/>
              <a:gd name="connsiteX18" fmla="*/ 1095375 w 1768475"/>
              <a:gd name="connsiteY18" fmla="*/ 2587625 h 2879725"/>
              <a:gd name="connsiteX19" fmla="*/ 1079500 w 1768475"/>
              <a:gd name="connsiteY19" fmla="*/ 2565400 h 2879725"/>
              <a:gd name="connsiteX20" fmla="*/ 1035050 w 1768475"/>
              <a:gd name="connsiteY20" fmla="*/ 2552700 h 2879725"/>
              <a:gd name="connsiteX21" fmla="*/ 1009650 w 1768475"/>
              <a:gd name="connsiteY21" fmla="*/ 2559050 h 2879725"/>
              <a:gd name="connsiteX22" fmla="*/ 962025 w 1768475"/>
              <a:gd name="connsiteY22" fmla="*/ 2552700 h 2879725"/>
              <a:gd name="connsiteX23" fmla="*/ 917575 w 1768475"/>
              <a:gd name="connsiteY23" fmla="*/ 2568575 h 2879725"/>
              <a:gd name="connsiteX24" fmla="*/ 850900 w 1768475"/>
              <a:gd name="connsiteY24" fmla="*/ 2562225 h 2879725"/>
              <a:gd name="connsiteX25" fmla="*/ 850900 w 1768475"/>
              <a:gd name="connsiteY25" fmla="*/ 2562225 h 2879725"/>
              <a:gd name="connsiteX26" fmla="*/ 796925 w 1768475"/>
              <a:gd name="connsiteY26" fmla="*/ 2568575 h 2879725"/>
              <a:gd name="connsiteX27" fmla="*/ 809625 w 1768475"/>
              <a:gd name="connsiteY27" fmla="*/ 2543175 h 2879725"/>
              <a:gd name="connsiteX28" fmla="*/ 787400 w 1768475"/>
              <a:gd name="connsiteY28" fmla="*/ 2533650 h 2879725"/>
              <a:gd name="connsiteX29" fmla="*/ 806450 w 1768475"/>
              <a:gd name="connsiteY29" fmla="*/ 2473325 h 2879725"/>
              <a:gd name="connsiteX30" fmla="*/ 781050 w 1768475"/>
              <a:gd name="connsiteY30" fmla="*/ 2419350 h 2879725"/>
              <a:gd name="connsiteX31" fmla="*/ 736600 w 1768475"/>
              <a:gd name="connsiteY31" fmla="*/ 2378075 h 2879725"/>
              <a:gd name="connsiteX32" fmla="*/ 692150 w 1768475"/>
              <a:gd name="connsiteY32" fmla="*/ 2355850 h 2879725"/>
              <a:gd name="connsiteX33" fmla="*/ 647700 w 1768475"/>
              <a:gd name="connsiteY33" fmla="*/ 2419350 h 2879725"/>
              <a:gd name="connsiteX34" fmla="*/ 590550 w 1768475"/>
              <a:gd name="connsiteY34" fmla="*/ 2476500 h 2879725"/>
              <a:gd name="connsiteX35" fmla="*/ 552450 w 1768475"/>
              <a:gd name="connsiteY35" fmla="*/ 2486025 h 2879725"/>
              <a:gd name="connsiteX36" fmla="*/ 508000 w 1768475"/>
              <a:gd name="connsiteY36" fmla="*/ 2463800 h 2879725"/>
              <a:gd name="connsiteX37" fmla="*/ 463550 w 1768475"/>
              <a:gd name="connsiteY37" fmla="*/ 2466975 h 2879725"/>
              <a:gd name="connsiteX38" fmla="*/ 406400 w 1768475"/>
              <a:gd name="connsiteY38" fmla="*/ 2444750 h 2879725"/>
              <a:gd name="connsiteX39" fmla="*/ 365125 w 1768475"/>
              <a:gd name="connsiteY39" fmla="*/ 2451100 h 2879725"/>
              <a:gd name="connsiteX40" fmla="*/ 323850 w 1768475"/>
              <a:gd name="connsiteY40" fmla="*/ 2422525 h 2879725"/>
              <a:gd name="connsiteX41" fmla="*/ 301625 w 1768475"/>
              <a:gd name="connsiteY41" fmla="*/ 2381250 h 2879725"/>
              <a:gd name="connsiteX42" fmla="*/ 250825 w 1768475"/>
              <a:gd name="connsiteY42" fmla="*/ 2352675 h 2879725"/>
              <a:gd name="connsiteX43" fmla="*/ 212725 w 1768475"/>
              <a:gd name="connsiteY43" fmla="*/ 2320925 h 2879725"/>
              <a:gd name="connsiteX44" fmla="*/ 190500 w 1768475"/>
              <a:gd name="connsiteY44" fmla="*/ 2324100 h 2879725"/>
              <a:gd name="connsiteX45" fmla="*/ 171450 w 1768475"/>
              <a:gd name="connsiteY45" fmla="*/ 2295525 h 2879725"/>
              <a:gd name="connsiteX46" fmla="*/ 114300 w 1768475"/>
              <a:gd name="connsiteY46" fmla="*/ 2276475 h 2879725"/>
              <a:gd name="connsiteX47" fmla="*/ 66675 w 1768475"/>
              <a:gd name="connsiteY47" fmla="*/ 2289175 h 2879725"/>
              <a:gd name="connsiteX48" fmla="*/ 0 w 1768475"/>
              <a:gd name="connsiteY48" fmla="*/ 2254250 h 2879725"/>
              <a:gd name="connsiteX49" fmla="*/ 19050 w 1768475"/>
              <a:gd name="connsiteY49" fmla="*/ 2212975 h 2879725"/>
              <a:gd name="connsiteX50" fmla="*/ 19050 w 1768475"/>
              <a:gd name="connsiteY50" fmla="*/ 2174875 h 2879725"/>
              <a:gd name="connsiteX51" fmla="*/ 57150 w 1768475"/>
              <a:gd name="connsiteY51" fmla="*/ 2139950 h 2879725"/>
              <a:gd name="connsiteX52" fmla="*/ 47625 w 1768475"/>
              <a:gd name="connsiteY52" fmla="*/ 2073275 h 2879725"/>
              <a:gd name="connsiteX53" fmla="*/ 82550 w 1768475"/>
              <a:gd name="connsiteY53" fmla="*/ 2054225 h 2879725"/>
              <a:gd name="connsiteX54" fmla="*/ 155575 w 1768475"/>
              <a:gd name="connsiteY54" fmla="*/ 2038350 h 2879725"/>
              <a:gd name="connsiteX55" fmla="*/ 209550 w 1768475"/>
              <a:gd name="connsiteY55" fmla="*/ 2006600 h 2879725"/>
              <a:gd name="connsiteX56" fmla="*/ 247650 w 1768475"/>
              <a:gd name="connsiteY56" fmla="*/ 2022475 h 2879725"/>
              <a:gd name="connsiteX57" fmla="*/ 269875 w 1768475"/>
              <a:gd name="connsiteY57" fmla="*/ 1993900 h 2879725"/>
              <a:gd name="connsiteX58" fmla="*/ 349250 w 1768475"/>
              <a:gd name="connsiteY58" fmla="*/ 1997075 h 2879725"/>
              <a:gd name="connsiteX59" fmla="*/ 330200 w 1768475"/>
              <a:gd name="connsiteY59" fmla="*/ 1955800 h 2879725"/>
              <a:gd name="connsiteX60" fmla="*/ 361950 w 1768475"/>
              <a:gd name="connsiteY60" fmla="*/ 1927225 h 2879725"/>
              <a:gd name="connsiteX61" fmla="*/ 438150 w 1768475"/>
              <a:gd name="connsiteY61" fmla="*/ 1914525 h 2879725"/>
              <a:gd name="connsiteX62" fmla="*/ 466725 w 1768475"/>
              <a:gd name="connsiteY62" fmla="*/ 1851025 h 2879725"/>
              <a:gd name="connsiteX63" fmla="*/ 539750 w 1768475"/>
              <a:gd name="connsiteY63" fmla="*/ 1835150 h 2879725"/>
              <a:gd name="connsiteX64" fmla="*/ 596900 w 1768475"/>
              <a:gd name="connsiteY64" fmla="*/ 1778000 h 2879725"/>
              <a:gd name="connsiteX65" fmla="*/ 635000 w 1768475"/>
              <a:gd name="connsiteY65" fmla="*/ 1711325 h 2879725"/>
              <a:gd name="connsiteX66" fmla="*/ 660400 w 1768475"/>
              <a:gd name="connsiteY66" fmla="*/ 1657350 h 2879725"/>
              <a:gd name="connsiteX67" fmla="*/ 701675 w 1768475"/>
              <a:gd name="connsiteY67" fmla="*/ 1635125 h 2879725"/>
              <a:gd name="connsiteX68" fmla="*/ 717550 w 1768475"/>
              <a:gd name="connsiteY68" fmla="*/ 1590675 h 2879725"/>
              <a:gd name="connsiteX69" fmla="*/ 762000 w 1768475"/>
              <a:gd name="connsiteY69" fmla="*/ 1558925 h 2879725"/>
              <a:gd name="connsiteX70" fmla="*/ 825500 w 1768475"/>
              <a:gd name="connsiteY70" fmla="*/ 1501775 h 2879725"/>
              <a:gd name="connsiteX71" fmla="*/ 860425 w 1768475"/>
              <a:gd name="connsiteY71" fmla="*/ 1485900 h 2879725"/>
              <a:gd name="connsiteX72" fmla="*/ 873125 w 1768475"/>
              <a:gd name="connsiteY72" fmla="*/ 1422400 h 2879725"/>
              <a:gd name="connsiteX73" fmla="*/ 854075 w 1768475"/>
              <a:gd name="connsiteY73" fmla="*/ 1381125 h 2879725"/>
              <a:gd name="connsiteX74" fmla="*/ 879475 w 1768475"/>
              <a:gd name="connsiteY74" fmla="*/ 1355725 h 2879725"/>
              <a:gd name="connsiteX75" fmla="*/ 908050 w 1768475"/>
              <a:gd name="connsiteY75" fmla="*/ 1308100 h 2879725"/>
              <a:gd name="connsiteX76" fmla="*/ 936625 w 1768475"/>
              <a:gd name="connsiteY76" fmla="*/ 1317625 h 2879725"/>
              <a:gd name="connsiteX77" fmla="*/ 1009650 w 1768475"/>
              <a:gd name="connsiteY77" fmla="*/ 1276350 h 2879725"/>
              <a:gd name="connsiteX78" fmla="*/ 1025525 w 1768475"/>
              <a:gd name="connsiteY78" fmla="*/ 1219200 h 2879725"/>
              <a:gd name="connsiteX79" fmla="*/ 1038225 w 1768475"/>
              <a:gd name="connsiteY79" fmla="*/ 1162050 h 2879725"/>
              <a:gd name="connsiteX80" fmla="*/ 1073150 w 1768475"/>
              <a:gd name="connsiteY80" fmla="*/ 1098550 h 2879725"/>
              <a:gd name="connsiteX81" fmla="*/ 1139825 w 1768475"/>
              <a:gd name="connsiteY81" fmla="*/ 1060450 h 2879725"/>
              <a:gd name="connsiteX82" fmla="*/ 1177925 w 1768475"/>
              <a:gd name="connsiteY82" fmla="*/ 1044575 h 2879725"/>
              <a:gd name="connsiteX83" fmla="*/ 1193800 w 1768475"/>
              <a:gd name="connsiteY83" fmla="*/ 1006475 h 2879725"/>
              <a:gd name="connsiteX84" fmla="*/ 1203325 w 1768475"/>
              <a:gd name="connsiteY84" fmla="*/ 968375 h 2879725"/>
              <a:gd name="connsiteX85" fmla="*/ 1254125 w 1768475"/>
              <a:gd name="connsiteY85" fmla="*/ 936625 h 2879725"/>
              <a:gd name="connsiteX86" fmla="*/ 1250950 w 1768475"/>
              <a:gd name="connsiteY86" fmla="*/ 892175 h 2879725"/>
              <a:gd name="connsiteX87" fmla="*/ 1292225 w 1768475"/>
              <a:gd name="connsiteY87" fmla="*/ 838200 h 2879725"/>
              <a:gd name="connsiteX88" fmla="*/ 1320800 w 1768475"/>
              <a:gd name="connsiteY88" fmla="*/ 787400 h 2879725"/>
              <a:gd name="connsiteX89" fmla="*/ 1292225 w 1768475"/>
              <a:gd name="connsiteY89" fmla="*/ 720725 h 2879725"/>
              <a:gd name="connsiteX90" fmla="*/ 1270000 w 1768475"/>
              <a:gd name="connsiteY90" fmla="*/ 673100 h 2879725"/>
              <a:gd name="connsiteX91" fmla="*/ 1295400 w 1768475"/>
              <a:gd name="connsiteY91" fmla="*/ 615950 h 2879725"/>
              <a:gd name="connsiteX92" fmla="*/ 1285875 w 1768475"/>
              <a:gd name="connsiteY92" fmla="*/ 558800 h 2879725"/>
              <a:gd name="connsiteX93" fmla="*/ 1298575 w 1768475"/>
              <a:gd name="connsiteY93" fmla="*/ 492125 h 2879725"/>
              <a:gd name="connsiteX94" fmla="*/ 1330325 w 1768475"/>
              <a:gd name="connsiteY94" fmla="*/ 415925 h 2879725"/>
              <a:gd name="connsiteX95" fmla="*/ 1371600 w 1768475"/>
              <a:gd name="connsiteY95" fmla="*/ 377825 h 2879725"/>
              <a:gd name="connsiteX96" fmla="*/ 1473200 w 1768475"/>
              <a:gd name="connsiteY96" fmla="*/ 342900 h 2879725"/>
              <a:gd name="connsiteX97" fmla="*/ 1504950 w 1768475"/>
              <a:gd name="connsiteY97" fmla="*/ 273050 h 2879725"/>
              <a:gd name="connsiteX98" fmla="*/ 1546225 w 1768475"/>
              <a:gd name="connsiteY98" fmla="*/ 231775 h 2879725"/>
              <a:gd name="connsiteX99" fmla="*/ 1565275 w 1768475"/>
              <a:gd name="connsiteY99" fmla="*/ 174625 h 2879725"/>
              <a:gd name="connsiteX100" fmla="*/ 1612900 w 1768475"/>
              <a:gd name="connsiteY100" fmla="*/ 95250 h 2879725"/>
              <a:gd name="connsiteX101" fmla="*/ 1651000 w 1768475"/>
              <a:gd name="connsiteY101" fmla="*/ 95250 h 2879725"/>
              <a:gd name="connsiteX102" fmla="*/ 1666875 w 1768475"/>
              <a:gd name="connsiteY102" fmla="*/ 47625 h 2879725"/>
              <a:gd name="connsiteX103" fmla="*/ 1685925 w 1768475"/>
              <a:gd name="connsiteY103" fmla="*/ 0 h 2879725"/>
              <a:gd name="connsiteX0" fmla="*/ 1768475 w 1768475"/>
              <a:gd name="connsiteY0" fmla="*/ 2832100 h 2832100"/>
              <a:gd name="connsiteX1" fmla="*/ 1752600 w 1768475"/>
              <a:gd name="connsiteY1" fmla="*/ 2774950 h 2832100"/>
              <a:gd name="connsiteX2" fmla="*/ 1720850 w 1768475"/>
              <a:gd name="connsiteY2" fmla="*/ 2730500 h 2832100"/>
              <a:gd name="connsiteX3" fmla="*/ 1682750 w 1768475"/>
              <a:gd name="connsiteY3" fmla="*/ 2717800 h 2832100"/>
              <a:gd name="connsiteX4" fmla="*/ 1628775 w 1768475"/>
              <a:gd name="connsiteY4" fmla="*/ 2720975 h 2832100"/>
              <a:gd name="connsiteX5" fmla="*/ 1587500 w 1768475"/>
              <a:gd name="connsiteY5" fmla="*/ 2717800 h 2832100"/>
              <a:gd name="connsiteX6" fmla="*/ 1552575 w 1768475"/>
              <a:gd name="connsiteY6" fmla="*/ 2698750 h 2832100"/>
              <a:gd name="connsiteX7" fmla="*/ 1524000 w 1768475"/>
              <a:gd name="connsiteY7" fmla="*/ 2711450 h 2832100"/>
              <a:gd name="connsiteX8" fmla="*/ 1473200 w 1768475"/>
              <a:gd name="connsiteY8" fmla="*/ 2698750 h 2832100"/>
              <a:gd name="connsiteX9" fmla="*/ 1438275 w 1768475"/>
              <a:gd name="connsiteY9" fmla="*/ 2686050 h 2832100"/>
              <a:gd name="connsiteX10" fmla="*/ 1422400 w 1768475"/>
              <a:gd name="connsiteY10" fmla="*/ 2679700 h 2832100"/>
              <a:gd name="connsiteX11" fmla="*/ 1362075 w 1768475"/>
              <a:gd name="connsiteY11" fmla="*/ 2686050 h 2832100"/>
              <a:gd name="connsiteX12" fmla="*/ 1308100 w 1768475"/>
              <a:gd name="connsiteY12" fmla="*/ 2641600 h 2832100"/>
              <a:gd name="connsiteX13" fmla="*/ 1276350 w 1768475"/>
              <a:gd name="connsiteY13" fmla="*/ 2619375 h 2832100"/>
              <a:gd name="connsiteX14" fmla="*/ 1241425 w 1768475"/>
              <a:gd name="connsiteY14" fmla="*/ 2606675 h 2832100"/>
              <a:gd name="connsiteX15" fmla="*/ 1216025 w 1768475"/>
              <a:gd name="connsiteY15" fmla="*/ 2571750 h 2832100"/>
              <a:gd name="connsiteX16" fmla="*/ 1168400 w 1768475"/>
              <a:gd name="connsiteY16" fmla="*/ 2559050 h 2832100"/>
              <a:gd name="connsiteX17" fmla="*/ 1130300 w 1768475"/>
              <a:gd name="connsiteY17" fmla="*/ 2536825 h 2832100"/>
              <a:gd name="connsiteX18" fmla="*/ 1095375 w 1768475"/>
              <a:gd name="connsiteY18" fmla="*/ 2540000 h 2832100"/>
              <a:gd name="connsiteX19" fmla="*/ 1079500 w 1768475"/>
              <a:gd name="connsiteY19" fmla="*/ 2517775 h 2832100"/>
              <a:gd name="connsiteX20" fmla="*/ 1035050 w 1768475"/>
              <a:gd name="connsiteY20" fmla="*/ 2505075 h 2832100"/>
              <a:gd name="connsiteX21" fmla="*/ 1009650 w 1768475"/>
              <a:gd name="connsiteY21" fmla="*/ 2511425 h 2832100"/>
              <a:gd name="connsiteX22" fmla="*/ 962025 w 1768475"/>
              <a:gd name="connsiteY22" fmla="*/ 2505075 h 2832100"/>
              <a:gd name="connsiteX23" fmla="*/ 917575 w 1768475"/>
              <a:gd name="connsiteY23" fmla="*/ 2520950 h 2832100"/>
              <a:gd name="connsiteX24" fmla="*/ 850900 w 1768475"/>
              <a:gd name="connsiteY24" fmla="*/ 2514600 h 2832100"/>
              <a:gd name="connsiteX25" fmla="*/ 850900 w 1768475"/>
              <a:gd name="connsiteY25" fmla="*/ 2514600 h 2832100"/>
              <a:gd name="connsiteX26" fmla="*/ 796925 w 1768475"/>
              <a:gd name="connsiteY26" fmla="*/ 2520950 h 2832100"/>
              <a:gd name="connsiteX27" fmla="*/ 809625 w 1768475"/>
              <a:gd name="connsiteY27" fmla="*/ 2495550 h 2832100"/>
              <a:gd name="connsiteX28" fmla="*/ 787400 w 1768475"/>
              <a:gd name="connsiteY28" fmla="*/ 2486025 h 2832100"/>
              <a:gd name="connsiteX29" fmla="*/ 806450 w 1768475"/>
              <a:gd name="connsiteY29" fmla="*/ 2425700 h 2832100"/>
              <a:gd name="connsiteX30" fmla="*/ 781050 w 1768475"/>
              <a:gd name="connsiteY30" fmla="*/ 2371725 h 2832100"/>
              <a:gd name="connsiteX31" fmla="*/ 736600 w 1768475"/>
              <a:gd name="connsiteY31" fmla="*/ 2330450 h 2832100"/>
              <a:gd name="connsiteX32" fmla="*/ 692150 w 1768475"/>
              <a:gd name="connsiteY32" fmla="*/ 2308225 h 2832100"/>
              <a:gd name="connsiteX33" fmla="*/ 647700 w 1768475"/>
              <a:gd name="connsiteY33" fmla="*/ 2371725 h 2832100"/>
              <a:gd name="connsiteX34" fmla="*/ 590550 w 1768475"/>
              <a:gd name="connsiteY34" fmla="*/ 2428875 h 2832100"/>
              <a:gd name="connsiteX35" fmla="*/ 552450 w 1768475"/>
              <a:gd name="connsiteY35" fmla="*/ 2438400 h 2832100"/>
              <a:gd name="connsiteX36" fmla="*/ 508000 w 1768475"/>
              <a:gd name="connsiteY36" fmla="*/ 2416175 h 2832100"/>
              <a:gd name="connsiteX37" fmla="*/ 463550 w 1768475"/>
              <a:gd name="connsiteY37" fmla="*/ 2419350 h 2832100"/>
              <a:gd name="connsiteX38" fmla="*/ 406400 w 1768475"/>
              <a:gd name="connsiteY38" fmla="*/ 2397125 h 2832100"/>
              <a:gd name="connsiteX39" fmla="*/ 365125 w 1768475"/>
              <a:gd name="connsiteY39" fmla="*/ 2403475 h 2832100"/>
              <a:gd name="connsiteX40" fmla="*/ 323850 w 1768475"/>
              <a:gd name="connsiteY40" fmla="*/ 2374900 h 2832100"/>
              <a:gd name="connsiteX41" fmla="*/ 301625 w 1768475"/>
              <a:gd name="connsiteY41" fmla="*/ 2333625 h 2832100"/>
              <a:gd name="connsiteX42" fmla="*/ 250825 w 1768475"/>
              <a:gd name="connsiteY42" fmla="*/ 2305050 h 2832100"/>
              <a:gd name="connsiteX43" fmla="*/ 212725 w 1768475"/>
              <a:gd name="connsiteY43" fmla="*/ 2273300 h 2832100"/>
              <a:gd name="connsiteX44" fmla="*/ 190500 w 1768475"/>
              <a:gd name="connsiteY44" fmla="*/ 2276475 h 2832100"/>
              <a:gd name="connsiteX45" fmla="*/ 171450 w 1768475"/>
              <a:gd name="connsiteY45" fmla="*/ 2247900 h 2832100"/>
              <a:gd name="connsiteX46" fmla="*/ 114300 w 1768475"/>
              <a:gd name="connsiteY46" fmla="*/ 2228850 h 2832100"/>
              <a:gd name="connsiteX47" fmla="*/ 66675 w 1768475"/>
              <a:gd name="connsiteY47" fmla="*/ 2241550 h 2832100"/>
              <a:gd name="connsiteX48" fmla="*/ 0 w 1768475"/>
              <a:gd name="connsiteY48" fmla="*/ 2206625 h 2832100"/>
              <a:gd name="connsiteX49" fmla="*/ 19050 w 1768475"/>
              <a:gd name="connsiteY49" fmla="*/ 2165350 h 2832100"/>
              <a:gd name="connsiteX50" fmla="*/ 19050 w 1768475"/>
              <a:gd name="connsiteY50" fmla="*/ 2127250 h 2832100"/>
              <a:gd name="connsiteX51" fmla="*/ 57150 w 1768475"/>
              <a:gd name="connsiteY51" fmla="*/ 2092325 h 2832100"/>
              <a:gd name="connsiteX52" fmla="*/ 47625 w 1768475"/>
              <a:gd name="connsiteY52" fmla="*/ 2025650 h 2832100"/>
              <a:gd name="connsiteX53" fmla="*/ 82550 w 1768475"/>
              <a:gd name="connsiteY53" fmla="*/ 2006600 h 2832100"/>
              <a:gd name="connsiteX54" fmla="*/ 155575 w 1768475"/>
              <a:gd name="connsiteY54" fmla="*/ 1990725 h 2832100"/>
              <a:gd name="connsiteX55" fmla="*/ 209550 w 1768475"/>
              <a:gd name="connsiteY55" fmla="*/ 1958975 h 2832100"/>
              <a:gd name="connsiteX56" fmla="*/ 247650 w 1768475"/>
              <a:gd name="connsiteY56" fmla="*/ 1974850 h 2832100"/>
              <a:gd name="connsiteX57" fmla="*/ 269875 w 1768475"/>
              <a:gd name="connsiteY57" fmla="*/ 1946275 h 2832100"/>
              <a:gd name="connsiteX58" fmla="*/ 349250 w 1768475"/>
              <a:gd name="connsiteY58" fmla="*/ 1949450 h 2832100"/>
              <a:gd name="connsiteX59" fmla="*/ 330200 w 1768475"/>
              <a:gd name="connsiteY59" fmla="*/ 1908175 h 2832100"/>
              <a:gd name="connsiteX60" fmla="*/ 361950 w 1768475"/>
              <a:gd name="connsiteY60" fmla="*/ 1879600 h 2832100"/>
              <a:gd name="connsiteX61" fmla="*/ 438150 w 1768475"/>
              <a:gd name="connsiteY61" fmla="*/ 1866900 h 2832100"/>
              <a:gd name="connsiteX62" fmla="*/ 466725 w 1768475"/>
              <a:gd name="connsiteY62" fmla="*/ 1803400 h 2832100"/>
              <a:gd name="connsiteX63" fmla="*/ 539750 w 1768475"/>
              <a:gd name="connsiteY63" fmla="*/ 1787525 h 2832100"/>
              <a:gd name="connsiteX64" fmla="*/ 596900 w 1768475"/>
              <a:gd name="connsiteY64" fmla="*/ 1730375 h 2832100"/>
              <a:gd name="connsiteX65" fmla="*/ 635000 w 1768475"/>
              <a:gd name="connsiteY65" fmla="*/ 1663700 h 2832100"/>
              <a:gd name="connsiteX66" fmla="*/ 660400 w 1768475"/>
              <a:gd name="connsiteY66" fmla="*/ 1609725 h 2832100"/>
              <a:gd name="connsiteX67" fmla="*/ 701675 w 1768475"/>
              <a:gd name="connsiteY67" fmla="*/ 1587500 h 2832100"/>
              <a:gd name="connsiteX68" fmla="*/ 717550 w 1768475"/>
              <a:gd name="connsiteY68" fmla="*/ 1543050 h 2832100"/>
              <a:gd name="connsiteX69" fmla="*/ 762000 w 1768475"/>
              <a:gd name="connsiteY69" fmla="*/ 1511300 h 2832100"/>
              <a:gd name="connsiteX70" fmla="*/ 825500 w 1768475"/>
              <a:gd name="connsiteY70" fmla="*/ 1454150 h 2832100"/>
              <a:gd name="connsiteX71" fmla="*/ 860425 w 1768475"/>
              <a:gd name="connsiteY71" fmla="*/ 1438275 h 2832100"/>
              <a:gd name="connsiteX72" fmla="*/ 873125 w 1768475"/>
              <a:gd name="connsiteY72" fmla="*/ 1374775 h 2832100"/>
              <a:gd name="connsiteX73" fmla="*/ 854075 w 1768475"/>
              <a:gd name="connsiteY73" fmla="*/ 1333500 h 2832100"/>
              <a:gd name="connsiteX74" fmla="*/ 879475 w 1768475"/>
              <a:gd name="connsiteY74" fmla="*/ 1308100 h 2832100"/>
              <a:gd name="connsiteX75" fmla="*/ 908050 w 1768475"/>
              <a:gd name="connsiteY75" fmla="*/ 1260475 h 2832100"/>
              <a:gd name="connsiteX76" fmla="*/ 936625 w 1768475"/>
              <a:gd name="connsiteY76" fmla="*/ 1270000 h 2832100"/>
              <a:gd name="connsiteX77" fmla="*/ 1009650 w 1768475"/>
              <a:gd name="connsiteY77" fmla="*/ 1228725 h 2832100"/>
              <a:gd name="connsiteX78" fmla="*/ 1025525 w 1768475"/>
              <a:gd name="connsiteY78" fmla="*/ 1171575 h 2832100"/>
              <a:gd name="connsiteX79" fmla="*/ 1038225 w 1768475"/>
              <a:gd name="connsiteY79" fmla="*/ 1114425 h 2832100"/>
              <a:gd name="connsiteX80" fmla="*/ 1073150 w 1768475"/>
              <a:gd name="connsiteY80" fmla="*/ 1050925 h 2832100"/>
              <a:gd name="connsiteX81" fmla="*/ 1139825 w 1768475"/>
              <a:gd name="connsiteY81" fmla="*/ 1012825 h 2832100"/>
              <a:gd name="connsiteX82" fmla="*/ 1177925 w 1768475"/>
              <a:gd name="connsiteY82" fmla="*/ 996950 h 2832100"/>
              <a:gd name="connsiteX83" fmla="*/ 1193800 w 1768475"/>
              <a:gd name="connsiteY83" fmla="*/ 958850 h 2832100"/>
              <a:gd name="connsiteX84" fmla="*/ 1203325 w 1768475"/>
              <a:gd name="connsiteY84" fmla="*/ 920750 h 2832100"/>
              <a:gd name="connsiteX85" fmla="*/ 1254125 w 1768475"/>
              <a:gd name="connsiteY85" fmla="*/ 889000 h 2832100"/>
              <a:gd name="connsiteX86" fmla="*/ 1250950 w 1768475"/>
              <a:gd name="connsiteY86" fmla="*/ 844550 h 2832100"/>
              <a:gd name="connsiteX87" fmla="*/ 1292225 w 1768475"/>
              <a:gd name="connsiteY87" fmla="*/ 790575 h 2832100"/>
              <a:gd name="connsiteX88" fmla="*/ 1320800 w 1768475"/>
              <a:gd name="connsiteY88" fmla="*/ 739775 h 2832100"/>
              <a:gd name="connsiteX89" fmla="*/ 1292225 w 1768475"/>
              <a:gd name="connsiteY89" fmla="*/ 673100 h 2832100"/>
              <a:gd name="connsiteX90" fmla="*/ 1270000 w 1768475"/>
              <a:gd name="connsiteY90" fmla="*/ 625475 h 2832100"/>
              <a:gd name="connsiteX91" fmla="*/ 1295400 w 1768475"/>
              <a:gd name="connsiteY91" fmla="*/ 568325 h 2832100"/>
              <a:gd name="connsiteX92" fmla="*/ 1285875 w 1768475"/>
              <a:gd name="connsiteY92" fmla="*/ 511175 h 2832100"/>
              <a:gd name="connsiteX93" fmla="*/ 1298575 w 1768475"/>
              <a:gd name="connsiteY93" fmla="*/ 444500 h 2832100"/>
              <a:gd name="connsiteX94" fmla="*/ 1330325 w 1768475"/>
              <a:gd name="connsiteY94" fmla="*/ 368300 h 2832100"/>
              <a:gd name="connsiteX95" fmla="*/ 1371600 w 1768475"/>
              <a:gd name="connsiteY95" fmla="*/ 330200 h 2832100"/>
              <a:gd name="connsiteX96" fmla="*/ 1473200 w 1768475"/>
              <a:gd name="connsiteY96" fmla="*/ 295275 h 2832100"/>
              <a:gd name="connsiteX97" fmla="*/ 1504950 w 1768475"/>
              <a:gd name="connsiteY97" fmla="*/ 225425 h 2832100"/>
              <a:gd name="connsiteX98" fmla="*/ 1546225 w 1768475"/>
              <a:gd name="connsiteY98" fmla="*/ 184150 h 2832100"/>
              <a:gd name="connsiteX99" fmla="*/ 1565275 w 1768475"/>
              <a:gd name="connsiteY99" fmla="*/ 127000 h 2832100"/>
              <a:gd name="connsiteX100" fmla="*/ 1612900 w 1768475"/>
              <a:gd name="connsiteY100" fmla="*/ 47625 h 2832100"/>
              <a:gd name="connsiteX101" fmla="*/ 1651000 w 1768475"/>
              <a:gd name="connsiteY101" fmla="*/ 47625 h 2832100"/>
              <a:gd name="connsiteX102" fmla="*/ 1666875 w 1768475"/>
              <a:gd name="connsiteY102" fmla="*/ 0 h 2832100"/>
              <a:gd name="connsiteX0" fmla="*/ 1768475 w 1768475"/>
              <a:gd name="connsiteY0" fmla="*/ 2784475 h 2784475"/>
              <a:gd name="connsiteX1" fmla="*/ 1752600 w 1768475"/>
              <a:gd name="connsiteY1" fmla="*/ 2727325 h 2784475"/>
              <a:gd name="connsiteX2" fmla="*/ 1720850 w 1768475"/>
              <a:gd name="connsiteY2" fmla="*/ 2682875 h 2784475"/>
              <a:gd name="connsiteX3" fmla="*/ 1682750 w 1768475"/>
              <a:gd name="connsiteY3" fmla="*/ 2670175 h 2784475"/>
              <a:gd name="connsiteX4" fmla="*/ 1628775 w 1768475"/>
              <a:gd name="connsiteY4" fmla="*/ 2673350 h 2784475"/>
              <a:gd name="connsiteX5" fmla="*/ 1587500 w 1768475"/>
              <a:gd name="connsiteY5" fmla="*/ 2670175 h 2784475"/>
              <a:gd name="connsiteX6" fmla="*/ 1552575 w 1768475"/>
              <a:gd name="connsiteY6" fmla="*/ 2651125 h 2784475"/>
              <a:gd name="connsiteX7" fmla="*/ 1524000 w 1768475"/>
              <a:gd name="connsiteY7" fmla="*/ 2663825 h 2784475"/>
              <a:gd name="connsiteX8" fmla="*/ 1473200 w 1768475"/>
              <a:gd name="connsiteY8" fmla="*/ 2651125 h 2784475"/>
              <a:gd name="connsiteX9" fmla="*/ 1438275 w 1768475"/>
              <a:gd name="connsiteY9" fmla="*/ 2638425 h 2784475"/>
              <a:gd name="connsiteX10" fmla="*/ 1422400 w 1768475"/>
              <a:gd name="connsiteY10" fmla="*/ 2632075 h 2784475"/>
              <a:gd name="connsiteX11" fmla="*/ 1362075 w 1768475"/>
              <a:gd name="connsiteY11" fmla="*/ 2638425 h 2784475"/>
              <a:gd name="connsiteX12" fmla="*/ 1308100 w 1768475"/>
              <a:gd name="connsiteY12" fmla="*/ 2593975 h 2784475"/>
              <a:gd name="connsiteX13" fmla="*/ 1276350 w 1768475"/>
              <a:gd name="connsiteY13" fmla="*/ 2571750 h 2784475"/>
              <a:gd name="connsiteX14" fmla="*/ 1241425 w 1768475"/>
              <a:gd name="connsiteY14" fmla="*/ 2559050 h 2784475"/>
              <a:gd name="connsiteX15" fmla="*/ 1216025 w 1768475"/>
              <a:gd name="connsiteY15" fmla="*/ 2524125 h 2784475"/>
              <a:gd name="connsiteX16" fmla="*/ 1168400 w 1768475"/>
              <a:gd name="connsiteY16" fmla="*/ 2511425 h 2784475"/>
              <a:gd name="connsiteX17" fmla="*/ 1130300 w 1768475"/>
              <a:gd name="connsiteY17" fmla="*/ 2489200 h 2784475"/>
              <a:gd name="connsiteX18" fmla="*/ 1095375 w 1768475"/>
              <a:gd name="connsiteY18" fmla="*/ 2492375 h 2784475"/>
              <a:gd name="connsiteX19" fmla="*/ 1079500 w 1768475"/>
              <a:gd name="connsiteY19" fmla="*/ 2470150 h 2784475"/>
              <a:gd name="connsiteX20" fmla="*/ 1035050 w 1768475"/>
              <a:gd name="connsiteY20" fmla="*/ 2457450 h 2784475"/>
              <a:gd name="connsiteX21" fmla="*/ 1009650 w 1768475"/>
              <a:gd name="connsiteY21" fmla="*/ 2463800 h 2784475"/>
              <a:gd name="connsiteX22" fmla="*/ 962025 w 1768475"/>
              <a:gd name="connsiteY22" fmla="*/ 2457450 h 2784475"/>
              <a:gd name="connsiteX23" fmla="*/ 917575 w 1768475"/>
              <a:gd name="connsiteY23" fmla="*/ 2473325 h 2784475"/>
              <a:gd name="connsiteX24" fmla="*/ 850900 w 1768475"/>
              <a:gd name="connsiteY24" fmla="*/ 2466975 h 2784475"/>
              <a:gd name="connsiteX25" fmla="*/ 850900 w 1768475"/>
              <a:gd name="connsiteY25" fmla="*/ 2466975 h 2784475"/>
              <a:gd name="connsiteX26" fmla="*/ 796925 w 1768475"/>
              <a:gd name="connsiteY26" fmla="*/ 2473325 h 2784475"/>
              <a:gd name="connsiteX27" fmla="*/ 809625 w 1768475"/>
              <a:gd name="connsiteY27" fmla="*/ 2447925 h 2784475"/>
              <a:gd name="connsiteX28" fmla="*/ 787400 w 1768475"/>
              <a:gd name="connsiteY28" fmla="*/ 2438400 h 2784475"/>
              <a:gd name="connsiteX29" fmla="*/ 806450 w 1768475"/>
              <a:gd name="connsiteY29" fmla="*/ 2378075 h 2784475"/>
              <a:gd name="connsiteX30" fmla="*/ 781050 w 1768475"/>
              <a:gd name="connsiteY30" fmla="*/ 2324100 h 2784475"/>
              <a:gd name="connsiteX31" fmla="*/ 736600 w 1768475"/>
              <a:gd name="connsiteY31" fmla="*/ 2282825 h 2784475"/>
              <a:gd name="connsiteX32" fmla="*/ 692150 w 1768475"/>
              <a:gd name="connsiteY32" fmla="*/ 2260600 h 2784475"/>
              <a:gd name="connsiteX33" fmla="*/ 647700 w 1768475"/>
              <a:gd name="connsiteY33" fmla="*/ 2324100 h 2784475"/>
              <a:gd name="connsiteX34" fmla="*/ 590550 w 1768475"/>
              <a:gd name="connsiteY34" fmla="*/ 2381250 h 2784475"/>
              <a:gd name="connsiteX35" fmla="*/ 552450 w 1768475"/>
              <a:gd name="connsiteY35" fmla="*/ 2390775 h 2784475"/>
              <a:gd name="connsiteX36" fmla="*/ 508000 w 1768475"/>
              <a:gd name="connsiteY36" fmla="*/ 2368550 h 2784475"/>
              <a:gd name="connsiteX37" fmla="*/ 463550 w 1768475"/>
              <a:gd name="connsiteY37" fmla="*/ 2371725 h 2784475"/>
              <a:gd name="connsiteX38" fmla="*/ 406400 w 1768475"/>
              <a:gd name="connsiteY38" fmla="*/ 2349500 h 2784475"/>
              <a:gd name="connsiteX39" fmla="*/ 365125 w 1768475"/>
              <a:gd name="connsiteY39" fmla="*/ 2355850 h 2784475"/>
              <a:gd name="connsiteX40" fmla="*/ 323850 w 1768475"/>
              <a:gd name="connsiteY40" fmla="*/ 2327275 h 2784475"/>
              <a:gd name="connsiteX41" fmla="*/ 301625 w 1768475"/>
              <a:gd name="connsiteY41" fmla="*/ 2286000 h 2784475"/>
              <a:gd name="connsiteX42" fmla="*/ 250825 w 1768475"/>
              <a:gd name="connsiteY42" fmla="*/ 2257425 h 2784475"/>
              <a:gd name="connsiteX43" fmla="*/ 212725 w 1768475"/>
              <a:gd name="connsiteY43" fmla="*/ 2225675 h 2784475"/>
              <a:gd name="connsiteX44" fmla="*/ 190500 w 1768475"/>
              <a:gd name="connsiteY44" fmla="*/ 2228850 h 2784475"/>
              <a:gd name="connsiteX45" fmla="*/ 171450 w 1768475"/>
              <a:gd name="connsiteY45" fmla="*/ 2200275 h 2784475"/>
              <a:gd name="connsiteX46" fmla="*/ 114300 w 1768475"/>
              <a:gd name="connsiteY46" fmla="*/ 2181225 h 2784475"/>
              <a:gd name="connsiteX47" fmla="*/ 66675 w 1768475"/>
              <a:gd name="connsiteY47" fmla="*/ 2193925 h 2784475"/>
              <a:gd name="connsiteX48" fmla="*/ 0 w 1768475"/>
              <a:gd name="connsiteY48" fmla="*/ 2159000 h 2784475"/>
              <a:gd name="connsiteX49" fmla="*/ 19050 w 1768475"/>
              <a:gd name="connsiteY49" fmla="*/ 2117725 h 2784475"/>
              <a:gd name="connsiteX50" fmla="*/ 19050 w 1768475"/>
              <a:gd name="connsiteY50" fmla="*/ 2079625 h 2784475"/>
              <a:gd name="connsiteX51" fmla="*/ 57150 w 1768475"/>
              <a:gd name="connsiteY51" fmla="*/ 2044700 h 2784475"/>
              <a:gd name="connsiteX52" fmla="*/ 47625 w 1768475"/>
              <a:gd name="connsiteY52" fmla="*/ 1978025 h 2784475"/>
              <a:gd name="connsiteX53" fmla="*/ 82550 w 1768475"/>
              <a:gd name="connsiteY53" fmla="*/ 1958975 h 2784475"/>
              <a:gd name="connsiteX54" fmla="*/ 155575 w 1768475"/>
              <a:gd name="connsiteY54" fmla="*/ 1943100 h 2784475"/>
              <a:gd name="connsiteX55" fmla="*/ 209550 w 1768475"/>
              <a:gd name="connsiteY55" fmla="*/ 1911350 h 2784475"/>
              <a:gd name="connsiteX56" fmla="*/ 247650 w 1768475"/>
              <a:gd name="connsiteY56" fmla="*/ 1927225 h 2784475"/>
              <a:gd name="connsiteX57" fmla="*/ 269875 w 1768475"/>
              <a:gd name="connsiteY57" fmla="*/ 1898650 h 2784475"/>
              <a:gd name="connsiteX58" fmla="*/ 349250 w 1768475"/>
              <a:gd name="connsiteY58" fmla="*/ 1901825 h 2784475"/>
              <a:gd name="connsiteX59" fmla="*/ 330200 w 1768475"/>
              <a:gd name="connsiteY59" fmla="*/ 1860550 h 2784475"/>
              <a:gd name="connsiteX60" fmla="*/ 361950 w 1768475"/>
              <a:gd name="connsiteY60" fmla="*/ 1831975 h 2784475"/>
              <a:gd name="connsiteX61" fmla="*/ 438150 w 1768475"/>
              <a:gd name="connsiteY61" fmla="*/ 1819275 h 2784475"/>
              <a:gd name="connsiteX62" fmla="*/ 466725 w 1768475"/>
              <a:gd name="connsiteY62" fmla="*/ 1755775 h 2784475"/>
              <a:gd name="connsiteX63" fmla="*/ 539750 w 1768475"/>
              <a:gd name="connsiteY63" fmla="*/ 1739900 h 2784475"/>
              <a:gd name="connsiteX64" fmla="*/ 596900 w 1768475"/>
              <a:gd name="connsiteY64" fmla="*/ 1682750 h 2784475"/>
              <a:gd name="connsiteX65" fmla="*/ 635000 w 1768475"/>
              <a:gd name="connsiteY65" fmla="*/ 1616075 h 2784475"/>
              <a:gd name="connsiteX66" fmla="*/ 660400 w 1768475"/>
              <a:gd name="connsiteY66" fmla="*/ 1562100 h 2784475"/>
              <a:gd name="connsiteX67" fmla="*/ 701675 w 1768475"/>
              <a:gd name="connsiteY67" fmla="*/ 1539875 h 2784475"/>
              <a:gd name="connsiteX68" fmla="*/ 717550 w 1768475"/>
              <a:gd name="connsiteY68" fmla="*/ 1495425 h 2784475"/>
              <a:gd name="connsiteX69" fmla="*/ 762000 w 1768475"/>
              <a:gd name="connsiteY69" fmla="*/ 1463675 h 2784475"/>
              <a:gd name="connsiteX70" fmla="*/ 825500 w 1768475"/>
              <a:gd name="connsiteY70" fmla="*/ 1406525 h 2784475"/>
              <a:gd name="connsiteX71" fmla="*/ 860425 w 1768475"/>
              <a:gd name="connsiteY71" fmla="*/ 1390650 h 2784475"/>
              <a:gd name="connsiteX72" fmla="*/ 873125 w 1768475"/>
              <a:gd name="connsiteY72" fmla="*/ 1327150 h 2784475"/>
              <a:gd name="connsiteX73" fmla="*/ 854075 w 1768475"/>
              <a:gd name="connsiteY73" fmla="*/ 1285875 h 2784475"/>
              <a:gd name="connsiteX74" fmla="*/ 879475 w 1768475"/>
              <a:gd name="connsiteY74" fmla="*/ 1260475 h 2784475"/>
              <a:gd name="connsiteX75" fmla="*/ 908050 w 1768475"/>
              <a:gd name="connsiteY75" fmla="*/ 1212850 h 2784475"/>
              <a:gd name="connsiteX76" fmla="*/ 936625 w 1768475"/>
              <a:gd name="connsiteY76" fmla="*/ 1222375 h 2784475"/>
              <a:gd name="connsiteX77" fmla="*/ 1009650 w 1768475"/>
              <a:gd name="connsiteY77" fmla="*/ 1181100 h 2784475"/>
              <a:gd name="connsiteX78" fmla="*/ 1025525 w 1768475"/>
              <a:gd name="connsiteY78" fmla="*/ 1123950 h 2784475"/>
              <a:gd name="connsiteX79" fmla="*/ 1038225 w 1768475"/>
              <a:gd name="connsiteY79" fmla="*/ 1066800 h 2784475"/>
              <a:gd name="connsiteX80" fmla="*/ 1073150 w 1768475"/>
              <a:gd name="connsiteY80" fmla="*/ 1003300 h 2784475"/>
              <a:gd name="connsiteX81" fmla="*/ 1139825 w 1768475"/>
              <a:gd name="connsiteY81" fmla="*/ 965200 h 2784475"/>
              <a:gd name="connsiteX82" fmla="*/ 1177925 w 1768475"/>
              <a:gd name="connsiteY82" fmla="*/ 949325 h 2784475"/>
              <a:gd name="connsiteX83" fmla="*/ 1193800 w 1768475"/>
              <a:gd name="connsiteY83" fmla="*/ 911225 h 2784475"/>
              <a:gd name="connsiteX84" fmla="*/ 1203325 w 1768475"/>
              <a:gd name="connsiteY84" fmla="*/ 873125 h 2784475"/>
              <a:gd name="connsiteX85" fmla="*/ 1254125 w 1768475"/>
              <a:gd name="connsiteY85" fmla="*/ 841375 h 2784475"/>
              <a:gd name="connsiteX86" fmla="*/ 1250950 w 1768475"/>
              <a:gd name="connsiteY86" fmla="*/ 796925 h 2784475"/>
              <a:gd name="connsiteX87" fmla="*/ 1292225 w 1768475"/>
              <a:gd name="connsiteY87" fmla="*/ 742950 h 2784475"/>
              <a:gd name="connsiteX88" fmla="*/ 1320800 w 1768475"/>
              <a:gd name="connsiteY88" fmla="*/ 692150 h 2784475"/>
              <a:gd name="connsiteX89" fmla="*/ 1292225 w 1768475"/>
              <a:gd name="connsiteY89" fmla="*/ 625475 h 2784475"/>
              <a:gd name="connsiteX90" fmla="*/ 1270000 w 1768475"/>
              <a:gd name="connsiteY90" fmla="*/ 577850 h 2784475"/>
              <a:gd name="connsiteX91" fmla="*/ 1295400 w 1768475"/>
              <a:gd name="connsiteY91" fmla="*/ 520700 h 2784475"/>
              <a:gd name="connsiteX92" fmla="*/ 1285875 w 1768475"/>
              <a:gd name="connsiteY92" fmla="*/ 463550 h 2784475"/>
              <a:gd name="connsiteX93" fmla="*/ 1298575 w 1768475"/>
              <a:gd name="connsiteY93" fmla="*/ 396875 h 2784475"/>
              <a:gd name="connsiteX94" fmla="*/ 1330325 w 1768475"/>
              <a:gd name="connsiteY94" fmla="*/ 320675 h 2784475"/>
              <a:gd name="connsiteX95" fmla="*/ 1371600 w 1768475"/>
              <a:gd name="connsiteY95" fmla="*/ 282575 h 2784475"/>
              <a:gd name="connsiteX96" fmla="*/ 1473200 w 1768475"/>
              <a:gd name="connsiteY96" fmla="*/ 247650 h 2784475"/>
              <a:gd name="connsiteX97" fmla="*/ 1504950 w 1768475"/>
              <a:gd name="connsiteY97" fmla="*/ 177800 h 2784475"/>
              <a:gd name="connsiteX98" fmla="*/ 1546225 w 1768475"/>
              <a:gd name="connsiteY98" fmla="*/ 136525 h 2784475"/>
              <a:gd name="connsiteX99" fmla="*/ 1565275 w 1768475"/>
              <a:gd name="connsiteY99" fmla="*/ 79375 h 2784475"/>
              <a:gd name="connsiteX100" fmla="*/ 1612900 w 1768475"/>
              <a:gd name="connsiteY100" fmla="*/ 0 h 2784475"/>
              <a:gd name="connsiteX101" fmla="*/ 1651000 w 1768475"/>
              <a:gd name="connsiteY101" fmla="*/ 0 h 2784475"/>
              <a:gd name="connsiteX0" fmla="*/ 1768475 w 1768475"/>
              <a:gd name="connsiteY0" fmla="*/ 2787726 h 2787726"/>
              <a:gd name="connsiteX1" fmla="*/ 1752600 w 1768475"/>
              <a:gd name="connsiteY1" fmla="*/ 2730576 h 2787726"/>
              <a:gd name="connsiteX2" fmla="*/ 1720850 w 1768475"/>
              <a:gd name="connsiteY2" fmla="*/ 2686126 h 2787726"/>
              <a:gd name="connsiteX3" fmla="*/ 1682750 w 1768475"/>
              <a:gd name="connsiteY3" fmla="*/ 2673426 h 2787726"/>
              <a:gd name="connsiteX4" fmla="*/ 1628775 w 1768475"/>
              <a:gd name="connsiteY4" fmla="*/ 2676601 h 2787726"/>
              <a:gd name="connsiteX5" fmla="*/ 1587500 w 1768475"/>
              <a:gd name="connsiteY5" fmla="*/ 2673426 h 2787726"/>
              <a:gd name="connsiteX6" fmla="*/ 1552575 w 1768475"/>
              <a:gd name="connsiteY6" fmla="*/ 2654376 h 2787726"/>
              <a:gd name="connsiteX7" fmla="*/ 1524000 w 1768475"/>
              <a:gd name="connsiteY7" fmla="*/ 2667076 h 2787726"/>
              <a:gd name="connsiteX8" fmla="*/ 1473200 w 1768475"/>
              <a:gd name="connsiteY8" fmla="*/ 2654376 h 2787726"/>
              <a:gd name="connsiteX9" fmla="*/ 1438275 w 1768475"/>
              <a:gd name="connsiteY9" fmla="*/ 2641676 h 2787726"/>
              <a:gd name="connsiteX10" fmla="*/ 1422400 w 1768475"/>
              <a:gd name="connsiteY10" fmla="*/ 2635326 h 2787726"/>
              <a:gd name="connsiteX11" fmla="*/ 1362075 w 1768475"/>
              <a:gd name="connsiteY11" fmla="*/ 2641676 h 2787726"/>
              <a:gd name="connsiteX12" fmla="*/ 1308100 w 1768475"/>
              <a:gd name="connsiteY12" fmla="*/ 2597226 h 2787726"/>
              <a:gd name="connsiteX13" fmla="*/ 1276350 w 1768475"/>
              <a:gd name="connsiteY13" fmla="*/ 2575001 h 2787726"/>
              <a:gd name="connsiteX14" fmla="*/ 1241425 w 1768475"/>
              <a:gd name="connsiteY14" fmla="*/ 2562301 h 2787726"/>
              <a:gd name="connsiteX15" fmla="*/ 1216025 w 1768475"/>
              <a:gd name="connsiteY15" fmla="*/ 2527376 h 2787726"/>
              <a:gd name="connsiteX16" fmla="*/ 1168400 w 1768475"/>
              <a:gd name="connsiteY16" fmla="*/ 2514676 h 2787726"/>
              <a:gd name="connsiteX17" fmla="*/ 1130300 w 1768475"/>
              <a:gd name="connsiteY17" fmla="*/ 2492451 h 2787726"/>
              <a:gd name="connsiteX18" fmla="*/ 1095375 w 1768475"/>
              <a:gd name="connsiteY18" fmla="*/ 2495626 h 2787726"/>
              <a:gd name="connsiteX19" fmla="*/ 1079500 w 1768475"/>
              <a:gd name="connsiteY19" fmla="*/ 2473401 h 2787726"/>
              <a:gd name="connsiteX20" fmla="*/ 1035050 w 1768475"/>
              <a:gd name="connsiteY20" fmla="*/ 2460701 h 2787726"/>
              <a:gd name="connsiteX21" fmla="*/ 1009650 w 1768475"/>
              <a:gd name="connsiteY21" fmla="*/ 2467051 h 2787726"/>
              <a:gd name="connsiteX22" fmla="*/ 962025 w 1768475"/>
              <a:gd name="connsiteY22" fmla="*/ 2460701 h 2787726"/>
              <a:gd name="connsiteX23" fmla="*/ 917575 w 1768475"/>
              <a:gd name="connsiteY23" fmla="*/ 2476576 h 2787726"/>
              <a:gd name="connsiteX24" fmla="*/ 850900 w 1768475"/>
              <a:gd name="connsiteY24" fmla="*/ 2470226 h 2787726"/>
              <a:gd name="connsiteX25" fmla="*/ 850900 w 1768475"/>
              <a:gd name="connsiteY25" fmla="*/ 2470226 h 2787726"/>
              <a:gd name="connsiteX26" fmla="*/ 796925 w 1768475"/>
              <a:gd name="connsiteY26" fmla="*/ 2476576 h 2787726"/>
              <a:gd name="connsiteX27" fmla="*/ 809625 w 1768475"/>
              <a:gd name="connsiteY27" fmla="*/ 2451176 h 2787726"/>
              <a:gd name="connsiteX28" fmla="*/ 787400 w 1768475"/>
              <a:gd name="connsiteY28" fmla="*/ 2441651 h 2787726"/>
              <a:gd name="connsiteX29" fmla="*/ 806450 w 1768475"/>
              <a:gd name="connsiteY29" fmla="*/ 2381326 h 2787726"/>
              <a:gd name="connsiteX30" fmla="*/ 781050 w 1768475"/>
              <a:gd name="connsiteY30" fmla="*/ 2327351 h 2787726"/>
              <a:gd name="connsiteX31" fmla="*/ 736600 w 1768475"/>
              <a:gd name="connsiteY31" fmla="*/ 2286076 h 2787726"/>
              <a:gd name="connsiteX32" fmla="*/ 692150 w 1768475"/>
              <a:gd name="connsiteY32" fmla="*/ 2263851 h 2787726"/>
              <a:gd name="connsiteX33" fmla="*/ 647700 w 1768475"/>
              <a:gd name="connsiteY33" fmla="*/ 2327351 h 2787726"/>
              <a:gd name="connsiteX34" fmla="*/ 590550 w 1768475"/>
              <a:gd name="connsiteY34" fmla="*/ 2384501 h 2787726"/>
              <a:gd name="connsiteX35" fmla="*/ 552450 w 1768475"/>
              <a:gd name="connsiteY35" fmla="*/ 2394026 h 2787726"/>
              <a:gd name="connsiteX36" fmla="*/ 508000 w 1768475"/>
              <a:gd name="connsiteY36" fmla="*/ 2371801 h 2787726"/>
              <a:gd name="connsiteX37" fmla="*/ 463550 w 1768475"/>
              <a:gd name="connsiteY37" fmla="*/ 2374976 h 2787726"/>
              <a:gd name="connsiteX38" fmla="*/ 406400 w 1768475"/>
              <a:gd name="connsiteY38" fmla="*/ 2352751 h 2787726"/>
              <a:gd name="connsiteX39" fmla="*/ 365125 w 1768475"/>
              <a:gd name="connsiteY39" fmla="*/ 2359101 h 2787726"/>
              <a:gd name="connsiteX40" fmla="*/ 323850 w 1768475"/>
              <a:gd name="connsiteY40" fmla="*/ 2330526 h 2787726"/>
              <a:gd name="connsiteX41" fmla="*/ 301625 w 1768475"/>
              <a:gd name="connsiteY41" fmla="*/ 2289251 h 2787726"/>
              <a:gd name="connsiteX42" fmla="*/ 250825 w 1768475"/>
              <a:gd name="connsiteY42" fmla="*/ 2260676 h 2787726"/>
              <a:gd name="connsiteX43" fmla="*/ 212725 w 1768475"/>
              <a:gd name="connsiteY43" fmla="*/ 2228926 h 2787726"/>
              <a:gd name="connsiteX44" fmla="*/ 190500 w 1768475"/>
              <a:gd name="connsiteY44" fmla="*/ 2232101 h 2787726"/>
              <a:gd name="connsiteX45" fmla="*/ 171450 w 1768475"/>
              <a:gd name="connsiteY45" fmla="*/ 2203526 h 2787726"/>
              <a:gd name="connsiteX46" fmla="*/ 114300 w 1768475"/>
              <a:gd name="connsiteY46" fmla="*/ 2184476 h 2787726"/>
              <a:gd name="connsiteX47" fmla="*/ 66675 w 1768475"/>
              <a:gd name="connsiteY47" fmla="*/ 2197176 h 2787726"/>
              <a:gd name="connsiteX48" fmla="*/ 0 w 1768475"/>
              <a:gd name="connsiteY48" fmla="*/ 2162251 h 2787726"/>
              <a:gd name="connsiteX49" fmla="*/ 19050 w 1768475"/>
              <a:gd name="connsiteY49" fmla="*/ 2120976 h 2787726"/>
              <a:gd name="connsiteX50" fmla="*/ 19050 w 1768475"/>
              <a:gd name="connsiteY50" fmla="*/ 2082876 h 2787726"/>
              <a:gd name="connsiteX51" fmla="*/ 57150 w 1768475"/>
              <a:gd name="connsiteY51" fmla="*/ 2047951 h 2787726"/>
              <a:gd name="connsiteX52" fmla="*/ 47625 w 1768475"/>
              <a:gd name="connsiteY52" fmla="*/ 1981276 h 2787726"/>
              <a:gd name="connsiteX53" fmla="*/ 82550 w 1768475"/>
              <a:gd name="connsiteY53" fmla="*/ 1962226 h 2787726"/>
              <a:gd name="connsiteX54" fmla="*/ 155575 w 1768475"/>
              <a:gd name="connsiteY54" fmla="*/ 1946351 h 2787726"/>
              <a:gd name="connsiteX55" fmla="*/ 209550 w 1768475"/>
              <a:gd name="connsiteY55" fmla="*/ 1914601 h 2787726"/>
              <a:gd name="connsiteX56" fmla="*/ 247650 w 1768475"/>
              <a:gd name="connsiteY56" fmla="*/ 1930476 h 2787726"/>
              <a:gd name="connsiteX57" fmla="*/ 269875 w 1768475"/>
              <a:gd name="connsiteY57" fmla="*/ 1901901 h 2787726"/>
              <a:gd name="connsiteX58" fmla="*/ 349250 w 1768475"/>
              <a:gd name="connsiteY58" fmla="*/ 1905076 h 2787726"/>
              <a:gd name="connsiteX59" fmla="*/ 330200 w 1768475"/>
              <a:gd name="connsiteY59" fmla="*/ 1863801 h 2787726"/>
              <a:gd name="connsiteX60" fmla="*/ 361950 w 1768475"/>
              <a:gd name="connsiteY60" fmla="*/ 1835226 h 2787726"/>
              <a:gd name="connsiteX61" fmla="*/ 438150 w 1768475"/>
              <a:gd name="connsiteY61" fmla="*/ 1822526 h 2787726"/>
              <a:gd name="connsiteX62" fmla="*/ 466725 w 1768475"/>
              <a:gd name="connsiteY62" fmla="*/ 1759026 h 2787726"/>
              <a:gd name="connsiteX63" fmla="*/ 539750 w 1768475"/>
              <a:gd name="connsiteY63" fmla="*/ 1743151 h 2787726"/>
              <a:gd name="connsiteX64" fmla="*/ 596900 w 1768475"/>
              <a:gd name="connsiteY64" fmla="*/ 1686001 h 2787726"/>
              <a:gd name="connsiteX65" fmla="*/ 635000 w 1768475"/>
              <a:gd name="connsiteY65" fmla="*/ 1619326 h 2787726"/>
              <a:gd name="connsiteX66" fmla="*/ 660400 w 1768475"/>
              <a:gd name="connsiteY66" fmla="*/ 1565351 h 2787726"/>
              <a:gd name="connsiteX67" fmla="*/ 701675 w 1768475"/>
              <a:gd name="connsiteY67" fmla="*/ 1543126 h 2787726"/>
              <a:gd name="connsiteX68" fmla="*/ 717550 w 1768475"/>
              <a:gd name="connsiteY68" fmla="*/ 1498676 h 2787726"/>
              <a:gd name="connsiteX69" fmla="*/ 762000 w 1768475"/>
              <a:gd name="connsiteY69" fmla="*/ 1466926 h 2787726"/>
              <a:gd name="connsiteX70" fmla="*/ 825500 w 1768475"/>
              <a:gd name="connsiteY70" fmla="*/ 1409776 h 2787726"/>
              <a:gd name="connsiteX71" fmla="*/ 860425 w 1768475"/>
              <a:gd name="connsiteY71" fmla="*/ 1393901 h 2787726"/>
              <a:gd name="connsiteX72" fmla="*/ 873125 w 1768475"/>
              <a:gd name="connsiteY72" fmla="*/ 1330401 h 2787726"/>
              <a:gd name="connsiteX73" fmla="*/ 854075 w 1768475"/>
              <a:gd name="connsiteY73" fmla="*/ 1289126 h 2787726"/>
              <a:gd name="connsiteX74" fmla="*/ 879475 w 1768475"/>
              <a:gd name="connsiteY74" fmla="*/ 1263726 h 2787726"/>
              <a:gd name="connsiteX75" fmla="*/ 908050 w 1768475"/>
              <a:gd name="connsiteY75" fmla="*/ 1216101 h 2787726"/>
              <a:gd name="connsiteX76" fmla="*/ 936625 w 1768475"/>
              <a:gd name="connsiteY76" fmla="*/ 1225626 h 2787726"/>
              <a:gd name="connsiteX77" fmla="*/ 1009650 w 1768475"/>
              <a:gd name="connsiteY77" fmla="*/ 1184351 h 2787726"/>
              <a:gd name="connsiteX78" fmla="*/ 1025525 w 1768475"/>
              <a:gd name="connsiteY78" fmla="*/ 1127201 h 2787726"/>
              <a:gd name="connsiteX79" fmla="*/ 1038225 w 1768475"/>
              <a:gd name="connsiteY79" fmla="*/ 1070051 h 2787726"/>
              <a:gd name="connsiteX80" fmla="*/ 1073150 w 1768475"/>
              <a:gd name="connsiteY80" fmla="*/ 1006551 h 2787726"/>
              <a:gd name="connsiteX81" fmla="*/ 1139825 w 1768475"/>
              <a:gd name="connsiteY81" fmla="*/ 968451 h 2787726"/>
              <a:gd name="connsiteX82" fmla="*/ 1177925 w 1768475"/>
              <a:gd name="connsiteY82" fmla="*/ 952576 h 2787726"/>
              <a:gd name="connsiteX83" fmla="*/ 1193800 w 1768475"/>
              <a:gd name="connsiteY83" fmla="*/ 914476 h 2787726"/>
              <a:gd name="connsiteX84" fmla="*/ 1203325 w 1768475"/>
              <a:gd name="connsiteY84" fmla="*/ 876376 h 2787726"/>
              <a:gd name="connsiteX85" fmla="*/ 1254125 w 1768475"/>
              <a:gd name="connsiteY85" fmla="*/ 844626 h 2787726"/>
              <a:gd name="connsiteX86" fmla="*/ 1250950 w 1768475"/>
              <a:gd name="connsiteY86" fmla="*/ 800176 h 2787726"/>
              <a:gd name="connsiteX87" fmla="*/ 1292225 w 1768475"/>
              <a:gd name="connsiteY87" fmla="*/ 746201 h 2787726"/>
              <a:gd name="connsiteX88" fmla="*/ 1320800 w 1768475"/>
              <a:gd name="connsiteY88" fmla="*/ 695401 h 2787726"/>
              <a:gd name="connsiteX89" fmla="*/ 1292225 w 1768475"/>
              <a:gd name="connsiteY89" fmla="*/ 628726 h 2787726"/>
              <a:gd name="connsiteX90" fmla="*/ 1270000 w 1768475"/>
              <a:gd name="connsiteY90" fmla="*/ 581101 h 2787726"/>
              <a:gd name="connsiteX91" fmla="*/ 1295400 w 1768475"/>
              <a:gd name="connsiteY91" fmla="*/ 523951 h 2787726"/>
              <a:gd name="connsiteX92" fmla="*/ 1285875 w 1768475"/>
              <a:gd name="connsiteY92" fmla="*/ 466801 h 2787726"/>
              <a:gd name="connsiteX93" fmla="*/ 1298575 w 1768475"/>
              <a:gd name="connsiteY93" fmla="*/ 400126 h 2787726"/>
              <a:gd name="connsiteX94" fmla="*/ 1330325 w 1768475"/>
              <a:gd name="connsiteY94" fmla="*/ 323926 h 2787726"/>
              <a:gd name="connsiteX95" fmla="*/ 1371600 w 1768475"/>
              <a:gd name="connsiteY95" fmla="*/ 285826 h 2787726"/>
              <a:gd name="connsiteX96" fmla="*/ 1473200 w 1768475"/>
              <a:gd name="connsiteY96" fmla="*/ 250901 h 2787726"/>
              <a:gd name="connsiteX97" fmla="*/ 1504950 w 1768475"/>
              <a:gd name="connsiteY97" fmla="*/ 181051 h 2787726"/>
              <a:gd name="connsiteX98" fmla="*/ 1546225 w 1768475"/>
              <a:gd name="connsiteY98" fmla="*/ 139776 h 2787726"/>
              <a:gd name="connsiteX99" fmla="*/ 1565275 w 1768475"/>
              <a:gd name="connsiteY99" fmla="*/ 82626 h 2787726"/>
              <a:gd name="connsiteX100" fmla="*/ 1612900 w 1768475"/>
              <a:gd name="connsiteY100" fmla="*/ 3251 h 2787726"/>
              <a:gd name="connsiteX101" fmla="*/ 1651000 w 1768475"/>
              <a:gd name="connsiteY101" fmla="*/ 3251 h 2787726"/>
              <a:gd name="connsiteX102" fmla="*/ 1650427 w 1768475"/>
              <a:gd name="connsiteY102" fmla="*/ 0 h 2787726"/>
              <a:gd name="connsiteX0" fmla="*/ 1768475 w 1768475"/>
              <a:gd name="connsiteY0" fmla="*/ 2784475 h 2784475"/>
              <a:gd name="connsiteX1" fmla="*/ 1752600 w 1768475"/>
              <a:gd name="connsiteY1" fmla="*/ 2727325 h 2784475"/>
              <a:gd name="connsiteX2" fmla="*/ 1720850 w 1768475"/>
              <a:gd name="connsiteY2" fmla="*/ 2682875 h 2784475"/>
              <a:gd name="connsiteX3" fmla="*/ 1682750 w 1768475"/>
              <a:gd name="connsiteY3" fmla="*/ 2670175 h 2784475"/>
              <a:gd name="connsiteX4" fmla="*/ 1628775 w 1768475"/>
              <a:gd name="connsiteY4" fmla="*/ 2673350 h 2784475"/>
              <a:gd name="connsiteX5" fmla="*/ 1587500 w 1768475"/>
              <a:gd name="connsiteY5" fmla="*/ 2670175 h 2784475"/>
              <a:gd name="connsiteX6" fmla="*/ 1552575 w 1768475"/>
              <a:gd name="connsiteY6" fmla="*/ 2651125 h 2784475"/>
              <a:gd name="connsiteX7" fmla="*/ 1524000 w 1768475"/>
              <a:gd name="connsiteY7" fmla="*/ 2663825 h 2784475"/>
              <a:gd name="connsiteX8" fmla="*/ 1473200 w 1768475"/>
              <a:gd name="connsiteY8" fmla="*/ 2651125 h 2784475"/>
              <a:gd name="connsiteX9" fmla="*/ 1438275 w 1768475"/>
              <a:gd name="connsiteY9" fmla="*/ 2638425 h 2784475"/>
              <a:gd name="connsiteX10" fmla="*/ 1422400 w 1768475"/>
              <a:gd name="connsiteY10" fmla="*/ 2632075 h 2784475"/>
              <a:gd name="connsiteX11" fmla="*/ 1362075 w 1768475"/>
              <a:gd name="connsiteY11" fmla="*/ 2638425 h 2784475"/>
              <a:gd name="connsiteX12" fmla="*/ 1308100 w 1768475"/>
              <a:gd name="connsiteY12" fmla="*/ 2593975 h 2784475"/>
              <a:gd name="connsiteX13" fmla="*/ 1276350 w 1768475"/>
              <a:gd name="connsiteY13" fmla="*/ 2571750 h 2784475"/>
              <a:gd name="connsiteX14" fmla="*/ 1241425 w 1768475"/>
              <a:gd name="connsiteY14" fmla="*/ 2559050 h 2784475"/>
              <a:gd name="connsiteX15" fmla="*/ 1216025 w 1768475"/>
              <a:gd name="connsiteY15" fmla="*/ 2524125 h 2784475"/>
              <a:gd name="connsiteX16" fmla="*/ 1168400 w 1768475"/>
              <a:gd name="connsiteY16" fmla="*/ 2511425 h 2784475"/>
              <a:gd name="connsiteX17" fmla="*/ 1130300 w 1768475"/>
              <a:gd name="connsiteY17" fmla="*/ 2489200 h 2784475"/>
              <a:gd name="connsiteX18" fmla="*/ 1095375 w 1768475"/>
              <a:gd name="connsiteY18" fmla="*/ 2492375 h 2784475"/>
              <a:gd name="connsiteX19" fmla="*/ 1079500 w 1768475"/>
              <a:gd name="connsiteY19" fmla="*/ 2470150 h 2784475"/>
              <a:gd name="connsiteX20" fmla="*/ 1035050 w 1768475"/>
              <a:gd name="connsiteY20" fmla="*/ 2457450 h 2784475"/>
              <a:gd name="connsiteX21" fmla="*/ 1009650 w 1768475"/>
              <a:gd name="connsiteY21" fmla="*/ 2463800 h 2784475"/>
              <a:gd name="connsiteX22" fmla="*/ 962025 w 1768475"/>
              <a:gd name="connsiteY22" fmla="*/ 2457450 h 2784475"/>
              <a:gd name="connsiteX23" fmla="*/ 917575 w 1768475"/>
              <a:gd name="connsiteY23" fmla="*/ 2473325 h 2784475"/>
              <a:gd name="connsiteX24" fmla="*/ 850900 w 1768475"/>
              <a:gd name="connsiteY24" fmla="*/ 2466975 h 2784475"/>
              <a:gd name="connsiteX25" fmla="*/ 850900 w 1768475"/>
              <a:gd name="connsiteY25" fmla="*/ 2466975 h 2784475"/>
              <a:gd name="connsiteX26" fmla="*/ 796925 w 1768475"/>
              <a:gd name="connsiteY26" fmla="*/ 2473325 h 2784475"/>
              <a:gd name="connsiteX27" fmla="*/ 809625 w 1768475"/>
              <a:gd name="connsiteY27" fmla="*/ 2447925 h 2784475"/>
              <a:gd name="connsiteX28" fmla="*/ 787400 w 1768475"/>
              <a:gd name="connsiteY28" fmla="*/ 2438400 h 2784475"/>
              <a:gd name="connsiteX29" fmla="*/ 806450 w 1768475"/>
              <a:gd name="connsiteY29" fmla="*/ 2378075 h 2784475"/>
              <a:gd name="connsiteX30" fmla="*/ 781050 w 1768475"/>
              <a:gd name="connsiteY30" fmla="*/ 2324100 h 2784475"/>
              <a:gd name="connsiteX31" fmla="*/ 736600 w 1768475"/>
              <a:gd name="connsiteY31" fmla="*/ 2282825 h 2784475"/>
              <a:gd name="connsiteX32" fmla="*/ 692150 w 1768475"/>
              <a:gd name="connsiteY32" fmla="*/ 2260600 h 2784475"/>
              <a:gd name="connsiteX33" fmla="*/ 647700 w 1768475"/>
              <a:gd name="connsiteY33" fmla="*/ 2324100 h 2784475"/>
              <a:gd name="connsiteX34" fmla="*/ 590550 w 1768475"/>
              <a:gd name="connsiteY34" fmla="*/ 2381250 h 2784475"/>
              <a:gd name="connsiteX35" fmla="*/ 552450 w 1768475"/>
              <a:gd name="connsiteY35" fmla="*/ 2390775 h 2784475"/>
              <a:gd name="connsiteX36" fmla="*/ 508000 w 1768475"/>
              <a:gd name="connsiteY36" fmla="*/ 2368550 h 2784475"/>
              <a:gd name="connsiteX37" fmla="*/ 463550 w 1768475"/>
              <a:gd name="connsiteY37" fmla="*/ 2371725 h 2784475"/>
              <a:gd name="connsiteX38" fmla="*/ 406400 w 1768475"/>
              <a:gd name="connsiteY38" fmla="*/ 2349500 h 2784475"/>
              <a:gd name="connsiteX39" fmla="*/ 365125 w 1768475"/>
              <a:gd name="connsiteY39" fmla="*/ 2355850 h 2784475"/>
              <a:gd name="connsiteX40" fmla="*/ 323850 w 1768475"/>
              <a:gd name="connsiteY40" fmla="*/ 2327275 h 2784475"/>
              <a:gd name="connsiteX41" fmla="*/ 301625 w 1768475"/>
              <a:gd name="connsiteY41" fmla="*/ 2286000 h 2784475"/>
              <a:gd name="connsiteX42" fmla="*/ 250825 w 1768475"/>
              <a:gd name="connsiteY42" fmla="*/ 2257425 h 2784475"/>
              <a:gd name="connsiteX43" fmla="*/ 212725 w 1768475"/>
              <a:gd name="connsiteY43" fmla="*/ 2225675 h 2784475"/>
              <a:gd name="connsiteX44" fmla="*/ 190500 w 1768475"/>
              <a:gd name="connsiteY44" fmla="*/ 2228850 h 2784475"/>
              <a:gd name="connsiteX45" fmla="*/ 171450 w 1768475"/>
              <a:gd name="connsiteY45" fmla="*/ 2200275 h 2784475"/>
              <a:gd name="connsiteX46" fmla="*/ 114300 w 1768475"/>
              <a:gd name="connsiteY46" fmla="*/ 2181225 h 2784475"/>
              <a:gd name="connsiteX47" fmla="*/ 66675 w 1768475"/>
              <a:gd name="connsiteY47" fmla="*/ 2193925 h 2784475"/>
              <a:gd name="connsiteX48" fmla="*/ 0 w 1768475"/>
              <a:gd name="connsiteY48" fmla="*/ 2159000 h 2784475"/>
              <a:gd name="connsiteX49" fmla="*/ 19050 w 1768475"/>
              <a:gd name="connsiteY49" fmla="*/ 2117725 h 2784475"/>
              <a:gd name="connsiteX50" fmla="*/ 19050 w 1768475"/>
              <a:gd name="connsiteY50" fmla="*/ 2079625 h 2784475"/>
              <a:gd name="connsiteX51" fmla="*/ 57150 w 1768475"/>
              <a:gd name="connsiteY51" fmla="*/ 2044700 h 2784475"/>
              <a:gd name="connsiteX52" fmla="*/ 47625 w 1768475"/>
              <a:gd name="connsiteY52" fmla="*/ 1978025 h 2784475"/>
              <a:gd name="connsiteX53" fmla="*/ 82550 w 1768475"/>
              <a:gd name="connsiteY53" fmla="*/ 1958975 h 2784475"/>
              <a:gd name="connsiteX54" fmla="*/ 155575 w 1768475"/>
              <a:gd name="connsiteY54" fmla="*/ 1943100 h 2784475"/>
              <a:gd name="connsiteX55" fmla="*/ 209550 w 1768475"/>
              <a:gd name="connsiteY55" fmla="*/ 1911350 h 2784475"/>
              <a:gd name="connsiteX56" fmla="*/ 247650 w 1768475"/>
              <a:gd name="connsiteY56" fmla="*/ 1927225 h 2784475"/>
              <a:gd name="connsiteX57" fmla="*/ 269875 w 1768475"/>
              <a:gd name="connsiteY57" fmla="*/ 1898650 h 2784475"/>
              <a:gd name="connsiteX58" fmla="*/ 349250 w 1768475"/>
              <a:gd name="connsiteY58" fmla="*/ 1901825 h 2784475"/>
              <a:gd name="connsiteX59" fmla="*/ 330200 w 1768475"/>
              <a:gd name="connsiteY59" fmla="*/ 1860550 h 2784475"/>
              <a:gd name="connsiteX60" fmla="*/ 361950 w 1768475"/>
              <a:gd name="connsiteY60" fmla="*/ 1831975 h 2784475"/>
              <a:gd name="connsiteX61" fmla="*/ 438150 w 1768475"/>
              <a:gd name="connsiteY61" fmla="*/ 1819275 h 2784475"/>
              <a:gd name="connsiteX62" fmla="*/ 466725 w 1768475"/>
              <a:gd name="connsiteY62" fmla="*/ 1755775 h 2784475"/>
              <a:gd name="connsiteX63" fmla="*/ 539750 w 1768475"/>
              <a:gd name="connsiteY63" fmla="*/ 1739900 h 2784475"/>
              <a:gd name="connsiteX64" fmla="*/ 596900 w 1768475"/>
              <a:gd name="connsiteY64" fmla="*/ 1682750 h 2784475"/>
              <a:gd name="connsiteX65" fmla="*/ 635000 w 1768475"/>
              <a:gd name="connsiteY65" fmla="*/ 1616075 h 2784475"/>
              <a:gd name="connsiteX66" fmla="*/ 660400 w 1768475"/>
              <a:gd name="connsiteY66" fmla="*/ 1562100 h 2784475"/>
              <a:gd name="connsiteX67" fmla="*/ 701675 w 1768475"/>
              <a:gd name="connsiteY67" fmla="*/ 1539875 h 2784475"/>
              <a:gd name="connsiteX68" fmla="*/ 717550 w 1768475"/>
              <a:gd name="connsiteY68" fmla="*/ 1495425 h 2784475"/>
              <a:gd name="connsiteX69" fmla="*/ 762000 w 1768475"/>
              <a:gd name="connsiteY69" fmla="*/ 1463675 h 2784475"/>
              <a:gd name="connsiteX70" fmla="*/ 825500 w 1768475"/>
              <a:gd name="connsiteY70" fmla="*/ 1406525 h 2784475"/>
              <a:gd name="connsiteX71" fmla="*/ 860425 w 1768475"/>
              <a:gd name="connsiteY71" fmla="*/ 1390650 h 2784475"/>
              <a:gd name="connsiteX72" fmla="*/ 873125 w 1768475"/>
              <a:gd name="connsiteY72" fmla="*/ 1327150 h 2784475"/>
              <a:gd name="connsiteX73" fmla="*/ 854075 w 1768475"/>
              <a:gd name="connsiteY73" fmla="*/ 1285875 h 2784475"/>
              <a:gd name="connsiteX74" fmla="*/ 879475 w 1768475"/>
              <a:gd name="connsiteY74" fmla="*/ 1260475 h 2784475"/>
              <a:gd name="connsiteX75" fmla="*/ 908050 w 1768475"/>
              <a:gd name="connsiteY75" fmla="*/ 1212850 h 2784475"/>
              <a:gd name="connsiteX76" fmla="*/ 936625 w 1768475"/>
              <a:gd name="connsiteY76" fmla="*/ 1222375 h 2784475"/>
              <a:gd name="connsiteX77" fmla="*/ 1009650 w 1768475"/>
              <a:gd name="connsiteY77" fmla="*/ 1181100 h 2784475"/>
              <a:gd name="connsiteX78" fmla="*/ 1025525 w 1768475"/>
              <a:gd name="connsiteY78" fmla="*/ 1123950 h 2784475"/>
              <a:gd name="connsiteX79" fmla="*/ 1038225 w 1768475"/>
              <a:gd name="connsiteY79" fmla="*/ 1066800 h 2784475"/>
              <a:gd name="connsiteX80" fmla="*/ 1073150 w 1768475"/>
              <a:gd name="connsiteY80" fmla="*/ 1003300 h 2784475"/>
              <a:gd name="connsiteX81" fmla="*/ 1139825 w 1768475"/>
              <a:gd name="connsiteY81" fmla="*/ 965200 h 2784475"/>
              <a:gd name="connsiteX82" fmla="*/ 1177925 w 1768475"/>
              <a:gd name="connsiteY82" fmla="*/ 949325 h 2784475"/>
              <a:gd name="connsiteX83" fmla="*/ 1193800 w 1768475"/>
              <a:gd name="connsiteY83" fmla="*/ 911225 h 2784475"/>
              <a:gd name="connsiteX84" fmla="*/ 1203325 w 1768475"/>
              <a:gd name="connsiteY84" fmla="*/ 873125 h 2784475"/>
              <a:gd name="connsiteX85" fmla="*/ 1254125 w 1768475"/>
              <a:gd name="connsiteY85" fmla="*/ 841375 h 2784475"/>
              <a:gd name="connsiteX86" fmla="*/ 1250950 w 1768475"/>
              <a:gd name="connsiteY86" fmla="*/ 796925 h 2784475"/>
              <a:gd name="connsiteX87" fmla="*/ 1292225 w 1768475"/>
              <a:gd name="connsiteY87" fmla="*/ 742950 h 2784475"/>
              <a:gd name="connsiteX88" fmla="*/ 1320800 w 1768475"/>
              <a:gd name="connsiteY88" fmla="*/ 692150 h 2784475"/>
              <a:gd name="connsiteX89" fmla="*/ 1292225 w 1768475"/>
              <a:gd name="connsiteY89" fmla="*/ 625475 h 2784475"/>
              <a:gd name="connsiteX90" fmla="*/ 1270000 w 1768475"/>
              <a:gd name="connsiteY90" fmla="*/ 577850 h 2784475"/>
              <a:gd name="connsiteX91" fmla="*/ 1295400 w 1768475"/>
              <a:gd name="connsiteY91" fmla="*/ 520700 h 2784475"/>
              <a:gd name="connsiteX92" fmla="*/ 1285875 w 1768475"/>
              <a:gd name="connsiteY92" fmla="*/ 463550 h 2784475"/>
              <a:gd name="connsiteX93" fmla="*/ 1298575 w 1768475"/>
              <a:gd name="connsiteY93" fmla="*/ 396875 h 2784475"/>
              <a:gd name="connsiteX94" fmla="*/ 1330325 w 1768475"/>
              <a:gd name="connsiteY94" fmla="*/ 320675 h 2784475"/>
              <a:gd name="connsiteX95" fmla="*/ 1371600 w 1768475"/>
              <a:gd name="connsiteY95" fmla="*/ 282575 h 2784475"/>
              <a:gd name="connsiteX96" fmla="*/ 1473200 w 1768475"/>
              <a:gd name="connsiteY96" fmla="*/ 247650 h 2784475"/>
              <a:gd name="connsiteX97" fmla="*/ 1504950 w 1768475"/>
              <a:gd name="connsiteY97" fmla="*/ 177800 h 2784475"/>
              <a:gd name="connsiteX98" fmla="*/ 1546225 w 1768475"/>
              <a:gd name="connsiteY98" fmla="*/ 136525 h 2784475"/>
              <a:gd name="connsiteX99" fmla="*/ 1565275 w 1768475"/>
              <a:gd name="connsiteY99" fmla="*/ 79375 h 2784475"/>
              <a:gd name="connsiteX100" fmla="*/ 1612900 w 1768475"/>
              <a:gd name="connsiteY100" fmla="*/ 0 h 2784475"/>
              <a:gd name="connsiteX101" fmla="*/ 1651000 w 1768475"/>
              <a:gd name="connsiteY101" fmla="*/ 0 h 2784475"/>
              <a:gd name="connsiteX0" fmla="*/ 1768475 w 1768475"/>
              <a:gd name="connsiteY0" fmla="*/ 2784475 h 2784475"/>
              <a:gd name="connsiteX1" fmla="*/ 1752600 w 1768475"/>
              <a:gd name="connsiteY1" fmla="*/ 2727325 h 2784475"/>
              <a:gd name="connsiteX2" fmla="*/ 1720850 w 1768475"/>
              <a:gd name="connsiteY2" fmla="*/ 2682875 h 2784475"/>
              <a:gd name="connsiteX3" fmla="*/ 1682750 w 1768475"/>
              <a:gd name="connsiteY3" fmla="*/ 2670175 h 2784475"/>
              <a:gd name="connsiteX4" fmla="*/ 1628775 w 1768475"/>
              <a:gd name="connsiteY4" fmla="*/ 2673350 h 2784475"/>
              <a:gd name="connsiteX5" fmla="*/ 1587500 w 1768475"/>
              <a:gd name="connsiteY5" fmla="*/ 2670175 h 2784475"/>
              <a:gd name="connsiteX6" fmla="*/ 1552575 w 1768475"/>
              <a:gd name="connsiteY6" fmla="*/ 2651125 h 2784475"/>
              <a:gd name="connsiteX7" fmla="*/ 1524000 w 1768475"/>
              <a:gd name="connsiteY7" fmla="*/ 2663825 h 2784475"/>
              <a:gd name="connsiteX8" fmla="*/ 1473200 w 1768475"/>
              <a:gd name="connsiteY8" fmla="*/ 2651125 h 2784475"/>
              <a:gd name="connsiteX9" fmla="*/ 1438275 w 1768475"/>
              <a:gd name="connsiteY9" fmla="*/ 2638425 h 2784475"/>
              <a:gd name="connsiteX10" fmla="*/ 1422400 w 1768475"/>
              <a:gd name="connsiteY10" fmla="*/ 2632075 h 2784475"/>
              <a:gd name="connsiteX11" fmla="*/ 1362075 w 1768475"/>
              <a:gd name="connsiteY11" fmla="*/ 2638425 h 2784475"/>
              <a:gd name="connsiteX12" fmla="*/ 1308100 w 1768475"/>
              <a:gd name="connsiteY12" fmla="*/ 2593975 h 2784475"/>
              <a:gd name="connsiteX13" fmla="*/ 1276350 w 1768475"/>
              <a:gd name="connsiteY13" fmla="*/ 2571750 h 2784475"/>
              <a:gd name="connsiteX14" fmla="*/ 1241425 w 1768475"/>
              <a:gd name="connsiteY14" fmla="*/ 2559050 h 2784475"/>
              <a:gd name="connsiteX15" fmla="*/ 1216025 w 1768475"/>
              <a:gd name="connsiteY15" fmla="*/ 2524125 h 2784475"/>
              <a:gd name="connsiteX16" fmla="*/ 1168400 w 1768475"/>
              <a:gd name="connsiteY16" fmla="*/ 2511425 h 2784475"/>
              <a:gd name="connsiteX17" fmla="*/ 1130300 w 1768475"/>
              <a:gd name="connsiteY17" fmla="*/ 2489200 h 2784475"/>
              <a:gd name="connsiteX18" fmla="*/ 1095375 w 1768475"/>
              <a:gd name="connsiteY18" fmla="*/ 2492375 h 2784475"/>
              <a:gd name="connsiteX19" fmla="*/ 1079500 w 1768475"/>
              <a:gd name="connsiteY19" fmla="*/ 2470150 h 2784475"/>
              <a:gd name="connsiteX20" fmla="*/ 1035050 w 1768475"/>
              <a:gd name="connsiteY20" fmla="*/ 2457450 h 2784475"/>
              <a:gd name="connsiteX21" fmla="*/ 1009650 w 1768475"/>
              <a:gd name="connsiteY21" fmla="*/ 2463800 h 2784475"/>
              <a:gd name="connsiteX22" fmla="*/ 962025 w 1768475"/>
              <a:gd name="connsiteY22" fmla="*/ 2457450 h 2784475"/>
              <a:gd name="connsiteX23" fmla="*/ 917575 w 1768475"/>
              <a:gd name="connsiteY23" fmla="*/ 2473325 h 2784475"/>
              <a:gd name="connsiteX24" fmla="*/ 850900 w 1768475"/>
              <a:gd name="connsiteY24" fmla="*/ 2466975 h 2784475"/>
              <a:gd name="connsiteX25" fmla="*/ 850900 w 1768475"/>
              <a:gd name="connsiteY25" fmla="*/ 2466975 h 2784475"/>
              <a:gd name="connsiteX26" fmla="*/ 796925 w 1768475"/>
              <a:gd name="connsiteY26" fmla="*/ 2473325 h 2784475"/>
              <a:gd name="connsiteX27" fmla="*/ 809625 w 1768475"/>
              <a:gd name="connsiteY27" fmla="*/ 2447925 h 2784475"/>
              <a:gd name="connsiteX28" fmla="*/ 787400 w 1768475"/>
              <a:gd name="connsiteY28" fmla="*/ 2438400 h 2784475"/>
              <a:gd name="connsiteX29" fmla="*/ 806450 w 1768475"/>
              <a:gd name="connsiteY29" fmla="*/ 2378075 h 2784475"/>
              <a:gd name="connsiteX30" fmla="*/ 781050 w 1768475"/>
              <a:gd name="connsiteY30" fmla="*/ 2324100 h 2784475"/>
              <a:gd name="connsiteX31" fmla="*/ 736600 w 1768475"/>
              <a:gd name="connsiteY31" fmla="*/ 2282825 h 2784475"/>
              <a:gd name="connsiteX32" fmla="*/ 692150 w 1768475"/>
              <a:gd name="connsiteY32" fmla="*/ 2260600 h 2784475"/>
              <a:gd name="connsiteX33" fmla="*/ 647700 w 1768475"/>
              <a:gd name="connsiteY33" fmla="*/ 2324100 h 2784475"/>
              <a:gd name="connsiteX34" fmla="*/ 590550 w 1768475"/>
              <a:gd name="connsiteY34" fmla="*/ 2381250 h 2784475"/>
              <a:gd name="connsiteX35" fmla="*/ 552450 w 1768475"/>
              <a:gd name="connsiteY35" fmla="*/ 2390775 h 2784475"/>
              <a:gd name="connsiteX36" fmla="*/ 508000 w 1768475"/>
              <a:gd name="connsiteY36" fmla="*/ 2368550 h 2784475"/>
              <a:gd name="connsiteX37" fmla="*/ 463550 w 1768475"/>
              <a:gd name="connsiteY37" fmla="*/ 2371725 h 2784475"/>
              <a:gd name="connsiteX38" fmla="*/ 406400 w 1768475"/>
              <a:gd name="connsiteY38" fmla="*/ 2349500 h 2784475"/>
              <a:gd name="connsiteX39" fmla="*/ 365125 w 1768475"/>
              <a:gd name="connsiteY39" fmla="*/ 2355850 h 2784475"/>
              <a:gd name="connsiteX40" fmla="*/ 323850 w 1768475"/>
              <a:gd name="connsiteY40" fmla="*/ 2327275 h 2784475"/>
              <a:gd name="connsiteX41" fmla="*/ 301625 w 1768475"/>
              <a:gd name="connsiteY41" fmla="*/ 2286000 h 2784475"/>
              <a:gd name="connsiteX42" fmla="*/ 250825 w 1768475"/>
              <a:gd name="connsiteY42" fmla="*/ 2257425 h 2784475"/>
              <a:gd name="connsiteX43" fmla="*/ 212725 w 1768475"/>
              <a:gd name="connsiteY43" fmla="*/ 2225675 h 2784475"/>
              <a:gd name="connsiteX44" fmla="*/ 190500 w 1768475"/>
              <a:gd name="connsiteY44" fmla="*/ 2228850 h 2784475"/>
              <a:gd name="connsiteX45" fmla="*/ 171450 w 1768475"/>
              <a:gd name="connsiteY45" fmla="*/ 2200275 h 2784475"/>
              <a:gd name="connsiteX46" fmla="*/ 114300 w 1768475"/>
              <a:gd name="connsiteY46" fmla="*/ 2181225 h 2784475"/>
              <a:gd name="connsiteX47" fmla="*/ 66675 w 1768475"/>
              <a:gd name="connsiteY47" fmla="*/ 2193925 h 2784475"/>
              <a:gd name="connsiteX48" fmla="*/ 0 w 1768475"/>
              <a:gd name="connsiteY48" fmla="*/ 2159000 h 2784475"/>
              <a:gd name="connsiteX49" fmla="*/ 19050 w 1768475"/>
              <a:gd name="connsiteY49" fmla="*/ 2117725 h 2784475"/>
              <a:gd name="connsiteX50" fmla="*/ 19050 w 1768475"/>
              <a:gd name="connsiteY50" fmla="*/ 2079625 h 2784475"/>
              <a:gd name="connsiteX51" fmla="*/ 57150 w 1768475"/>
              <a:gd name="connsiteY51" fmla="*/ 2044700 h 2784475"/>
              <a:gd name="connsiteX52" fmla="*/ 47625 w 1768475"/>
              <a:gd name="connsiteY52" fmla="*/ 1978025 h 2784475"/>
              <a:gd name="connsiteX53" fmla="*/ 82550 w 1768475"/>
              <a:gd name="connsiteY53" fmla="*/ 1958975 h 2784475"/>
              <a:gd name="connsiteX54" fmla="*/ 155575 w 1768475"/>
              <a:gd name="connsiteY54" fmla="*/ 1943100 h 2784475"/>
              <a:gd name="connsiteX55" fmla="*/ 209550 w 1768475"/>
              <a:gd name="connsiteY55" fmla="*/ 1911350 h 2784475"/>
              <a:gd name="connsiteX56" fmla="*/ 247650 w 1768475"/>
              <a:gd name="connsiteY56" fmla="*/ 1927225 h 2784475"/>
              <a:gd name="connsiteX57" fmla="*/ 269875 w 1768475"/>
              <a:gd name="connsiteY57" fmla="*/ 1898650 h 2784475"/>
              <a:gd name="connsiteX58" fmla="*/ 349250 w 1768475"/>
              <a:gd name="connsiteY58" fmla="*/ 1901825 h 2784475"/>
              <a:gd name="connsiteX59" fmla="*/ 330200 w 1768475"/>
              <a:gd name="connsiteY59" fmla="*/ 1860550 h 2784475"/>
              <a:gd name="connsiteX60" fmla="*/ 361950 w 1768475"/>
              <a:gd name="connsiteY60" fmla="*/ 1831975 h 2784475"/>
              <a:gd name="connsiteX61" fmla="*/ 438150 w 1768475"/>
              <a:gd name="connsiteY61" fmla="*/ 1819275 h 2784475"/>
              <a:gd name="connsiteX62" fmla="*/ 466725 w 1768475"/>
              <a:gd name="connsiteY62" fmla="*/ 1755775 h 2784475"/>
              <a:gd name="connsiteX63" fmla="*/ 539750 w 1768475"/>
              <a:gd name="connsiteY63" fmla="*/ 1739900 h 2784475"/>
              <a:gd name="connsiteX64" fmla="*/ 596900 w 1768475"/>
              <a:gd name="connsiteY64" fmla="*/ 1682750 h 2784475"/>
              <a:gd name="connsiteX65" fmla="*/ 635000 w 1768475"/>
              <a:gd name="connsiteY65" fmla="*/ 1616075 h 2784475"/>
              <a:gd name="connsiteX66" fmla="*/ 660400 w 1768475"/>
              <a:gd name="connsiteY66" fmla="*/ 1562100 h 2784475"/>
              <a:gd name="connsiteX67" fmla="*/ 701675 w 1768475"/>
              <a:gd name="connsiteY67" fmla="*/ 1539875 h 2784475"/>
              <a:gd name="connsiteX68" fmla="*/ 717550 w 1768475"/>
              <a:gd name="connsiteY68" fmla="*/ 1495425 h 2784475"/>
              <a:gd name="connsiteX69" fmla="*/ 762000 w 1768475"/>
              <a:gd name="connsiteY69" fmla="*/ 1463675 h 2784475"/>
              <a:gd name="connsiteX70" fmla="*/ 825500 w 1768475"/>
              <a:gd name="connsiteY70" fmla="*/ 1406525 h 2784475"/>
              <a:gd name="connsiteX71" fmla="*/ 860425 w 1768475"/>
              <a:gd name="connsiteY71" fmla="*/ 1390650 h 2784475"/>
              <a:gd name="connsiteX72" fmla="*/ 873125 w 1768475"/>
              <a:gd name="connsiteY72" fmla="*/ 1327150 h 2784475"/>
              <a:gd name="connsiteX73" fmla="*/ 854075 w 1768475"/>
              <a:gd name="connsiteY73" fmla="*/ 1285875 h 2784475"/>
              <a:gd name="connsiteX74" fmla="*/ 879475 w 1768475"/>
              <a:gd name="connsiteY74" fmla="*/ 1260475 h 2784475"/>
              <a:gd name="connsiteX75" fmla="*/ 908050 w 1768475"/>
              <a:gd name="connsiteY75" fmla="*/ 1212850 h 2784475"/>
              <a:gd name="connsiteX76" fmla="*/ 936625 w 1768475"/>
              <a:gd name="connsiteY76" fmla="*/ 1222375 h 2784475"/>
              <a:gd name="connsiteX77" fmla="*/ 1009650 w 1768475"/>
              <a:gd name="connsiteY77" fmla="*/ 1181100 h 2784475"/>
              <a:gd name="connsiteX78" fmla="*/ 1025525 w 1768475"/>
              <a:gd name="connsiteY78" fmla="*/ 1123950 h 2784475"/>
              <a:gd name="connsiteX79" fmla="*/ 1038225 w 1768475"/>
              <a:gd name="connsiteY79" fmla="*/ 1066800 h 2784475"/>
              <a:gd name="connsiteX80" fmla="*/ 1073150 w 1768475"/>
              <a:gd name="connsiteY80" fmla="*/ 1003300 h 2784475"/>
              <a:gd name="connsiteX81" fmla="*/ 1139825 w 1768475"/>
              <a:gd name="connsiteY81" fmla="*/ 965200 h 2784475"/>
              <a:gd name="connsiteX82" fmla="*/ 1177925 w 1768475"/>
              <a:gd name="connsiteY82" fmla="*/ 949325 h 2784475"/>
              <a:gd name="connsiteX83" fmla="*/ 1193800 w 1768475"/>
              <a:gd name="connsiteY83" fmla="*/ 911225 h 2784475"/>
              <a:gd name="connsiteX84" fmla="*/ 1203325 w 1768475"/>
              <a:gd name="connsiteY84" fmla="*/ 873125 h 2784475"/>
              <a:gd name="connsiteX85" fmla="*/ 1254125 w 1768475"/>
              <a:gd name="connsiteY85" fmla="*/ 841375 h 2784475"/>
              <a:gd name="connsiteX86" fmla="*/ 1250950 w 1768475"/>
              <a:gd name="connsiteY86" fmla="*/ 796925 h 2784475"/>
              <a:gd name="connsiteX87" fmla="*/ 1292225 w 1768475"/>
              <a:gd name="connsiteY87" fmla="*/ 742950 h 2784475"/>
              <a:gd name="connsiteX88" fmla="*/ 1320800 w 1768475"/>
              <a:gd name="connsiteY88" fmla="*/ 692150 h 2784475"/>
              <a:gd name="connsiteX89" fmla="*/ 1292225 w 1768475"/>
              <a:gd name="connsiteY89" fmla="*/ 625475 h 2784475"/>
              <a:gd name="connsiteX90" fmla="*/ 1270000 w 1768475"/>
              <a:gd name="connsiteY90" fmla="*/ 577850 h 2784475"/>
              <a:gd name="connsiteX91" fmla="*/ 1295400 w 1768475"/>
              <a:gd name="connsiteY91" fmla="*/ 520700 h 2784475"/>
              <a:gd name="connsiteX92" fmla="*/ 1285875 w 1768475"/>
              <a:gd name="connsiteY92" fmla="*/ 463550 h 2784475"/>
              <a:gd name="connsiteX93" fmla="*/ 1298575 w 1768475"/>
              <a:gd name="connsiteY93" fmla="*/ 396875 h 2784475"/>
              <a:gd name="connsiteX94" fmla="*/ 1330325 w 1768475"/>
              <a:gd name="connsiteY94" fmla="*/ 320675 h 2784475"/>
              <a:gd name="connsiteX95" fmla="*/ 1371600 w 1768475"/>
              <a:gd name="connsiteY95" fmla="*/ 282575 h 2784475"/>
              <a:gd name="connsiteX96" fmla="*/ 1473200 w 1768475"/>
              <a:gd name="connsiteY96" fmla="*/ 247650 h 2784475"/>
              <a:gd name="connsiteX97" fmla="*/ 1504950 w 1768475"/>
              <a:gd name="connsiteY97" fmla="*/ 177800 h 2784475"/>
              <a:gd name="connsiteX98" fmla="*/ 1546225 w 1768475"/>
              <a:gd name="connsiteY98" fmla="*/ 136525 h 2784475"/>
              <a:gd name="connsiteX99" fmla="*/ 1565275 w 1768475"/>
              <a:gd name="connsiteY99" fmla="*/ 79375 h 2784475"/>
              <a:gd name="connsiteX100" fmla="*/ 1612900 w 1768475"/>
              <a:gd name="connsiteY100" fmla="*/ 0 h 2784475"/>
              <a:gd name="connsiteX0" fmla="*/ 1768475 w 1768475"/>
              <a:gd name="connsiteY0" fmla="*/ 2784475 h 2784475"/>
              <a:gd name="connsiteX1" fmla="*/ 1752600 w 1768475"/>
              <a:gd name="connsiteY1" fmla="*/ 2727325 h 2784475"/>
              <a:gd name="connsiteX2" fmla="*/ 1720850 w 1768475"/>
              <a:gd name="connsiteY2" fmla="*/ 2682875 h 2784475"/>
              <a:gd name="connsiteX3" fmla="*/ 1682750 w 1768475"/>
              <a:gd name="connsiteY3" fmla="*/ 2670175 h 2784475"/>
              <a:gd name="connsiteX4" fmla="*/ 1628775 w 1768475"/>
              <a:gd name="connsiteY4" fmla="*/ 2673350 h 2784475"/>
              <a:gd name="connsiteX5" fmla="*/ 1587500 w 1768475"/>
              <a:gd name="connsiteY5" fmla="*/ 2670175 h 2784475"/>
              <a:gd name="connsiteX6" fmla="*/ 1552575 w 1768475"/>
              <a:gd name="connsiteY6" fmla="*/ 2651125 h 2784475"/>
              <a:gd name="connsiteX7" fmla="*/ 1524000 w 1768475"/>
              <a:gd name="connsiteY7" fmla="*/ 2663825 h 2784475"/>
              <a:gd name="connsiteX8" fmla="*/ 1473200 w 1768475"/>
              <a:gd name="connsiteY8" fmla="*/ 2651125 h 2784475"/>
              <a:gd name="connsiteX9" fmla="*/ 1438275 w 1768475"/>
              <a:gd name="connsiteY9" fmla="*/ 2638425 h 2784475"/>
              <a:gd name="connsiteX10" fmla="*/ 1422400 w 1768475"/>
              <a:gd name="connsiteY10" fmla="*/ 2632075 h 2784475"/>
              <a:gd name="connsiteX11" fmla="*/ 1362075 w 1768475"/>
              <a:gd name="connsiteY11" fmla="*/ 2638425 h 2784475"/>
              <a:gd name="connsiteX12" fmla="*/ 1308100 w 1768475"/>
              <a:gd name="connsiteY12" fmla="*/ 2593975 h 2784475"/>
              <a:gd name="connsiteX13" fmla="*/ 1276350 w 1768475"/>
              <a:gd name="connsiteY13" fmla="*/ 2571750 h 2784475"/>
              <a:gd name="connsiteX14" fmla="*/ 1241425 w 1768475"/>
              <a:gd name="connsiteY14" fmla="*/ 2559050 h 2784475"/>
              <a:gd name="connsiteX15" fmla="*/ 1216025 w 1768475"/>
              <a:gd name="connsiteY15" fmla="*/ 2524125 h 2784475"/>
              <a:gd name="connsiteX16" fmla="*/ 1168400 w 1768475"/>
              <a:gd name="connsiteY16" fmla="*/ 2511425 h 2784475"/>
              <a:gd name="connsiteX17" fmla="*/ 1130300 w 1768475"/>
              <a:gd name="connsiteY17" fmla="*/ 2489200 h 2784475"/>
              <a:gd name="connsiteX18" fmla="*/ 1095375 w 1768475"/>
              <a:gd name="connsiteY18" fmla="*/ 2492375 h 2784475"/>
              <a:gd name="connsiteX19" fmla="*/ 1079500 w 1768475"/>
              <a:gd name="connsiteY19" fmla="*/ 2470150 h 2784475"/>
              <a:gd name="connsiteX20" fmla="*/ 1035050 w 1768475"/>
              <a:gd name="connsiteY20" fmla="*/ 2457450 h 2784475"/>
              <a:gd name="connsiteX21" fmla="*/ 1009650 w 1768475"/>
              <a:gd name="connsiteY21" fmla="*/ 2463800 h 2784475"/>
              <a:gd name="connsiteX22" fmla="*/ 962025 w 1768475"/>
              <a:gd name="connsiteY22" fmla="*/ 2457450 h 2784475"/>
              <a:gd name="connsiteX23" fmla="*/ 917575 w 1768475"/>
              <a:gd name="connsiteY23" fmla="*/ 2473325 h 2784475"/>
              <a:gd name="connsiteX24" fmla="*/ 850900 w 1768475"/>
              <a:gd name="connsiteY24" fmla="*/ 2466975 h 2784475"/>
              <a:gd name="connsiteX25" fmla="*/ 850900 w 1768475"/>
              <a:gd name="connsiteY25" fmla="*/ 2466975 h 2784475"/>
              <a:gd name="connsiteX26" fmla="*/ 796925 w 1768475"/>
              <a:gd name="connsiteY26" fmla="*/ 2473325 h 2784475"/>
              <a:gd name="connsiteX27" fmla="*/ 809625 w 1768475"/>
              <a:gd name="connsiteY27" fmla="*/ 2447925 h 2784475"/>
              <a:gd name="connsiteX28" fmla="*/ 787400 w 1768475"/>
              <a:gd name="connsiteY28" fmla="*/ 2438400 h 2784475"/>
              <a:gd name="connsiteX29" fmla="*/ 806450 w 1768475"/>
              <a:gd name="connsiteY29" fmla="*/ 2378075 h 2784475"/>
              <a:gd name="connsiteX30" fmla="*/ 781050 w 1768475"/>
              <a:gd name="connsiteY30" fmla="*/ 2324100 h 2784475"/>
              <a:gd name="connsiteX31" fmla="*/ 736600 w 1768475"/>
              <a:gd name="connsiteY31" fmla="*/ 2282825 h 2784475"/>
              <a:gd name="connsiteX32" fmla="*/ 692150 w 1768475"/>
              <a:gd name="connsiteY32" fmla="*/ 2260600 h 2784475"/>
              <a:gd name="connsiteX33" fmla="*/ 647700 w 1768475"/>
              <a:gd name="connsiteY33" fmla="*/ 2324100 h 2784475"/>
              <a:gd name="connsiteX34" fmla="*/ 590550 w 1768475"/>
              <a:gd name="connsiteY34" fmla="*/ 2381250 h 2784475"/>
              <a:gd name="connsiteX35" fmla="*/ 552450 w 1768475"/>
              <a:gd name="connsiteY35" fmla="*/ 2390775 h 2784475"/>
              <a:gd name="connsiteX36" fmla="*/ 508000 w 1768475"/>
              <a:gd name="connsiteY36" fmla="*/ 2368550 h 2784475"/>
              <a:gd name="connsiteX37" fmla="*/ 463550 w 1768475"/>
              <a:gd name="connsiteY37" fmla="*/ 2371725 h 2784475"/>
              <a:gd name="connsiteX38" fmla="*/ 406400 w 1768475"/>
              <a:gd name="connsiteY38" fmla="*/ 2349500 h 2784475"/>
              <a:gd name="connsiteX39" fmla="*/ 365125 w 1768475"/>
              <a:gd name="connsiteY39" fmla="*/ 2355850 h 2784475"/>
              <a:gd name="connsiteX40" fmla="*/ 323850 w 1768475"/>
              <a:gd name="connsiteY40" fmla="*/ 2327275 h 2784475"/>
              <a:gd name="connsiteX41" fmla="*/ 301625 w 1768475"/>
              <a:gd name="connsiteY41" fmla="*/ 2286000 h 2784475"/>
              <a:gd name="connsiteX42" fmla="*/ 250825 w 1768475"/>
              <a:gd name="connsiteY42" fmla="*/ 2257425 h 2784475"/>
              <a:gd name="connsiteX43" fmla="*/ 212725 w 1768475"/>
              <a:gd name="connsiteY43" fmla="*/ 2225675 h 2784475"/>
              <a:gd name="connsiteX44" fmla="*/ 190500 w 1768475"/>
              <a:gd name="connsiteY44" fmla="*/ 2228850 h 2784475"/>
              <a:gd name="connsiteX45" fmla="*/ 171450 w 1768475"/>
              <a:gd name="connsiteY45" fmla="*/ 2200275 h 2784475"/>
              <a:gd name="connsiteX46" fmla="*/ 114300 w 1768475"/>
              <a:gd name="connsiteY46" fmla="*/ 2181225 h 2784475"/>
              <a:gd name="connsiteX47" fmla="*/ 66675 w 1768475"/>
              <a:gd name="connsiteY47" fmla="*/ 2193925 h 2784475"/>
              <a:gd name="connsiteX48" fmla="*/ 0 w 1768475"/>
              <a:gd name="connsiteY48" fmla="*/ 2159000 h 2784475"/>
              <a:gd name="connsiteX49" fmla="*/ 19050 w 1768475"/>
              <a:gd name="connsiteY49" fmla="*/ 2117725 h 2784475"/>
              <a:gd name="connsiteX50" fmla="*/ 19050 w 1768475"/>
              <a:gd name="connsiteY50" fmla="*/ 2079625 h 2784475"/>
              <a:gd name="connsiteX51" fmla="*/ 57150 w 1768475"/>
              <a:gd name="connsiteY51" fmla="*/ 2044700 h 2784475"/>
              <a:gd name="connsiteX52" fmla="*/ 47625 w 1768475"/>
              <a:gd name="connsiteY52" fmla="*/ 1978025 h 2784475"/>
              <a:gd name="connsiteX53" fmla="*/ 82550 w 1768475"/>
              <a:gd name="connsiteY53" fmla="*/ 1958975 h 2784475"/>
              <a:gd name="connsiteX54" fmla="*/ 155575 w 1768475"/>
              <a:gd name="connsiteY54" fmla="*/ 1943100 h 2784475"/>
              <a:gd name="connsiteX55" fmla="*/ 209550 w 1768475"/>
              <a:gd name="connsiteY55" fmla="*/ 1911350 h 2784475"/>
              <a:gd name="connsiteX56" fmla="*/ 247650 w 1768475"/>
              <a:gd name="connsiteY56" fmla="*/ 1927225 h 2784475"/>
              <a:gd name="connsiteX57" fmla="*/ 269875 w 1768475"/>
              <a:gd name="connsiteY57" fmla="*/ 1898650 h 2784475"/>
              <a:gd name="connsiteX58" fmla="*/ 349250 w 1768475"/>
              <a:gd name="connsiteY58" fmla="*/ 1901825 h 2784475"/>
              <a:gd name="connsiteX59" fmla="*/ 330200 w 1768475"/>
              <a:gd name="connsiteY59" fmla="*/ 1860550 h 2784475"/>
              <a:gd name="connsiteX60" fmla="*/ 361950 w 1768475"/>
              <a:gd name="connsiteY60" fmla="*/ 1831975 h 2784475"/>
              <a:gd name="connsiteX61" fmla="*/ 438150 w 1768475"/>
              <a:gd name="connsiteY61" fmla="*/ 1819275 h 2784475"/>
              <a:gd name="connsiteX62" fmla="*/ 466725 w 1768475"/>
              <a:gd name="connsiteY62" fmla="*/ 1755775 h 2784475"/>
              <a:gd name="connsiteX63" fmla="*/ 539750 w 1768475"/>
              <a:gd name="connsiteY63" fmla="*/ 1739900 h 2784475"/>
              <a:gd name="connsiteX64" fmla="*/ 596900 w 1768475"/>
              <a:gd name="connsiteY64" fmla="*/ 1682750 h 2784475"/>
              <a:gd name="connsiteX65" fmla="*/ 635000 w 1768475"/>
              <a:gd name="connsiteY65" fmla="*/ 1616075 h 2784475"/>
              <a:gd name="connsiteX66" fmla="*/ 660400 w 1768475"/>
              <a:gd name="connsiteY66" fmla="*/ 1562100 h 2784475"/>
              <a:gd name="connsiteX67" fmla="*/ 701675 w 1768475"/>
              <a:gd name="connsiteY67" fmla="*/ 1539875 h 2784475"/>
              <a:gd name="connsiteX68" fmla="*/ 717550 w 1768475"/>
              <a:gd name="connsiteY68" fmla="*/ 1495425 h 2784475"/>
              <a:gd name="connsiteX69" fmla="*/ 762000 w 1768475"/>
              <a:gd name="connsiteY69" fmla="*/ 1463675 h 2784475"/>
              <a:gd name="connsiteX70" fmla="*/ 825500 w 1768475"/>
              <a:gd name="connsiteY70" fmla="*/ 1406525 h 2784475"/>
              <a:gd name="connsiteX71" fmla="*/ 860425 w 1768475"/>
              <a:gd name="connsiteY71" fmla="*/ 1390650 h 2784475"/>
              <a:gd name="connsiteX72" fmla="*/ 873125 w 1768475"/>
              <a:gd name="connsiteY72" fmla="*/ 1327150 h 2784475"/>
              <a:gd name="connsiteX73" fmla="*/ 854075 w 1768475"/>
              <a:gd name="connsiteY73" fmla="*/ 1285875 h 2784475"/>
              <a:gd name="connsiteX74" fmla="*/ 879475 w 1768475"/>
              <a:gd name="connsiteY74" fmla="*/ 1260475 h 2784475"/>
              <a:gd name="connsiteX75" fmla="*/ 908050 w 1768475"/>
              <a:gd name="connsiteY75" fmla="*/ 1212850 h 2784475"/>
              <a:gd name="connsiteX76" fmla="*/ 936625 w 1768475"/>
              <a:gd name="connsiteY76" fmla="*/ 1222375 h 2784475"/>
              <a:gd name="connsiteX77" fmla="*/ 1009650 w 1768475"/>
              <a:gd name="connsiteY77" fmla="*/ 1181100 h 2784475"/>
              <a:gd name="connsiteX78" fmla="*/ 1025525 w 1768475"/>
              <a:gd name="connsiteY78" fmla="*/ 1123950 h 2784475"/>
              <a:gd name="connsiteX79" fmla="*/ 1038225 w 1768475"/>
              <a:gd name="connsiteY79" fmla="*/ 1066800 h 2784475"/>
              <a:gd name="connsiteX80" fmla="*/ 1073150 w 1768475"/>
              <a:gd name="connsiteY80" fmla="*/ 1003300 h 2784475"/>
              <a:gd name="connsiteX81" fmla="*/ 1139825 w 1768475"/>
              <a:gd name="connsiteY81" fmla="*/ 965200 h 2784475"/>
              <a:gd name="connsiteX82" fmla="*/ 1177925 w 1768475"/>
              <a:gd name="connsiteY82" fmla="*/ 949325 h 2784475"/>
              <a:gd name="connsiteX83" fmla="*/ 1193800 w 1768475"/>
              <a:gd name="connsiteY83" fmla="*/ 911225 h 2784475"/>
              <a:gd name="connsiteX84" fmla="*/ 1203325 w 1768475"/>
              <a:gd name="connsiteY84" fmla="*/ 873125 h 2784475"/>
              <a:gd name="connsiteX85" fmla="*/ 1254125 w 1768475"/>
              <a:gd name="connsiteY85" fmla="*/ 841375 h 2784475"/>
              <a:gd name="connsiteX86" fmla="*/ 1250950 w 1768475"/>
              <a:gd name="connsiteY86" fmla="*/ 796925 h 2784475"/>
              <a:gd name="connsiteX87" fmla="*/ 1292225 w 1768475"/>
              <a:gd name="connsiteY87" fmla="*/ 742950 h 2784475"/>
              <a:gd name="connsiteX88" fmla="*/ 1320800 w 1768475"/>
              <a:gd name="connsiteY88" fmla="*/ 692150 h 2784475"/>
              <a:gd name="connsiteX89" fmla="*/ 1292225 w 1768475"/>
              <a:gd name="connsiteY89" fmla="*/ 625475 h 2784475"/>
              <a:gd name="connsiteX90" fmla="*/ 1270000 w 1768475"/>
              <a:gd name="connsiteY90" fmla="*/ 577850 h 2784475"/>
              <a:gd name="connsiteX91" fmla="*/ 1295400 w 1768475"/>
              <a:gd name="connsiteY91" fmla="*/ 520700 h 2784475"/>
              <a:gd name="connsiteX92" fmla="*/ 1285875 w 1768475"/>
              <a:gd name="connsiteY92" fmla="*/ 463550 h 2784475"/>
              <a:gd name="connsiteX93" fmla="*/ 1298575 w 1768475"/>
              <a:gd name="connsiteY93" fmla="*/ 396875 h 2784475"/>
              <a:gd name="connsiteX94" fmla="*/ 1330325 w 1768475"/>
              <a:gd name="connsiteY94" fmla="*/ 320675 h 2784475"/>
              <a:gd name="connsiteX95" fmla="*/ 1371600 w 1768475"/>
              <a:gd name="connsiteY95" fmla="*/ 282575 h 2784475"/>
              <a:gd name="connsiteX96" fmla="*/ 1473200 w 1768475"/>
              <a:gd name="connsiteY96" fmla="*/ 247650 h 2784475"/>
              <a:gd name="connsiteX97" fmla="*/ 1504950 w 1768475"/>
              <a:gd name="connsiteY97" fmla="*/ 177800 h 2784475"/>
              <a:gd name="connsiteX98" fmla="*/ 1546225 w 1768475"/>
              <a:gd name="connsiteY98" fmla="*/ 136525 h 2784475"/>
              <a:gd name="connsiteX99" fmla="*/ 1565275 w 1768475"/>
              <a:gd name="connsiteY99" fmla="*/ 79375 h 2784475"/>
              <a:gd name="connsiteX100" fmla="*/ 1612900 w 1768475"/>
              <a:gd name="connsiteY100" fmla="*/ 0 h 2784475"/>
              <a:gd name="connsiteX0" fmla="*/ 1768475 w 1768475"/>
              <a:gd name="connsiteY0" fmla="*/ 2705100 h 2705100"/>
              <a:gd name="connsiteX1" fmla="*/ 1752600 w 1768475"/>
              <a:gd name="connsiteY1" fmla="*/ 2647950 h 2705100"/>
              <a:gd name="connsiteX2" fmla="*/ 1720850 w 1768475"/>
              <a:gd name="connsiteY2" fmla="*/ 2603500 h 2705100"/>
              <a:gd name="connsiteX3" fmla="*/ 1682750 w 1768475"/>
              <a:gd name="connsiteY3" fmla="*/ 2590800 h 2705100"/>
              <a:gd name="connsiteX4" fmla="*/ 1628775 w 1768475"/>
              <a:gd name="connsiteY4" fmla="*/ 2593975 h 2705100"/>
              <a:gd name="connsiteX5" fmla="*/ 1587500 w 1768475"/>
              <a:gd name="connsiteY5" fmla="*/ 2590800 h 2705100"/>
              <a:gd name="connsiteX6" fmla="*/ 1552575 w 1768475"/>
              <a:gd name="connsiteY6" fmla="*/ 2571750 h 2705100"/>
              <a:gd name="connsiteX7" fmla="*/ 1524000 w 1768475"/>
              <a:gd name="connsiteY7" fmla="*/ 2584450 h 2705100"/>
              <a:gd name="connsiteX8" fmla="*/ 1473200 w 1768475"/>
              <a:gd name="connsiteY8" fmla="*/ 2571750 h 2705100"/>
              <a:gd name="connsiteX9" fmla="*/ 1438275 w 1768475"/>
              <a:gd name="connsiteY9" fmla="*/ 2559050 h 2705100"/>
              <a:gd name="connsiteX10" fmla="*/ 1422400 w 1768475"/>
              <a:gd name="connsiteY10" fmla="*/ 2552700 h 2705100"/>
              <a:gd name="connsiteX11" fmla="*/ 1362075 w 1768475"/>
              <a:gd name="connsiteY11" fmla="*/ 2559050 h 2705100"/>
              <a:gd name="connsiteX12" fmla="*/ 1308100 w 1768475"/>
              <a:gd name="connsiteY12" fmla="*/ 2514600 h 2705100"/>
              <a:gd name="connsiteX13" fmla="*/ 1276350 w 1768475"/>
              <a:gd name="connsiteY13" fmla="*/ 2492375 h 2705100"/>
              <a:gd name="connsiteX14" fmla="*/ 1241425 w 1768475"/>
              <a:gd name="connsiteY14" fmla="*/ 2479675 h 2705100"/>
              <a:gd name="connsiteX15" fmla="*/ 1216025 w 1768475"/>
              <a:gd name="connsiteY15" fmla="*/ 2444750 h 2705100"/>
              <a:gd name="connsiteX16" fmla="*/ 1168400 w 1768475"/>
              <a:gd name="connsiteY16" fmla="*/ 2432050 h 2705100"/>
              <a:gd name="connsiteX17" fmla="*/ 1130300 w 1768475"/>
              <a:gd name="connsiteY17" fmla="*/ 2409825 h 2705100"/>
              <a:gd name="connsiteX18" fmla="*/ 1095375 w 1768475"/>
              <a:gd name="connsiteY18" fmla="*/ 2413000 h 2705100"/>
              <a:gd name="connsiteX19" fmla="*/ 1079500 w 1768475"/>
              <a:gd name="connsiteY19" fmla="*/ 2390775 h 2705100"/>
              <a:gd name="connsiteX20" fmla="*/ 1035050 w 1768475"/>
              <a:gd name="connsiteY20" fmla="*/ 2378075 h 2705100"/>
              <a:gd name="connsiteX21" fmla="*/ 1009650 w 1768475"/>
              <a:gd name="connsiteY21" fmla="*/ 2384425 h 2705100"/>
              <a:gd name="connsiteX22" fmla="*/ 962025 w 1768475"/>
              <a:gd name="connsiteY22" fmla="*/ 2378075 h 2705100"/>
              <a:gd name="connsiteX23" fmla="*/ 917575 w 1768475"/>
              <a:gd name="connsiteY23" fmla="*/ 2393950 h 2705100"/>
              <a:gd name="connsiteX24" fmla="*/ 850900 w 1768475"/>
              <a:gd name="connsiteY24" fmla="*/ 2387600 h 2705100"/>
              <a:gd name="connsiteX25" fmla="*/ 850900 w 1768475"/>
              <a:gd name="connsiteY25" fmla="*/ 2387600 h 2705100"/>
              <a:gd name="connsiteX26" fmla="*/ 796925 w 1768475"/>
              <a:gd name="connsiteY26" fmla="*/ 2393950 h 2705100"/>
              <a:gd name="connsiteX27" fmla="*/ 809625 w 1768475"/>
              <a:gd name="connsiteY27" fmla="*/ 2368550 h 2705100"/>
              <a:gd name="connsiteX28" fmla="*/ 787400 w 1768475"/>
              <a:gd name="connsiteY28" fmla="*/ 2359025 h 2705100"/>
              <a:gd name="connsiteX29" fmla="*/ 806450 w 1768475"/>
              <a:gd name="connsiteY29" fmla="*/ 2298700 h 2705100"/>
              <a:gd name="connsiteX30" fmla="*/ 781050 w 1768475"/>
              <a:gd name="connsiteY30" fmla="*/ 2244725 h 2705100"/>
              <a:gd name="connsiteX31" fmla="*/ 736600 w 1768475"/>
              <a:gd name="connsiteY31" fmla="*/ 2203450 h 2705100"/>
              <a:gd name="connsiteX32" fmla="*/ 692150 w 1768475"/>
              <a:gd name="connsiteY32" fmla="*/ 2181225 h 2705100"/>
              <a:gd name="connsiteX33" fmla="*/ 647700 w 1768475"/>
              <a:gd name="connsiteY33" fmla="*/ 2244725 h 2705100"/>
              <a:gd name="connsiteX34" fmla="*/ 590550 w 1768475"/>
              <a:gd name="connsiteY34" fmla="*/ 2301875 h 2705100"/>
              <a:gd name="connsiteX35" fmla="*/ 552450 w 1768475"/>
              <a:gd name="connsiteY35" fmla="*/ 2311400 h 2705100"/>
              <a:gd name="connsiteX36" fmla="*/ 508000 w 1768475"/>
              <a:gd name="connsiteY36" fmla="*/ 2289175 h 2705100"/>
              <a:gd name="connsiteX37" fmla="*/ 463550 w 1768475"/>
              <a:gd name="connsiteY37" fmla="*/ 2292350 h 2705100"/>
              <a:gd name="connsiteX38" fmla="*/ 406400 w 1768475"/>
              <a:gd name="connsiteY38" fmla="*/ 2270125 h 2705100"/>
              <a:gd name="connsiteX39" fmla="*/ 365125 w 1768475"/>
              <a:gd name="connsiteY39" fmla="*/ 2276475 h 2705100"/>
              <a:gd name="connsiteX40" fmla="*/ 323850 w 1768475"/>
              <a:gd name="connsiteY40" fmla="*/ 2247900 h 2705100"/>
              <a:gd name="connsiteX41" fmla="*/ 301625 w 1768475"/>
              <a:gd name="connsiteY41" fmla="*/ 2206625 h 2705100"/>
              <a:gd name="connsiteX42" fmla="*/ 250825 w 1768475"/>
              <a:gd name="connsiteY42" fmla="*/ 2178050 h 2705100"/>
              <a:gd name="connsiteX43" fmla="*/ 212725 w 1768475"/>
              <a:gd name="connsiteY43" fmla="*/ 2146300 h 2705100"/>
              <a:gd name="connsiteX44" fmla="*/ 190500 w 1768475"/>
              <a:gd name="connsiteY44" fmla="*/ 2149475 h 2705100"/>
              <a:gd name="connsiteX45" fmla="*/ 171450 w 1768475"/>
              <a:gd name="connsiteY45" fmla="*/ 2120900 h 2705100"/>
              <a:gd name="connsiteX46" fmla="*/ 114300 w 1768475"/>
              <a:gd name="connsiteY46" fmla="*/ 2101850 h 2705100"/>
              <a:gd name="connsiteX47" fmla="*/ 66675 w 1768475"/>
              <a:gd name="connsiteY47" fmla="*/ 2114550 h 2705100"/>
              <a:gd name="connsiteX48" fmla="*/ 0 w 1768475"/>
              <a:gd name="connsiteY48" fmla="*/ 2079625 h 2705100"/>
              <a:gd name="connsiteX49" fmla="*/ 19050 w 1768475"/>
              <a:gd name="connsiteY49" fmla="*/ 2038350 h 2705100"/>
              <a:gd name="connsiteX50" fmla="*/ 19050 w 1768475"/>
              <a:gd name="connsiteY50" fmla="*/ 2000250 h 2705100"/>
              <a:gd name="connsiteX51" fmla="*/ 57150 w 1768475"/>
              <a:gd name="connsiteY51" fmla="*/ 1965325 h 2705100"/>
              <a:gd name="connsiteX52" fmla="*/ 47625 w 1768475"/>
              <a:gd name="connsiteY52" fmla="*/ 1898650 h 2705100"/>
              <a:gd name="connsiteX53" fmla="*/ 82550 w 1768475"/>
              <a:gd name="connsiteY53" fmla="*/ 1879600 h 2705100"/>
              <a:gd name="connsiteX54" fmla="*/ 155575 w 1768475"/>
              <a:gd name="connsiteY54" fmla="*/ 1863725 h 2705100"/>
              <a:gd name="connsiteX55" fmla="*/ 209550 w 1768475"/>
              <a:gd name="connsiteY55" fmla="*/ 1831975 h 2705100"/>
              <a:gd name="connsiteX56" fmla="*/ 247650 w 1768475"/>
              <a:gd name="connsiteY56" fmla="*/ 1847850 h 2705100"/>
              <a:gd name="connsiteX57" fmla="*/ 269875 w 1768475"/>
              <a:gd name="connsiteY57" fmla="*/ 1819275 h 2705100"/>
              <a:gd name="connsiteX58" fmla="*/ 349250 w 1768475"/>
              <a:gd name="connsiteY58" fmla="*/ 1822450 h 2705100"/>
              <a:gd name="connsiteX59" fmla="*/ 330200 w 1768475"/>
              <a:gd name="connsiteY59" fmla="*/ 1781175 h 2705100"/>
              <a:gd name="connsiteX60" fmla="*/ 361950 w 1768475"/>
              <a:gd name="connsiteY60" fmla="*/ 1752600 h 2705100"/>
              <a:gd name="connsiteX61" fmla="*/ 438150 w 1768475"/>
              <a:gd name="connsiteY61" fmla="*/ 1739900 h 2705100"/>
              <a:gd name="connsiteX62" fmla="*/ 466725 w 1768475"/>
              <a:gd name="connsiteY62" fmla="*/ 1676400 h 2705100"/>
              <a:gd name="connsiteX63" fmla="*/ 539750 w 1768475"/>
              <a:gd name="connsiteY63" fmla="*/ 1660525 h 2705100"/>
              <a:gd name="connsiteX64" fmla="*/ 596900 w 1768475"/>
              <a:gd name="connsiteY64" fmla="*/ 1603375 h 2705100"/>
              <a:gd name="connsiteX65" fmla="*/ 635000 w 1768475"/>
              <a:gd name="connsiteY65" fmla="*/ 1536700 h 2705100"/>
              <a:gd name="connsiteX66" fmla="*/ 660400 w 1768475"/>
              <a:gd name="connsiteY66" fmla="*/ 1482725 h 2705100"/>
              <a:gd name="connsiteX67" fmla="*/ 701675 w 1768475"/>
              <a:gd name="connsiteY67" fmla="*/ 1460500 h 2705100"/>
              <a:gd name="connsiteX68" fmla="*/ 717550 w 1768475"/>
              <a:gd name="connsiteY68" fmla="*/ 1416050 h 2705100"/>
              <a:gd name="connsiteX69" fmla="*/ 762000 w 1768475"/>
              <a:gd name="connsiteY69" fmla="*/ 1384300 h 2705100"/>
              <a:gd name="connsiteX70" fmla="*/ 825500 w 1768475"/>
              <a:gd name="connsiteY70" fmla="*/ 1327150 h 2705100"/>
              <a:gd name="connsiteX71" fmla="*/ 860425 w 1768475"/>
              <a:gd name="connsiteY71" fmla="*/ 1311275 h 2705100"/>
              <a:gd name="connsiteX72" fmla="*/ 873125 w 1768475"/>
              <a:gd name="connsiteY72" fmla="*/ 1247775 h 2705100"/>
              <a:gd name="connsiteX73" fmla="*/ 854075 w 1768475"/>
              <a:gd name="connsiteY73" fmla="*/ 1206500 h 2705100"/>
              <a:gd name="connsiteX74" fmla="*/ 879475 w 1768475"/>
              <a:gd name="connsiteY74" fmla="*/ 1181100 h 2705100"/>
              <a:gd name="connsiteX75" fmla="*/ 908050 w 1768475"/>
              <a:gd name="connsiteY75" fmla="*/ 1133475 h 2705100"/>
              <a:gd name="connsiteX76" fmla="*/ 936625 w 1768475"/>
              <a:gd name="connsiteY76" fmla="*/ 1143000 h 2705100"/>
              <a:gd name="connsiteX77" fmla="*/ 1009650 w 1768475"/>
              <a:gd name="connsiteY77" fmla="*/ 1101725 h 2705100"/>
              <a:gd name="connsiteX78" fmla="*/ 1025525 w 1768475"/>
              <a:gd name="connsiteY78" fmla="*/ 1044575 h 2705100"/>
              <a:gd name="connsiteX79" fmla="*/ 1038225 w 1768475"/>
              <a:gd name="connsiteY79" fmla="*/ 987425 h 2705100"/>
              <a:gd name="connsiteX80" fmla="*/ 1073150 w 1768475"/>
              <a:gd name="connsiteY80" fmla="*/ 923925 h 2705100"/>
              <a:gd name="connsiteX81" fmla="*/ 1139825 w 1768475"/>
              <a:gd name="connsiteY81" fmla="*/ 885825 h 2705100"/>
              <a:gd name="connsiteX82" fmla="*/ 1177925 w 1768475"/>
              <a:gd name="connsiteY82" fmla="*/ 869950 h 2705100"/>
              <a:gd name="connsiteX83" fmla="*/ 1193800 w 1768475"/>
              <a:gd name="connsiteY83" fmla="*/ 831850 h 2705100"/>
              <a:gd name="connsiteX84" fmla="*/ 1203325 w 1768475"/>
              <a:gd name="connsiteY84" fmla="*/ 793750 h 2705100"/>
              <a:gd name="connsiteX85" fmla="*/ 1254125 w 1768475"/>
              <a:gd name="connsiteY85" fmla="*/ 762000 h 2705100"/>
              <a:gd name="connsiteX86" fmla="*/ 1250950 w 1768475"/>
              <a:gd name="connsiteY86" fmla="*/ 717550 h 2705100"/>
              <a:gd name="connsiteX87" fmla="*/ 1292225 w 1768475"/>
              <a:gd name="connsiteY87" fmla="*/ 663575 h 2705100"/>
              <a:gd name="connsiteX88" fmla="*/ 1320800 w 1768475"/>
              <a:gd name="connsiteY88" fmla="*/ 612775 h 2705100"/>
              <a:gd name="connsiteX89" fmla="*/ 1292225 w 1768475"/>
              <a:gd name="connsiteY89" fmla="*/ 546100 h 2705100"/>
              <a:gd name="connsiteX90" fmla="*/ 1270000 w 1768475"/>
              <a:gd name="connsiteY90" fmla="*/ 498475 h 2705100"/>
              <a:gd name="connsiteX91" fmla="*/ 1295400 w 1768475"/>
              <a:gd name="connsiteY91" fmla="*/ 441325 h 2705100"/>
              <a:gd name="connsiteX92" fmla="*/ 1285875 w 1768475"/>
              <a:gd name="connsiteY92" fmla="*/ 384175 h 2705100"/>
              <a:gd name="connsiteX93" fmla="*/ 1298575 w 1768475"/>
              <a:gd name="connsiteY93" fmla="*/ 317500 h 2705100"/>
              <a:gd name="connsiteX94" fmla="*/ 1330325 w 1768475"/>
              <a:gd name="connsiteY94" fmla="*/ 241300 h 2705100"/>
              <a:gd name="connsiteX95" fmla="*/ 1371600 w 1768475"/>
              <a:gd name="connsiteY95" fmla="*/ 203200 h 2705100"/>
              <a:gd name="connsiteX96" fmla="*/ 1473200 w 1768475"/>
              <a:gd name="connsiteY96" fmla="*/ 168275 h 2705100"/>
              <a:gd name="connsiteX97" fmla="*/ 1504950 w 1768475"/>
              <a:gd name="connsiteY97" fmla="*/ 98425 h 2705100"/>
              <a:gd name="connsiteX98" fmla="*/ 1546225 w 1768475"/>
              <a:gd name="connsiteY98" fmla="*/ 57150 h 2705100"/>
              <a:gd name="connsiteX99" fmla="*/ 1565275 w 1768475"/>
              <a:gd name="connsiteY99" fmla="*/ 0 h 2705100"/>
              <a:gd name="connsiteX0" fmla="*/ 1768475 w 1768475"/>
              <a:gd name="connsiteY0" fmla="*/ 2647950 h 2647950"/>
              <a:gd name="connsiteX1" fmla="*/ 1752600 w 1768475"/>
              <a:gd name="connsiteY1" fmla="*/ 2590800 h 2647950"/>
              <a:gd name="connsiteX2" fmla="*/ 1720850 w 1768475"/>
              <a:gd name="connsiteY2" fmla="*/ 2546350 h 2647950"/>
              <a:gd name="connsiteX3" fmla="*/ 1682750 w 1768475"/>
              <a:gd name="connsiteY3" fmla="*/ 2533650 h 2647950"/>
              <a:gd name="connsiteX4" fmla="*/ 1628775 w 1768475"/>
              <a:gd name="connsiteY4" fmla="*/ 2536825 h 2647950"/>
              <a:gd name="connsiteX5" fmla="*/ 1587500 w 1768475"/>
              <a:gd name="connsiteY5" fmla="*/ 2533650 h 2647950"/>
              <a:gd name="connsiteX6" fmla="*/ 1552575 w 1768475"/>
              <a:gd name="connsiteY6" fmla="*/ 2514600 h 2647950"/>
              <a:gd name="connsiteX7" fmla="*/ 1524000 w 1768475"/>
              <a:gd name="connsiteY7" fmla="*/ 2527300 h 2647950"/>
              <a:gd name="connsiteX8" fmla="*/ 1473200 w 1768475"/>
              <a:gd name="connsiteY8" fmla="*/ 2514600 h 2647950"/>
              <a:gd name="connsiteX9" fmla="*/ 1438275 w 1768475"/>
              <a:gd name="connsiteY9" fmla="*/ 2501900 h 2647950"/>
              <a:gd name="connsiteX10" fmla="*/ 1422400 w 1768475"/>
              <a:gd name="connsiteY10" fmla="*/ 2495550 h 2647950"/>
              <a:gd name="connsiteX11" fmla="*/ 1362075 w 1768475"/>
              <a:gd name="connsiteY11" fmla="*/ 2501900 h 2647950"/>
              <a:gd name="connsiteX12" fmla="*/ 1308100 w 1768475"/>
              <a:gd name="connsiteY12" fmla="*/ 2457450 h 2647950"/>
              <a:gd name="connsiteX13" fmla="*/ 1276350 w 1768475"/>
              <a:gd name="connsiteY13" fmla="*/ 2435225 h 2647950"/>
              <a:gd name="connsiteX14" fmla="*/ 1241425 w 1768475"/>
              <a:gd name="connsiteY14" fmla="*/ 2422525 h 2647950"/>
              <a:gd name="connsiteX15" fmla="*/ 1216025 w 1768475"/>
              <a:gd name="connsiteY15" fmla="*/ 2387600 h 2647950"/>
              <a:gd name="connsiteX16" fmla="*/ 1168400 w 1768475"/>
              <a:gd name="connsiteY16" fmla="*/ 2374900 h 2647950"/>
              <a:gd name="connsiteX17" fmla="*/ 1130300 w 1768475"/>
              <a:gd name="connsiteY17" fmla="*/ 2352675 h 2647950"/>
              <a:gd name="connsiteX18" fmla="*/ 1095375 w 1768475"/>
              <a:gd name="connsiteY18" fmla="*/ 2355850 h 2647950"/>
              <a:gd name="connsiteX19" fmla="*/ 1079500 w 1768475"/>
              <a:gd name="connsiteY19" fmla="*/ 2333625 h 2647950"/>
              <a:gd name="connsiteX20" fmla="*/ 1035050 w 1768475"/>
              <a:gd name="connsiteY20" fmla="*/ 2320925 h 2647950"/>
              <a:gd name="connsiteX21" fmla="*/ 1009650 w 1768475"/>
              <a:gd name="connsiteY21" fmla="*/ 2327275 h 2647950"/>
              <a:gd name="connsiteX22" fmla="*/ 962025 w 1768475"/>
              <a:gd name="connsiteY22" fmla="*/ 2320925 h 2647950"/>
              <a:gd name="connsiteX23" fmla="*/ 917575 w 1768475"/>
              <a:gd name="connsiteY23" fmla="*/ 2336800 h 2647950"/>
              <a:gd name="connsiteX24" fmla="*/ 850900 w 1768475"/>
              <a:gd name="connsiteY24" fmla="*/ 2330450 h 2647950"/>
              <a:gd name="connsiteX25" fmla="*/ 850900 w 1768475"/>
              <a:gd name="connsiteY25" fmla="*/ 2330450 h 2647950"/>
              <a:gd name="connsiteX26" fmla="*/ 796925 w 1768475"/>
              <a:gd name="connsiteY26" fmla="*/ 2336800 h 2647950"/>
              <a:gd name="connsiteX27" fmla="*/ 809625 w 1768475"/>
              <a:gd name="connsiteY27" fmla="*/ 2311400 h 2647950"/>
              <a:gd name="connsiteX28" fmla="*/ 787400 w 1768475"/>
              <a:gd name="connsiteY28" fmla="*/ 2301875 h 2647950"/>
              <a:gd name="connsiteX29" fmla="*/ 806450 w 1768475"/>
              <a:gd name="connsiteY29" fmla="*/ 2241550 h 2647950"/>
              <a:gd name="connsiteX30" fmla="*/ 781050 w 1768475"/>
              <a:gd name="connsiteY30" fmla="*/ 2187575 h 2647950"/>
              <a:gd name="connsiteX31" fmla="*/ 736600 w 1768475"/>
              <a:gd name="connsiteY31" fmla="*/ 2146300 h 2647950"/>
              <a:gd name="connsiteX32" fmla="*/ 692150 w 1768475"/>
              <a:gd name="connsiteY32" fmla="*/ 2124075 h 2647950"/>
              <a:gd name="connsiteX33" fmla="*/ 647700 w 1768475"/>
              <a:gd name="connsiteY33" fmla="*/ 2187575 h 2647950"/>
              <a:gd name="connsiteX34" fmla="*/ 590550 w 1768475"/>
              <a:gd name="connsiteY34" fmla="*/ 2244725 h 2647950"/>
              <a:gd name="connsiteX35" fmla="*/ 552450 w 1768475"/>
              <a:gd name="connsiteY35" fmla="*/ 2254250 h 2647950"/>
              <a:gd name="connsiteX36" fmla="*/ 508000 w 1768475"/>
              <a:gd name="connsiteY36" fmla="*/ 2232025 h 2647950"/>
              <a:gd name="connsiteX37" fmla="*/ 463550 w 1768475"/>
              <a:gd name="connsiteY37" fmla="*/ 2235200 h 2647950"/>
              <a:gd name="connsiteX38" fmla="*/ 406400 w 1768475"/>
              <a:gd name="connsiteY38" fmla="*/ 2212975 h 2647950"/>
              <a:gd name="connsiteX39" fmla="*/ 365125 w 1768475"/>
              <a:gd name="connsiteY39" fmla="*/ 2219325 h 2647950"/>
              <a:gd name="connsiteX40" fmla="*/ 323850 w 1768475"/>
              <a:gd name="connsiteY40" fmla="*/ 2190750 h 2647950"/>
              <a:gd name="connsiteX41" fmla="*/ 301625 w 1768475"/>
              <a:gd name="connsiteY41" fmla="*/ 2149475 h 2647950"/>
              <a:gd name="connsiteX42" fmla="*/ 250825 w 1768475"/>
              <a:gd name="connsiteY42" fmla="*/ 2120900 h 2647950"/>
              <a:gd name="connsiteX43" fmla="*/ 212725 w 1768475"/>
              <a:gd name="connsiteY43" fmla="*/ 2089150 h 2647950"/>
              <a:gd name="connsiteX44" fmla="*/ 190500 w 1768475"/>
              <a:gd name="connsiteY44" fmla="*/ 2092325 h 2647950"/>
              <a:gd name="connsiteX45" fmla="*/ 171450 w 1768475"/>
              <a:gd name="connsiteY45" fmla="*/ 2063750 h 2647950"/>
              <a:gd name="connsiteX46" fmla="*/ 114300 w 1768475"/>
              <a:gd name="connsiteY46" fmla="*/ 2044700 h 2647950"/>
              <a:gd name="connsiteX47" fmla="*/ 66675 w 1768475"/>
              <a:gd name="connsiteY47" fmla="*/ 2057400 h 2647950"/>
              <a:gd name="connsiteX48" fmla="*/ 0 w 1768475"/>
              <a:gd name="connsiteY48" fmla="*/ 2022475 h 2647950"/>
              <a:gd name="connsiteX49" fmla="*/ 19050 w 1768475"/>
              <a:gd name="connsiteY49" fmla="*/ 1981200 h 2647950"/>
              <a:gd name="connsiteX50" fmla="*/ 19050 w 1768475"/>
              <a:gd name="connsiteY50" fmla="*/ 1943100 h 2647950"/>
              <a:gd name="connsiteX51" fmla="*/ 57150 w 1768475"/>
              <a:gd name="connsiteY51" fmla="*/ 1908175 h 2647950"/>
              <a:gd name="connsiteX52" fmla="*/ 47625 w 1768475"/>
              <a:gd name="connsiteY52" fmla="*/ 1841500 h 2647950"/>
              <a:gd name="connsiteX53" fmla="*/ 82550 w 1768475"/>
              <a:gd name="connsiteY53" fmla="*/ 1822450 h 2647950"/>
              <a:gd name="connsiteX54" fmla="*/ 155575 w 1768475"/>
              <a:gd name="connsiteY54" fmla="*/ 1806575 h 2647950"/>
              <a:gd name="connsiteX55" fmla="*/ 209550 w 1768475"/>
              <a:gd name="connsiteY55" fmla="*/ 1774825 h 2647950"/>
              <a:gd name="connsiteX56" fmla="*/ 247650 w 1768475"/>
              <a:gd name="connsiteY56" fmla="*/ 1790700 h 2647950"/>
              <a:gd name="connsiteX57" fmla="*/ 269875 w 1768475"/>
              <a:gd name="connsiteY57" fmla="*/ 1762125 h 2647950"/>
              <a:gd name="connsiteX58" fmla="*/ 349250 w 1768475"/>
              <a:gd name="connsiteY58" fmla="*/ 1765300 h 2647950"/>
              <a:gd name="connsiteX59" fmla="*/ 330200 w 1768475"/>
              <a:gd name="connsiteY59" fmla="*/ 1724025 h 2647950"/>
              <a:gd name="connsiteX60" fmla="*/ 361950 w 1768475"/>
              <a:gd name="connsiteY60" fmla="*/ 1695450 h 2647950"/>
              <a:gd name="connsiteX61" fmla="*/ 438150 w 1768475"/>
              <a:gd name="connsiteY61" fmla="*/ 1682750 h 2647950"/>
              <a:gd name="connsiteX62" fmla="*/ 466725 w 1768475"/>
              <a:gd name="connsiteY62" fmla="*/ 1619250 h 2647950"/>
              <a:gd name="connsiteX63" fmla="*/ 539750 w 1768475"/>
              <a:gd name="connsiteY63" fmla="*/ 1603375 h 2647950"/>
              <a:gd name="connsiteX64" fmla="*/ 596900 w 1768475"/>
              <a:gd name="connsiteY64" fmla="*/ 1546225 h 2647950"/>
              <a:gd name="connsiteX65" fmla="*/ 635000 w 1768475"/>
              <a:gd name="connsiteY65" fmla="*/ 1479550 h 2647950"/>
              <a:gd name="connsiteX66" fmla="*/ 660400 w 1768475"/>
              <a:gd name="connsiteY66" fmla="*/ 1425575 h 2647950"/>
              <a:gd name="connsiteX67" fmla="*/ 701675 w 1768475"/>
              <a:gd name="connsiteY67" fmla="*/ 1403350 h 2647950"/>
              <a:gd name="connsiteX68" fmla="*/ 717550 w 1768475"/>
              <a:gd name="connsiteY68" fmla="*/ 1358900 h 2647950"/>
              <a:gd name="connsiteX69" fmla="*/ 762000 w 1768475"/>
              <a:gd name="connsiteY69" fmla="*/ 1327150 h 2647950"/>
              <a:gd name="connsiteX70" fmla="*/ 825500 w 1768475"/>
              <a:gd name="connsiteY70" fmla="*/ 1270000 h 2647950"/>
              <a:gd name="connsiteX71" fmla="*/ 860425 w 1768475"/>
              <a:gd name="connsiteY71" fmla="*/ 1254125 h 2647950"/>
              <a:gd name="connsiteX72" fmla="*/ 873125 w 1768475"/>
              <a:gd name="connsiteY72" fmla="*/ 1190625 h 2647950"/>
              <a:gd name="connsiteX73" fmla="*/ 854075 w 1768475"/>
              <a:gd name="connsiteY73" fmla="*/ 1149350 h 2647950"/>
              <a:gd name="connsiteX74" fmla="*/ 879475 w 1768475"/>
              <a:gd name="connsiteY74" fmla="*/ 1123950 h 2647950"/>
              <a:gd name="connsiteX75" fmla="*/ 908050 w 1768475"/>
              <a:gd name="connsiteY75" fmla="*/ 1076325 h 2647950"/>
              <a:gd name="connsiteX76" fmla="*/ 936625 w 1768475"/>
              <a:gd name="connsiteY76" fmla="*/ 1085850 h 2647950"/>
              <a:gd name="connsiteX77" fmla="*/ 1009650 w 1768475"/>
              <a:gd name="connsiteY77" fmla="*/ 1044575 h 2647950"/>
              <a:gd name="connsiteX78" fmla="*/ 1025525 w 1768475"/>
              <a:gd name="connsiteY78" fmla="*/ 987425 h 2647950"/>
              <a:gd name="connsiteX79" fmla="*/ 1038225 w 1768475"/>
              <a:gd name="connsiteY79" fmla="*/ 930275 h 2647950"/>
              <a:gd name="connsiteX80" fmla="*/ 1073150 w 1768475"/>
              <a:gd name="connsiteY80" fmla="*/ 866775 h 2647950"/>
              <a:gd name="connsiteX81" fmla="*/ 1139825 w 1768475"/>
              <a:gd name="connsiteY81" fmla="*/ 828675 h 2647950"/>
              <a:gd name="connsiteX82" fmla="*/ 1177925 w 1768475"/>
              <a:gd name="connsiteY82" fmla="*/ 812800 h 2647950"/>
              <a:gd name="connsiteX83" fmla="*/ 1193800 w 1768475"/>
              <a:gd name="connsiteY83" fmla="*/ 774700 h 2647950"/>
              <a:gd name="connsiteX84" fmla="*/ 1203325 w 1768475"/>
              <a:gd name="connsiteY84" fmla="*/ 736600 h 2647950"/>
              <a:gd name="connsiteX85" fmla="*/ 1254125 w 1768475"/>
              <a:gd name="connsiteY85" fmla="*/ 704850 h 2647950"/>
              <a:gd name="connsiteX86" fmla="*/ 1250950 w 1768475"/>
              <a:gd name="connsiteY86" fmla="*/ 660400 h 2647950"/>
              <a:gd name="connsiteX87" fmla="*/ 1292225 w 1768475"/>
              <a:gd name="connsiteY87" fmla="*/ 606425 h 2647950"/>
              <a:gd name="connsiteX88" fmla="*/ 1320800 w 1768475"/>
              <a:gd name="connsiteY88" fmla="*/ 555625 h 2647950"/>
              <a:gd name="connsiteX89" fmla="*/ 1292225 w 1768475"/>
              <a:gd name="connsiteY89" fmla="*/ 488950 h 2647950"/>
              <a:gd name="connsiteX90" fmla="*/ 1270000 w 1768475"/>
              <a:gd name="connsiteY90" fmla="*/ 441325 h 2647950"/>
              <a:gd name="connsiteX91" fmla="*/ 1295400 w 1768475"/>
              <a:gd name="connsiteY91" fmla="*/ 384175 h 2647950"/>
              <a:gd name="connsiteX92" fmla="*/ 1285875 w 1768475"/>
              <a:gd name="connsiteY92" fmla="*/ 327025 h 2647950"/>
              <a:gd name="connsiteX93" fmla="*/ 1298575 w 1768475"/>
              <a:gd name="connsiteY93" fmla="*/ 260350 h 2647950"/>
              <a:gd name="connsiteX94" fmla="*/ 1330325 w 1768475"/>
              <a:gd name="connsiteY94" fmla="*/ 184150 h 2647950"/>
              <a:gd name="connsiteX95" fmla="*/ 1371600 w 1768475"/>
              <a:gd name="connsiteY95" fmla="*/ 146050 h 2647950"/>
              <a:gd name="connsiteX96" fmla="*/ 1473200 w 1768475"/>
              <a:gd name="connsiteY96" fmla="*/ 111125 h 2647950"/>
              <a:gd name="connsiteX97" fmla="*/ 1504950 w 1768475"/>
              <a:gd name="connsiteY97" fmla="*/ 41275 h 2647950"/>
              <a:gd name="connsiteX98" fmla="*/ 1546225 w 1768475"/>
              <a:gd name="connsiteY98" fmla="*/ 0 h 2647950"/>
              <a:gd name="connsiteX0" fmla="*/ 1768475 w 1768475"/>
              <a:gd name="connsiteY0" fmla="*/ 2647950 h 2647950"/>
              <a:gd name="connsiteX1" fmla="*/ 1752600 w 1768475"/>
              <a:gd name="connsiteY1" fmla="*/ 2590800 h 2647950"/>
              <a:gd name="connsiteX2" fmla="*/ 1720850 w 1768475"/>
              <a:gd name="connsiteY2" fmla="*/ 2546350 h 2647950"/>
              <a:gd name="connsiteX3" fmla="*/ 1682750 w 1768475"/>
              <a:gd name="connsiteY3" fmla="*/ 2533650 h 2647950"/>
              <a:gd name="connsiteX4" fmla="*/ 1628775 w 1768475"/>
              <a:gd name="connsiteY4" fmla="*/ 2536825 h 2647950"/>
              <a:gd name="connsiteX5" fmla="*/ 1587500 w 1768475"/>
              <a:gd name="connsiteY5" fmla="*/ 2533650 h 2647950"/>
              <a:gd name="connsiteX6" fmla="*/ 1552575 w 1768475"/>
              <a:gd name="connsiteY6" fmla="*/ 2514600 h 2647950"/>
              <a:gd name="connsiteX7" fmla="*/ 1524000 w 1768475"/>
              <a:gd name="connsiteY7" fmla="*/ 2527300 h 2647950"/>
              <a:gd name="connsiteX8" fmla="*/ 1473200 w 1768475"/>
              <a:gd name="connsiteY8" fmla="*/ 2514600 h 2647950"/>
              <a:gd name="connsiteX9" fmla="*/ 1438275 w 1768475"/>
              <a:gd name="connsiteY9" fmla="*/ 2501900 h 2647950"/>
              <a:gd name="connsiteX10" fmla="*/ 1422400 w 1768475"/>
              <a:gd name="connsiteY10" fmla="*/ 2495550 h 2647950"/>
              <a:gd name="connsiteX11" fmla="*/ 1362075 w 1768475"/>
              <a:gd name="connsiteY11" fmla="*/ 2501900 h 2647950"/>
              <a:gd name="connsiteX12" fmla="*/ 1308100 w 1768475"/>
              <a:gd name="connsiteY12" fmla="*/ 2457450 h 2647950"/>
              <a:gd name="connsiteX13" fmla="*/ 1276350 w 1768475"/>
              <a:gd name="connsiteY13" fmla="*/ 2435225 h 2647950"/>
              <a:gd name="connsiteX14" fmla="*/ 1241425 w 1768475"/>
              <a:gd name="connsiteY14" fmla="*/ 2422525 h 2647950"/>
              <a:gd name="connsiteX15" fmla="*/ 1216025 w 1768475"/>
              <a:gd name="connsiteY15" fmla="*/ 2387600 h 2647950"/>
              <a:gd name="connsiteX16" fmla="*/ 1168400 w 1768475"/>
              <a:gd name="connsiteY16" fmla="*/ 2374900 h 2647950"/>
              <a:gd name="connsiteX17" fmla="*/ 1130300 w 1768475"/>
              <a:gd name="connsiteY17" fmla="*/ 2352675 h 2647950"/>
              <a:gd name="connsiteX18" fmla="*/ 1095375 w 1768475"/>
              <a:gd name="connsiteY18" fmla="*/ 2355850 h 2647950"/>
              <a:gd name="connsiteX19" fmla="*/ 1079500 w 1768475"/>
              <a:gd name="connsiteY19" fmla="*/ 2333625 h 2647950"/>
              <a:gd name="connsiteX20" fmla="*/ 1035050 w 1768475"/>
              <a:gd name="connsiteY20" fmla="*/ 2320925 h 2647950"/>
              <a:gd name="connsiteX21" fmla="*/ 1009650 w 1768475"/>
              <a:gd name="connsiteY21" fmla="*/ 2327275 h 2647950"/>
              <a:gd name="connsiteX22" fmla="*/ 962025 w 1768475"/>
              <a:gd name="connsiteY22" fmla="*/ 2320925 h 2647950"/>
              <a:gd name="connsiteX23" fmla="*/ 917575 w 1768475"/>
              <a:gd name="connsiteY23" fmla="*/ 2336800 h 2647950"/>
              <a:gd name="connsiteX24" fmla="*/ 850900 w 1768475"/>
              <a:gd name="connsiteY24" fmla="*/ 2330450 h 2647950"/>
              <a:gd name="connsiteX25" fmla="*/ 850900 w 1768475"/>
              <a:gd name="connsiteY25" fmla="*/ 2330450 h 2647950"/>
              <a:gd name="connsiteX26" fmla="*/ 796925 w 1768475"/>
              <a:gd name="connsiteY26" fmla="*/ 2336800 h 2647950"/>
              <a:gd name="connsiteX27" fmla="*/ 809625 w 1768475"/>
              <a:gd name="connsiteY27" fmla="*/ 2311400 h 2647950"/>
              <a:gd name="connsiteX28" fmla="*/ 787400 w 1768475"/>
              <a:gd name="connsiteY28" fmla="*/ 2301875 h 2647950"/>
              <a:gd name="connsiteX29" fmla="*/ 806450 w 1768475"/>
              <a:gd name="connsiteY29" fmla="*/ 2241550 h 2647950"/>
              <a:gd name="connsiteX30" fmla="*/ 781050 w 1768475"/>
              <a:gd name="connsiteY30" fmla="*/ 2187575 h 2647950"/>
              <a:gd name="connsiteX31" fmla="*/ 736600 w 1768475"/>
              <a:gd name="connsiteY31" fmla="*/ 2146300 h 2647950"/>
              <a:gd name="connsiteX32" fmla="*/ 692150 w 1768475"/>
              <a:gd name="connsiteY32" fmla="*/ 2124075 h 2647950"/>
              <a:gd name="connsiteX33" fmla="*/ 647700 w 1768475"/>
              <a:gd name="connsiteY33" fmla="*/ 2187575 h 2647950"/>
              <a:gd name="connsiteX34" fmla="*/ 590550 w 1768475"/>
              <a:gd name="connsiteY34" fmla="*/ 2244725 h 2647950"/>
              <a:gd name="connsiteX35" fmla="*/ 552450 w 1768475"/>
              <a:gd name="connsiteY35" fmla="*/ 2254250 h 2647950"/>
              <a:gd name="connsiteX36" fmla="*/ 508000 w 1768475"/>
              <a:gd name="connsiteY36" fmla="*/ 2232025 h 2647950"/>
              <a:gd name="connsiteX37" fmla="*/ 463550 w 1768475"/>
              <a:gd name="connsiteY37" fmla="*/ 2235200 h 2647950"/>
              <a:gd name="connsiteX38" fmla="*/ 406400 w 1768475"/>
              <a:gd name="connsiteY38" fmla="*/ 2212975 h 2647950"/>
              <a:gd name="connsiteX39" fmla="*/ 365125 w 1768475"/>
              <a:gd name="connsiteY39" fmla="*/ 2219325 h 2647950"/>
              <a:gd name="connsiteX40" fmla="*/ 323850 w 1768475"/>
              <a:gd name="connsiteY40" fmla="*/ 2190750 h 2647950"/>
              <a:gd name="connsiteX41" fmla="*/ 301625 w 1768475"/>
              <a:gd name="connsiteY41" fmla="*/ 2149475 h 2647950"/>
              <a:gd name="connsiteX42" fmla="*/ 250825 w 1768475"/>
              <a:gd name="connsiteY42" fmla="*/ 2120900 h 2647950"/>
              <a:gd name="connsiteX43" fmla="*/ 212725 w 1768475"/>
              <a:gd name="connsiteY43" fmla="*/ 2089150 h 2647950"/>
              <a:gd name="connsiteX44" fmla="*/ 190500 w 1768475"/>
              <a:gd name="connsiteY44" fmla="*/ 2092325 h 2647950"/>
              <a:gd name="connsiteX45" fmla="*/ 171450 w 1768475"/>
              <a:gd name="connsiteY45" fmla="*/ 2063750 h 2647950"/>
              <a:gd name="connsiteX46" fmla="*/ 114300 w 1768475"/>
              <a:gd name="connsiteY46" fmla="*/ 2044700 h 2647950"/>
              <a:gd name="connsiteX47" fmla="*/ 66675 w 1768475"/>
              <a:gd name="connsiteY47" fmla="*/ 2057400 h 2647950"/>
              <a:gd name="connsiteX48" fmla="*/ 0 w 1768475"/>
              <a:gd name="connsiteY48" fmla="*/ 2022475 h 2647950"/>
              <a:gd name="connsiteX49" fmla="*/ 19050 w 1768475"/>
              <a:gd name="connsiteY49" fmla="*/ 1981200 h 2647950"/>
              <a:gd name="connsiteX50" fmla="*/ 19050 w 1768475"/>
              <a:gd name="connsiteY50" fmla="*/ 1943100 h 2647950"/>
              <a:gd name="connsiteX51" fmla="*/ 57150 w 1768475"/>
              <a:gd name="connsiteY51" fmla="*/ 1908175 h 2647950"/>
              <a:gd name="connsiteX52" fmla="*/ 47625 w 1768475"/>
              <a:gd name="connsiteY52" fmla="*/ 1841500 h 2647950"/>
              <a:gd name="connsiteX53" fmla="*/ 82550 w 1768475"/>
              <a:gd name="connsiteY53" fmla="*/ 1822450 h 2647950"/>
              <a:gd name="connsiteX54" fmla="*/ 155575 w 1768475"/>
              <a:gd name="connsiteY54" fmla="*/ 1806575 h 2647950"/>
              <a:gd name="connsiteX55" fmla="*/ 209550 w 1768475"/>
              <a:gd name="connsiteY55" fmla="*/ 1774825 h 2647950"/>
              <a:gd name="connsiteX56" fmla="*/ 247650 w 1768475"/>
              <a:gd name="connsiteY56" fmla="*/ 1790700 h 2647950"/>
              <a:gd name="connsiteX57" fmla="*/ 269875 w 1768475"/>
              <a:gd name="connsiteY57" fmla="*/ 1762125 h 2647950"/>
              <a:gd name="connsiteX58" fmla="*/ 349250 w 1768475"/>
              <a:gd name="connsiteY58" fmla="*/ 1765300 h 2647950"/>
              <a:gd name="connsiteX59" fmla="*/ 330200 w 1768475"/>
              <a:gd name="connsiteY59" fmla="*/ 1724025 h 2647950"/>
              <a:gd name="connsiteX60" fmla="*/ 361950 w 1768475"/>
              <a:gd name="connsiteY60" fmla="*/ 1695450 h 2647950"/>
              <a:gd name="connsiteX61" fmla="*/ 438150 w 1768475"/>
              <a:gd name="connsiteY61" fmla="*/ 1682750 h 2647950"/>
              <a:gd name="connsiteX62" fmla="*/ 466725 w 1768475"/>
              <a:gd name="connsiteY62" fmla="*/ 1619250 h 2647950"/>
              <a:gd name="connsiteX63" fmla="*/ 539750 w 1768475"/>
              <a:gd name="connsiteY63" fmla="*/ 1603375 h 2647950"/>
              <a:gd name="connsiteX64" fmla="*/ 596900 w 1768475"/>
              <a:gd name="connsiteY64" fmla="*/ 1546225 h 2647950"/>
              <a:gd name="connsiteX65" fmla="*/ 635000 w 1768475"/>
              <a:gd name="connsiteY65" fmla="*/ 1479550 h 2647950"/>
              <a:gd name="connsiteX66" fmla="*/ 660400 w 1768475"/>
              <a:gd name="connsiteY66" fmla="*/ 1425575 h 2647950"/>
              <a:gd name="connsiteX67" fmla="*/ 701675 w 1768475"/>
              <a:gd name="connsiteY67" fmla="*/ 1403350 h 2647950"/>
              <a:gd name="connsiteX68" fmla="*/ 717550 w 1768475"/>
              <a:gd name="connsiteY68" fmla="*/ 1358900 h 2647950"/>
              <a:gd name="connsiteX69" fmla="*/ 762000 w 1768475"/>
              <a:gd name="connsiteY69" fmla="*/ 1327150 h 2647950"/>
              <a:gd name="connsiteX70" fmla="*/ 825500 w 1768475"/>
              <a:gd name="connsiteY70" fmla="*/ 1270000 h 2647950"/>
              <a:gd name="connsiteX71" fmla="*/ 860425 w 1768475"/>
              <a:gd name="connsiteY71" fmla="*/ 1254125 h 2647950"/>
              <a:gd name="connsiteX72" fmla="*/ 873125 w 1768475"/>
              <a:gd name="connsiteY72" fmla="*/ 1190625 h 2647950"/>
              <a:gd name="connsiteX73" fmla="*/ 854075 w 1768475"/>
              <a:gd name="connsiteY73" fmla="*/ 1149350 h 2647950"/>
              <a:gd name="connsiteX74" fmla="*/ 879475 w 1768475"/>
              <a:gd name="connsiteY74" fmla="*/ 1123950 h 2647950"/>
              <a:gd name="connsiteX75" fmla="*/ 908050 w 1768475"/>
              <a:gd name="connsiteY75" fmla="*/ 1076325 h 2647950"/>
              <a:gd name="connsiteX76" fmla="*/ 936625 w 1768475"/>
              <a:gd name="connsiteY76" fmla="*/ 1085850 h 2647950"/>
              <a:gd name="connsiteX77" fmla="*/ 1009650 w 1768475"/>
              <a:gd name="connsiteY77" fmla="*/ 1044575 h 2647950"/>
              <a:gd name="connsiteX78" fmla="*/ 1025525 w 1768475"/>
              <a:gd name="connsiteY78" fmla="*/ 987425 h 2647950"/>
              <a:gd name="connsiteX79" fmla="*/ 1038225 w 1768475"/>
              <a:gd name="connsiteY79" fmla="*/ 930275 h 2647950"/>
              <a:gd name="connsiteX80" fmla="*/ 1073150 w 1768475"/>
              <a:gd name="connsiteY80" fmla="*/ 866775 h 2647950"/>
              <a:gd name="connsiteX81" fmla="*/ 1139825 w 1768475"/>
              <a:gd name="connsiteY81" fmla="*/ 828675 h 2647950"/>
              <a:gd name="connsiteX82" fmla="*/ 1177925 w 1768475"/>
              <a:gd name="connsiteY82" fmla="*/ 812800 h 2647950"/>
              <a:gd name="connsiteX83" fmla="*/ 1193800 w 1768475"/>
              <a:gd name="connsiteY83" fmla="*/ 774700 h 2647950"/>
              <a:gd name="connsiteX84" fmla="*/ 1203325 w 1768475"/>
              <a:gd name="connsiteY84" fmla="*/ 736600 h 2647950"/>
              <a:gd name="connsiteX85" fmla="*/ 1254125 w 1768475"/>
              <a:gd name="connsiteY85" fmla="*/ 704850 h 2647950"/>
              <a:gd name="connsiteX86" fmla="*/ 1250950 w 1768475"/>
              <a:gd name="connsiteY86" fmla="*/ 660400 h 2647950"/>
              <a:gd name="connsiteX87" fmla="*/ 1292225 w 1768475"/>
              <a:gd name="connsiteY87" fmla="*/ 606425 h 2647950"/>
              <a:gd name="connsiteX88" fmla="*/ 1320800 w 1768475"/>
              <a:gd name="connsiteY88" fmla="*/ 555625 h 2647950"/>
              <a:gd name="connsiteX89" fmla="*/ 1292225 w 1768475"/>
              <a:gd name="connsiteY89" fmla="*/ 488950 h 2647950"/>
              <a:gd name="connsiteX90" fmla="*/ 1270000 w 1768475"/>
              <a:gd name="connsiteY90" fmla="*/ 441325 h 2647950"/>
              <a:gd name="connsiteX91" fmla="*/ 1295400 w 1768475"/>
              <a:gd name="connsiteY91" fmla="*/ 384175 h 2647950"/>
              <a:gd name="connsiteX92" fmla="*/ 1285875 w 1768475"/>
              <a:gd name="connsiteY92" fmla="*/ 327025 h 2647950"/>
              <a:gd name="connsiteX93" fmla="*/ 1298575 w 1768475"/>
              <a:gd name="connsiteY93" fmla="*/ 260350 h 2647950"/>
              <a:gd name="connsiteX94" fmla="*/ 1330325 w 1768475"/>
              <a:gd name="connsiteY94" fmla="*/ 184150 h 2647950"/>
              <a:gd name="connsiteX95" fmla="*/ 1371600 w 1768475"/>
              <a:gd name="connsiteY95" fmla="*/ 146050 h 2647950"/>
              <a:gd name="connsiteX96" fmla="*/ 1473200 w 1768475"/>
              <a:gd name="connsiteY96" fmla="*/ 111125 h 2647950"/>
              <a:gd name="connsiteX97" fmla="*/ 1546225 w 1768475"/>
              <a:gd name="connsiteY97" fmla="*/ 0 h 2647950"/>
              <a:gd name="connsiteX0" fmla="*/ 1768475 w 1768475"/>
              <a:gd name="connsiteY0" fmla="*/ 2536825 h 2536825"/>
              <a:gd name="connsiteX1" fmla="*/ 1752600 w 1768475"/>
              <a:gd name="connsiteY1" fmla="*/ 2479675 h 2536825"/>
              <a:gd name="connsiteX2" fmla="*/ 1720850 w 1768475"/>
              <a:gd name="connsiteY2" fmla="*/ 2435225 h 2536825"/>
              <a:gd name="connsiteX3" fmla="*/ 1682750 w 1768475"/>
              <a:gd name="connsiteY3" fmla="*/ 2422525 h 2536825"/>
              <a:gd name="connsiteX4" fmla="*/ 1628775 w 1768475"/>
              <a:gd name="connsiteY4" fmla="*/ 2425700 h 2536825"/>
              <a:gd name="connsiteX5" fmla="*/ 1587500 w 1768475"/>
              <a:gd name="connsiteY5" fmla="*/ 2422525 h 2536825"/>
              <a:gd name="connsiteX6" fmla="*/ 1552575 w 1768475"/>
              <a:gd name="connsiteY6" fmla="*/ 2403475 h 2536825"/>
              <a:gd name="connsiteX7" fmla="*/ 1524000 w 1768475"/>
              <a:gd name="connsiteY7" fmla="*/ 2416175 h 2536825"/>
              <a:gd name="connsiteX8" fmla="*/ 1473200 w 1768475"/>
              <a:gd name="connsiteY8" fmla="*/ 2403475 h 2536825"/>
              <a:gd name="connsiteX9" fmla="*/ 1438275 w 1768475"/>
              <a:gd name="connsiteY9" fmla="*/ 2390775 h 2536825"/>
              <a:gd name="connsiteX10" fmla="*/ 1422400 w 1768475"/>
              <a:gd name="connsiteY10" fmla="*/ 2384425 h 2536825"/>
              <a:gd name="connsiteX11" fmla="*/ 1362075 w 1768475"/>
              <a:gd name="connsiteY11" fmla="*/ 2390775 h 2536825"/>
              <a:gd name="connsiteX12" fmla="*/ 1308100 w 1768475"/>
              <a:gd name="connsiteY12" fmla="*/ 2346325 h 2536825"/>
              <a:gd name="connsiteX13" fmla="*/ 1276350 w 1768475"/>
              <a:gd name="connsiteY13" fmla="*/ 2324100 h 2536825"/>
              <a:gd name="connsiteX14" fmla="*/ 1241425 w 1768475"/>
              <a:gd name="connsiteY14" fmla="*/ 2311400 h 2536825"/>
              <a:gd name="connsiteX15" fmla="*/ 1216025 w 1768475"/>
              <a:gd name="connsiteY15" fmla="*/ 2276475 h 2536825"/>
              <a:gd name="connsiteX16" fmla="*/ 1168400 w 1768475"/>
              <a:gd name="connsiteY16" fmla="*/ 2263775 h 2536825"/>
              <a:gd name="connsiteX17" fmla="*/ 1130300 w 1768475"/>
              <a:gd name="connsiteY17" fmla="*/ 2241550 h 2536825"/>
              <a:gd name="connsiteX18" fmla="*/ 1095375 w 1768475"/>
              <a:gd name="connsiteY18" fmla="*/ 2244725 h 2536825"/>
              <a:gd name="connsiteX19" fmla="*/ 1079500 w 1768475"/>
              <a:gd name="connsiteY19" fmla="*/ 2222500 h 2536825"/>
              <a:gd name="connsiteX20" fmla="*/ 1035050 w 1768475"/>
              <a:gd name="connsiteY20" fmla="*/ 2209800 h 2536825"/>
              <a:gd name="connsiteX21" fmla="*/ 1009650 w 1768475"/>
              <a:gd name="connsiteY21" fmla="*/ 2216150 h 2536825"/>
              <a:gd name="connsiteX22" fmla="*/ 962025 w 1768475"/>
              <a:gd name="connsiteY22" fmla="*/ 2209800 h 2536825"/>
              <a:gd name="connsiteX23" fmla="*/ 917575 w 1768475"/>
              <a:gd name="connsiteY23" fmla="*/ 2225675 h 2536825"/>
              <a:gd name="connsiteX24" fmla="*/ 850900 w 1768475"/>
              <a:gd name="connsiteY24" fmla="*/ 2219325 h 2536825"/>
              <a:gd name="connsiteX25" fmla="*/ 850900 w 1768475"/>
              <a:gd name="connsiteY25" fmla="*/ 2219325 h 2536825"/>
              <a:gd name="connsiteX26" fmla="*/ 796925 w 1768475"/>
              <a:gd name="connsiteY26" fmla="*/ 2225675 h 2536825"/>
              <a:gd name="connsiteX27" fmla="*/ 809625 w 1768475"/>
              <a:gd name="connsiteY27" fmla="*/ 2200275 h 2536825"/>
              <a:gd name="connsiteX28" fmla="*/ 787400 w 1768475"/>
              <a:gd name="connsiteY28" fmla="*/ 2190750 h 2536825"/>
              <a:gd name="connsiteX29" fmla="*/ 806450 w 1768475"/>
              <a:gd name="connsiteY29" fmla="*/ 2130425 h 2536825"/>
              <a:gd name="connsiteX30" fmla="*/ 781050 w 1768475"/>
              <a:gd name="connsiteY30" fmla="*/ 2076450 h 2536825"/>
              <a:gd name="connsiteX31" fmla="*/ 736600 w 1768475"/>
              <a:gd name="connsiteY31" fmla="*/ 2035175 h 2536825"/>
              <a:gd name="connsiteX32" fmla="*/ 692150 w 1768475"/>
              <a:gd name="connsiteY32" fmla="*/ 2012950 h 2536825"/>
              <a:gd name="connsiteX33" fmla="*/ 647700 w 1768475"/>
              <a:gd name="connsiteY33" fmla="*/ 2076450 h 2536825"/>
              <a:gd name="connsiteX34" fmla="*/ 590550 w 1768475"/>
              <a:gd name="connsiteY34" fmla="*/ 2133600 h 2536825"/>
              <a:gd name="connsiteX35" fmla="*/ 552450 w 1768475"/>
              <a:gd name="connsiteY35" fmla="*/ 2143125 h 2536825"/>
              <a:gd name="connsiteX36" fmla="*/ 508000 w 1768475"/>
              <a:gd name="connsiteY36" fmla="*/ 2120900 h 2536825"/>
              <a:gd name="connsiteX37" fmla="*/ 463550 w 1768475"/>
              <a:gd name="connsiteY37" fmla="*/ 2124075 h 2536825"/>
              <a:gd name="connsiteX38" fmla="*/ 406400 w 1768475"/>
              <a:gd name="connsiteY38" fmla="*/ 2101850 h 2536825"/>
              <a:gd name="connsiteX39" fmla="*/ 365125 w 1768475"/>
              <a:gd name="connsiteY39" fmla="*/ 2108200 h 2536825"/>
              <a:gd name="connsiteX40" fmla="*/ 323850 w 1768475"/>
              <a:gd name="connsiteY40" fmla="*/ 2079625 h 2536825"/>
              <a:gd name="connsiteX41" fmla="*/ 301625 w 1768475"/>
              <a:gd name="connsiteY41" fmla="*/ 2038350 h 2536825"/>
              <a:gd name="connsiteX42" fmla="*/ 250825 w 1768475"/>
              <a:gd name="connsiteY42" fmla="*/ 2009775 h 2536825"/>
              <a:gd name="connsiteX43" fmla="*/ 212725 w 1768475"/>
              <a:gd name="connsiteY43" fmla="*/ 1978025 h 2536825"/>
              <a:gd name="connsiteX44" fmla="*/ 190500 w 1768475"/>
              <a:gd name="connsiteY44" fmla="*/ 1981200 h 2536825"/>
              <a:gd name="connsiteX45" fmla="*/ 171450 w 1768475"/>
              <a:gd name="connsiteY45" fmla="*/ 1952625 h 2536825"/>
              <a:gd name="connsiteX46" fmla="*/ 114300 w 1768475"/>
              <a:gd name="connsiteY46" fmla="*/ 1933575 h 2536825"/>
              <a:gd name="connsiteX47" fmla="*/ 66675 w 1768475"/>
              <a:gd name="connsiteY47" fmla="*/ 1946275 h 2536825"/>
              <a:gd name="connsiteX48" fmla="*/ 0 w 1768475"/>
              <a:gd name="connsiteY48" fmla="*/ 1911350 h 2536825"/>
              <a:gd name="connsiteX49" fmla="*/ 19050 w 1768475"/>
              <a:gd name="connsiteY49" fmla="*/ 1870075 h 2536825"/>
              <a:gd name="connsiteX50" fmla="*/ 19050 w 1768475"/>
              <a:gd name="connsiteY50" fmla="*/ 1831975 h 2536825"/>
              <a:gd name="connsiteX51" fmla="*/ 57150 w 1768475"/>
              <a:gd name="connsiteY51" fmla="*/ 1797050 h 2536825"/>
              <a:gd name="connsiteX52" fmla="*/ 47625 w 1768475"/>
              <a:gd name="connsiteY52" fmla="*/ 1730375 h 2536825"/>
              <a:gd name="connsiteX53" fmla="*/ 82550 w 1768475"/>
              <a:gd name="connsiteY53" fmla="*/ 1711325 h 2536825"/>
              <a:gd name="connsiteX54" fmla="*/ 155575 w 1768475"/>
              <a:gd name="connsiteY54" fmla="*/ 1695450 h 2536825"/>
              <a:gd name="connsiteX55" fmla="*/ 209550 w 1768475"/>
              <a:gd name="connsiteY55" fmla="*/ 1663700 h 2536825"/>
              <a:gd name="connsiteX56" fmla="*/ 247650 w 1768475"/>
              <a:gd name="connsiteY56" fmla="*/ 1679575 h 2536825"/>
              <a:gd name="connsiteX57" fmla="*/ 269875 w 1768475"/>
              <a:gd name="connsiteY57" fmla="*/ 1651000 h 2536825"/>
              <a:gd name="connsiteX58" fmla="*/ 349250 w 1768475"/>
              <a:gd name="connsiteY58" fmla="*/ 1654175 h 2536825"/>
              <a:gd name="connsiteX59" fmla="*/ 330200 w 1768475"/>
              <a:gd name="connsiteY59" fmla="*/ 1612900 h 2536825"/>
              <a:gd name="connsiteX60" fmla="*/ 361950 w 1768475"/>
              <a:gd name="connsiteY60" fmla="*/ 1584325 h 2536825"/>
              <a:gd name="connsiteX61" fmla="*/ 438150 w 1768475"/>
              <a:gd name="connsiteY61" fmla="*/ 1571625 h 2536825"/>
              <a:gd name="connsiteX62" fmla="*/ 466725 w 1768475"/>
              <a:gd name="connsiteY62" fmla="*/ 1508125 h 2536825"/>
              <a:gd name="connsiteX63" fmla="*/ 539750 w 1768475"/>
              <a:gd name="connsiteY63" fmla="*/ 1492250 h 2536825"/>
              <a:gd name="connsiteX64" fmla="*/ 596900 w 1768475"/>
              <a:gd name="connsiteY64" fmla="*/ 1435100 h 2536825"/>
              <a:gd name="connsiteX65" fmla="*/ 635000 w 1768475"/>
              <a:gd name="connsiteY65" fmla="*/ 1368425 h 2536825"/>
              <a:gd name="connsiteX66" fmla="*/ 660400 w 1768475"/>
              <a:gd name="connsiteY66" fmla="*/ 1314450 h 2536825"/>
              <a:gd name="connsiteX67" fmla="*/ 701675 w 1768475"/>
              <a:gd name="connsiteY67" fmla="*/ 1292225 h 2536825"/>
              <a:gd name="connsiteX68" fmla="*/ 717550 w 1768475"/>
              <a:gd name="connsiteY68" fmla="*/ 1247775 h 2536825"/>
              <a:gd name="connsiteX69" fmla="*/ 762000 w 1768475"/>
              <a:gd name="connsiteY69" fmla="*/ 1216025 h 2536825"/>
              <a:gd name="connsiteX70" fmla="*/ 825500 w 1768475"/>
              <a:gd name="connsiteY70" fmla="*/ 1158875 h 2536825"/>
              <a:gd name="connsiteX71" fmla="*/ 860425 w 1768475"/>
              <a:gd name="connsiteY71" fmla="*/ 1143000 h 2536825"/>
              <a:gd name="connsiteX72" fmla="*/ 873125 w 1768475"/>
              <a:gd name="connsiteY72" fmla="*/ 1079500 h 2536825"/>
              <a:gd name="connsiteX73" fmla="*/ 854075 w 1768475"/>
              <a:gd name="connsiteY73" fmla="*/ 1038225 h 2536825"/>
              <a:gd name="connsiteX74" fmla="*/ 879475 w 1768475"/>
              <a:gd name="connsiteY74" fmla="*/ 1012825 h 2536825"/>
              <a:gd name="connsiteX75" fmla="*/ 908050 w 1768475"/>
              <a:gd name="connsiteY75" fmla="*/ 965200 h 2536825"/>
              <a:gd name="connsiteX76" fmla="*/ 936625 w 1768475"/>
              <a:gd name="connsiteY76" fmla="*/ 974725 h 2536825"/>
              <a:gd name="connsiteX77" fmla="*/ 1009650 w 1768475"/>
              <a:gd name="connsiteY77" fmla="*/ 933450 h 2536825"/>
              <a:gd name="connsiteX78" fmla="*/ 1025525 w 1768475"/>
              <a:gd name="connsiteY78" fmla="*/ 876300 h 2536825"/>
              <a:gd name="connsiteX79" fmla="*/ 1038225 w 1768475"/>
              <a:gd name="connsiteY79" fmla="*/ 819150 h 2536825"/>
              <a:gd name="connsiteX80" fmla="*/ 1073150 w 1768475"/>
              <a:gd name="connsiteY80" fmla="*/ 755650 h 2536825"/>
              <a:gd name="connsiteX81" fmla="*/ 1139825 w 1768475"/>
              <a:gd name="connsiteY81" fmla="*/ 717550 h 2536825"/>
              <a:gd name="connsiteX82" fmla="*/ 1177925 w 1768475"/>
              <a:gd name="connsiteY82" fmla="*/ 701675 h 2536825"/>
              <a:gd name="connsiteX83" fmla="*/ 1193800 w 1768475"/>
              <a:gd name="connsiteY83" fmla="*/ 663575 h 2536825"/>
              <a:gd name="connsiteX84" fmla="*/ 1203325 w 1768475"/>
              <a:gd name="connsiteY84" fmla="*/ 625475 h 2536825"/>
              <a:gd name="connsiteX85" fmla="*/ 1254125 w 1768475"/>
              <a:gd name="connsiteY85" fmla="*/ 593725 h 2536825"/>
              <a:gd name="connsiteX86" fmla="*/ 1250950 w 1768475"/>
              <a:gd name="connsiteY86" fmla="*/ 549275 h 2536825"/>
              <a:gd name="connsiteX87" fmla="*/ 1292225 w 1768475"/>
              <a:gd name="connsiteY87" fmla="*/ 495300 h 2536825"/>
              <a:gd name="connsiteX88" fmla="*/ 1320800 w 1768475"/>
              <a:gd name="connsiteY88" fmla="*/ 444500 h 2536825"/>
              <a:gd name="connsiteX89" fmla="*/ 1292225 w 1768475"/>
              <a:gd name="connsiteY89" fmla="*/ 377825 h 2536825"/>
              <a:gd name="connsiteX90" fmla="*/ 1270000 w 1768475"/>
              <a:gd name="connsiteY90" fmla="*/ 330200 h 2536825"/>
              <a:gd name="connsiteX91" fmla="*/ 1295400 w 1768475"/>
              <a:gd name="connsiteY91" fmla="*/ 273050 h 2536825"/>
              <a:gd name="connsiteX92" fmla="*/ 1285875 w 1768475"/>
              <a:gd name="connsiteY92" fmla="*/ 215900 h 2536825"/>
              <a:gd name="connsiteX93" fmla="*/ 1298575 w 1768475"/>
              <a:gd name="connsiteY93" fmla="*/ 149225 h 2536825"/>
              <a:gd name="connsiteX94" fmla="*/ 1330325 w 1768475"/>
              <a:gd name="connsiteY94" fmla="*/ 73025 h 2536825"/>
              <a:gd name="connsiteX95" fmla="*/ 1371600 w 1768475"/>
              <a:gd name="connsiteY95" fmla="*/ 34925 h 2536825"/>
              <a:gd name="connsiteX96" fmla="*/ 1473200 w 1768475"/>
              <a:gd name="connsiteY96" fmla="*/ 0 h 2536825"/>
              <a:gd name="connsiteX0" fmla="*/ 1768475 w 1768475"/>
              <a:gd name="connsiteY0" fmla="*/ 2501900 h 2501900"/>
              <a:gd name="connsiteX1" fmla="*/ 1752600 w 1768475"/>
              <a:gd name="connsiteY1" fmla="*/ 2444750 h 2501900"/>
              <a:gd name="connsiteX2" fmla="*/ 1720850 w 1768475"/>
              <a:gd name="connsiteY2" fmla="*/ 2400300 h 2501900"/>
              <a:gd name="connsiteX3" fmla="*/ 1682750 w 1768475"/>
              <a:gd name="connsiteY3" fmla="*/ 2387600 h 2501900"/>
              <a:gd name="connsiteX4" fmla="*/ 1628775 w 1768475"/>
              <a:gd name="connsiteY4" fmla="*/ 2390775 h 2501900"/>
              <a:gd name="connsiteX5" fmla="*/ 1587500 w 1768475"/>
              <a:gd name="connsiteY5" fmla="*/ 2387600 h 2501900"/>
              <a:gd name="connsiteX6" fmla="*/ 1552575 w 1768475"/>
              <a:gd name="connsiteY6" fmla="*/ 2368550 h 2501900"/>
              <a:gd name="connsiteX7" fmla="*/ 1524000 w 1768475"/>
              <a:gd name="connsiteY7" fmla="*/ 2381250 h 2501900"/>
              <a:gd name="connsiteX8" fmla="*/ 1473200 w 1768475"/>
              <a:gd name="connsiteY8" fmla="*/ 2368550 h 2501900"/>
              <a:gd name="connsiteX9" fmla="*/ 1438275 w 1768475"/>
              <a:gd name="connsiteY9" fmla="*/ 2355850 h 2501900"/>
              <a:gd name="connsiteX10" fmla="*/ 1422400 w 1768475"/>
              <a:gd name="connsiteY10" fmla="*/ 2349500 h 2501900"/>
              <a:gd name="connsiteX11" fmla="*/ 1362075 w 1768475"/>
              <a:gd name="connsiteY11" fmla="*/ 2355850 h 2501900"/>
              <a:gd name="connsiteX12" fmla="*/ 1308100 w 1768475"/>
              <a:gd name="connsiteY12" fmla="*/ 2311400 h 2501900"/>
              <a:gd name="connsiteX13" fmla="*/ 1276350 w 1768475"/>
              <a:gd name="connsiteY13" fmla="*/ 2289175 h 2501900"/>
              <a:gd name="connsiteX14" fmla="*/ 1241425 w 1768475"/>
              <a:gd name="connsiteY14" fmla="*/ 2276475 h 2501900"/>
              <a:gd name="connsiteX15" fmla="*/ 1216025 w 1768475"/>
              <a:gd name="connsiteY15" fmla="*/ 2241550 h 2501900"/>
              <a:gd name="connsiteX16" fmla="*/ 1168400 w 1768475"/>
              <a:gd name="connsiteY16" fmla="*/ 2228850 h 2501900"/>
              <a:gd name="connsiteX17" fmla="*/ 1130300 w 1768475"/>
              <a:gd name="connsiteY17" fmla="*/ 2206625 h 2501900"/>
              <a:gd name="connsiteX18" fmla="*/ 1095375 w 1768475"/>
              <a:gd name="connsiteY18" fmla="*/ 2209800 h 2501900"/>
              <a:gd name="connsiteX19" fmla="*/ 1079500 w 1768475"/>
              <a:gd name="connsiteY19" fmla="*/ 2187575 h 2501900"/>
              <a:gd name="connsiteX20" fmla="*/ 1035050 w 1768475"/>
              <a:gd name="connsiteY20" fmla="*/ 2174875 h 2501900"/>
              <a:gd name="connsiteX21" fmla="*/ 1009650 w 1768475"/>
              <a:gd name="connsiteY21" fmla="*/ 2181225 h 2501900"/>
              <a:gd name="connsiteX22" fmla="*/ 962025 w 1768475"/>
              <a:gd name="connsiteY22" fmla="*/ 2174875 h 2501900"/>
              <a:gd name="connsiteX23" fmla="*/ 917575 w 1768475"/>
              <a:gd name="connsiteY23" fmla="*/ 2190750 h 2501900"/>
              <a:gd name="connsiteX24" fmla="*/ 850900 w 1768475"/>
              <a:gd name="connsiteY24" fmla="*/ 2184400 h 2501900"/>
              <a:gd name="connsiteX25" fmla="*/ 850900 w 1768475"/>
              <a:gd name="connsiteY25" fmla="*/ 2184400 h 2501900"/>
              <a:gd name="connsiteX26" fmla="*/ 796925 w 1768475"/>
              <a:gd name="connsiteY26" fmla="*/ 2190750 h 2501900"/>
              <a:gd name="connsiteX27" fmla="*/ 809625 w 1768475"/>
              <a:gd name="connsiteY27" fmla="*/ 2165350 h 2501900"/>
              <a:gd name="connsiteX28" fmla="*/ 787400 w 1768475"/>
              <a:gd name="connsiteY28" fmla="*/ 2155825 h 2501900"/>
              <a:gd name="connsiteX29" fmla="*/ 806450 w 1768475"/>
              <a:gd name="connsiteY29" fmla="*/ 2095500 h 2501900"/>
              <a:gd name="connsiteX30" fmla="*/ 781050 w 1768475"/>
              <a:gd name="connsiteY30" fmla="*/ 2041525 h 2501900"/>
              <a:gd name="connsiteX31" fmla="*/ 736600 w 1768475"/>
              <a:gd name="connsiteY31" fmla="*/ 2000250 h 2501900"/>
              <a:gd name="connsiteX32" fmla="*/ 692150 w 1768475"/>
              <a:gd name="connsiteY32" fmla="*/ 1978025 h 2501900"/>
              <a:gd name="connsiteX33" fmla="*/ 647700 w 1768475"/>
              <a:gd name="connsiteY33" fmla="*/ 2041525 h 2501900"/>
              <a:gd name="connsiteX34" fmla="*/ 590550 w 1768475"/>
              <a:gd name="connsiteY34" fmla="*/ 2098675 h 2501900"/>
              <a:gd name="connsiteX35" fmla="*/ 552450 w 1768475"/>
              <a:gd name="connsiteY35" fmla="*/ 2108200 h 2501900"/>
              <a:gd name="connsiteX36" fmla="*/ 508000 w 1768475"/>
              <a:gd name="connsiteY36" fmla="*/ 2085975 h 2501900"/>
              <a:gd name="connsiteX37" fmla="*/ 463550 w 1768475"/>
              <a:gd name="connsiteY37" fmla="*/ 2089150 h 2501900"/>
              <a:gd name="connsiteX38" fmla="*/ 406400 w 1768475"/>
              <a:gd name="connsiteY38" fmla="*/ 2066925 h 2501900"/>
              <a:gd name="connsiteX39" fmla="*/ 365125 w 1768475"/>
              <a:gd name="connsiteY39" fmla="*/ 2073275 h 2501900"/>
              <a:gd name="connsiteX40" fmla="*/ 323850 w 1768475"/>
              <a:gd name="connsiteY40" fmla="*/ 2044700 h 2501900"/>
              <a:gd name="connsiteX41" fmla="*/ 301625 w 1768475"/>
              <a:gd name="connsiteY41" fmla="*/ 2003425 h 2501900"/>
              <a:gd name="connsiteX42" fmla="*/ 250825 w 1768475"/>
              <a:gd name="connsiteY42" fmla="*/ 1974850 h 2501900"/>
              <a:gd name="connsiteX43" fmla="*/ 212725 w 1768475"/>
              <a:gd name="connsiteY43" fmla="*/ 1943100 h 2501900"/>
              <a:gd name="connsiteX44" fmla="*/ 190500 w 1768475"/>
              <a:gd name="connsiteY44" fmla="*/ 1946275 h 2501900"/>
              <a:gd name="connsiteX45" fmla="*/ 171450 w 1768475"/>
              <a:gd name="connsiteY45" fmla="*/ 1917700 h 2501900"/>
              <a:gd name="connsiteX46" fmla="*/ 114300 w 1768475"/>
              <a:gd name="connsiteY46" fmla="*/ 1898650 h 2501900"/>
              <a:gd name="connsiteX47" fmla="*/ 66675 w 1768475"/>
              <a:gd name="connsiteY47" fmla="*/ 1911350 h 2501900"/>
              <a:gd name="connsiteX48" fmla="*/ 0 w 1768475"/>
              <a:gd name="connsiteY48" fmla="*/ 1876425 h 2501900"/>
              <a:gd name="connsiteX49" fmla="*/ 19050 w 1768475"/>
              <a:gd name="connsiteY49" fmla="*/ 1835150 h 2501900"/>
              <a:gd name="connsiteX50" fmla="*/ 19050 w 1768475"/>
              <a:gd name="connsiteY50" fmla="*/ 1797050 h 2501900"/>
              <a:gd name="connsiteX51" fmla="*/ 57150 w 1768475"/>
              <a:gd name="connsiteY51" fmla="*/ 1762125 h 2501900"/>
              <a:gd name="connsiteX52" fmla="*/ 47625 w 1768475"/>
              <a:gd name="connsiteY52" fmla="*/ 1695450 h 2501900"/>
              <a:gd name="connsiteX53" fmla="*/ 82550 w 1768475"/>
              <a:gd name="connsiteY53" fmla="*/ 1676400 h 2501900"/>
              <a:gd name="connsiteX54" fmla="*/ 155575 w 1768475"/>
              <a:gd name="connsiteY54" fmla="*/ 1660525 h 2501900"/>
              <a:gd name="connsiteX55" fmla="*/ 209550 w 1768475"/>
              <a:gd name="connsiteY55" fmla="*/ 1628775 h 2501900"/>
              <a:gd name="connsiteX56" fmla="*/ 247650 w 1768475"/>
              <a:gd name="connsiteY56" fmla="*/ 1644650 h 2501900"/>
              <a:gd name="connsiteX57" fmla="*/ 269875 w 1768475"/>
              <a:gd name="connsiteY57" fmla="*/ 1616075 h 2501900"/>
              <a:gd name="connsiteX58" fmla="*/ 349250 w 1768475"/>
              <a:gd name="connsiteY58" fmla="*/ 1619250 h 2501900"/>
              <a:gd name="connsiteX59" fmla="*/ 330200 w 1768475"/>
              <a:gd name="connsiteY59" fmla="*/ 1577975 h 2501900"/>
              <a:gd name="connsiteX60" fmla="*/ 361950 w 1768475"/>
              <a:gd name="connsiteY60" fmla="*/ 1549400 h 2501900"/>
              <a:gd name="connsiteX61" fmla="*/ 438150 w 1768475"/>
              <a:gd name="connsiteY61" fmla="*/ 1536700 h 2501900"/>
              <a:gd name="connsiteX62" fmla="*/ 466725 w 1768475"/>
              <a:gd name="connsiteY62" fmla="*/ 1473200 h 2501900"/>
              <a:gd name="connsiteX63" fmla="*/ 539750 w 1768475"/>
              <a:gd name="connsiteY63" fmla="*/ 1457325 h 2501900"/>
              <a:gd name="connsiteX64" fmla="*/ 596900 w 1768475"/>
              <a:gd name="connsiteY64" fmla="*/ 1400175 h 2501900"/>
              <a:gd name="connsiteX65" fmla="*/ 635000 w 1768475"/>
              <a:gd name="connsiteY65" fmla="*/ 1333500 h 2501900"/>
              <a:gd name="connsiteX66" fmla="*/ 660400 w 1768475"/>
              <a:gd name="connsiteY66" fmla="*/ 1279525 h 2501900"/>
              <a:gd name="connsiteX67" fmla="*/ 701675 w 1768475"/>
              <a:gd name="connsiteY67" fmla="*/ 1257300 h 2501900"/>
              <a:gd name="connsiteX68" fmla="*/ 717550 w 1768475"/>
              <a:gd name="connsiteY68" fmla="*/ 1212850 h 2501900"/>
              <a:gd name="connsiteX69" fmla="*/ 762000 w 1768475"/>
              <a:gd name="connsiteY69" fmla="*/ 1181100 h 2501900"/>
              <a:gd name="connsiteX70" fmla="*/ 825500 w 1768475"/>
              <a:gd name="connsiteY70" fmla="*/ 1123950 h 2501900"/>
              <a:gd name="connsiteX71" fmla="*/ 860425 w 1768475"/>
              <a:gd name="connsiteY71" fmla="*/ 1108075 h 2501900"/>
              <a:gd name="connsiteX72" fmla="*/ 873125 w 1768475"/>
              <a:gd name="connsiteY72" fmla="*/ 1044575 h 2501900"/>
              <a:gd name="connsiteX73" fmla="*/ 854075 w 1768475"/>
              <a:gd name="connsiteY73" fmla="*/ 1003300 h 2501900"/>
              <a:gd name="connsiteX74" fmla="*/ 879475 w 1768475"/>
              <a:gd name="connsiteY74" fmla="*/ 977900 h 2501900"/>
              <a:gd name="connsiteX75" fmla="*/ 908050 w 1768475"/>
              <a:gd name="connsiteY75" fmla="*/ 930275 h 2501900"/>
              <a:gd name="connsiteX76" fmla="*/ 936625 w 1768475"/>
              <a:gd name="connsiteY76" fmla="*/ 939800 h 2501900"/>
              <a:gd name="connsiteX77" fmla="*/ 1009650 w 1768475"/>
              <a:gd name="connsiteY77" fmla="*/ 898525 h 2501900"/>
              <a:gd name="connsiteX78" fmla="*/ 1025525 w 1768475"/>
              <a:gd name="connsiteY78" fmla="*/ 841375 h 2501900"/>
              <a:gd name="connsiteX79" fmla="*/ 1038225 w 1768475"/>
              <a:gd name="connsiteY79" fmla="*/ 784225 h 2501900"/>
              <a:gd name="connsiteX80" fmla="*/ 1073150 w 1768475"/>
              <a:gd name="connsiteY80" fmla="*/ 720725 h 2501900"/>
              <a:gd name="connsiteX81" fmla="*/ 1139825 w 1768475"/>
              <a:gd name="connsiteY81" fmla="*/ 682625 h 2501900"/>
              <a:gd name="connsiteX82" fmla="*/ 1177925 w 1768475"/>
              <a:gd name="connsiteY82" fmla="*/ 666750 h 2501900"/>
              <a:gd name="connsiteX83" fmla="*/ 1193800 w 1768475"/>
              <a:gd name="connsiteY83" fmla="*/ 628650 h 2501900"/>
              <a:gd name="connsiteX84" fmla="*/ 1203325 w 1768475"/>
              <a:gd name="connsiteY84" fmla="*/ 590550 h 2501900"/>
              <a:gd name="connsiteX85" fmla="*/ 1254125 w 1768475"/>
              <a:gd name="connsiteY85" fmla="*/ 558800 h 2501900"/>
              <a:gd name="connsiteX86" fmla="*/ 1250950 w 1768475"/>
              <a:gd name="connsiteY86" fmla="*/ 514350 h 2501900"/>
              <a:gd name="connsiteX87" fmla="*/ 1292225 w 1768475"/>
              <a:gd name="connsiteY87" fmla="*/ 460375 h 2501900"/>
              <a:gd name="connsiteX88" fmla="*/ 1320800 w 1768475"/>
              <a:gd name="connsiteY88" fmla="*/ 409575 h 2501900"/>
              <a:gd name="connsiteX89" fmla="*/ 1292225 w 1768475"/>
              <a:gd name="connsiteY89" fmla="*/ 342900 h 2501900"/>
              <a:gd name="connsiteX90" fmla="*/ 1270000 w 1768475"/>
              <a:gd name="connsiteY90" fmla="*/ 295275 h 2501900"/>
              <a:gd name="connsiteX91" fmla="*/ 1295400 w 1768475"/>
              <a:gd name="connsiteY91" fmla="*/ 238125 h 2501900"/>
              <a:gd name="connsiteX92" fmla="*/ 1285875 w 1768475"/>
              <a:gd name="connsiteY92" fmla="*/ 180975 h 2501900"/>
              <a:gd name="connsiteX93" fmla="*/ 1298575 w 1768475"/>
              <a:gd name="connsiteY93" fmla="*/ 114300 h 2501900"/>
              <a:gd name="connsiteX94" fmla="*/ 1330325 w 1768475"/>
              <a:gd name="connsiteY94" fmla="*/ 38100 h 2501900"/>
              <a:gd name="connsiteX95" fmla="*/ 1371600 w 1768475"/>
              <a:gd name="connsiteY95" fmla="*/ 0 h 2501900"/>
              <a:gd name="connsiteX0" fmla="*/ 1768475 w 1768475"/>
              <a:gd name="connsiteY0" fmla="*/ 2463800 h 2463800"/>
              <a:gd name="connsiteX1" fmla="*/ 1752600 w 1768475"/>
              <a:gd name="connsiteY1" fmla="*/ 2406650 h 2463800"/>
              <a:gd name="connsiteX2" fmla="*/ 1720850 w 1768475"/>
              <a:gd name="connsiteY2" fmla="*/ 2362200 h 2463800"/>
              <a:gd name="connsiteX3" fmla="*/ 1682750 w 1768475"/>
              <a:gd name="connsiteY3" fmla="*/ 2349500 h 2463800"/>
              <a:gd name="connsiteX4" fmla="*/ 1628775 w 1768475"/>
              <a:gd name="connsiteY4" fmla="*/ 2352675 h 2463800"/>
              <a:gd name="connsiteX5" fmla="*/ 1587500 w 1768475"/>
              <a:gd name="connsiteY5" fmla="*/ 2349500 h 2463800"/>
              <a:gd name="connsiteX6" fmla="*/ 1552575 w 1768475"/>
              <a:gd name="connsiteY6" fmla="*/ 2330450 h 2463800"/>
              <a:gd name="connsiteX7" fmla="*/ 1524000 w 1768475"/>
              <a:gd name="connsiteY7" fmla="*/ 2343150 h 2463800"/>
              <a:gd name="connsiteX8" fmla="*/ 1473200 w 1768475"/>
              <a:gd name="connsiteY8" fmla="*/ 2330450 h 2463800"/>
              <a:gd name="connsiteX9" fmla="*/ 1438275 w 1768475"/>
              <a:gd name="connsiteY9" fmla="*/ 2317750 h 2463800"/>
              <a:gd name="connsiteX10" fmla="*/ 1422400 w 1768475"/>
              <a:gd name="connsiteY10" fmla="*/ 2311400 h 2463800"/>
              <a:gd name="connsiteX11" fmla="*/ 1362075 w 1768475"/>
              <a:gd name="connsiteY11" fmla="*/ 2317750 h 2463800"/>
              <a:gd name="connsiteX12" fmla="*/ 1308100 w 1768475"/>
              <a:gd name="connsiteY12" fmla="*/ 2273300 h 2463800"/>
              <a:gd name="connsiteX13" fmla="*/ 1276350 w 1768475"/>
              <a:gd name="connsiteY13" fmla="*/ 2251075 h 2463800"/>
              <a:gd name="connsiteX14" fmla="*/ 1241425 w 1768475"/>
              <a:gd name="connsiteY14" fmla="*/ 2238375 h 2463800"/>
              <a:gd name="connsiteX15" fmla="*/ 1216025 w 1768475"/>
              <a:gd name="connsiteY15" fmla="*/ 2203450 h 2463800"/>
              <a:gd name="connsiteX16" fmla="*/ 1168400 w 1768475"/>
              <a:gd name="connsiteY16" fmla="*/ 2190750 h 2463800"/>
              <a:gd name="connsiteX17" fmla="*/ 1130300 w 1768475"/>
              <a:gd name="connsiteY17" fmla="*/ 2168525 h 2463800"/>
              <a:gd name="connsiteX18" fmla="*/ 1095375 w 1768475"/>
              <a:gd name="connsiteY18" fmla="*/ 2171700 h 2463800"/>
              <a:gd name="connsiteX19" fmla="*/ 1079500 w 1768475"/>
              <a:gd name="connsiteY19" fmla="*/ 2149475 h 2463800"/>
              <a:gd name="connsiteX20" fmla="*/ 1035050 w 1768475"/>
              <a:gd name="connsiteY20" fmla="*/ 2136775 h 2463800"/>
              <a:gd name="connsiteX21" fmla="*/ 1009650 w 1768475"/>
              <a:gd name="connsiteY21" fmla="*/ 2143125 h 2463800"/>
              <a:gd name="connsiteX22" fmla="*/ 962025 w 1768475"/>
              <a:gd name="connsiteY22" fmla="*/ 2136775 h 2463800"/>
              <a:gd name="connsiteX23" fmla="*/ 917575 w 1768475"/>
              <a:gd name="connsiteY23" fmla="*/ 2152650 h 2463800"/>
              <a:gd name="connsiteX24" fmla="*/ 850900 w 1768475"/>
              <a:gd name="connsiteY24" fmla="*/ 2146300 h 2463800"/>
              <a:gd name="connsiteX25" fmla="*/ 850900 w 1768475"/>
              <a:gd name="connsiteY25" fmla="*/ 2146300 h 2463800"/>
              <a:gd name="connsiteX26" fmla="*/ 796925 w 1768475"/>
              <a:gd name="connsiteY26" fmla="*/ 2152650 h 2463800"/>
              <a:gd name="connsiteX27" fmla="*/ 809625 w 1768475"/>
              <a:gd name="connsiteY27" fmla="*/ 2127250 h 2463800"/>
              <a:gd name="connsiteX28" fmla="*/ 787400 w 1768475"/>
              <a:gd name="connsiteY28" fmla="*/ 2117725 h 2463800"/>
              <a:gd name="connsiteX29" fmla="*/ 806450 w 1768475"/>
              <a:gd name="connsiteY29" fmla="*/ 2057400 h 2463800"/>
              <a:gd name="connsiteX30" fmla="*/ 781050 w 1768475"/>
              <a:gd name="connsiteY30" fmla="*/ 2003425 h 2463800"/>
              <a:gd name="connsiteX31" fmla="*/ 736600 w 1768475"/>
              <a:gd name="connsiteY31" fmla="*/ 1962150 h 2463800"/>
              <a:gd name="connsiteX32" fmla="*/ 692150 w 1768475"/>
              <a:gd name="connsiteY32" fmla="*/ 1939925 h 2463800"/>
              <a:gd name="connsiteX33" fmla="*/ 647700 w 1768475"/>
              <a:gd name="connsiteY33" fmla="*/ 2003425 h 2463800"/>
              <a:gd name="connsiteX34" fmla="*/ 590550 w 1768475"/>
              <a:gd name="connsiteY34" fmla="*/ 2060575 h 2463800"/>
              <a:gd name="connsiteX35" fmla="*/ 552450 w 1768475"/>
              <a:gd name="connsiteY35" fmla="*/ 2070100 h 2463800"/>
              <a:gd name="connsiteX36" fmla="*/ 508000 w 1768475"/>
              <a:gd name="connsiteY36" fmla="*/ 2047875 h 2463800"/>
              <a:gd name="connsiteX37" fmla="*/ 463550 w 1768475"/>
              <a:gd name="connsiteY37" fmla="*/ 2051050 h 2463800"/>
              <a:gd name="connsiteX38" fmla="*/ 406400 w 1768475"/>
              <a:gd name="connsiteY38" fmla="*/ 2028825 h 2463800"/>
              <a:gd name="connsiteX39" fmla="*/ 365125 w 1768475"/>
              <a:gd name="connsiteY39" fmla="*/ 2035175 h 2463800"/>
              <a:gd name="connsiteX40" fmla="*/ 323850 w 1768475"/>
              <a:gd name="connsiteY40" fmla="*/ 2006600 h 2463800"/>
              <a:gd name="connsiteX41" fmla="*/ 301625 w 1768475"/>
              <a:gd name="connsiteY41" fmla="*/ 1965325 h 2463800"/>
              <a:gd name="connsiteX42" fmla="*/ 250825 w 1768475"/>
              <a:gd name="connsiteY42" fmla="*/ 1936750 h 2463800"/>
              <a:gd name="connsiteX43" fmla="*/ 212725 w 1768475"/>
              <a:gd name="connsiteY43" fmla="*/ 1905000 h 2463800"/>
              <a:gd name="connsiteX44" fmla="*/ 190500 w 1768475"/>
              <a:gd name="connsiteY44" fmla="*/ 1908175 h 2463800"/>
              <a:gd name="connsiteX45" fmla="*/ 171450 w 1768475"/>
              <a:gd name="connsiteY45" fmla="*/ 1879600 h 2463800"/>
              <a:gd name="connsiteX46" fmla="*/ 114300 w 1768475"/>
              <a:gd name="connsiteY46" fmla="*/ 1860550 h 2463800"/>
              <a:gd name="connsiteX47" fmla="*/ 66675 w 1768475"/>
              <a:gd name="connsiteY47" fmla="*/ 1873250 h 2463800"/>
              <a:gd name="connsiteX48" fmla="*/ 0 w 1768475"/>
              <a:gd name="connsiteY48" fmla="*/ 1838325 h 2463800"/>
              <a:gd name="connsiteX49" fmla="*/ 19050 w 1768475"/>
              <a:gd name="connsiteY49" fmla="*/ 1797050 h 2463800"/>
              <a:gd name="connsiteX50" fmla="*/ 19050 w 1768475"/>
              <a:gd name="connsiteY50" fmla="*/ 1758950 h 2463800"/>
              <a:gd name="connsiteX51" fmla="*/ 57150 w 1768475"/>
              <a:gd name="connsiteY51" fmla="*/ 1724025 h 2463800"/>
              <a:gd name="connsiteX52" fmla="*/ 47625 w 1768475"/>
              <a:gd name="connsiteY52" fmla="*/ 1657350 h 2463800"/>
              <a:gd name="connsiteX53" fmla="*/ 82550 w 1768475"/>
              <a:gd name="connsiteY53" fmla="*/ 1638300 h 2463800"/>
              <a:gd name="connsiteX54" fmla="*/ 155575 w 1768475"/>
              <a:gd name="connsiteY54" fmla="*/ 1622425 h 2463800"/>
              <a:gd name="connsiteX55" fmla="*/ 209550 w 1768475"/>
              <a:gd name="connsiteY55" fmla="*/ 1590675 h 2463800"/>
              <a:gd name="connsiteX56" fmla="*/ 247650 w 1768475"/>
              <a:gd name="connsiteY56" fmla="*/ 1606550 h 2463800"/>
              <a:gd name="connsiteX57" fmla="*/ 269875 w 1768475"/>
              <a:gd name="connsiteY57" fmla="*/ 1577975 h 2463800"/>
              <a:gd name="connsiteX58" fmla="*/ 349250 w 1768475"/>
              <a:gd name="connsiteY58" fmla="*/ 1581150 h 2463800"/>
              <a:gd name="connsiteX59" fmla="*/ 330200 w 1768475"/>
              <a:gd name="connsiteY59" fmla="*/ 1539875 h 2463800"/>
              <a:gd name="connsiteX60" fmla="*/ 361950 w 1768475"/>
              <a:gd name="connsiteY60" fmla="*/ 1511300 h 2463800"/>
              <a:gd name="connsiteX61" fmla="*/ 438150 w 1768475"/>
              <a:gd name="connsiteY61" fmla="*/ 1498600 h 2463800"/>
              <a:gd name="connsiteX62" fmla="*/ 466725 w 1768475"/>
              <a:gd name="connsiteY62" fmla="*/ 1435100 h 2463800"/>
              <a:gd name="connsiteX63" fmla="*/ 539750 w 1768475"/>
              <a:gd name="connsiteY63" fmla="*/ 1419225 h 2463800"/>
              <a:gd name="connsiteX64" fmla="*/ 596900 w 1768475"/>
              <a:gd name="connsiteY64" fmla="*/ 1362075 h 2463800"/>
              <a:gd name="connsiteX65" fmla="*/ 635000 w 1768475"/>
              <a:gd name="connsiteY65" fmla="*/ 1295400 h 2463800"/>
              <a:gd name="connsiteX66" fmla="*/ 660400 w 1768475"/>
              <a:gd name="connsiteY66" fmla="*/ 1241425 h 2463800"/>
              <a:gd name="connsiteX67" fmla="*/ 701675 w 1768475"/>
              <a:gd name="connsiteY67" fmla="*/ 1219200 h 2463800"/>
              <a:gd name="connsiteX68" fmla="*/ 717550 w 1768475"/>
              <a:gd name="connsiteY68" fmla="*/ 1174750 h 2463800"/>
              <a:gd name="connsiteX69" fmla="*/ 762000 w 1768475"/>
              <a:gd name="connsiteY69" fmla="*/ 1143000 h 2463800"/>
              <a:gd name="connsiteX70" fmla="*/ 825500 w 1768475"/>
              <a:gd name="connsiteY70" fmla="*/ 1085850 h 2463800"/>
              <a:gd name="connsiteX71" fmla="*/ 860425 w 1768475"/>
              <a:gd name="connsiteY71" fmla="*/ 1069975 h 2463800"/>
              <a:gd name="connsiteX72" fmla="*/ 873125 w 1768475"/>
              <a:gd name="connsiteY72" fmla="*/ 1006475 h 2463800"/>
              <a:gd name="connsiteX73" fmla="*/ 854075 w 1768475"/>
              <a:gd name="connsiteY73" fmla="*/ 965200 h 2463800"/>
              <a:gd name="connsiteX74" fmla="*/ 879475 w 1768475"/>
              <a:gd name="connsiteY74" fmla="*/ 939800 h 2463800"/>
              <a:gd name="connsiteX75" fmla="*/ 908050 w 1768475"/>
              <a:gd name="connsiteY75" fmla="*/ 892175 h 2463800"/>
              <a:gd name="connsiteX76" fmla="*/ 936625 w 1768475"/>
              <a:gd name="connsiteY76" fmla="*/ 901700 h 2463800"/>
              <a:gd name="connsiteX77" fmla="*/ 1009650 w 1768475"/>
              <a:gd name="connsiteY77" fmla="*/ 860425 h 2463800"/>
              <a:gd name="connsiteX78" fmla="*/ 1025525 w 1768475"/>
              <a:gd name="connsiteY78" fmla="*/ 803275 h 2463800"/>
              <a:gd name="connsiteX79" fmla="*/ 1038225 w 1768475"/>
              <a:gd name="connsiteY79" fmla="*/ 746125 h 2463800"/>
              <a:gd name="connsiteX80" fmla="*/ 1073150 w 1768475"/>
              <a:gd name="connsiteY80" fmla="*/ 682625 h 2463800"/>
              <a:gd name="connsiteX81" fmla="*/ 1139825 w 1768475"/>
              <a:gd name="connsiteY81" fmla="*/ 644525 h 2463800"/>
              <a:gd name="connsiteX82" fmla="*/ 1177925 w 1768475"/>
              <a:gd name="connsiteY82" fmla="*/ 628650 h 2463800"/>
              <a:gd name="connsiteX83" fmla="*/ 1193800 w 1768475"/>
              <a:gd name="connsiteY83" fmla="*/ 590550 h 2463800"/>
              <a:gd name="connsiteX84" fmla="*/ 1203325 w 1768475"/>
              <a:gd name="connsiteY84" fmla="*/ 552450 h 2463800"/>
              <a:gd name="connsiteX85" fmla="*/ 1254125 w 1768475"/>
              <a:gd name="connsiteY85" fmla="*/ 520700 h 2463800"/>
              <a:gd name="connsiteX86" fmla="*/ 1250950 w 1768475"/>
              <a:gd name="connsiteY86" fmla="*/ 476250 h 2463800"/>
              <a:gd name="connsiteX87" fmla="*/ 1292225 w 1768475"/>
              <a:gd name="connsiteY87" fmla="*/ 422275 h 2463800"/>
              <a:gd name="connsiteX88" fmla="*/ 1320800 w 1768475"/>
              <a:gd name="connsiteY88" fmla="*/ 371475 h 2463800"/>
              <a:gd name="connsiteX89" fmla="*/ 1292225 w 1768475"/>
              <a:gd name="connsiteY89" fmla="*/ 304800 h 2463800"/>
              <a:gd name="connsiteX90" fmla="*/ 1270000 w 1768475"/>
              <a:gd name="connsiteY90" fmla="*/ 257175 h 2463800"/>
              <a:gd name="connsiteX91" fmla="*/ 1295400 w 1768475"/>
              <a:gd name="connsiteY91" fmla="*/ 200025 h 2463800"/>
              <a:gd name="connsiteX92" fmla="*/ 1285875 w 1768475"/>
              <a:gd name="connsiteY92" fmla="*/ 142875 h 2463800"/>
              <a:gd name="connsiteX93" fmla="*/ 1298575 w 1768475"/>
              <a:gd name="connsiteY93" fmla="*/ 76200 h 2463800"/>
              <a:gd name="connsiteX94" fmla="*/ 1330325 w 1768475"/>
              <a:gd name="connsiteY94" fmla="*/ 0 h 2463800"/>
              <a:gd name="connsiteX0" fmla="*/ 1768475 w 1768475"/>
              <a:gd name="connsiteY0" fmla="*/ 2387600 h 2387600"/>
              <a:gd name="connsiteX1" fmla="*/ 1752600 w 1768475"/>
              <a:gd name="connsiteY1" fmla="*/ 2330450 h 2387600"/>
              <a:gd name="connsiteX2" fmla="*/ 1720850 w 1768475"/>
              <a:gd name="connsiteY2" fmla="*/ 2286000 h 2387600"/>
              <a:gd name="connsiteX3" fmla="*/ 1682750 w 1768475"/>
              <a:gd name="connsiteY3" fmla="*/ 2273300 h 2387600"/>
              <a:gd name="connsiteX4" fmla="*/ 1628775 w 1768475"/>
              <a:gd name="connsiteY4" fmla="*/ 2276475 h 2387600"/>
              <a:gd name="connsiteX5" fmla="*/ 1587500 w 1768475"/>
              <a:gd name="connsiteY5" fmla="*/ 2273300 h 2387600"/>
              <a:gd name="connsiteX6" fmla="*/ 1552575 w 1768475"/>
              <a:gd name="connsiteY6" fmla="*/ 2254250 h 2387600"/>
              <a:gd name="connsiteX7" fmla="*/ 1524000 w 1768475"/>
              <a:gd name="connsiteY7" fmla="*/ 2266950 h 2387600"/>
              <a:gd name="connsiteX8" fmla="*/ 1473200 w 1768475"/>
              <a:gd name="connsiteY8" fmla="*/ 2254250 h 2387600"/>
              <a:gd name="connsiteX9" fmla="*/ 1438275 w 1768475"/>
              <a:gd name="connsiteY9" fmla="*/ 2241550 h 2387600"/>
              <a:gd name="connsiteX10" fmla="*/ 1422400 w 1768475"/>
              <a:gd name="connsiteY10" fmla="*/ 2235200 h 2387600"/>
              <a:gd name="connsiteX11" fmla="*/ 1362075 w 1768475"/>
              <a:gd name="connsiteY11" fmla="*/ 2241550 h 2387600"/>
              <a:gd name="connsiteX12" fmla="*/ 1308100 w 1768475"/>
              <a:gd name="connsiteY12" fmla="*/ 2197100 h 2387600"/>
              <a:gd name="connsiteX13" fmla="*/ 1276350 w 1768475"/>
              <a:gd name="connsiteY13" fmla="*/ 2174875 h 2387600"/>
              <a:gd name="connsiteX14" fmla="*/ 1241425 w 1768475"/>
              <a:gd name="connsiteY14" fmla="*/ 2162175 h 2387600"/>
              <a:gd name="connsiteX15" fmla="*/ 1216025 w 1768475"/>
              <a:gd name="connsiteY15" fmla="*/ 2127250 h 2387600"/>
              <a:gd name="connsiteX16" fmla="*/ 1168400 w 1768475"/>
              <a:gd name="connsiteY16" fmla="*/ 2114550 h 2387600"/>
              <a:gd name="connsiteX17" fmla="*/ 1130300 w 1768475"/>
              <a:gd name="connsiteY17" fmla="*/ 2092325 h 2387600"/>
              <a:gd name="connsiteX18" fmla="*/ 1095375 w 1768475"/>
              <a:gd name="connsiteY18" fmla="*/ 2095500 h 2387600"/>
              <a:gd name="connsiteX19" fmla="*/ 1079500 w 1768475"/>
              <a:gd name="connsiteY19" fmla="*/ 2073275 h 2387600"/>
              <a:gd name="connsiteX20" fmla="*/ 1035050 w 1768475"/>
              <a:gd name="connsiteY20" fmla="*/ 2060575 h 2387600"/>
              <a:gd name="connsiteX21" fmla="*/ 1009650 w 1768475"/>
              <a:gd name="connsiteY21" fmla="*/ 2066925 h 2387600"/>
              <a:gd name="connsiteX22" fmla="*/ 962025 w 1768475"/>
              <a:gd name="connsiteY22" fmla="*/ 2060575 h 2387600"/>
              <a:gd name="connsiteX23" fmla="*/ 917575 w 1768475"/>
              <a:gd name="connsiteY23" fmla="*/ 2076450 h 2387600"/>
              <a:gd name="connsiteX24" fmla="*/ 850900 w 1768475"/>
              <a:gd name="connsiteY24" fmla="*/ 2070100 h 2387600"/>
              <a:gd name="connsiteX25" fmla="*/ 850900 w 1768475"/>
              <a:gd name="connsiteY25" fmla="*/ 2070100 h 2387600"/>
              <a:gd name="connsiteX26" fmla="*/ 796925 w 1768475"/>
              <a:gd name="connsiteY26" fmla="*/ 2076450 h 2387600"/>
              <a:gd name="connsiteX27" fmla="*/ 809625 w 1768475"/>
              <a:gd name="connsiteY27" fmla="*/ 2051050 h 2387600"/>
              <a:gd name="connsiteX28" fmla="*/ 787400 w 1768475"/>
              <a:gd name="connsiteY28" fmla="*/ 2041525 h 2387600"/>
              <a:gd name="connsiteX29" fmla="*/ 806450 w 1768475"/>
              <a:gd name="connsiteY29" fmla="*/ 1981200 h 2387600"/>
              <a:gd name="connsiteX30" fmla="*/ 781050 w 1768475"/>
              <a:gd name="connsiteY30" fmla="*/ 1927225 h 2387600"/>
              <a:gd name="connsiteX31" fmla="*/ 736600 w 1768475"/>
              <a:gd name="connsiteY31" fmla="*/ 1885950 h 2387600"/>
              <a:gd name="connsiteX32" fmla="*/ 692150 w 1768475"/>
              <a:gd name="connsiteY32" fmla="*/ 1863725 h 2387600"/>
              <a:gd name="connsiteX33" fmla="*/ 647700 w 1768475"/>
              <a:gd name="connsiteY33" fmla="*/ 1927225 h 2387600"/>
              <a:gd name="connsiteX34" fmla="*/ 590550 w 1768475"/>
              <a:gd name="connsiteY34" fmla="*/ 1984375 h 2387600"/>
              <a:gd name="connsiteX35" fmla="*/ 552450 w 1768475"/>
              <a:gd name="connsiteY35" fmla="*/ 1993900 h 2387600"/>
              <a:gd name="connsiteX36" fmla="*/ 508000 w 1768475"/>
              <a:gd name="connsiteY36" fmla="*/ 1971675 h 2387600"/>
              <a:gd name="connsiteX37" fmla="*/ 463550 w 1768475"/>
              <a:gd name="connsiteY37" fmla="*/ 1974850 h 2387600"/>
              <a:gd name="connsiteX38" fmla="*/ 406400 w 1768475"/>
              <a:gd name="connsiteY38" fmla="*/ 1952625 h 2387600"/>
              <a:gd name="connsiteX39" fmla="*/ 365125 w 1768475"/>
              <a:gd name="connsiteY39" fmla="*/ 1958975 h 2387600"/>
              <a:gd name="connsiteX40" fmla="*/ 323850 w 1768475"/>
              <a:gd name="connsiteY40" fmla="*/ 1930400 h 2387600"/>
              <a:gd name="connsiteX41" fmla="*/ 301625 w 1768475"/>
              <a:gd name="connsiteY41" fmla="*/ 1889125 h 2387600"/>
              <a:gd name="connsiteX42" fmla="*/ 250825 w 1768475"/>
              <a:gd name="connsiteY42" fmla="*/ 1860550 h 2387600"/>
              <a:gd name="connsiteX43" fmla="*/ 212725 w 1768475"/>
              <a:gd name="connsiteY43" fmla="*/ 1828800 h 2387600"/>
              <a:gd name="connsiteX44" fmla="*/ 190500 w 1768475"/>
              <a:gd name="connsiteY44" fmla="*/ 1831975 h 2387600"/>
              <a:gd name="connsiteX45" fmla="*/ 171450 w 1768475"/>
              <a:gd name="connsiteY45" fmla="*/ 1803400 h 2387600"/>
              <a:gd name="connsiteX46" fmla="*/ 114300 w 1768475"/>
              <a:gd name="connsiteY46" fmla="*/ 1784350 h 2387600"/>
              <a:gd name="connsiteX47" fmla="*/ 66675 w 1768475"/>
              <a:gd name="connsiteY47" fmla="*/ 1797050 h 2387600"/>
              <a:gd name="connsiteX48" fmla="*/ 0 w 1768475"/>
              <a:gd name="connsiteY48" fmla="*/ 1762125 h 2387600"/>
              <a:gd name="connsiteX49" fmla="*/ 19050 w 1768475"/>
              <a:gd name="connsiteY49" fmla="*/ 1720850 h 2387600"/>
              <a:gd name="connsiteX50" fmla="*/ 19050 w 1768475"/>
              <a:gd name="connsiteY50" fmla="*/ 1682750 h 2387600"/>
              <a:gd name="connsiteX51" fmla="*/ 57150 w 1768475"/>
              <a:gd name="connsiteY51" fmla="*/ 1647825 h 2387600"/>
              <a:gd name="connsiteX52" fmla="*/ 47625 w 1768475"/>
              <a:gd name="connsiteY52" fmla="*/ 1581150 h 2387600"/>
              <a:gd name="connsiteX53" fmla="*/ 82550 w 1768475"/>
              <a:gd name="connsiteY53" fmla="*/ 1562100 h 2387600"/>
              <a:gd name="connsiteX54" fmla="*/ 155575 w 1768475"/>
              <a:gd name="connsiteY54" fmla="*/ 1546225 h 2387600"/>
              <a:gd name="connsiteX55" fmla="*/ 209550 w 1768475"/>
              <a:gd name="connsiteY55" fmla="*/ 1514475 h 2387600"/>
              <a:gd name="connsiteX56" fmla="*/ 247650 w 1768475"/>
              <a:gd name="connsiteY56" fmla="*/ 1530350 h 2387600"/>
              <a:gd name="connsiteX57" fmla="*/ 269875 w 1768475"/>
              <a:gd name="connsiteY57" fmla="*/ 1501775 h 2387600"/>
              <a:gd name="connsiteX58" fmla="*/ 349250 w 1768475"/>
              <a:gd name="connsiteY58" fmla="*/ 1504950 h 2387600"/>
              <a:gd name="connsiteX59" fmla="*/ 330200 w 1768475"/>
              <a:gd name="connsiteY59" fmla="*/ 1463675 h 2387600"/>
              <a:gd name="connsiteX60" fmla="*/ 361950 w 1768475"/>
              <a:gd name="connsiteY60" fmla="*/ 1435100 h 2387600"/>
              <a:gd name="connsiteX61" fmla="*/ 438150 w 1768475"/>
              <a:gd name="connsiteY61" fmla="*/ 1422400 h 2387600"/>
              <a:gd name="connsiteX62" fmla="*/ 466725 w 1768475"/>
              <a:gd name="connsiteY62" fmla="*/ 1358900 h 2387600"/>
              <a:gd name="connsiteX63" fmla="*/ 539750 w 1768475"/>
              <a:gd name="connsiteY63" fmla="*/ 1343025 h 2387600"/>
              <a:gd name="connsiteX64" fmla="*/ 596900 w 1768475"/>
              <a:gd name="connsiteY64" fmla="*/ 1285875 h 2387600"/>
              <a:gd name="connsiteX65" fmla="*/ 635000 w 1768475"/>
              <a:gd name="connsiteY65" fmla="*/ 1219200 h 2387600"/>
              <a:gd name="connsiteX66" fmla="*/ 660400 w 1768475"/>
              <a:gd name="connsiteY66" fmla="*/ 1165225 h 2387600"/>
              <a:gd name="connsiteX67" fmla="*/ 701675 w 1768475"/>
              <a:gd name="connsiteY67" fmla="*/ 1143000 h 2387600"/>
              <a:gd name="connsiteX68" fmla="*/ 717550 w 1768475"/>
              <a:gd name="connsiteY68" fmla="*/ 1098550 h 2387600"/>
              <a:gd name="connsiteX69" fmla="*/ 762000 w 1768475"/>
              <a:gd name="connsiteY69" fmla="*/ 1066800 h 2387600"/>
              <a:gd name="connsiteX70" fmla="*/ 825500 w 1768475"/>
              <a:gd name="connsiteY70" fmla="*/ 1009650 h 2387600"/>
              <a:gd name="connsiteX71" fmla="*/ 860425 w 1768475"/>
              <a:gd name="connsiteY71" fmla="*/ 993775 h 2387600"/>
              <a:gd name="connsiteX72" fmla="*/ 873125 w 1768475"/>
              <a:gd name="connsiteY72" fmla="*/ 930275 h 2387600"/>
              <a:gd name="connsiteX73" fmla="*/ 854075 w 1768475"/>
              <a:gd name="connsiteY73" fmla="*/ 889000 h 2387600"/>
              <a:gd name="connsiteX74" fmla="*/ 879475 w 1768475"/>
              <a:gd name="connsiteY74" fmla="*/ 863600 h 2387600"/>
              <a:gd name="connsiteX75" fmla="*/ 908050 w 1768475"/>
              <a:gd name="connsiteY75" fmla="*/ 815975 h 2387600"/>
              <a:gd name="connsiteX76" fmla="*/ 936625 w 1768475"/>
              <a:gd name="connsiteY76" fmla="*/ 825500 h 2387600"/>
              <a:gd name="connsiteX77" fmla="*/ 1009650 w 1768475"/>
              <a:gd name="connsiteY77" fmla="*/ 784225 h 2387600"/>
              <a:gd name="connsiteX78" fmla="*/ 1025525 w 1768475"/>
              <a:gd name="connsiteY78" fmla="*/ 727075 h 2387600"/>
              <a:gd name="connsiteX79" fmla="*/ 1038225 w 1768475"/>
              <a:gd name="connsiteY79" fmla="*/ 669925 h 2387600"/>
              <a:gd name="connsiteX80" fmla="*/ 1073150 w 1768475"/>
              <a:gd name="connsiteY80" fmla="*/ 606425 h 2387600"/>
              <a:gd name="connsiteX81" fmla="*/ 1139825 w 1768475"/>
              <a:gd name="connsiteY81" fmla="*/ 568325 h 2387600"/>
              <a:gd name="connsiteX82" fmla="*/ 1177925 w 1768475"/>
              <a:gd name="connsiteY82" fmla="*/ 552450 h 2387600"/>
              <a:gd name="connsiteX83" fmla="*/ 1193800 w 1768475"/>
              <a:gd name="connsiteY83" fmla="*/ 514350 h 2387600"/>
              <a:gd name="connsiteX84" fmla="*/ 1203325 w 1768475"/>
              <a:gd name="connsiteY84" fmla="*/ 476250 h 2387600"/>
              <a:gd name="connsiteX85" fmla="*/ 1254125 w 1768475"/>
              <a:gd name="connsiteY85" fmla="*/ 444500 h 2387600"/>
              <a:gd name="connsiteX86" fmla="*/ 1250950 w 1768475"/>
              <a:gd name="connsiteY86" fmla="*/ 400050 h 2387600"/>
              <a:gd name="connsiteX87" fmla="*/ 1292225 w 1768475"/>
              <a:gd name="connsiteY87" fmla="*/ 346075 h 2387600"/>
              <a:gd name="connsiteX88" fmla="*/ 1320800 w 1768475"/>
              <a:gd name="connsiteY88" fmla="*/ 295275 h 2387600"/>
              <a:gd name="connsiteX89" fmla="*/ 1292225 w 1768475"/>
              <a:gd name="connsiteY89" fmla="*/ 228600 h 2387600"/>
              <a:gd name="connsiteX90" fmla="*/ 1270000 w 1768475"/>
              <a:gd name="connsiteY90" fmla="*/ 180975 h 2387600"/>
              <a:gd name="connsiteX91" fmla="*/ 1295400 w 1768475"/>
              <a:gd name="connsiteY91" fmla="*/ 123825 h 2387600"/>
              <a:gd name="connsiteX92" fmla="*/ 1285875 w 1768475"/>
              <a:gd name="connsiteY92" fmla="*/ 66675 h 2387600"/>
              <a:gd name="connsiteX93" fmla="*/ 1298575 w 1768475"/>
              <a:gd name="connsiteY93" fmla="*/ 0 h 2387600"/>
              <a:gd name="connsiteX0" fmla="*/ 1768475 w 1768475"/>
              <a:gd name="connsiteY0" fmla="*/ 2320925 h 2320925"/>
              <a:gd name="connsiteX1" fmla="*/ 1752600 w 1768475"/>
              <a:gd name="connsiteY1" fmla="*/ 2263775 h 2320925"/>
              <a:gd name="connsiteX2" fmla="*/ 1720850 w 1768475"/>
              <a:gd name="connsiteY2" fmla="*/ 2219325 h 2320925"/>
              <a:gd name="connsiteX3" fmla="*/ 1682750 w 1768475"/>
              <a:gd name="connsiteY3" fmla="*/ 2206625 h 2320925"/>
              <a:gd name="connsiteX4" fmla="*/ 1628775 w 1768475"/>
              <a:gd name="connsiteY4" fmla="*/ 2209800 h 2320925"/>
              <a:gd name="connsiteX5" fmla="*/ 1587500 w 1768475"/>
              <a:gd name="connsiteY5" fmla="*/ 2206625 h 2320925"/>
              <a:gd name="connsiteX6" fmla="*/ 1552575 w 1768475"/>
              <a:gd name="connsiteY6" fmla="*/ 2187575 h 2320925"/>
              <a:gd name="connsiteX7" fmla="*/ 1524000 w 1768475"/>
              <a:gd name="connsiteY7" fmla="*/ 2200275 h 2320925"/>
              <a:gd name="connsiteX8" fmla="*/ 1473200 w 1768475"/>
              <a:gd name="connsiteY8" fmla="*/ 2187575 h 2320925"/>
              <a:gd name="connsiteX9" fmla="*/ 1438275 w 1768475"/>
              <a:gd name="connsiteY9" fmla="*/ 2174875 h 2320925"/>
              <a:gd name="connsiteX10" fmla="*/ 1422400 w 1768475"/>
              <a:gd name="connsiteY10" fmla="*/ 2168525 h 2320925"/>
              <a:gd name="connsiteX11" fmla="*/ 1362075 w 1768475"/>
              <a:gd name="connsiteY11" fmla="*/ 2174875 h 2320925"/>
              <a:gd name="connsiteX12" fmla="*/ 1308100 w 1768475"/>
              <a:gd name="connsiteY12" fmla="*/ 2130425 h 2320925"/>
              <a:gd name="connsiteX13" fmla="*/ 1276350 w 1768475"/>
              <a:gd name="connsiteY13" fmla="*/ 2108200 h 2320925"/>
              <a:gd name="connsiteX14" fmla="*/ 1241425 w 1768475"/>
              <a:gd name="connsiteY14" fmla="*/ 2095500 h 2320925"/>
              <a:gd name="connsiteX15" fmla="*/ 1216025 w 1768475"/>
              <a:gd name="connsiteY15" fmla="*/ 2060575 h 2320925"/>
              <a:gd name="connsiteX16" fmla="*/ 1168400 w 1768475"/>
              <a:gd name="connsiteY16" fmla="*/ 2047875 h 2320925"/>
              <a:gd name="connsiteX17" fmla="*/ 1130300 w 1768475"/>
              <a:gd name="connsiteY17" fmla="*/ 2025650 h 2320925"/>
              <a:gd name="connsiteX18" fmla="*/ 1095375 w 1768475"/>
              <a:gd name="connsiteY18" fmla="*/ 2028825 h 2320925"/>
              <a:gd name="connsiteX19" fmla="*/ 1079500 w 1768475"/>
              <a:gd name="connsiteY19" fmla="*/ 2006600 h 2320925"/>
              <a:gd name="connsiteX20" fmla="*/ 1035050 w 1768475"/>
              <a:gd name="connsiteY20" fmla="*/ 1993900 h 2320925"/>
              <a:gd name="connsiteX21" fmla="*/ 1009650 w 1768475"/>
              <a:gd name="connsiteY21" fmla="*/ 2000250 h 2320925"/>
              <a:gd name="connsiteX22" fmla="*/ 962025 w 1768475"/>
              <a:gd name="connsiteY22" fmla="*/ 1993900 h 2320925"/>
              <a:gd name="connsiteX23" fmla="*/ 917575 w 1768475"/>
              <a:gd name="connsiteY23" fmla="*/ 2009775 h 2320925"/>
              <a:gd name="connsiteX24" fmla="*/ 850900 w 1768475"/>
              <a:gd name="connsiteY24" fmla="*/ 2003425 h 2320925"/>
              <a:gd name="connsiteX25" fmla="*/ 850900 w 1768475"/>
              <a:gd name="connsiteY25" fmla="*/ 2003425 h 2320925"/>
              <a:gd name="connsiteX26" fmla="*/ 796925 w 1768475"/>
              <a:gd name="connsiteY26" fmla="*/ 2009775 h 2320925"/>
              <a:gd name="connsiteX27" fmla="*/ 809625 w 1768475"/>
              <a:gd name="connsiteY27" fmla="*/ 1984375 h 2320925"/>
              <a:gd name="connsiteX28" fmla="*/ 787400 w 1768475"/>
              <a:gd name="connsiteY28" fmla="*/ 1974850 h 2320925"/>
              <a:gd name="connsiteX29" fmla="*/ 806450 w 1768475"/>
              <a:gd name="connsiteY29" fmla="*/ 1914525 h 2320925"/>
              <a:gd name="connsiteX30" fmla="*/ 781050 w 1768475"/>
              <a:gd name="connsiteY30" fmla="*/ 1860550 h 2320925"/>
              <a:gd name="connsiteX31" fmla="*/ 736600 w 1768475"/>
              <a:gd name="connsiteY31" fmla="*/ 1819275 h 2320925"/>
              <a:gd name="connsiteX32" fmla="*/ 692150 w 1768475"/>
              <a:gd name="connsiteY32" fmla="*/ 1797050 h 2320925"/>
              <a:gd name="connsiteX33" fmla="*/ 647700 w 1768475"/>
              <a:gd name="connsiteY33" fmla="*/ 1860550 h 2320925"/>
              <a:gd name="connsiteX34" fmla="*/ 590550 w 1768475"/>
              <a:gd name="connsiteY34" fmla="*/ 1917700 h 2320925"/>
              <a:gd name="connsiteX35" fmla="*/ 552450 w 1768475"/>
              <a:gd name="connsiteY35" fmla="*/ 1927225 h 2320925"/>
              <a:gd name="connsiteX36" fmla="*/ 508000 w 1768475"/>
              <a:gd name="connsiteY36" fmla="*/ 1905000 h 2320925"/>
              <a:gd name="connsiteX37" fmla="*/ 463550 w 1768475"/>
              <a:gd name="connsiteY37" fmla="*/ 1908175 h 2320925"/>
              <a:gd name="connsiteX38" fmla="*/ 406400 w 1768475"/>
              <a:gd name="connsiteY38" fmla="*/ 1885950 h 2320925"/>
              <a:gd name="connsiteX39" fmla="*/ 365125 w 1768475"/>
              <a:gd name="connsiteY39" fmla="*/ 1892300 h 2320925"/>
              <a:gd name="connsiteX40" fmla="*/ 323850 w 1768475"/>
              <a:gd name="connsiteY40" fmla="*/ 1863725 h 2320925"/>
              <a:gd name="connsiteX41" fmla="*/ 301625 w 1768475"/>
              <a:gd name="connsiteY41" fmla="*/ 1822450 h 2320925"/>
              <a:gd name="connsiteX42" fmla="*/ 250825 w 1768475"/>
              <a:gd name="connsiteY42" fmla="*/ 1793875 h 2320925"/>
              <a:gd name="connsiteX43" fmla="*/ 212725 w 1768475"/>
              <a:gd name="connsiteY43" fmla="*/ 1762125 h 2320925"/>
              <a:gd name="connsiteX44" fmla="*/ 190500 w 1768475"/>
              <a:gd name="connsiteY44" fmla="*/ 1765300 h 2320925"/>
              <a:gd name="connsiteX45" fmla="*/ 171450 w 1768475"/>
              <a:gd name="connsiteY45" fmla="*/ 1736725 h 2320925"/>
              <a:gd name="connsiteX46" fmla="*/ 114300 w 1768475"/>
              <a:gd name="connsiteY46" fmla="*/ 1717675 h 2320925"/>
              <a:gd name="connsiteX47" fmla="*/ 66675 w 1768475"/>
              <a:gd name="connsiteY47" fmla="*/ 1730375 h 2320925"/>
              <a:gd name="connsiteX48" fmla="*/ 0 w 1768475"/>
              <a:gd name="connsiteY48" fmla="*/ 1695450 h 2320925"/>
              <a:gd name="connsiteX49" fmla="*/ 19050 w 1768475"/>
              <a:gd name="connsiteY49" fmla="*/ 1654175 h 2320925"/>
              <a:gd name="connsiteX50" fmla="*/ 19050 w 1768475"/>
              <a:gd name="connsiteY50" fmla="*/ 1616075 h 2320925"/>
              <a:gd name="connsiteX51" fmla="*/ 57150 w 1768475"/>
              <a:gd name="connsiteY51" fmla="*/ 1581150 h 2320925"/>
              <a:gd name="connsiteX52" fmla="*/ 47625 w 1768475"/>
              <a:gd name="connsiteY52" fmla="*/ 1514475 h 2320925"/>
              <a:gd name="connsiteX53" fmla="*/ 82550 w 1768475"/>
              <a:gd name="connsiteY53" fmla="*/ 1495425 h 2320925"/>
              <a:gd name="connsiteX54" fmla="*/ 155575 w 1768475"/>
              <a:gd name="connsiteY54" fmla="*/ 1479550 h 2320925"/>
              <a:gd name="connsiteX55" fmla="*/ 209550 w 1768475"/>
              <a:gd name="connsiteY55" fmla="*/ 1447800 h 2320925"/>
              <a:gd name="connsiteX56" fmla="*/ 247650 w 1768475"/>
              <a:gd name="connsiteY56" fmla="*/ 1463675 h 2320925"/>
              <a:gd name="connsiteX57" fmla="*/ 269875 w 1768475"/>
              <a:gd name="connsiteY57" fmla="*/ 1435100 h 2320925"/>
              <a:gd name="connsiteX58" fmla="*/ 349250 w 1768475"/>
              <a:gd name="connsiteY58" fmla="*/ 1438275 h 2320925"/>
              <a:gd name="connsiteX59" fmla="*/ 330200 w 1768475"/>
              <a:gd name="connsiteY59" fmla="*/ 1397000 h 2320925"/>
              <a:gd name="connsiteX60" fmla="*/ 361950 w 1768475"/>
              <a:gd name="connsiteY60" fmla="*/ 1368425 h 2320925"/>
              <a:gd name="connsiteX61" fmla="*/ 438150 w 1768475"/>
              <a:gd name="connsiteY61" fmla="*/ 1355725 h 2320925"/>
              <a:gd name="connsiteX62" fmla="*/ 466725 w 1768475"/>
              <a:gd name="connsiteY62" fmla="*/ 1292225 h 2320925"/>
              <a:gd name="connsiteX63" fmla="*/ 539750 w 1768475"/>
              <a:gd name="connsiteY63" fmla="*/ 1276350 h 2320925"/>
              <a:gd name="connsiteX64" fmla="*/ 596900 w 1768475"/>
              <a:gd name="connsiteY64" fmla="*/ 1219200 h 2320925"/>
              <a:gd name="connsiteX65" fmla="*/ 635000 w 1768475"/>
              <a:gd name="connsiteY65" fmla="*/ 1152525 h 2320925"/>
              <a:gd name="connsiteX66" fmla="*/ 660400 w 1768475"/>
              <a:gd name="connsiteY66" fmla="*/ 1098550 h 2320925"/>
              <a:gd name="connsiteX67" fmla="*/ 701675 w 1768475"/>
              <a:gd name="connsiteY67" fmla="*/ 1076325 h 2320925"/>
              <a:gd name="connsiteX68" fmla="*/ 717550 w 1768475"/>
              <a:gd name="connsiteY68" fmla="*/ 1031875 h 2320925"/>
              <a:gd name="connsiteX69" fmla="*/ 762000 w 1768475"/>
              <a:gd name="connsiteY69" fmla="*/ 1000125 h 2320925"/>
              <a:gd name="connsiteX70" fmla="*/ 825500 w 1768475"/>
              <a:gd name="connsiteY70" fmla="*/ 942975 h 2320925"/>
              <a:gd name="connsiteX71" fmla="*/ 860425 w 1768475"/>
              <a:gd name="connsiteY71" fmla="*/ 927100 h 2320925"/>
              <a:gd name="connsiteX72" fmla="*/ 873125 w 1768475"/>
              <a:gd name="connsiteY72" fmla="*/ 863600 h 2320925"/>
              <a:gd name="connsiteX73" fmla="*/ 854075 w 1768475"/>
              <a:gd name="connsiteY73" fmla="*/ 822325 h 2320925"/>
              <a:gd name="connsiteX74" fmla="*/ 879475 w 1768475"/>
              <a:gd name="connsiteY74" fmla="*/ 796925 h 2320925"/>
              <a:gd name="connsiteX75" fmla="*/ 908050 w 1768475"/>
              <a:gd name="connsiteY75" fmla="*/ 749300 h 2320925"/>
              <a:gd name="connsiteX76" fmla="*/ 936625 w 1768475"/>
              <a:gd name="connsiteY76" fmla="*/ 758825 h 2320925"/>
              <a:gd name="connsiteX77" fmla="*/ 1009650 w 1768475"/>
              <a:gd name="connsiteY77" fmla="*/ 717550 h 2320925"/>
              <a:gd name="connsiteX78" fmla="*/ 1025525 w 1768475"/>
              <a:gd name="connsiteY78" fmla="*/ 660400 h 2320925"/>
              <a:gd name="connsiteX79" fmla="*/ 1038225 w 1768475"/>
              <a:gd name="connsiteY79" fmla="*/ 603250 h 2320925"/>
              <a:gd name="connsiteX80" fmla="*/ 1073150 w 1768475"/>
              <a:gd name="connsiteY80" fmla="*/ 539750 h 2320925"/>
              <a:gd name="connsiteX81" fmla="*/ 1139825 w 1768475"/>
              <a:gd name="connsiteY81" fmla="*/ 501650 h 2320925"/>
              <a:gd name="connsiteX82" fmla="*/ 1177925 w 1768475"/>
              <a:gd name="connsiteY82" fmla="*/ 485775 h 2320925"/>
              <a:gd name="connsiteX83" fmla="*/ 1193800 w 1768475"/>
              <a:gd name="connsiteY83" fmla="*/ 447675 h 2320925"/>
              <a:gd name="connsiteX84" fmla="*/ 1203325 w 1768475"/>
              <a:gd name="connsiteY84" fmla="*/ 409575 h 2320925"/>
              <a:gd name="connsiteX85" fmla="*/ 1254125 w 1768475"/>
              <a:gd name="connsiteY85" fmla="*/ 377825 h 2320925"/>
              <a:gd name="connsiteX86" fmla="*/ 1250950 w 1768475"/>
              <a:gd name="connsiteY86" fmla="*/ 333375 h 2320925"/>
              <a:gd name="connsiteX87" fmla="*/ 1292225 w 1768475"/>
              <a:gd name="connsiteY87" fmla="*/ 279400 h 2320925"/>
              <a:gd name="connsiteX88" fmla="*/ 1320800 w 1768475"/>
              <a:gd name="connsiteY88" fmla="*/ 228600 h 2320925"/>
              <a:gd name="connsiteX89" fmla="*/ 1292225 w 1768475"/>
              <a:gd name="connsiteY89" fmla="*/ 161925 h 2320925"/>
              <a:gd name="connsiteX90" fmla="*/ 1270000 w 1768475"/>
              <a:gd name="connsiteY90" fmla="*/ 114300 h 2320925"/>
              <a:gd name="connsiteX91" fmla="*/ 1295400 w 1768475"/>
              <a:gd name="connsiteY91" fmla="*/ 57150 h 2320925"/>
              <a:gd name="connsiteX92" fmla="*/ 1285875 w 1768475"/>
              <a:gd name="connsiteY92" fmla="*/ 0 h 2320925"/>
              <a:gd name="connsiteX0" fmla="*/ 1768475 w 1768475"/>
              <a:gd name="connsiteY0" fmla="*/ 2263775 h 2263775"/>
              <a:gd name="connsiteX1" fmla="*/ 1752600 w 1768475"/>
              <a:gd name="connsiteY1" fmla="*/ 2206625 h 2263775"/>
              <a:gd name="connsiteX2" fmla="*/ 1720850 w 1768475"/>
              <a:gd name="connsiteY2" fmla="*/ 2162175 h 2263775"/>
              <a:gd name="connsiteX3" fmla="*/ 1682750 w 1768475"/>
              <a:gd name="connsiteY3" fmla="*/ 2149475 h 2263775"/>
              <a:gd name="connsiteX4" fmla="*/ 1628775 w 1768475"/>
              <a:gd name="connsiteY4" fmla="*/ 2152650 h 2263775"/>
              <a:gd name="connsiteX5" fmla="*/ 1587500 w 1768475"/>
              <a:gd name="connsiteY5" fmla="*/ 2149475 h 2263775"/>
              <a:gd name="connsiteX6" fmla="*/ 1552575 w 1768475"/>
              <a:gd name="connsiteY6" fmla="*/ 2130425 h 2263775"/>
              <a:gd name="connsiteX7" fmla="*/ 1524000 w 1768475"/>
              <a:gd name="connsiteY7" fmla="*/ 2143125 h 2263775"/>
              <a:gd name="connsiteX8" fmla="*/ 1473200 w 1768475"/>
              <a:gd name="connsiteY8" fmla="*/ 2130425 h 2263775"/>
              <a:gd name="connsiteX9" fmla="*/ 1438275 w 1768475"/>
              <a:gd name="connsiteY9" fmla="*/ 2117725 h 2263775"/>
              <a:gd name="connsiteX10" fmla="*/ 1422400 w 1768475"/>
              <a:gd name="connsiteY10" fmla="*/ 2111375 h 2263775"/>
              <a:gd name="connsiteX11" fmla="*/ 1362075 w 1768475"/>
              <a:gd name="connsiteY11" fmla="*/ 2117725 h 2263775"/>
              <a:gd name="connsiteX12" fmla="*/ 1308100 w 1768475"/>
              <a:gd name="connsiteY12" fmla="*/ 2073275 h 2263775"/>
              <a:gd name="connsiteX13" fmla="*/ 1276350 w 1768475"/>
              <a:gd name="connsiteY13" fmla="*/ 2051050 h 2263775"/>
              <a:gd name="connsiteX14" fmla="*/ 1241425 w 1768475"/>
              <a:gd name="connsiteY14" fmla="*/ 2038350 h 2263775"/>
              <a:gd name="connsiteX15" fmla="*/ 1216025 w 1768475"/>
              <a:gd name="connsiteY15" fmla="*/ 2003425 h 2263775"/>
              <a:gd name="connsiteX16" fmla="*/ 1168400 w 1768475"/>
              <a:gd name="connsiteY16" fmla="*/ 1990725 h 2263775"/>
              <a:gd name="connsiteX17" fmla="*/ 1130300 w 1768475"/>
              <a:gd name="connsiteY17" fmla="*/ 1968500 h 2263775"/>
              <a:gd name="connsiteX18" fmla="*/ 1095375 w 1768475"/>
              <a:gd name="connsiteY18" fmla="*/ 1971675 h 2263775"/>
              <a:gd name="connsiteX19" fmla="*/ 1079500 w 1768475"/>
              <a:gd name="connsiteY19" fmla="*/ 1949450 h 2263775"/>
              <a:gd name="connsiteX20" fmla="*/ 1035050 w 1768475"/>
              <a:gd name="connsiteY20" fmla="*/ 1936750 h 2263775"/>
              <a:gd name="connsiteX21" fmla="*/ 1009650 w 1768475"/>
              <a:gd name="connsiteY21" fmla="*/ 1943100 h 2263775"/>
              <a:gd name="connsiteX22" fmla="*/ 962025 w 1768475"/>
              <a:gd name="connsiteY22" fmla="*/ 1936750 h 2263775"/>
              <a:gd name="connsiteX23" fmla="*/ 917575 w 1768475"/>
              <a:gd name="connsiteY23" fmla="*/ 1952625 h 2263775"/>
              <a:gd name="connsiteX24" fmla="*/ 850900 w 1768475"/>
              <a:gd name="connsiteY24" fmla="*/ 1946275 h 2263775"/>
              <a:gd name="connsiteX25" fmla="*/ 850900 w 1768475"/>
              <a:gd name="connsiteY25" fmla="*/ 1946275 h 2263775"/>
              <a:gd name="connsiteX26" fmla="*/ 796925 w 1768475"/>
              <a:gd name="connsiteY26" fmla="*/ 1952625 h 2263775"/>
              <a:gd name="connsiteX27" fmla="*/ 809625 w 1768475"/>
              <a:gd name="connsiteY27" fmla="*/ 1927225 h 2263775"/>
              <a:gd name="connsiteX28" fmla="*/ 787400 w 1768475"/>
              <a:gd name="connsiteY28" fmla="*/ 1917700 h 2263775"/>
              <a:gd name="connsiteX29" fmla="*/ 806450 w 1768475"/>
              <a:gd name="connsiteY29" fmla="*/ 1857375 h 2263775"/>
              <a:gd name="connsiteX30" fmla="*/ 781050 w 1768475"/>
              <a:gd name="connsiteY30" fmla="*/ 1803400 h 2263775"/>
              <a:gd name="connsiteX31" fmla="*/ 736600 w 1768475"/>
              <a:gd name="connsiteY31" fmla="*/ 1762125 h 2263775"/>
              <a:gd name="connsiteX32" fmla="*/ 692150 w 1768475"/>
              <a:gd name="connsiteY32" fmla="*/ 1739900 h 2263775"/>
              <a:gd name="connsiteX33" fmla="*/ 647700 w 1768475"/>
              <a:gd name="connsiteY33" fmla="*/ 1803400 h 2263775"/>
              <a:gd name="connsiteX34" fmla="*/ 590550 w 1768475"/>
              <a:gd name="connsiteY34" fmla="*/ 1860550 h 2263775"/>
              <a:gd name="connsiteX35" fmla="*/ 552450 w 1768475"/>
              <a:gd name="connsiteY35" fmla="*/ 1870075 h 2263775"/>
              <a:gd name="connsiteX36" fmla="*/ 508000 w 1768475"/>
              <a:gd name="connsiteY36" fmla="*/ 1847850 h 2263775"/>
              <a:gd name="connsiteX37" fmla="*/ 463550 w 1768475"/>
              <a:gd name="connsiteY37" fmla="*/ 1851025 h 2263775"/>
              <a:gd name="connsiteX38" fmla="*/ 406400 w 1768475"/>
              <a:gd name="connsiteY38" fmla="*/ 1828800 h 2263775"/>
              <a:gd name="connsiteX39" fmla="*/ 365125 w 1768475"/>
              <a:gd name="connsiteY39" fmla="*/ 1835150 h 2263775"/>
              <a:gd name="connsiteX40" fmla="*/ 323850 w 1768475"/>
              <a:gd name="connsiteY40" fmla="*/ 1806575 h 2263775"/>
              <a:gd name="connsiteX41" fmla="*/ 301625 w 1768475"/>
              <a:gd name="connsiteY41" fmla="*/ 1765300 h 2263775"/>
              <a:gd name="connsiteX42" fmla="*/ 250825 w 1768475"/>
              <a:gd name="connsiteY42" fmla="*/ 1736725 h 2263775"/>
              <a:gd name="connsiteX43" fmla="*/ 212725 w 1768475"/>
              <a:gd name="connsiteY43" fmla="*/ 1704975 h 2263775"/>
              <a:gd name="connsiteX44" fmla="*/ 190500 w 1768475"/>
              <a:gd name="connsiteY44" fmla="*/ 1708150 h 2263775"/>
              <a:gd name="connsiteX45" fmla="*/ 171450 w 1768475"/>
              <a:gd name="connsiteY45" fmla="*/ 1679575 h 2263775"/>
              <a:gd name="connsiteX46" fmla="*/ 114300 w 1768475"/>
              <a:gd name="connsiteY46" fmla="*/ 1660525 h 2263775"/>
              <a:gd name="connsiteX47" fmla="*/ 66675 w 1768475"/>
              <a:gd name="connsiteY47" fmla="*/ 1673225 h 2263775"/>
              <a:gd name="connsiteX48" fmla="*/ 0 w 1768475"/>
              <a:gd name="connsiteY48" fmla="*/ 1638300 h 2263775"/>
              <a:gd name="connsiteX49" fmla="*/ 19050 w 1768475"/>
              <a:gd name="connsiteY49" fmla="*/ 1597025 h 2263775"/>
              <a:gd name="connsiteX50" fmla="*/ 19050 w 1768475"/>
              <a:gd name="connsiteY50" fmla="*/ 1558925 h 2263775"/>
              <a:gd name="connsiteX51" fmla="*/ 57150 w 1768475"/>
              <a:gd name="connsiteY51" fmla="*/ 1524000 h 2263775"/>
              <a:gd name="connsiteX52" fmla="*/ 47625 w 1768475"/>
              <a:gd name="connsiteY52" fmla="*/ 1457325 h 2263775"/>
              <a:gd name="connsiteX53" fmla="*/ 82550 w 1768475"/>
              <a:gd name="connsiteY53" fmla="*/ 1438275 h 2263775"/>
              <a:gd name="connsiteX54" fmla="*/ 155575 w 1768475"/>
              <a:gd name="connsiteY54" fmla="*/ 1422400 h 2263775"/>
              <a:gd name="connsiteX55" fmla="*/ 209550 w 1768475"/>
              <a:gd name="connsiteY55" fmla="*/ 1390650 h 2263775"/>
              <a:gd name="connsiteX56" fmla="*/ 247650 w 1768475"/>
              <a:gd name="connsiteY56" fmla="*/ 1406525 h 2263775"/>
              <a:gd name="connsiteX57" fmla="*/ 269875 w 1768475"/>
              <a:gd name="connsiteY57" fmla="*/ 1377950 h 2263775"/>
              <a:gd name="connsiteX58" fmla="*/ 349250 w 1768475"/>
              <a:gd name="connsiteY58" fmla="*/ 1381125 h 2263775"/>
              <a:gd name="connsiteX59" fmla="*/ 330200 w 1768475"/>
              <a:gd name="connsiteY59" fmla="*/ 1339850 h 2263775"/>
              <a:gd name="connsiteX60" fmla="*/ 361950 w 1768475"/>
              <a:gd name="connsiteY60" fmla="*/ 1311275 h 2263775"/>
              <a:gd name="connsiteX61" fmla="*/ 438150 w 1768475"/>
              <a:gd name="connsiteY61" fmla="*/ 1298575 h 2263775"/>
              <a:gd name="connsiteX62" fmla="*/ 466725 w 1768475"/>
              <a:gd name="connsiteY62" fmla="*/ 1235075 h 2263775"/>
              <a:gd name="connsiteX63" fmla="*/ 539750 w 1768475"/>
              <a:gd name="connsiteY63" fmla="*/ 1219200 h 2263775"/>
              <a:gd name="connsiteX64" fmla="*/ 596900 w 1768475"/>
              <a:gd name="connsiteY64" fmla="*/ 1162050 h 2263775"/>
              <a:gd name="connsiteX65" fmla="*/ 635000 w 1768475"/>
              <a:gd name="connsiteY65" fmla="*/ 1095375 h 2263775"/>
              <a:gd name="connsiteX66" fmla="*/ 660400 w 1768475"/>
              <a:gd name="connsiteY66" fmla="*/ 1041400 h 2263775"/>
              <a:gd name="connsiteX67" fmla="*/ 701675 w 1768475"/>
              <a:gd name="connsiteY67" fmla="*/ 1019175 h 2263775"/>
              <a:gd name="connsiteX68" fmla="*/ 717550 w 1768475"/>
              <a:gd name="connsiteY68" fmla="*/ 974725 h 2263775"/>
              <a:gd name="connsiteX69" fmla="*/ 762000 w 1768475"/>
              <a:gd name="connsiteY69" fmla="*/ 942975 h 2263775"/>
              <a:gd name="connsiteX70" fmla="*/ 825500 w 1768475"/>
              <a:gd name="connsiteY70" fmla="*/ 885825 h 2263775"/>
              <a:gd name="connsiteX71" fmla="*/ 860425 w 1768475"/>
              <a:gd name="connsiteY71" fmla="*/ 869950 h 2263775"/>
              <a:gd name="connsiteX72" fmla="*/ 873125 w 1768475"/>
              <a:gd name="connsiteY72" fmla="*/ 806450 h 2263775"/>
              <a:gd name="connsiteX73" fmla="*/ 854075 w 1768475"/>
              <a:gd name="connsiteY73" fmla="*/ 765175 h 2263775"/>
              <a:gd name="connsiteX74" fmla="*/ 879475 w 1768475"/>
              <a:gd name="connsiteY74" fmla="*/ 739775 h 2263775"/>
              <a:gd name="connsiteX75" fmla="*/ 908050 w 1768475"/>
              <a:gd name="connsiteY75" fmla="*/ 692150 h 2263775"/>
              <a:gd name="connsiteX76" fmla="*/ 936625 w 1768475"/>
              <a:gd name="connsiteY76" fmla="*/ 701675 h 2263775"/>
              <a:gd name="connsiteX77" fmla="*/ 1009650 w 1768475"/>
              <a:gd name="connsiteY77" fmla="*/ 660400 h 2263775"/>
              <a:gd name="connsiteX78" fmla="*/ 1025525 w 1768475"/>
              <a:gd name="connsiteY78" fmla="*/ 603250 h 2263775"/>
              <a:gd name="connsiteX79" fmla="*/ 1038225 w 1768475"/>
              <a:gd name="connsiteY79" fmla="*/ 546100 h 2263775"/>
              <a:gd name="connsiteX80" fmla="*/ 1073150 w 1768475"/>
              <a:gd name="connsiteY80" fmla="*/ 482600 h 2263775"/>
              <a:gd name="connsiteX81" fmla="*/ 1139825 w 1768475"/>
              <a:gd name="connsiteY81" fmla="*/ 444500 h 2263775"/>
              <a:gd name="connsiteX82" fmla="*/ 1177925 w 1768475"/>
              <a:gd name="connsiteY82" fmla="*/ 428625 h 2263775"/>
              <a:gd name="connsiteX83" fmla="*/ 1193800 w 1768475"/>
              <a:gd name="connsiteY83" fmla="*/ 390525 h 2263775"/>
              <a:gd name="connsiteX84" fmla="*/ 1203325 w 1768475"/>
              <a:gd name="connsiteY84" fmla="*/ 352425 h 2263775"/>
              <a:gd name="connsiteX85" fmla="*/ 1254125 w 1768475"/>
              <a:gd name="connsiteY85" fmla="*/ 320675 h 2263775"/>
              <a:gd name="connsiteX86" fmla="*/ 1250950 w 1768475"/>
              <a:gd name="connsiteY86" fmla="*/ 276225 h 2263775"/>
              <a:gd name="connsiteX87" fmla="*/ 1292225 w 1768475"/>
              <a:gd name="connsiteY87" fmla="*/ 222250 h 2263775"/>
              <a:gd name="connsiteX88" fmla="*/ 1320800 w 1768475"/>
              <a:gd name="connsiteY88" fmla="*/ 171450 h 2263775"/>
              <a:gd name="connsiteX89" fmla="*/ 1292225 w 1768475"/>
              <a:gd name="connsiteY89" fmla="*/ 104775 h 2263775"/>
              <a:gd name="connsiteX90" fmla="*/ 1270000 w 1768475"/>
              <a:gd name="connsiteY90" fmla="*/ 57150 h 2263775"/>
              <a:gd name="connsiteX91" fmla="*/ 1295400 w 1768475"/>
              <a:gd name="connsiteY91" fmla="*/ 0 h 2263775"/>
              <a:gd name="connsiteX0" fmla="*/ 1768475 w 1768475"/>
              <a:gd name="connsiteY0" fmla="*/ 2263775 h 2263775"/>
              <a:gd name="connsiteX1" fmla="*/ 1752600 w 1768475"/>
              <a:gd name="connsiteY1" fmla="*/ 2206625 h 2263775"/>
              <a:gd name="connsiteX2" fmla="*/ 1720850 w 1768475"/>
              <a:gd name="connsiteY2" fmla="*/ 2162175 h 2263775"/>
              <a:gd name="connsiteX3" fmla="*/ 1682750 w 1768475"/>
              <a:gd name="connsiteY3" fmla="*/ 2149475 h 2263775"/>
              <a:gd name="connsiteX4" fmla="*/ 1628775 w 1768475"/>
              <a:gd name="connsiteY4" fmla="*/ 2152650 h 2263775"/>
              <a:gd name="connsiteX5" fmla="*/ 1587500 w 1768475"/>
              <a:gd name="connsiteY5" fmla="*/ 2149475 h 2263775"/>
              <a:gd name="connsiteX6" fmla="*/ 1552575 w 1768475"/>
              <a:gd name="connsiteY6" fmla="*/ 2130425 h 2263775"/>
              <a:gd name="connsiteX7" fmla="*/ 1524000 w 1768475"/>
              <a:gd name="connsiteY7" fmla="*/ 2143125 h 2263775"/>
              <a:gd name="connsiteX8" fmla="*/ 1473200 w 1768475"/>
              <a:gd name="connsiteY8" fmla="*/ 2130425 h 2263775"/>
              <a:gd name="connsiteX9" fmla="*/ 1438275 w 1768475"/>
              <a:gd name="connsiteY9" fmla="*/ 2117725 h 2263775"/>
              <a:gd name="connsiteX10" fmla="*/ 1422400 w 1768475"/>
              <a:gd name="connsiteY10" fmla="*/ 2111375 h 2263775"/>
              <a:gd name="connsiteX11" fmla="*/ 1362075 w 1768475"/>
              <a:gd name="connsiteY11" fmla="*/ 2117725 h 2263775"/>
              <a:gd name="connsiteX12" fmla="*/ 1308100 w 1768475"/>
              <a:gd name="connsiteY12" fmla="*/ 2073275 h 2263775"/>
              <a:gd name="connsiteX13" fmla="*/ 1276350 w 1768475"/>
              <a:gd name="connsiteY13" fmla="*/ 2051050 h 2263775"/>
              <a:gd name="connsiteX14" fmla="*/ 1241425 w 1768475"/>
              <a:gd name="connsiteY14" fmla="*/ 2038350 h 2263775"/>
              <a:gd name="connsiteX15" fmla="*/ 1216025 w 1768475"/>
              <a:gd name="connsiteY15" fmla="*/ 2003425 h 2263775"/>
              <a:gd name="connsiteX16" fmla="*/ 1168400 w 1768475"/>
              <a:gd name="connsiteY16" fmla="*/ 1990725 h 2263775"/>
              <a:gd name="connsiteX17" fmla="*/ 1130300 w 1768475"/>
              <a:gd name="connsiteY17" fmla="*/ 1968500 h 2263775"/>
              <a:gd name="connsiteX18" fmla="*/ 1095375 w 1768475"/>
              <a:gd name="connsiteY18" fmla="*/ 1971675 h 2263775"/>
              <a:gd name="connsiteX19" fmla="*/ 1079500 w 1768475"/>
              <a:gd name="connsiteY19" fmla="*/ 1949450 h 2263775"/>
              <a:gd name="connsiteX20" fmla="*/ 1035050 w 1768475"/>
              <a:gd name="connsiteY20" fmla="*/ 1936750 h 2263775"/>
              <a:gd name="connsiteX21" fmla="*/ 1009650 w 1768475"/>
              <a:gd name="connsiteY21" fmla="*/ 1943100 h 2263775"/>
              <a:gd name="connsiteX22" fmla="*/ 962025 w 1768475"/>
              <a:gd name="connsiteY22" fmla="*/ 1936750 h 2263775"/>
              <a:gd name="connsiteX23" fmla="*/ 917575 w 1768475"/>
              <a:gd name="connsiteY23" fmla="*/ 1952625 h 2263775"/>
              <a:gd name="connsiteX24" fmla="*/ 850900 w 1768475"/>
              <a:gd name="connsiteY24" fmla="*/ 1946275 h 2263775"/>
              <a:gd name="connsiteX25" fmla="*/ 850900 w 1768475"/>
              <a:gd name="connsiteY25" fmla="*/ 1946275 h 2263775"/>
              <a:gd name="connsiteX26" fmla="*/ 796925 w 1768475"/>
              <a:gd name="connsiteY26" fmla="*/ 1952625 h 2263775"/>
              <a:gd name="connsiteX27" fmla="*/ 809625 w 1768475"/>
              <a:gd name="connsiteY27" fmla="*/ 1927225 h 2263775"/>
              <a:gd name="connsiteX28" fmla="*/ 787400 w 1768475"/>
              <a:gd name="connsiteY28" fmla="*/ 1917700 h 2263775"/>
              <a:gd name="connsiteX29" fmla="*/ 806450 w 1768475"/>
              <a:gd name="connsiteY29" fmla="*/ 1857375 h 2263775"/>
              <a:gd name="connsiteX30" fmla="*/ 781050 w 1768475"/>
              <a:gd name="connsiteY30" fmla="*/ 1803400 h 2263775"/>
              <a:gd name="connsiteX31" fmla="*/ 736600 w 1768475"/>
              <a:gd name="connsiteY31" fmla="*/ 1762125 h 2263775"/>
              <a:gd name="connsiteX32" fmla="*/ 692150 w 1768475"/>
              <a:gd name="connsiteY32" fmla="*/ 1739900 h 2263775"/>
              <a:gd name="connsiteX33" fmla="*/ 647700 w 1768475"/>
              <a:gd name="connsiteY33" fmla="*/ 1803400 h 2263775"/>
              <a:gd name="connsiteX34" fmla="*/ 590550 w 1768475"/>
              <a:gd name="connsiteY34" fmla="*/ 1860550 h 2263775"/>
              <a:gd name="connsiteX35" fmla="*/ 552450 w 1768475"/>
              <a:gd name="connsiteY35" fmla="*/ 1870075 h 2263775"/>
              <a:gd name="connsiteX36" fmla="*/ 508000 w 1768475"/>
              <a:gd name="connsiteY36" fmla="*/ 1847850 h 2263775"/>
              <a:gd name="connsiteX37" fmla="*/ 463550 w 1768475"/>
              <a:gd name="connsiteY37" fmla="*/ 1851025 h 2263775"/>
              <a:gd name="connsiteX38" fmla="*/ 406400 w 1768475"/>
              <a:gd name="connsiteY38" fmla="*/ 1828800 h 2263775"/>
              <a:gd name="connsiteX39" fmla="*/ 365125 w 1768475"/>
              <a:gd name="connsiteY39" fmla="*/ 1835150 h 2263775"/>
              <a:gd name="connsiteX40" fmla="*/ 323850 w 1768475"/>
              <a:gd name="connsiteY40" fmla="*/ 1806575 h 2263775"/>
              <a:gd name="connsiteX41" fmla="*/ 301625 w 1768475"/>
              <a:gd name="connsiteY41" fmla="*/ 1765300 h 2263775"/>
              <a:gd name="connsiteX42" fmla="*/ 250825 w 1768475"/>
              <a:gd name="connsiteY42" fmla="*/ 1736725 h 2263775"/>
              <a:gd name="connsiteX43" fmla="*/ 212725 w 1768475"/>
              <a:gd name="connsiteY43" fmla="*/ 1704975 h 2263775"/>
              <a:gd name="connsiteX44" fmla="*/ 190500 w 1768475"/>
              <a:gd name="connsiteY44" fmla="*/ 1708150 h 2263775"/>
              <a:gd name="connsiteX45" fmla="*/ 171450 w 1768475"/>
              <a:gd name="connsiteY45" fmla="*/ 1679575 h 2263775"/>
              <a:gd name="connsiteX46" fmla="*/ 114300 w 1768475"/>
              <a:gd name="connsiteY46" fmla="*/ 1660525 h 2263775"/>
              <a:gd name="connsiteX47" fmla="*/ 66675 w 1768475"/>
              <a:gd name="connsiteY47" fmla="*/ 1673225 h 2263775"/>
              <a:gd name="connsiteX48" fmla="*/ 0 w 1768475"/>
              <a:gd name="connsiteY48" fmla="*/ 1638300 h 2263775"/>
              <a:gd name="connsiteX49" fmla="*/ 19050 w 1768475"/>
              <a:gd name="connsiteY49" fmla="*/ 1597025 h 2263775"/>
              <a:gd name="connsiteX50" fmla="*/ 19050 w 1768475"/>
              <a:gd name="connsiteY50" fmla="*/ 1558925 h 2263775"/>
              <a:gd name="connsiteX51" fmla="*/ 47625 w 1768475"/>
              <a:gd name="connsiteY51" fmla="*/ 1457325 h 2263775"/>
              <a:gd name="connsiteX52" fmla="*/ 82550 w 1768475"/>
              <a:gd name="connsiteY52" fmla="*/ 1438275 h 2263775"/>
              <a:gd name="connsiteX53" fmla="*/ 155575 w 1768475"/>
              <a:gd name="connsiteY53" fmla="*/ 1422400 h 2263775"/>
              <a:gd name="connsiteX54" fmla="*/ 209550 w 1768475"/>
              <a:gd name="connsiteY54" fmla="*/ 1390650 h 2263775"/>
              <a:gd name="connsiteX55" fmla="*/ 247650 w 1768475"/>
              <a:gd name="connsiteY55" fmla="*/ 1406525 h 2263775"/>
              <a:gd name="connsiteX56" fmla="*/ 269875 w 1768475"/>
              <a:gd name="connsiteY56" fmla="*/ 1377950 h 2263775"/>
              <a:gd name="connsiteX57" fmla="*/ 349250 w 1768475"/>
              <a:gd name="connsiteY57" fmla="*/ 1381125 h 2263775"/>
              <a:gd name="connsiteX58" fmla="*/ 330200 w 1768475"/>
              <a:gd name="connsiteY58" fmla="*/ 1339850 h 2263775"/>
              <a:gd name="connsiteX59" fmla="*/ 361950 w 1768475"/>
              <a:gd name="connsiteY59" fmla="*/ 1311275 h 2263775"/>
              <a:gd name="connsiteX60" fmla="*/ 438150 w 1768475"/>
              <a:gd name="connsiteY60" fmla="*/ 1298575 h 2263775"/>
              <a:gd name="connsiteX61" fmla="*/ 466725 w 1768475"/>
              <a:gd name="connsiteY61" fmla="*/ 1235075 h 2263775"/>
              <a:gd name="connsiteX62" fmla="*/ 539750 w 1768475"/>
              <a:gd name="connsiteY62" fmla="*/ 1219200 h 2263775"/>
              <a:gd name="connsiteX63" fmla="*/ 596900 w 1768475"/>
              <a:gd name="connsiteY63" fmla="*/ 1162050 h 2263775"/>
              <a:gd name="connsiteX64" fmla="*/ 635000 w 1768475"/>
              <a:gd name="connsiteY64" fmla="*/ 1095375 h 2263775"/>
              <a:gd name="connsiteX65" fmla="*/ 660400 w 1768475"/>
              <a:gd name="connsiteY65" fmla="*/ 1041400 h 2263775"/>
              <a:gd name="connsiteX66" fmla="*/ 701675 w 1768475"/>
              <a:gd name="connsiteY66" fmla="*/ 1019175 h 2263775"/>
              <a:gd name="connsiteX67" fmla="*/ 717550 w 1768475"/>
              <a:gd name="connsiteY67" fmla="*/ 974725 h 2263775"/>
              <a:gd name="connsiteX68" fmla="*/ 762000 w 1768475"/>
              <a:gd name="connsiteY68" fmla="*/ 942975 h 2263775"/>
              <a:gd name="connsiteX69" fmla="*/ 825500 w 1768475"/>
              <a:gd name="connsiteY69" fmla="*/ 885825 h 2263775"/>
              <a:gd name="connsiteX70" fmla="*/ 860425 w 1768475"/>
              <a:gd name="connsiteY70" fmla="*/ 869950 h 2263775"/>
              <a:gd name="connsiteX71" fmla="*/ 873125 w 1768475"/>
              <a:gd name="connsiteY71" fmla="*/ 806450 h 2263775"/>
              <a:gd name="connsiteX72" fmla="*/ 854075 w 1768475"/>
              <a:gd name="connsiteY72" fmla="*/ 765175 h 2263775"/>
              <a:gd name="connsiteX73" fmla="*/ 879475 w 1768475"/>
              <a:gd name="connsiteY73" fmla="*/ 739775 h 2263775"/>
              <a:gd name="connsiteX74" fmla="*/ 908050 w 1768475"/>
              <a:gd name="connsiteY74" fmla="*/ 692150 h 2263775"/>
              <a:gd name="connsiteX75" fmla="*/ 936625 w 1768475"/>
              <a:gd name="connsiteY75" fmla="*/ 701675 h 2263775"/>
              <a:gd name="connsiteX76" fmla="*/ 1009650 w 1768475"/>
              <a:gd name="connsiteY76" fmla="*/ 660400 h 2263775"/>
              <a:gd name="connsiteX77" fmla="*/ 1025525 w 1768475"/>
              <a:gd name="connsiteY77" fmla="*/ 603250 h 2263775"/>
              <a:gd name="connsiteX78" fmla="*/ 1038225 w 1768475"/>
              <a:gd name="connsiteY78" fmla="*/ 546100 h 2263775"/>
              <a:gd name="connsiteX79" fmla="*/ 1073150 w 1768475"/>
              <a:gd name="connsiteY79" fmla="*/ 482600 h 2263775"/>
              <a:gd name="connsiteX80" fmla="*/ 1139825 w 1768475"/>
              <a:gd name="connsiteY80" fmla="*/ 444500 h 2263775"/>
              <a:gd name="connsiteX81" fmla="*/ 1177925 w 1768475"/>
              <a:gd name="connsiteY81" fmla="*/ 428625 h 2263775"/>
              <a:gd name="connsiteX82" fmla="*/ 1193800 w 1768475"/>
              <a:gd name="connsiteY82" fmla="*/ 390525 h 2263775"/>
              <a:gd name="connsiteX83" fmla="*/ 1203325 w 1768475"/>
              <a:gd name="connsiteY83" fmla="*/ 352425 h 2263775"/>
              <a:gd name="connsiteX84" fmla="*/ 1254125 w 1768475"/>
              <a:gd name="connsiteY84" fmla="*/ 320675 h 2263775"/>
              <a:gd name="connsiteX85" fmla="*/ 1250950 w 1768475"/>
              <a:gd name="connsiteY85" fmla="*/ 276225 h 2263775"/>
              <a:gd name="connsiteX86" fmla="*/ 1292225 w 1768475"/>
              <a:gd name="connsiteY86" fmla="*/ 222250 h 2263775"/>
              <a:gd name="connsiteX87" fmla="*/ 1320800 w 1768475"/>
              <a:gd name="connsiteY87" fmla="*/ 171450 h 2263775"/>
              <a:gd name="connsiteX88" fmla="*/ 1292225 w 1768475"/>
              <a:gd name="connsiteY88" fmla="*/ 104775 h 2263775"/>
              <a:gd name="connsiteX89" fmla="*/ 1270000 w 1768475"/>
              <a:gd name="connsiteY89" fmla="*/ 57150 h 2263775"/>
              <a:gd name="connsiteX90" fmla="*/ 1295400 w 1768475"/>
              <a:gd name="connsiteY90" fmla="*/ 0 h 2263775"/>
              <a:gd name="connsiteX0" fmla="*/ 1768475 w 1768475"/>
              <a:gd name="connsiteY0" fmla="*/ 2263775 h 2263775"/>
              <a:gd name="connsiteX1" fmla="*/ 1752600 w 1768475"/>
              <a:gd name="connsiteY1" fmla="*/ 2206625 h 2263775"/>
              <a:gd name="connsiteX2" fmla="*/ 1720850 w 1768475"/>
              <a:gd name="connsiteY2" fmla="*/ 2162175 h 2263775"/>
              <a:gd name="connsiteX3" fmla="*/ 1682750 w 1768475"/>
              <a:gd name="connsiteY3" fmla="*/ 2149475 h 2263775"/>
              <a:gd name="connsiteX4" fmla="*/ 1628775 w 1768475"/>
              <a:gd name="connsiteY4" fmla="*/ 2152650 h 2263775"/>
              <a:gd name="connsiteX5" fmla="*/ 1587500 w 1768475"/>
              <a:gd name="connsiteY5" fmla="*/ 2149475 h 2263775"/>
              <a:gd name="connsiteX6" fmla="*/ 1552575 w 1768475"/>
              <a:gd name="connsiteY6" fmla="*/ 2130425 h 2263775"/>
              <a:gd name="connsiteX7" fmla="*/ 1524000 w 1768475"/>
              <a:gd name="connsiteY7" fmla="*/ 2143125 h 2263775"/>
              <a:gd name="connsiteX8" fmla="*/ 1473200 w 1768475"/>
              <a:gd name="connsiteY8" fmla="*/ 2130425 h 2263775"/>
              <a:gd name="connsiteX9" fmla="*/ 1438275 w 1768475"/>
              <a:gd name="connsiteY9" fmla="*/ 2117725 h 2263775"/>
              <a:gd name="connsiteX10" fmla="*/ 1422400 w 1768475"/>
              <a:gd name="connsiteY10" fmla="*/ 2111375 h 2263775"/>
              <a:gd name="connsiteX11" fmla="*/ 1362075 w 1768475"/>
              <a:gd name="connsiteY11" fmla="*/ 2117725 h 2263775"/>
              <a:gd name="connsiteX12" fmla="*/ 1308100 w 1768475"/>
              <a:gd name="connsiteY12" fmla="*/ 2073275 h 2263775"/>
              <a:gd name="connsiteX13" fmla="*/ 1276350 w 1768475"/>
              <a:gd name="connsiteY13" fmla="*/ 2051050 h 2263775"/>
              <a:gd name="connsiteX14" fmla="*/ 1241425 w 1768475"/>
              <a:gd name="connsiteY14" fmla="*/ 2038350 h 2263775"/>
              <a:gd name="connsiteX15" fmla="*/ 1216025 w 1768475"/>
              <a:gd name="connsiteY15" fmla="*/ 2003425 h 2263775"/>
              <a:gd name="connsiteX16" fmla="*/ 1168400 w 1768475"/>
              <a:gd name="connsiteY16" fmla="*/ 1990725 h 2263775"/>
              <a:gd name="connsiteX17" fmla="*/ 1130300 w 1768475"/>
              <a:gd name="connsiteY17" fmla="*/ 1968500 h 2263775"/>
              <a:gd name="connsiteX18" fmla="*/ 1095375 w 1768475"/>
              <a:gd name="connsiteY18" fmla="*/ 1971675 h 2263775"/>
              <a:gd name="connsiteX19" fmla="*/ 1079500 w 1768475"/>
              <a:gd name="connsiteY19" fmla="*/ 1949450 h 2263775"/>
              <a:gd name="connsiteX20" fmla="*/ 1035050 w 1768475"/>
              <a:gd name="connsiteY20" fmla="*/ 1936750 h 2263775"/>
              <a:gd name="connsiteX21" fmla="*/ 1009650 w 1768475"/>
              <a:gd name="connsiteY21" fmla="*/ 1943100 h 2263775"/>
              <a:gd name="connsiteX22" fmla="*/ 962025 w 1768475"/>
              <a:gd name="connsiteY22" fmla="*/ 1936750 h 2263775"/>
              <a:gd name="connsiteX23" fmla="*/ 917575 w 1768475"/>
              <a:gd name="connsiteY23" fmla="*/ 1952625 h 2263775"/>
              <a:gd name="connsiteX24" fmla="*/ 850900 w 1768475"/>
              <a:gd name="connsiteY24" fmla="*/ 1946275 h 2263775"/>
              <a:gd name="connsiteX25" fmla="*/ 850900 w 1768475"/>
              <a:gd name="connsiteY25" fmla="*/ 1946275 h 2263775"/>
              <a:gd name="connsiteX26" fmla="*/ 796925 w 1768475"/>
              <a:gd name="connsiteY26" fmla="*/ 1952625 h 2263775"/>
              <a:gd name="connsiteX27" fmla="*/ 809625 w 1768475"/>
              <a:gd name="connsiteY27" fmla="*/ 1927225 h 2263775"/>
              <a:gd name="connsiteX28" fmla="*/ 787400 w 1768475"/>
              <a:gd name="connsiteY28" fmla="*/ 1917700 h 2263775"/>
              <a:gd name="connsiteX29" fmla="*/ 806450 w 1768475"/>
              <a:gd name="connsiteY29" fmla="*/ 1857375 h 2263775"/>
              <a:gd name="connsiteX30" fmla="*/ 781050 w 1768475"/>
              <a:gd name="connsiteY30" fmla="*/ 1803400 h 2263775"/>
              <a:gd name="connsiteX31" fmla="*/ 736600 w 1768475"/>
              <a:gd name="connsiteY31" fmla="*/ 1762125 h 2263775"/>
              <a:gd name="connsiteX32" fmla="*/ 692150 w 1768475"/>
              <a:gd name="connsiteY32" fmla="*/ 1739900 h 2263775"/>
              <a:gd name="connsiteX33" fmla="*/ 647700 w 1768475"/>
              <a:gd name="connsiteY33" fmla="*/ 1803400 h 2263775"/>
              <a:gd name="connsiteX34" fmla="*/ 590550 w 1768475"/>
              <a:gd name="connsiteY34" fmla="*/ 1860550 h 2263775"/>
              <a:gd name="connsiteX35" fmla="*/ 552450 w 1768475"/>
              <a:gd name="connsiteY35" fmla="*/ 1870075 h 2263775"/>
              <a:gd name="connsiteX36" fmla="*/ 508000 w 1768475"/>
              <a:gd name="connsiteY36" fmla="*/ 1847850 h 2263775"/>
              <a:gd name="connsiteX37" fmla="*/ 463550 w 1768475"/>
              <a:gd name="connsiteY37" fmla="*/ 1851025 h 2263775"/>
              <a:gd name="connsiteX38" fmla="*/ 406400 w 1768475"/>
              <a:gd name="connsiteY38" fmla="*/ 1828800 h 2263775"/>
              <a:gd name="connsiteX39" fmla="*/ 365125 w 1768475"/>
              <a:gd name="connsiteY39" fmla="*/ 1835150 h 2263775"/>
              <a:gd name="connsiteX40" fmla="*/ 323850 w 1768475"/>
              <a:gd name="connsiteY40" fmla="*/ 1806575 h 2263775"/>
              <a:gd name="connsiteX41" fmla="*/ 301625 w 1768475"/>
              <a:gd name="connsiteY41" fmla="*/ 1765300 h 2263775"/>
              <a:gd name="connsiteX42" fmla="*/ 250825 w 1768475"/>
              <a:gd name="connsiteY42" fmla="*/ 1736725 h 2263775"/>
              <a:gd name="connsiteX43" fmla="*/ 212725 w 1768475"/>
              <a:gd name="connsiteY43" fmla="*/ 1704975 h 2263775"/>
              <a:gd name="connsiteX44" fmla="*/ 190500 w 1768475"/>
              <a:gd name="connsiteY44" fmla="*/ 1708150 h 2263775"/>
              <a:gd name="connsiteX45" fmla="*/ 171450 w 1768475"/>
              <a:gd name="connsiteY45" fmla="*/ 1679575 h 2263775"/>
              <a:gd name="connsiteX46" fmla="*/ 114300 w 1768475"/>
              <a:gd name="connsiteY46" fmla="*/ 1660525 h 2263775"/>
              <a:gd name="connsiteX47" fmla="*/ 66675 w 1768475"/>
              <a:gd name="connsiteY47" fmla="*/ 1673225 h 2263775"/>
              <a:gd name="connsiteX48" fmla="*/ 0 w 1768475"/>
              <a:gd name="connsiteY48" fmla="*/ 1638300 h 2263775"/>
              <a:gd name="connsiteX49" fmla="*/ 19050 w 1768475"/>
              <a:gd name="connsiteY49" fmla="*/ 1597025 h 2263775"/>
              <a:gd name="connsiteX50" fmla="*/ 47625 w 1768475"/>
              <a:gd name="connsiteY50" fmla="*/ 1457325 h 2263775"/>
              <a:gd name="connsiteX51" fmla="*/ 82550 w 1768475"/>
              <a:gd name="connsiteY51" fmla="*/ 1438275 h 2263775"/>
              <a:gd name="connsiteX52" fmla="*/ 155575 w 1768475"/>
              <a:gd name="connsiteY52" fmla="*/ 1422400 h 2263775"/>
              <a:gd name="connsiteX53" fmla="*/ 209550 w 1768475"/>
              <a:gd name="connsiteY53" fmla="*/ 1390650 h 2263775"/>
              <a:gd name="connsiteX54" fmla="*/ 247650 w 1768475"/>
              <a:gd name="connsiteY54" fmla="*/ 1406525 h 2263775"/>
              <a:gd name="connsiteX55" fmla="*/ 269875 w 1768475"/>
              <a:gd name="connsiteY55" fmla="*/ 1377950 h 2263775"/>
              <a:gd name="connsiteX56" fmla="*/ 349250 w 1768475"/>
              <a:gd name="connsiteY56" fmla="*/ 1381125 h 2263775"/>
              <a:gd name="connsiteX57" fmla="*/ 330200 w 1768475"/>
              <a:gd name="connsiteY57" fmla="*/ 1339850 h 2263775"/>
              <a:gd name="connsiteX58" fmla="*/ 361950 w 1768475"/>
              <a:gd name="connsiteY58" fmla="*/ 1311275 h 2263775"/>
              <a:gd name="connsiteX59" fmla="*/ 438150 w 1768475"/>
              <a:gd name="connsiteY59" fmla="*/ 1298575 h 2263775"/>
              <a:gd name="connsiteX60" fmla="*/ 466725 w 1768475"/>
              <a:gd name="connsiteY60" fmla="*/ 1235075 h 2263775"/>
              <a:gd name="connsiteX61" fmla="*/ 539750 w 1768475"/>
              <a:gd name="connsiteY61" fmla="*/ 1219200 h 2263775"/>
              <a:gd name="connsiteX62" fmla="*/ 596900 w 1768475"/>
              <a:gd name="connsiteY62" fmla="*/ 1162050 h 2263775"/>
              <a:gd name="connsiteX63" fmla="*/ 635000 w 1768475"/>
              <a:gd name="connsiteY63" fmla="*/ 1095375 h 2263775"/>
              <a:gd name="connsiteX64" fmla="*/ 660400 w 1768475"/>
              <a:gd name="connsiteY64" fmla="*/ 1041400 h 2263775"/>
              <a:gd name="connsiteX65" fmla="*/ 701675 w 1768475"/>
              <a:gd name="connsiteY65" fmla="*/ 1019175 h 2263775"/>
              <a:gd name="connsiteX66" fmla="*/ 717550 w 1768475"/>
              <a:gd name="connsiteY66" fmla="*/ 974725 h 2263775"/>
              <a:gd name="connsiteX67" fmla="*/ 762000 w 1768475"/>
              <a:gd name="connsiteY67" fmla="*/ 942975 h 2263775"/>
              <a:gd name="connsiteX68" fmla="*/ 825500 w 1768475"/>
              <a:gd name="connsiteY68" fmla="*/ 885825 h 2263775"/>
              <a:gd name="connsiteX69" fmla="*/ 860425 w 1768475"/>
              <a:gd name="connsiteY69" fmla="*/ 869950 h 2263775"/>
              <a:gd name="connsiteX70" fmla="*/ 873125 w 1768475"/>
              <a:gd name="connsiteY70" fmla="*/ 806450 h 2263775"/>
              <a:gd name="connsiteX71" fmla="*/ 854075 w 1768475"/>
              <a:gd name="connsiteY71" fmla="*/ 765175 h 2263775"/>
              <a:gd name="connsiteX72" fmla="*/ 879475 w 1768475"/>
              <a:gd name="connsiteY72" fmla="*/ 739775 h 2263775"/>
              <a:gd name="connsiteX73" fmla="*/ 908050 w 1768475"/>
              <a:gd name="connsiteY73" fmla="*/ 692150 h 2263775"/>
              <a:gd name="connsiteX74" fmla="*/ 936625 w 1768475"/>
              <a:gd name="connsiteY74" fmla="*/ 701675 h 2263775"/>
              <a:gd name="connsiteX75" fmla="*/ 1009650 w 1768475"/>
              <a:gd name="connsiteY75" fmla="*/ 660400 h 2263775"/>
              <a:gd name="connsiteX76" fmla="*/ 1025525 w 1768475"/>
              <a:gd name="connsiteY76" fmla="*/ 603250 h 2263775"/>
              <a:gd name="connsiteX77" fmla="*/ 1038225 w 1768475"/>
              <a:gd name="connsiteY77" fmla="*/ 546100 h 2263775"/>
              <a:gd name="connsiteX78" fmla="*/ 1073150 w 1768475"/>
              <a:gd name="connsiteY78" fmla="*/ 482600 h 2263775"/>
              <a:gd name="connsiteX79" fmla="*/ 1139825 w 1768475"/>
              <a:gd name="connsiteY79" fmla="*/ 444500 h 2263775"/>
              <a:gd name="connsiteX80" fmla="*/ 1177925 w 1768475"/>
              <a:gd name="connsiteY80" fmla="*/ 428625 h 2263775"/>
              <a:gd name="connsiteX81" fmla="*/ 1193800 w 1768475"/>
              <a:gd name="connsiteY81" fmla="*/ 390525 h 2263775"/>
              <a:gd name="connsiteX82" fmla="*/ 1203325 w 1768475"/>
              <a:gd name="connsiteY82" fmla="*/ 352425 h 2263775"/>
              <a:gd name="connsiteX83" fmla="*/ 1254125 w 1768475"/>
              <a:gd name="connsiteY83" fmla="*/ 320675 h 2263775"/>
              <a:gd name="connsiteX84" fmla="*/ 1250950 w 1768475"/>
              <a:gd name="connsiteY84" fmla="*/ 276225 h 2263775"/>
              <a:gd name="connsiteX85" fmla="*/ 1292225 w 1768475"/>
              <a:gd name="connsiteY85" fmla="*/ 222250 h 2263775"/>
              <a:gd name="connsiteX86" fmla="*/ 1320800 w 1768475"/>
              <a:gd name="connsiteY86" fmla="*/ 171450 h 2263775"/>
              <a:gd name="connsiteX87" fmla="*/ 1292225 w 1768475"/>
              <a:gd name="connsiteY87" fmla="*/ 104775 h 2263775"/>
              <a:gd name="connsiteX88" fmla="*/ 1270000 w 1768475"/>
              <a:gd name="connsiteY88" fmla="*/ 57150 h 2263775"/>
              <a:gd name="connsiteX89" fmla="*/ 1295400 w 1768475"/>
              <a:gd name="connsiteY89" fmla="*/ 0 h 2263775"/>
              <a:gd name="connsiteX0" fmla="*/ 1768475 w 1768475"/>
              <a:gd name="connsiteY0" fmla="*/ 2263775 h 2263775"/>
              <a:gd name="connsiteX1" fmla="*/ 1752600 w 1768475"/>
              <a:gd name="connsiteY1" fmla="*/ 2206625 h 2263775"/>
              <a:gd name="connsiteX2" fmla="*/ 1720850 w 1768475"/>
              <a:gd name="connsiteY2" fmla="*/ 2162175 h 2263775"/>
              <a:gd name="connsiteX3" fmla="*/ 1682750 w 1768475"/>
              <a:gd name="connsiteY3" fmla="*/ 2149475 h 2263775"/>
              <a:gd name="connsiteX4" fmla="*/ 1628775 w 1768475"/>
              <a:gd name="connsiteY4" fmla="*/ 2152650 h 2263775"/>
              <a:gd name="connsiteX5" fmla="*/ 1587500 w 1768475"/>
              <a:gd name="connsiteY5" fmla="*/ 2149475 h 2263775"/>
              <a:gd name="connsiteX6" fmla="*/ 1552575 w 1768475"/>
              <a:gd name="connsiteY6" fmla="*/ 2130425 h 2263775"/>
              <a:gd name="connsiteX7" fmla="*/ 1524000 w 1768475"/>
              <a:gd name="connsiteY7" fmla="*/ 2143125 h 2263775"/>
              <a:gd name="connsiteX8" fmla="*/ 1473200 w 1768475"/>
              <a:gd name="connsiteY8" fmla="*/ 2130425 h 2263775"/>
              <a:gd name="connsiteX9" fmla="*/ 1438275 w 1768475"/>
              <a:gd name="connsiteY9" fmla="*/ 2117725 h 2263775"/>
              <a:gd name="connsiteX10" fmla="*/ 1422400 w 1768475"/>
              <a:gd name="connsiteY10" fmla="*/ 2111375 h 2263775"/>
              <a:gd name="connsiteX11" fmla="*/ 1362075 w 1768475"/>
              <a:gd name="connsiteY11" fmla="*/ 2117725 h 2263775"/>
              <a:gd name="connsiteX12" fmla="*/ 1308100 w 1768475"/>
              <a:gd name="connsiteY12" fmla="*/ 2073275 h 2263775"/>
              <a:gd name="connsiteX13" fmla="*/ 1276350 w 1768475"/>
              <a:gd name="connsiteY13" fmla="*/ 2051050 h 2263775"/>
              <a:gd name="connsiteX14" fmla="*/ 1241425 w 1768475"/>
              <a:gd name="connsiteY14" fmla="*/ 2038350 h 2263775"/>
              <a:gd name="connsiteX15" fmla="*/ 1216025 w 1768475"/>
              <a:gd name="connsiteY15" fmla="*/ 2003425 h 2263775"/>
              <a:gd name="connsiteX16" fmla="*/ 1168400 w 1768475"/>
              <a:gd name="connsiteY16" fmla="*/ 1990725 h 2263775"/>
              <a:gd name="connsiteX17" fmla="*/ 1130300 w 1768475"/>
              <a:gd name="connsiteY17" fmla="*/ 1968500 h 2263775"/>
              <a:gd name="connsiteX18" fmla="*/ 1095375 w 1768475"/>
              <a:gd name="connsiteY18" fmla="*/ 1971675 h 2263775"/>
              <a:gd name="connsiteX19" fmla="*/ 1079500 w 1768475"/>
              <a:gd name="connsiteY19" fmla="*/ 1949450 h 2263775"/>
              <a:gd name="connsiteX20" fmla="*/ 1035050 w 1768475"/>
              <a:gd name="connsiteY20" fmla="*/ 1936750 h 2263775"/>
              <a:gd name="connsiteX21" fmla="*/ 1009650 w 1768475"/>
              <a:gd name="connsiteY21" fmla="*/ 1943100 h 2263775"/>
              <a:gd name="connsiteX22" fmla="*/ 962025 w 1768475"/>
              <a:gd name="connsiteY22" fmla="*/ 1936750 h 2263775"/>
              <a:gd name="connsiteX23" fmla="*/ 917575 w 1768475"/>
              <a:gd name="connsiteY23" fmla="*/ 1952625 h 2263775"/>
              <a:gd name="connsiteX24" fmla="*/ 850900 w 1768475"/>
              <a:gd name="connsiteY24" fmla="*/ 1946275 h 2263775"/>
              <a:gd name="connsiteX25" fmla="*/ 850900 w 1768475"/>
              <a:gd name="connsiteY25" fmla="*/ 1946275 h 2263775"/>
              <a:gd name="connsiteX26" fmla="*/ 796925 w 1768475"/>
              <a:gd name="connsiteY26" fmla="*/ 1952625 h 2263775"/>
              <a:gd name="connsiteX27" fmla="*/ 809625 w 1768475"/>
              <a:gd name="connsiteY27" fmla="*/ 1927225 h 2263775"/>
              <a:gd name="connsiteX28" fmla="*/ 787400 w 1768475"/>
              <a:gd name="connsiteY28" fmla="*/ 1917700 h 2263775"/>
              <a:gd name="connsiteX29" fmla="*/ 806450 w 1768475"/>
              <a:gd name="connsiteY29" fmla="*/ 1857375 h 2263775"/>
              <a:gd name="connsiteX30" fmla="*/ 781050 w 1768475"/>
              <a:gd name="connsiteY30" fmla="*/ 1803400 h 2263775"/>
              <a:gd name="connsiteX31" fmla="*/ 736600 w 1768475"/>
              <a:gd name="connsiteY31" fmla="*/ 1762125 h 2263775"/>
              <a:gd name="connsiteX32" fmla="*/ 692150 w 1768475"/>
              <a:gd name="connsiteY32" fmla="*/ 1739900 h 2263775"/>
              <a:gd name="connsiteX33" fmla="*/ 647700 w 1768475"/>
              <a:gd name="connsiteY33" fmla="*/ 1803400 h 2263775"/>
              <a:gd name="connsiteX34" fmla="*/ 590550 w 1768475"/>
              <a:gd name="connsiteY34" fmla="*/ 1860550 h 2263775"/>
              <a:gd name="connsiteX35" fmla="*/ 552450 w 1768475"/>
              <a:gd name="connsiteY35" fmla="*/ 1870075 h 2263775"/>
              <a:gd name="connsiteX36" fmla="*/ 508000 w 1768475"/>
              <a:gd name="connsiteY36" fmla="*/ 1847850 h 2263775"/>
              <a:gd name="connsiteX37" fmla="*/ 463550 w 1768475"/>
              <a:gd name="connsiteY37" fmla="*/ 1851025 h 2263775"/>
              <a:gd name="connsiteX38" fmla="*/ 406400 w 1768475"/>
              <a:gd name="connsiteY38" fmla="*/ 1828800 h 2263775"/>
              <a:gd name="connsiteX39" fmla="*/ 365125 w 1768475"/>
              <a:gd name="connsiteY39" fmla="*/ 1835150 h 2263775"/>
              <a:gd name="connsiteX40" fmla="*/ 323850 w 1768475"/>
              <a:gd name="connsiteY40" fmla="*/ 1806575 h 2263775"/>
              <a:gd name="connsiteX41" fmla="*/ 301625 w 1768475"/>
              <a:gd name="connsiteY41" fmla="*/ 1765300 h 2263775"/>
              <a:gd name="connsiteX42" fmla="*/ 250825 w 1768475"/>
              <a:gd name="connsiteY42" fmla="*/ 1736725 h 2263775"/>
              <a:gd name="connsiteX43" fmla="*/ 212725 w 1768475"/>
              <a:gd name="connsiteY43" fmla="*/ 1704975 h 2263775"/>
              <a:gd name="connsiteX44" fmla="*/ 190500 w 1768475"/>
              <a:gd name="connsiteY44" fmla="*/ 1708150 h 2263775"/>
              <a:gd name="connsiteX45" fmla="*/ 171450 w 1768475"/>
              <a:gd name="connsiteY45" fmla="*/ 1679575 h 2263775"/>
              <a:gd name="connsiteX46" fmla="*/ 114300 w 1768475"/>
              <a:gd name="connsiteY46" fmla="*/ 1660525 h 2263775"/>
              <a:gd name="connsiteX47" fmla="*/ 66675 w 1768475"/>
              <a:gd name="connsiteY47" fmla="*/ 1673225 h 2263775"/>
              <a:gd name="connsiteX48" fmla="*/ 0 w 1768475"/>
              <a:gd name="connsiteY48" fmla="*/ 1638300 h 2263775"/>
              <a:gd name="connsiteX49" fmla="*/ 47625 w 1768475"/>
              <a:gd name="connsiteY49" fmla="*/ 1457325 h 2263775"/>
              <a:gd name="connsiteX50" fmla="*/ 82550 w 1768475"/>
              <a:gd name="connsiteY50" fmla="*/ 1438275 h 2263775"/>
              <a:gd name="connsiteX51" fmla="*/ 155575 w 1768475"/>
              <a:gd name="connsiteY51" fmla="*/ 1422400 h 2263775"/>
              <a:gd name="connsiteX52" fmla="*/ 209550 w 1768475"/>
              <a:gd name="connsiteY52" fmla="*/ 1390650 h 2263775"/>
              <a:gd name="connsiteX53" fmla="*/ 247650 w 1768475"/>
              <a:gd name="connsiteY53" fmla="*/ 1406525 h 2263775"/>
              <a:gd name="connsiteX54" fmla="*/ 269875 w 1768475"/>
              <a:gd name="connsiteY54" fmla="*/ 1377950 h 2263775"/>
              <a:gd name="connsiteX55" fmla="*/ 349250 w 1768475"/>
              <a:gd name="connsiteY55" fmla="*/ 1381125 h 2263775"/>
              <a:gd name="connsiteX56" fmla="*/ 330200 w 1768475"/>
              <a:gd name="connsiteY56" fmla="*/ 1339850 h 2263775"/>
              <a:gd name="connsiteX57" fmla="*/ 361950 w 1768475"/>
              <a:gd name="connsiteY57" fmla="*/ 1311275 h 2263775"/>
              <a:gd name="connsiteX58" fmla="*/ 438150 w 1768475"/>
              <a:gd name="connsiteY58" fmla="*/ 1298575 h 2263775"/>
              <a:gd name="connsiteX59" fmla="*/ 466725 w 1768475"/>
              <a:gd name="connsiteY59" fmla="*/ 1235075 h 2263775"/>
              <a:gd name="connsiteX60" fmla="*/ 539750 w 1768475"/>
              <a:gd name="connsiteY60" fmla="*/ 1219200 h 2263775"/>
              <a:gd name="connsiteX61" fmla="*/ 596900 w 1768475"/>
              <a:gd name="connsiteY61" fmla="*/ 1162050 h 2263775"/>
              <a:gd name="connsiteX62" fmla="*/ 635000 w 1768475"/>
              <a:gd name="connsiteY62" fmla="*/ 1095375 h 2263775"/>
              <a:gd name="connsiteX63" fmla="*/ 660400 w 1768475"/>
              <a:gd name="connsiteY63" fmla="*/ 1041400 h 2263775"/>
              <a:gd name="connsiteX64" fmla="*/ 701675 w 1768475"/>
              <a:gd name="connsiteY64" fmla="*/ 1019175 h 2263775"/>
              <a:gd name="connsiteX65" fmla="*/ 717550 w 1768475"/>
              <a:gd name="connsiteY65" fmla="*/ 974725 h 2263775"/>
              <a:gd name="connsiteX66" fmla="*/ 762000 w 1768475"/>
              <a:gd name="connsiteY66" fmla="*/ 942975 h 2263775"/>
              <a:gd name="connsiteX67" fmla="*/ 825500 w 1768475"/>
              <a:gd name="connsiteY67" fmla="*/ 885825 h 2263775"/>
              <a:gd name="connsiteX68" fmla="*/ 860425 w 1768475"/>
              <a:gd name="connsiteY68" fmla="*/ 869950 h 2263775"/>
              <a:gd name="connsiteX69" fmla="*/ 873125 w 1768475"/>
              <a:gd name="connsiteY69" fmla="*/ 806450 h 2263775"/>
              <a:gd name="connsiteX70" fmla="*/ 854075 w 1768475"/>
              <a:gd name="connsiteY70" fmla="*/ 765175 h 2263775"/>
              <a:gd name="connsiteX71" fmla="*/ 879475 w 1768475"/>
              <a:gd name="connsiteY71" fmla="*/ 739775 h 2263775"/>
              <a:gd name="connsiteX72" fmla="*/ 908050 w 1768475"/>
              <a:gd name="connsiteY72" fmla="*/ 692150 h 2263775"/>
              <a:gd name="connsiteX73" fmla="*/ 936625 w 1768475"/>
              <a:gd name="connsiteY73" fmla="*/ 701675 h 2263775"/>
              <a:gd name="connsiteX74" fmla="*/ 1009650 w 1768475"/>
              <a:gd name="connsiteY74" fmla="*/ 660400 h 2263775"/>
              <a:gd name="connsiteX75" fmla="*/ 1025525 w 1768475"/>
              <a:gd name="connsiteY75" fmla="*/ 603250 h 2263775"/>
              <a:gd name="connsiteX76" fmla="*/ 1038225 w 1768475"/>
              <a:gd name="connsiteY76" fmla="*/ 546100 h 2263775"/>
              <a:gd name="connsiteX77" fmla="*/ 1073150 w 1768475"/>
              <a:gd name="connsiteY77" fmla="*/ 482600 h 2263775"/>
              <a:gd name="connsiteX78" fmla="*/ 1139825 w 1768475"/>
              <a:gd name="connsiteY78" fmla="*/ 444500 h 2263775"/>
              <a:gd name="connsiteX79" fmla="*/ 1177925 w 1768475"/>
              <a:gd name="connsiteY79" fmla="*/ 428625 h 2263775"/>
              <a:gd name="connsiteX80" fmla="*/ 1193800 w 1768475"/>
              <a:gd name="connsiteY80" fmla="*/ 390525 h 2263775"/>
              <a:gd name="connsiteX81" fmla="*/ 1203325 w 1768475"/>
              <a:gd name="connsiteY81" fmla="*/ 352425 h 2263775"/>
              <a:gd name="connsiteX82" fmla="*/ 1254125 w 1768475"/>
              <a:gd name="connsiteY82" fmla="*/ 320675 h 2263775"/>
              <a:gd name="connsiteX83" fmla="*/ 1250950 w 1768475"/>
              <a:gd name="connsiteY83" fmla="*/ 276225 h 2263775"/>
              <a:gd name="connsiteX84" fmla="*/ 1292225 w 1768475"/>
              <a:gd name="connsiteY84" fmla="*/ 222250 h 2263775"/>
              <a:gd name="connsiteX85" fmla="*/ 1320800 w 1768475"/>
              <a:gd name="connsiteY85" fmla="*/ 171450 h 2263775"/>
              <a:gd name="connsiteX86" fmla="*/ 1292225 w 1768475"/>
              <a:gd name="connsiteY86" fmla="*/ 104775 h 2263775"/>
              <a:gd name="connsiteX87" fmla="*/ 1270000 w 1768475"/>
              <a:gd name="connsiteY87" fmla="*/ 57150 h 2263775"/>
              <a:gd name="connsiteX88" fmla="*/ 1295400 w 1768475"/>
              <a:gd name="connsiteY88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203200 w 1720850"/>
              <a:gd name="connsiteY42" fmla="*/ 1736725 h 2263775"/>
              <a:gd name="connsiteX43" fmla="*/ 165100 w 1720850"/>
              <a:gd name="connsiteY43" fmla="*/ 1704975 h 2263775"/>
              <a:gd name="connsiteX44" fmla="*/ 142875 w 1720850"/>
              <a:gd name="connsiteY44" fmla="*/ 1708150 h 2263775"/>
              <a:gd name="connsiteX45" fmla="*/ 123825 w 1720850"/>
              <a:gd name="connsiteY45" fmla="*/ 1679575 h 2263775"/>
              <a:gd name="connsiteX46" fmla="*/ 66675 w 1720850"/>
              <a:gd name="connsiteY46" fmla="*/ 1660525 h 2263775"/>
              <a:gd name="connsiteX47" fmla="*/ 19050 w 1720850"/>
              <a:gd name="connsiteY47" fmla="*/ 1673225 h 2263775"/>
              <a:gd name="connsiteX48" fmla="*/ 0 w 1720850"/>
              <a:gd name="connsiteY48" fmla="*/ 1457325 h 2263775"/>
              <a:gd name="connsiteX49" fmla="*/ 34925 w 1720850"/>
              <a:gd name="connsiteY49" fmla="*/ 1438275 h 2263775"/>
              <a:gd name="connsiteX50" fmla="*/ 107950 w 1720850"/>
              <a:gd name="connsiteY50" fmla="*/ 1422400 h 2263775"/>
              <a:gd name="connsiteX51" fmla="*/ 161925 w 1720850"/>
              <a:gd name="connsiteY51" fmla="*/ 1390650 h 2263775"/>
              <a:gd name="connsiteX52" fmla="*/ 200025 w 1720850"/>
              <a:gd name="connsiteY52" fmla="*/ 1406525 h 2263775"/>
              <a:gd name="connsiteX53" fmla="*/ 222250 w 1720850"/>
              <a:gd name="connsiteY53" fmla="*/ 1377950 h 2263775"/>
              <a:gd name="connsiteX54" fmla="*/ 301625 w 1720850"/>
              <a:gd name="connsiteY54" fmla="*/ 1381125 h 2263775"/>
              <a:gd name="connsiteX55" fmla="*/ 282575 w 1720850"/>
              <a:gd name="connsiteY55" fmla="*/ 1339850 h 2263775"/>
              <a:gd name="connsiteX56" fmla="*/ 314325 w 1720850"/>
              <a:gd name="connsiteY56" fmla="*/ 1311275 h 2263775"/>
              <a:gd name="connsiteX57" fmla="*/ 390525 w 1720850"/>
              <a:gd name="connsiteY57" fmla="*/ 1298575 h 2263775"/>
              <a:gd name="connsiteX58" fmla="*/ 419100 w 1720850"/>
              <a:gd name="connsiteY58" fmla="*/ 1235075 h 2263775"/>
              <a:gd name="connsiteX59" fmla="*/ 492125 w 1720850"/>
              <a:gd name="connsiteY59" fmla="*/ 1219200 h 2263775"/>
              <a:gd name="connsiteX60" fmla="*/ 549275 w 1720850"/>
              <a:gd name="connsiteY60" fmla="*/ 1162050 h 2263775"/>
              <a:gd name="connsiteX61" fmla="*/ 587375 w 1720850"/>
              <a:gd name="connsiteY61" fmla="*/ 1095375 h 2263775"/>
              <a:gd name="connsiteX62" fmla="*/ 612775 w 1720850"/>
              <a:gd name="connsiteY62" fmla="*/ 1041400 h 2263775"/>
              <a:gd name="connsiteX63" fmla="*/ 654050 w 1720850"/>
              <a:gd name="connsiteY63" fmla="*/ 1019175 h 2263775"/>
              <a:gd name="connsiteX64" fmla="*/ 669925 w 1720850"/>
              <a:gd name="connsiteY64" fmla="*/ 974725 h 2263775"/>
              <a:gd name="connsiteX65" fmla="*/ 714375 w 1720850"/>
              <a:gd name="connsiteY65" fmla="*/ 942975 h 2263775"/>
              <a:gd name="connsiteX66" fmla="*/ 777875 w 1720850"/>
              <a:gd name="connsiteY66" fmla="*/ 885825 h 2263775"/>
              <a:gd name="connsiteX67" fmla="*/ 812800 w 1720850"/>
              <a:gd name="connsiteY67" fmla="*/ 869950 h 2263775"/>
              <a:gd name="connsiteX68" fmla="*/ 825500 w 1720850"/>
              <a:gd name="connsiteY68" fmla="*/ 806450 h 2263775"/>
              <a:gd name="connsiteX69" fmla="*/ 806450 w 1720850"/>
              <a:gd name="connsiteY69" fmla="*/ 765175 h 2263775"/>
              <a:gd name="connsiteX70" fmla="*/ 831850 w 1720850"/>
              <a:gd name="connsiteY70" fmla="*/ 739775 h 2263775"/>
              <a:gd name="connsiteX71" fmla="*/ 860425 w 1720850"/>
              <a:gd name="connsiteY71" fmla="*/ 692150 h 2263775"/>
              <a:gd name="connsiteX72" fmla="*/ 889000 w 1720850"/>
              <a:gd name="connsiteY72" fmla="*/ 701675 h 2263775"/>
              <a:gd name="connsiteX73" fmla="*/ 962025 w 1720850"/>
              <a:gd name="connsiteY73" fmla="*/ 660400 h 2263775"/>
              <a:gd name="connsiteX74" fmla="*/ 977900 w 1720850"/>
              <a:gd name="connsiteY74" fmla="*/ 603250 h 2263775"/>
              <a:gd name="connsiteX75" fmla="*/ 990600 w 1720850"/>
              <a:gd name="connsiteY75" fmla="*/ 546100 h 2263775"/>
              <a:gd name="connsiteX76" fmla="*/ 1025525 w 1720850"/>
              <a:gd name="connsiteY76" fmla="*/ 482600 h 2263775"/>
              <a:gd name="connsiteX77" fmla="*/ 1092200 w 1720850"/>
              <a:gd name="connsiteY77" fmla="*/ 444500 h 2263775"/>
              <a:gd name="connsiteX78" fmla="*/ 1130300 w 1720850"/>
              <a:gd name="connsiteY78" fmla="*/ 428625 h 2263775"/>
              <a:gd name="connsiteX79" fmla="*/ 1146175 w 1720850"/>
              <a:gd name="connsiteY79" fmla="*/ 390525 h 2263775"/>
              <a:gd name="connsiteX80" fmla="*/ 1155700 w 1720850"/>
              <a:gd name="connsiteY80" fmla="*/ 352425 h 2263775"/>
              <a:gd name="connsiteX81" fmla="*/ 1206500 w 1720850"/>
              <a:gd name="connsiteY81" fmla="*/ 320675 h 2263775"/>
              <a:gd name="connsiteX82" fmla="*/ 1203325 w 1720850"/>
              <a:gd name="connsiteY82" fmla="*/ 276225 h 2263775"/>
              <a:gd name="connsiteX83" fmla="*/ 1244600 w 1720850"/>
              <a:gd name="connsiteY83" fmla="*/ 222250 h 2263775"/>
              <a:gd name="connsiteX84" fmla="*/ 1273175 w 1720850"/>
              <a:gd name="connsiteY84" fmla="*/ 171450 h 2263775"/>
              <a:gd name="connsiteX85" fmla="*/ 1244600 w 1720850"/>
              <a:gd name="connsiteY85" fmla="*/ 104775 h 2263775"/>
              <a:gd name="connsiteX86" fmla="*/ 1222375 w 1720850"/>
              <a:gd name="connsiteY86" fmla="*/ 57150 h 2263775"/>
              <a:gd name="connsiteX87" fmla="*/ 1247775 w 1720850"/>
              <a:gd name="connsiteY87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203200 w 1720850"/>
              <a:gd name="connsiteY42" fmla="*/ 1736725 h 2263775"/>
              <a:gd name="connsiteX43" fmla="*/ 165100 w 1720850"/>
              <a:gd name="connsiteY43" fmla="*/ 1704975 h 2263775"/>
              <a:gd name="connsiteX44" fmla="*/ 142875 w 1720850"/>
              <a:gd name="connsiteY44" fmla="*/ 1708150 h 2263775"/>
              <a:gd name="connsiteX45" fmla="*/ 123825 w 1720850"/>
              <a:gd name="connsiteY45" fmla="*/ 1679575 h 2263775"/>
              <a:gd name="connsiteX46" fmla="*/ 66675 w 1720850"/>
              <a:gd name="connsiteY46" fmla="*/ 1660525 h 2263775"/>
              <a:gd name="connsiteX47" fmla="*/ 0 w 1720850"/>
              <a:gd name="connsiteY47" fmla="*/ 1457325 h 2263775"/>
              <a:gd name="connsiteX48" fmla="*/ 34925 w 1720850"/>
              <a:gd name="connsiteY48" fmla="*/ 1438275 h 2263775"/>
              <a:gd name="connsiteX49" fmla="*/ 107950 w 1720850"/>
              <a:gd name="connsiteY49" fmla="*/ 1422400 h 2263775"/>
              <a:gd name="connsiteX50" fmla="*/ 161925 w 1720850"/>
              <a:gd name="connsiteY50" fmla="*/ 1390650 h 2263775"/>
              <a:gd name="connsiteX51" fmla="*/ 200025 w 1720850"/>
              <a:gd name="connsiteY51" fmla="*/ 1406525 h 2263775"/>
              <a:gd name="connsiteX52" fmla="*/ 222250 w 1720850"/>
              <a:gd name="connsiteY52" fmla="*/ 1377950 h 2263775"/>
              <a:gd name="connsiteX53" fmla="*/ 301625 w 1720850"/>
              <a:gd name="connsiteY53" fmla="*/ 1381125 h 2263775"/>
              <a:gd name="connsiteX54" fmla="*/ 282575 w 1720850"/>
              <a:gd name="connsiteY54" fmla="*/ 1339850 h 2263775"/>
              <a:gd name="connsiteX55" fmla="*/ 314325 w 1720850"/>
              <a:gd name="connsiteY55" fmla="*/ 1311275 h 2263775"/>
              <a:gd name="connsiteX56" fmla="*/ 390525 w 1720850"/>
              <a:gd name="connsiteY56" fmla="*/ 1298575 h 2263775"/>
              <a:gd name="connsiteX57" fmla="*/ 419100 w 1720850"/>
              <a:gd name="connsiteY57" fmla="*/ 1235075 h 2263775"/>
              <a:gd name="connsiteX58" fmla="*/ 492125 w 1720850"/>
              <a:gd name="connsiteY58" fmla="*/ 1219200 h 2263775"/>
              <a:gd name="connsiteX59" fmla="*/ 549275 w 1720850"/>
              <a:gd name="connsiteY59" fmla="*/ 1162050 h 2263775"/>
              <a:gd name="connsiteX60" fmla="*/ 587375 w 1720850"/>
              <a:gd name="connsiteY60" fmla="*/ 1095375 h 2263775"/>
              <a:gd name="connsiteX61" fmla="*/ 612775 w 1720850"/>
              <a:gd name="connsiteY61" fmla="*/ 1041400 h 2263775"/>
              <a:gd name="connsiteX62" fmla="*/ 654050 w 1720850"/>
              <a:gd name="connsiteY62" fmla="*/ 1019175 h 2263775"/>
              <a:gd name="connsiteX63" fmla="*/ 669925 w 1720850"/>
              <a:gd name="connsiteY63" fmla="*/ 974725 h 2263775"/>
              <a:gd name="connsiteX64" fmla="*/ 714375 w 1720850"/>
              <a:gd name="connsiteY64" fmla="*/ 942975 h 2263775"/>
              <a:gd name="connsiteX65" fmla="*/ 777875 w 1720850"/>
              <a:gd name="connsiteY65" fmla="*/ 885825 h 2263775"/>
              <a:gd name="connsiteX66" fmla="*/ 812800 w 1720850"/>
              <a:gd name="connsiteY66" fmla="*/ 869950 h 2263775"/>
              <a:gd name="connsiteX67" fmla="*/ 825500 w 1720850"/>
              <a:gd name="connsiteY67" fmla="*/ 806450 h 2263775"/>
              <a:gd name="connsiteX68" fmla="*/ 806450 w 1720850"/>
              <a:gd name="connsiteY68" fmla="*/ 765175 h 2263775"/>
              <a:gd name="connsiteX69" fmla="*/ 831850 w 1720850"/>
              <a:gd name="connsiteY69" fmla="*/ 739775 h 2263775"/>
              <a:gd name="connsiteX70" fmla="*/ 860425 w 1720850"/>
              <a:gd name="connsiteY70" fmla="*/ 692150 h 2263775"/>
              <a:gd name="connsiteX71" fmla="*/ 889000 w 1720850"/>
              <a:gd name="connsiteY71" fmla="*/ 701675 h 2263775"/>
              <a:gd name="connsiteX72" fmla="*/ 962025 w 1720850"/>
              <a:gd name="connsiteY72" fmla="*/ 660400 h 2263775"/>
              <a:gd name="connsiteX73" fmla="*/ 977900 w 1720850"/>
              <a:gd name="connsiteY73" fmla="*/ 603250 h 2263775"/>
              <a:gd name="connsiteX74" fmla="*/ 990600 w 1720850"/>
              <a:gd name="connsiteY74" fmla="*/ 546100 h 2263775"/>
              <a:gd name="connsiteX75" fmla="*/ 1025525 w 1720850"/>
              <a:gd name="connsiteY75" fmla="*/ 482600 h 2263775"/>
              <a:gd name="connsiteX76" fmla="*/ 1092200 w 1720850"/>
              <a:gd name="connsiteY76" fmla="*/ 444500 h 2263775"/>
              <a:gd name="connsiteX77" fmla="*/ 1130300 w 1720850"/>
              <a:gd name="connsiteY77" fmla="*/ 428625 h 2263775"/>
              <a:gd name="connsiteX78" fmla="*/ 1146175 w 1720850"/>
              <a:gd name="connsiteY78" fmla="*/ 390525 h 2263775"/>
              <a:gd name="connsiteX79" fmla="*/ 1155700 w 1720850"/>
              <a:gd name="connsiteY79" fmla="*/ 352425 h 2263775"/>
              <a:gd name="connsiteX80" fmla="*/ 1206500 w 1720850"/>
              <a:gd name="connsiteY80" fmla="*/ 320675 h 2263775"/>
              <a:gd name="connsiteX81" fmla="*/ 1203325 w 1720850"/>
              <a:gd name="connsiteY81" fmla="*/ 276225 h 2263775"/>
              <a:gd name="connsiteX82" fmla="*/ 1244600 w 1720850"/>
              <a:gd name="connsiteY82" fmla="*/ 222250 h 2263775"/>
              <a:gd name="connsiteX83" fmla="*/ 1273175 w 1720850"/>
              <a:gd name="connsiteY83" fmla="*/ 171450 h 2263775"/>
              <a:gd name="connsiteX84" fmla="*/ 1244600 w 1720850"/>
              <a:gd name="connsiteY84" fmla="*/ 104775 h 2263775"/>
              <a:gd name="connsiteX85" fmla="*/ 1222375 w 1720850"/>
              <a:gd name="connsiteY85" fmla="*/ 57150 h 2263775"/>
              <a:gd name="connsiteX86" fmla="*/ 1247775 w 1720850"/>
              <a:gd name="connsiteY86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203200 w 1720850"/>
              <a:gd name="connsiteY42" fmla="*/ 1736725 h 2263775"/>
              <a:gd name="connsiteX43" fmla="*/ 165100 w 1720850"/>
              <a:gd name="connsiteY43" fmla="*/ 1704975 h 2263775"/>
              <a:gd name="connsiteX44" fmla="*/ 142875 w 1720850"/>
              <a:gd name="connsiteY44" fmla="*/ 1708150 h 2263775"/>
              <a:gd name="connsiteX45" fmla="*/ 123825 w 1720850"/>
              <a:gd name="connsiteY45" fmla="*/ 1679575 h 2263775"/>
              <a:gd name="connsiteX46" fmla="*/ 0 w 1720850"/>
              <a:gd name="connsiteY46" fmla="*/ 1457325 h 2263775"/>
              <a:gd name="connsiteX47" fmla="*/ 34925 w 1720850"/>
              <a:gd name="connsiteY47" fmla="*/ 1438275 h 2263775"/>
              <a:gd name="connsiteX48" fmla="*/ 107950 w 1720850"/>
              <a:gd name="connsiteY48" fmla="*/ 1422400 h 2263775"/>
              <a:gd name="connsiteX49" fmla="*/ 161925 w 1720850"/>
              <a:gd name="connsiteY49" fmla="*/ 1390650 h 2263775"/>
              <a:gd name="connsiteX50" fmla="*/ 200025 w 1720850"/>
              <a:gd name="connsiteY50" fmla="*/ 1406525 h 2263775"/>
              <a:gd name="connsiteX51" fmla="*/ 222250 w 1720850"/>
              <a:gd name="connsiteY51" fmla="*/ 1377950 h 2263775"/>
              <a:gd name="connsiteX52" fmla="*/ 301625 w 1720850"/>
              <a:gd name="connsiteY52" fmla="*/ 1381125 h 2263775"/>
              <a:gd name="connsiteX53" fmla="*/ 282575 w 1720850"/>
              <a:gd name="connsiteY53" fmla="*/ 1339850 h 2263775"/>
              <a:gd name="connsiteX54" fmla="*/ 314325 w 1720850"/>
              <a:gd name="connsiteY54" fmla="*/ 1311275 h 2263775"/>
              <a:gd name="connsiteX55" fmla="*/ 390525 w 1720850"/>
              <a:gd name="connsiteY55" fmla="*/ 1298575 h 2263775"/>
              <a:gd name="connsiteX56" fmla="*/ 419100 w 1720850"/>
              <a:gd name="connsiteY56" fmla="*/ 1235075 h 2263775"/>
              <a:gd name="connsiteX57" fmla="*/ 492125 w 1720850"/>
              <a:gd name="connsiteY57" fmla="*/ 1219200 h 2263775"/>
              <a:gd name="connsiteX58" fmla="*/ 549275 w 1720850"/>
              <a:gd name="connsiteY58" fmla="*/ 1162050 h 2263775"/>
              <a:gd name="connsiteX59" fmla="*/ 587375 w 1720850"/>
              <a:gd name="connsiteY59" fmla="*/ 1095375 h 2263775"/>
              <a:gd name="connsiteX60" fmla="*/ 612775 w 1720850"/>
              <a:gd name="connsiteY60" fmla="*/ 1041400 h 2263775"/>
              <a:gd name="connsiteX61" fmla="*/ 654050 w 1720850"/>
              <a:gd name="connsiteY61" fmla="*/ 1019175 h 2263775"/>
              <a:gd name="connsiteX62" fmla="*/ 669925 w 1720850"/>
              <a:gd name="connsiteY62" fmla="*/ 974725 h 2263775"/>
              <a:gd name="connsiteX63" fmla="*/ 714375 w 1720850"/>
              <a:gd name="connsiteY63" fmla="*/ 942975 h 2263775"/>
              <a:gd name="connsiteX64" fmla="*/ 777875 w 1720850"/>
              <a:gd name="connsiteY64" fmla="*/ 885825 h 2263775"/>
              <a:gd name="connsiteX65" fmla="*/ 812800 w 1720850"/>
              <a:gd name="connsiteY65" fmla="*/ 869950 h 2263775"/>
              <a:gd name="connsiteX66" fmla="*/ 825500 w 1720850"/>
              <a:gd name="connsiteY66" fmla="*/ 806450 h 2263775"/>
              <a:gd name="connsiteX67" fmla="*/ 806450 w 1720850"/>
              <a:gd name="connsiteY67" fmla="*/ 765175 h 2263775"/>
              <a:gd name="connsiteX68" fmla="*/ 831850 w 1720850"/>
              <a:gd name="connsiteY68" fmla="*/ 739775 h 2263775"/>
              <a:gd name="connsiteX69" fmla="*/ 860425 w 1720850"/>
              <a:gd name="connsiteY69" fmla="*/ 692150 h 2263775"/>
              <a:gd name="connsiteX70" fmla="*/ 889000 w 1720850"/>
              <a:gd name="connsiteY70" fmla="*/ 701675 h 2263775"/>
              <a:gd name="connsiteX71" fmla="*/ 962025 w 1720850"/>
              <a:gd name="connsiteY71" fmla="*/ 660400 h 2263775"/>
              <a:gd name="connsiteX72" fmla="*/ 977900 w 1720850"/>
              <a:gd name="connsiteY72" fmla="*/ 603250 h 2263775"/>
              <a:gd name="connsiteX73" fmla="*/ 990600 w 1720850"/>
              <a:gd name="connsiteY73" fmla="*/ 546100 h 2263775"/>
              <a:gd name="connsiteX74" fmla="*/ 1025525 w 1720850"/>
              <a:gd name="connsiteY74" fmla="*/ 482600 h 2263775"/>
              <a:gd name="connsiteX75" fmla="*/ 1092200 w 1720850"/>
              <a:gd name="connsiteY75" fmla="*/ 444500 h 2263775"/>
              <a:gd name="connsiteX76" fmla="*/ 1130300 w 1720850"/>
              <a:gd name="connsiteY76" fmla="*/ 428625 h 2263775"/>
              <a:gd name="connsiteX77" fmla="*/ 1146175 w 1720850"/>
              <a:gd name="connsiteY77" fmla="*/ 390525 h 2263775"/>
              <a:gd name="connsiteX78" fmla="*/ 1155700 w 1720850"/>
              <a:gd name="connsiteY78" fmla="*/ 352425 h 2263775"/>
              <a:gd name="connsiteX79" fmla="*/ 1206500 w 1720850"/>
              <a:gd name="connsiteY79" fmla="*/ 320675 h 2263775"/>
              <a:gd name="connsiteX80" fmla="*/ 1203325 w 1720850"/>
              <a:gd name="connsiteY80" fmla="*/ 276225 h 2263775"/>
              <a:gd name="connsiteX81" fmla="*/ 1244600 w 1720850"/>
              <a:gd name="connsiteY81" fmla="*/ 222250 h 2263775"/>
              <a:gd name="connsiteX82" fmla="*/ 1273175 w 1720850"/>
              <a:gd name="connsiteY82" fmla="*/ 171450 h 2263775"/>
              <a:gd name="connsiteX83" fmla="*/ 1244600 w 1720850"/>
              <a:gd name="connsiteY83" fmla="*/ 104775 h 2263775"/>
              <a:gd name="connsiteX84" fmla="*/ 1222375 w 1720850"/>
              <a:gd name="connsiteY84" fmla="*/ 57150 h 2263775"/>
              <a:gd name="connsiteX85" fmla="*/ 1247775 w 1720850"/>
              <a:gd name="connsiteY85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203200 w 1720850"/>
              <a:gd name="connsiteY42" fmla="*/ 1736725 h 2263775"/>
              <a:gd name="connsiteX43" fmla="*/ 165100 w 1720850"/>
              <a:gd name="connsiteY43" fmla="*/ 1704975 h 2263775"/>
              <a:gd name="connsiteX44" fmla="*/ 142875 w 1720850"/>
              <a:gd name="connsiteY44" fmla="*/ 1708150 h 2263775"/>
              <a:gd name="connsiteX45" fmla="*/ 0 w 1720850"/>
              <a:gd name="connsiteY45" fmla="*/ 1457325 h 2263775"/>
              <a:gd name="connsiteX46" fmla="*/ 34925 w 1720850"/>
              <a:gd name="connsiteY46" fmla="*/ 1438275 h 2263775"/>
              <a:gd name="connsiteX47" fmla="*/ 107950 w 1720850"/>
              <a:gd name="connsiteY47" fmla="*/ 1422400 h 2263775"/>
              <a:gd name="connsiteX48" fmla="*/ 161925 w 1720850"/>
              <a:gd name="connsiteY48" fmla="*/ 1390650 h 2263775"/>
              <a:gd name="connsiteX49" fmla="*/ 200025 w 1720850"/>
              <a:gd name="connsiteY49" fmla="*/ 1406525 h 2263775"/>
              <a:gd name="connsiteX50" fmla="*/ 222250 w 1720850"/>
              <a:gd name="connsiteY50" fmla="*/ 1377950 h 2263775"/>
              <a:gd name="connsiteX51" fmla="*/ 301625 w 1720850"/>
              <a:gd name="connsiteY51" fmla="*/ 1381125 h 2263775"/>
              <a:gd name="connsiteX52" fmla="*/ 282575 w 1720850"/>
              <a:gd name="connsiteY52" fmla="*/ 1339850 h 2263775"/>
              <a:gd name="connsiteX53" fmla="*/ 314325 w 1720850"/>
              <a:gd name="connsiteY53" fmla="*/ 1311275 h 2263775"/>
              <a:gd name="connsiteX54" fmla="*/ 390525 w 1720850"/>
              <a:gd name="connsiteY54" fmla="*/ 1298575 h 2263775"/>
              <a:gd name="connsiteX55" fmla="*/ 419100 w 1720850"/>
              <a:gd name="connsiteY55" fmla="*/ 1235075 h 2263775"/>
              <a:gd name="connsiteX56" fmla="*/ 492125 w 1720850"/>
              <a:gd name="connsiteY56" fmla="*/ 1219200 h 2263775"/>
              <a:gd name="connsiteX57" fmla="*/ 549275 w 1720850"/>
              <a:gd name="connsiteY57" fmla="*/ 1162050 h 2263775"/>
              <a:gd name="connsiteX58" fmla="*/ 587375 w 1720850"/>
              <a:gd name="connsiteY58" fmla="*/ 1095375 h 2263775"/>
              <a:gd name="connsiteX59" fmla="*/ 612775 w 1720850"/>
              <a:gd name="connsiteY59" fmla="*/ 1041400 h 2263775"/>
              <a:gd name="connsiteX60" fmla="*/ 654050 w 1720850"/>
              <a:gd name="connsiteY60" fmla="*/ 1019175 h 2263775"/>
              <a:gd name="connsiteX61" fmla="*/ 669925 w 1720850"/>
              <a:gd name="connsiteY61" fmla="*/ 974725 h 2263775"/>
              <a:gd name="connsiteX62" fmla="*/ 714375 w 1720850"/>
              <a:gd name="connsiteY62" fmla="*/ 942975 h 2263775"/>
              <a:gd name="connsiteX63" fmla="*/ 777875 w 1720850"/>
              <a:gd name="connsiteY63" fmla="*/ 885825 h 2263775"/>
              <a:gd name="connsiteX64" fmla="*/ 812800 w 1720850"/>
              <a:gd name="connsiteY64" fmla="*/ 869950 h 2263775"/>
              <a:gd name="connsiteX65" fmla="*/ 825500 w 1720850"/>
              <a:gd name="connsiteY65" fmla="*/ 806450 h 2263775"/>
              <a:gd name="connsiteX66" fmla="*/ 806450 w 1720850"/>
              <a:gd name="connsiteY66" fmla="*/ 765175 h 2263775"/>
              <a:gd name="connsiteX67" fmla="*/ 831850 w 1720850"/>
              <a:gd name="connsiteY67" fmla="*/ 739775 h 2263775"/>
              <a:gd name="connsiteX68" fmla="*/ 860425 w 1720850"/>
              <a:gd name="connsiteY68" fmla="*/ 692150 h 2263775"/>
              <a:gd name="connsiteX69" fmla="*/ 889000 w 1720850"/>
              <a:gd name="connsiteY69" fmla="*/ 701675 h 2263775"/>
              <a:gd name="connsiteX70" fmla="*/ 962025 w 1720850"/>
              <a:gd name="connsiteY70" fmla="*/ 660400 h 2263775"/>
              <a:gd name="connsiteX71" fmla="*/ 977900 w 1720850"/>
              <a:gd name="connsiteY71" fmla="*/ 603250 h 2263775"/>
              <a:gd name="connsiteX72" fmla="*/ 990600 w 1720850"/>
              <a:gd name="connsiteY72" fmla="*/ 546100 h 2263775"/>
              <a:gd name="connsiteX73" fmla="*/ 1025525 w 1720850"/>
              <a:gd name="connsiteY73" fmla="*/ 482600 h 2263775"/>
              <a:gd name="connsiteX74" fmla="*/ 1092200 w 1720850"/>
              <a:gd name="connsiteY74" fmla="*/ 444500 h 2263775"/>
              <a:gd name="connsiteX75" fmla="*/ 1130300 w 1720850"/>
              <a:gd name="connsiteY75" fmla="*/ 428625 h 2263775"/>
              <a:gd name="connsiteX76" fmla="*/ 1146175 w 1720850"/>
              <a:gd name="connsiteY76" fmla="*/ 390525 h 2263775"/>
              <a:gd name="connsiteX77" fmla="*/ 1155700 w 1720850"/>
              <a:gd name="connsiteY77" fmla="*/ 352425 h 2263775"/>
              <a:gd name="connsiteX78" fmla="*/ 1206500 w 1720850"/>
              <a:gd name="connsiteY78" fmla="*/ 320675 h 2263775"/>
              <a:gd name="connsiteX79" fmla="*/ 1203325 w 1720850"/>
              <a:gd name="connsiteY79" fmla="*/ 276225 h 2263775"/>
              <a:gd name="connsiteX80" fmla="*/ 1244600 w 1720850"/>
              <a:gd name="connsiteY80" fmla="*/ 222250 h 2263775"/>
              <a:gd name="connsiteX81" fmla="*/ 1273175 w 1720850"/>
              <a:gd name="connsiteY81" fmla="*/ 171450 h 2263775"/>
              <a:gd name="connsiteX82" fmla="*/ 1244600 w 1720850"/>
              <a:gd name="connsiteY82" fmla="*/ 104775 h 2263775"/>
              <a:gd name="connsiteX83" fmla="*/ 1222375 w 1720850"/>
              <a:gd name="connsiteY83" fmla="*/ 57150 h 2263775"/>
              <a:gd name="connsiteX84" fmla="*/ 1247775 w 1720850"/>
              <a:gd name="connsiteY84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165100 w 1720850"/>
              <a:gd name="connsiteY42" fmla="*/ 1704975 h 2263775"/>
              <a:gd name="connsiteX43" fmla="*/ 142875 w 1720850"/>
              <a:gd name="connsiteY43" fmla="*/ 1708150 h 2263775"/>
              <a:gd name="connsiteX44" fmla="*/ 0 w 1720850"/>
              <a:gd name="connsiteY44" fmla="*/ 1457325 h 2263775"/>
              <a:gd name="connsiteX45" fmla="*/ 34925 w 1720850"/>
              <a:gd name="connsiteY45" fmla="*/ 1438275 h 2263775"/>
              <a:gd name="connsiteX46" fmla="*/ 107950 w 1720850"/>
              <a:gd name="connsiteY46" fmla="*/ 1422400 h 2263775"/>
              <a:gd name="connsiteX47" fmla="*/ 161925 w 1720850"/>
              <a:gd name="connsiteY47" fmla="*/ 1390650 h 2263775"/>
              <a:gd name="connsiteX48" fmla="*/ 200025 w 1720850"/>
              <a:gd name="connsiteY48" fmla="*/ 1406525 h 2263775"/>
              <a:gd name="connsiteX49" fmla="*/ 222250 w 1720850"/>
              <a:gd name="connsiteY49" fmla="*/ 1377950 h 2263775"/>
              <a:gd name="connsiteX50" fmla="*/ 301625 w 1720850"/>
              <a:gd name="connsiteY50" fmla="*/ 1381125 h 2263775"/>
              <a:gd name="connsiteX51" fmla="*/ 282575 w 1720850"/>
              <a:gd name="connsiteY51" fmla="*/ 1339850 h 2263775"/>
              <a:gd name="connsiteX52" fmla="*/ 314325 w 1720850"/>
              <a:gd name="connsiteY52" fmla="*/ 1311275 h 2263775"/>
              <a:gd name="connsiteX53" fmla="*/ 390525 w 1720850"/>
              <a:gd name="connsiteY53" fmla="*/ 1298575 h 2263775"/>
              <a:gd name="connsiteX54" fmla="*/ 419100 w 1720850"/>
              <a:gd name="connsiteY54" fmla="*/ 1235075 h 2263775"/>
              <a:gd name="connsiteX55" fmla="*/ 492125 w 1720850"/>
              <a:gd name="connsiteY55" fmla="*/ 1219200 h 2263775"/>
              <a:gd name="connsiteX56" fmla="*/ 549275 w 1720850"/>
              <a:gd name="connsiteY56" fmla="*/ 1162050 h 2263775"/>
              <a:gd name="connsiteX57" fmla="*/ 587375 w 1720850"/>
              <a:gd name="connsiteY57" fmla="*/ 1095375 h 2263775"/>
              <a:gd name="connsiteX58" fmla="*/ 612775 w 1720850"/>
              <a:gd name="connsiteY58" fmla="*/ 1041400 h 2263775"/>
              <a:gd name="connsiteX59" fmla="*/ 654050 w 1720850"/>
              <a:gd name="connsiteY59" fmla="*/ 1019175 h 2263775"/>
              <a:gd name="connsiteX60" fmla="*/ 669925 w 1720850"/>
              <a:gd name="connsiteY60" fmla="*/ 974725 h 2263775"/>
              <a:gd name="connsiteX61" fmla="*/ 714375 w 1720850"/>
              <a:gd name="connsiteY61" fmla="*/ 942975 h 2263775"/>
              <a:gd name="connsiteX62" fmla="*/ 777875 w 1720850"/>
              <a:gd name="connsiteY62" fmla="*/ 885825 h 2263775"/>
              <a:gd name="connsiteX63" fmla="*/ 812800 w 1720850"/>
              <a:gd name="connsiteY63" fmla="*/ 869950 h 2263775"/>
              <a:gd name="connsiteX64" fmla="*/ 825500 w 1720850"/>
              <a:gd name="connsiteY64" fmla="*/ 806450 h 2263775"/>
              <a:gd name="connsiteX65" fmla="*/ 806450 w 1720850"/>
              <a:gd name="connsiteY65" fmla="*/ 765175 h 2263775"/>
              <a:gd name="connsiteX66" fmla="*/ 831850 w 1720850"/>
              <a:gd name="connsiteY66" fmla="*/ 739775 h 2263775"/>
              <a:gd name="connsiteX67" fmla="*/ 860425 w 1720850"/>
              <a:gd name="connsiteY67" fmla="*/ 692150 h 2263775"/>
              <a:gd name="connsiteX68" fmla="*/ 889000 w 1720850"/>
              <a:gd name="connsiteY68" fmla="*/ 701675 h 2263775"/>
              <a:gd name="connsiteX69" fmla="*/ 962025 w 1720850"/>
              <a:gd name="connsiteY69" fmla="*/ 660400 h 2263775"/>
              <a:gd name="connsiteX70" fmla="*/ 977900 w 1720850"/>
              <a:gd name="connsiteY70" fmla="*/ 603250 h 2263775"/>
              <a:gd name="connsiteX71" fmla="*/ 990600 w 1720850"/>
              <a:gd name="connsiteY71" fmla="*/ 546100 h 2263775"/>
              <a:gd name="connsiteX72" fmla="*/ 1025525 w 1720850"/>
              <a:gd name="connsiteY72" fmla="*/ 482600 h 2263775"/>
              <a:gd name="connsiteX73" fmla="*/ 1092200 w 1720850"/>
              <a:gd name="connsiteY73" fmla="*/ 444500 h 2263775"/>
              <a:gd name="connsiteX74" fmla="*/ 1130300 w 1720850"/>
              <a:gd name="connsiteY74" fmla="*/ 428625 h 2263775"/>
              <a:gd name="connsiteX75" fmla="*/ 1146175 w 1720850"/>
              <a:gd name="connsiteY75" fmla="*/ 390525 h 2263775"/>
              <a:gd name="connsiteX76" fmla="*/ 1155700 w 1720850"/>
              <a:gd name="connsiteY76" fmla="*/ 352425 h 2263775"/>
              <a:gd name="connsiteX77" fmla="*/ 1206500 w 1720850"/>
              <a:gd name="connsiteY77" fmla="*/ 320675 h 2263775"/>
              <a:gd name="connsiteX78" fmla="*/ 1203325 w 1720850"/>
              <a:gd name="connsiteY78" fmla="*/ 276225 h 2263775"/>
              <a:gd name="connsiteX79" fmla="*/ 1244600 w 1720850"/>
              <a:gd name="connsiteY79" fmla="*/ 222250 h 2263775"/>
              <a:gd name="connsiteX80" fmla="*/ 1273175 w 1720850"/>
              <a:gd name="connsiteY80" fmla="*/ 171450 h 2263775"/>
              <a:gd name="connsiteX81" fmla="*/ 1244600 w 1720850"/>
              <a:gd name="connsiteY81" fmla="*/ 104775 h 2263775"/>
              <a:gd name="connsiteX82" fmla="*/ 1222375 w 1720850"/>
              <a:gd name="connsiteY82" fmla="*/ 57150 h 2263775"/>
              <a:gd name="connsiteX83" fmla="*/ 1247775 w 1720850"/>
              <a:gd name="connsiteY83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165100 w 1720850"/>
              <a:gd name="connsiteY42" fmla="*/ 1704975 h 2263775"/>
              <a:gd name="connsiteX43" fmla="*/ 0 w 1720850"/>
              <a:gd name="connsiteY43" fmla="*/ 1457325 h 2263775"/>
              <a:gd name="connsiteX44" fmla="*/ 34925 w 1720850"/>
              <a:gd name="connsiteY44" fmla="*/ 1438275 h 2263775"/>
              <a:gd name="connsiteX45" fmla="*/ 107950 w 1720850"/>
              <a:gd name="connsiteY45" fmla="*/ 1422400 h 2263775"/>
              <a:gd name="connsiteX46" fmla="*/ 161925 w 1720850"/>
              <a:gd name="connsiteY46" fmla="*/ 1390650 h 2263775"/>
              <a:gd name="connsiteX47" fmla="*/ 200025 w 1720850"/>
              <a:gd name="connsiteY47" fmla="*/ 1406525 h 2263775"/>
              <a:gd name="connsiteX48" fmla="*/ 222250 w 1720850"/>
              <a:gd name="connsiteY48" fmla="*/ 1377950 h 2263775"/>
              <a:gd name="connsiteX49" fmla="*/ 301625 w 1720850"/>
              <a:gd name="connsiteY49" fmla="*/ 1381125 h 2263775"/>
              <a:gd name="connsiteX50" fmla="*/ 282575 w 1720850"/>
              <a:gd name="connsiteY50" fmla="*/ 1339850 h 2263775"/>
              <a:gd name="connsiteX51" fmla="*/ 314325 w 1720850"/>
              <a:gd name="connsiteY51" fmla="*/ 1311275 h 2263775"/>
              <a:gd name="connsiteX52" fmla="*/ 390525 w 1720850"/>
              <a:gd name="connsiteY52" fmla="*/ 1298575 h 2263775"/>
              <a:gd name="connsiteX53" fmla="*/ 419100 w 1720850"/>
              <a:gd name="connsiteY53" fmla="*/ 1235075 h 2263775"/>
              <a:gd name="connsiteX54" fmla="*/ 492125 w 1720850"/>
              <a:gd name="connsiteY54" fmla="*/ 1219200 h 2263775"/>
              <a:gd name="connsiteX55" fmla="*/ 549275 w 1720850"/>
              <a:gd name="connsiteY55" fmla="*/ 1162050 h 2263775"/>
              <a:gd name="connsiteX56" fmla="*/ 587375 w 1720850"/>
              <a:gd name="connsiteY56" fmla="*/ 1095375 h 2263775"/>
              <a:gd name="connsiteX57" fmla="*/ 612775 w 1720850"/>
              <a:gd name="connsiteY57" fmla="*/ 1041400 h 2263775"/>
              <a:gd name="connsiteX58" fmla="*/ 654050 w 1720850"/>
              <a:gd name="connsiteY58" fmla="*/ 1019175 h 2263775"/>
              <a:gd name="connsiteX59" fmla="*/ 669925 w 1720850"/>
              <a:gd name="connsiteY59" fmla="*/ 974725 h 2263775"/>
              <a:gd name="connsiteX60" fmla="*/ 714375 w 1720850"/>
              <a:gd name="connsiteY60" fmla="*/ 942975 h 2263775"/>
              <a:gd name="connsiteX61" fmla="*/ 777875 w 1720850"/>
              <a:gd name="connsiteY61" fmla="*/ 885825 h 2263775"/>
              <a:gd name="connsiteX62" fmla="*/ 812800 w 1720850"/>
              <a:gd name="connsiteY62" fmla="*/ 869950 h 2263775"/>
              <a:gd name="connsiteX63" fmla="*/ 825500 w 1720850"/>
              <a:gd name="connsiteY63" fmla="*/ 806450 h 2263775"/>
              <a:gd name="connsiteX64" fmla="*/ 806450 w 1720850"/>
              <a:gd name="connsiteY64" fmla="*/ 765175 h 2263775"/>
              <a:gd name="connsiteX65" fmla="*/ 831850 w 1720850"/>
              <a:gd name="connsiteY65" fmla="*/ 739775 h 2263775"/>
              <a:gd name="connsiteX66" fmla="*/ 860425 w 1720850"/>
              <a:gd name="connsiteY66" fmla="*/ 692150 h 2263775"/>
              <a:gd name="connsiteX67" fmla="*/ 889000 w 1720850"/>
              <a:gd name="connsiteY67" fmla="*/ 701675 h 2263775"/>
              <a:gd name="connsiteX68" fmla="*/ 962025 w 1720850"/>
              <a:gd name="connsiteY68" fmla="*/ 660400 h 2263775"/>
              <a:gd name="connsiteX69" fmla="*/ 977900 w 1720850"/>
              <a:gd name="connsiteY69" fmla="*/ 603250 h 2263775"/>
              <a:gd name="connsiteX70" fmla="*/ 990600 w 1720850"/>
              <a:gd name="connsiteY70" fmla="*/ 546100 h 2263775"/>
              <a:gd name="connsiteX71" fmla="*/ 1025525 w 1720850"/>
              <a:gd name="connsiteY71" fmla="*/ 482600 h 2263775"/>
              <a:gd name="connsiteX72" fmla="*/ 1092200 w 1720850"/>
              <a:gd name="connsiteY72" fmla="*/ 444500 h 2263775"/>
              <a:gd name="connsiteX73" fmla="*/ 1130300 w 1720850"/>
              <a:gd name="connsiteY73" fmla="*/ 428625 h 2263775"/>
              <a:gd name="connsiteX74" fmla="*/ 1146175 w 1720850"/>
              <a:gd name="connsiteY74" fmla="*/ 390525 h 2263775"/>
              <a:gd name="connsiteX75" fmla="*/ 1155700 w 1720850"/>
              <a:gd name="connsiteY75" fmla="*/ 352425 h 2263775"/>
              <a:gd name="connsiteX76" fmla="*/ 1206500 w 1720850"/>
              <a:gd name="connsiteY76" fmla="*/ 320675 h 2263775"/>
              <a:gd name="connsiteX77" fmla="*/ 1203325 w 1720850"/>
              <a:gd name="connsiteY77" fmla="*/ 276225 h 2263775"/>
              <a:gd name="connsiteX78" fmla="*/ 1244600 w 1720850"/>
              <a:gd name="connsiteY78" fmla="*/ 222250 h 2263775"/>
              <a:gd name="connsiteX79" fmla="*/ 1273175 w 1720850"/>
              <a:gd name="connsiteY79" fmla="*/ 171450 h 2263775"/>
              <a:gd name="connsiteX80" fmla="*/ 1244600 w 1720850"/>
              <a:gd name="connsiteY80" fmla="*/ 104775 h 2263775"/>
              <a:gd name="connsiteX81" fmla="*/ 1222375 w 1720850"/>
              <a:gd name="connsiteY81" fmla="*/ 57150 h 2263775"/>
              <a:gd name="connsiteX82" fmla="*/ 1247775 w 1720850"/>
              <a:gd name="connsiteY82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165100 w 1720850"/>
              <a:gd name="connsiteY41" fmla="*/ 1704975 h 2263775"/>
              <a:gd name="connsiteX42" fmla="*/ 0 w 1720850"/>
              <a:gd name="connsiteY42" fmla="*/ 1457325 h 2263775"/>
              <a:gd name="connsiteX43" fmla="*/ 34925 w 1720850"/>
              <a:gd name="connsiteY43" fmla="*/ 1438275 h 2263775"/>
              <a:gd name="connsiteX44" fmla="*/ 107950 w 1720850"/>
              <a:gd name="connsiteY44" fmla="*/ 1422400 h 2263775"/>
              <a:gd name="connsiteX45" fmla="*/ 161925 w 1720850"/>
              <a:gd name="connsiteY45" fmla="*/ 1390650 h 2263775"/>
              <a:gd name="connsiteX46" fmla="*/ 200025 w 1720850"/>
              <a:gd name="connsiteY46" fmla="*/ 1406525 h 2263775"/>
              <a:gd name="connsiteX47" fmla="*/ 222250 w 1720850"/>
              <a:gd name="connsiteY47" fmla="*/ 1377950 h 2263775"/>
              <a:gd name="connsiteX48" fmla="*/ 301625 w 1720850"/>
              <a:gd name="connsiteY48" fmla="*/ 1381125 h 2263775"/>
              <a:gd name="connsiteX49" fmla="*/ 282575 w 1720850"/>
              <a:gd name="connsiteY49" fmla="*/ 1339850 h 2263775"/>
              <a:gd name="connsiteX50" fmla="*/ 314325 w 1720850"/>
              <a:gd name="connsiteY50" fmla="*/ 1311275 h 2263775"/>
              <a:gd name="connsiteX51" fmla="*/ 390525 w 1720850"/>
              <a:gd name="connsiteY51" fmla="*/ 1298575 h 2263775"/>
              <a:gd name="connsiteX52" fmla="*/ 419100 w 1720850"/>
              <a:gd name="connsiteY52" fmla="*/ 1235075 h 2263775"/>
              <a:gd name="connsiteX53" fmla="*/ 492125 w 1720850"/>
              <a:gd name="connsiteY53" fmla="*/ 1219200 h 2263775"/>
              <a:gd name="connsiteX54" fmla="*/ 549275 w 1720850"/>
              <a:gd name="connsiteY54" fmla="*/ 1162050 h 2263775"/>
              <a:gd name="connsiteX55" fmla="*/ 587375 w 1720850"/>
              <a:gd name="connsiteY55" fmla="*/ 1095375 h 2263775"/>
              <a:gd name="connsiteX56" fmla="*/ 612775 w 1720850"/>
              <a:gd name="connsiteY56" fmla="*/ 1041400 h 2263775"/>
              <a:gd name="connsiteX57" fmla="*/ 654050 w 1720850"/>
              <a:gd name="connsiteY57" fmla="*/ 1019175 h 2263775"/>
              <a:gd name="connsiteX58" fmla="*/ 669925 w 1720850"/>
              <a:gd name="connsiteY58" fmla="*/ 974725 h 2263775"/>
              <a:gd name="connsiteX59" fmla="*/ 714375 w 1720850"/>
              <a:gd name="connsiteY59" fmla="*/ 942975 h 2263775"/>
              <a:gd name="connsiteX60" fmla="*/ 777875 w 1720850"/>
              <a:gd name="connsiteY60" fmla="*/ 885825 h 2263775"/>
              <a:gd name="connsiteX61" fmla="*/ 812800 w 1720850"/>
              <a:gd name="connsiteY61" fmla="*/ 869950 h 2263775"/>
              <a:gd name="connsiteX62" fmla="*/ 825500 w 1720850"/>
              <a:gd name="connsiteY62" fmla="*/ 806450 h 2263775"/>
              <a:gd name="connsiteX63" fmla="*/ 806450 w 1720850"/>
              <a:gd name="connsiteY63" fmla="*/ 765175 h 2263775"/>
              <a:gd name="connsiteX64" fmla="*/ 831850 w 1720850"/>
              <a:gd name="connsiteY64" fmla="*/ 739775 h 2263775"/>
              <a:gd name="connsiteX65" fmla="*/ 860425 w 1720850"/>
              <a:gd name="connsiteY65" fmla="*/ 692150 h 2263775"/>
              <a:gd name="connsiteX66" fmla="*/ 889000 w 1720850"/>
              <a:gd name="connsiteY66" fmla="*/ 701675 h 2263775"/>
              <a:gd name="connsiteX67" fmla="*/ 962025 w 1720850"/>
              <a:gd name="connsiteY67" fmla="*/ 660400 h 2263775"/>
              <a:gd name="connsiteX68" fmla="*/ 977900 w 1720850"/>
              <a:gd name="connsiteY68" fmla="*/ 603250 h 2263775"/>
              <a:gd name="connsiteX69" fmla="*/ 990600 w 1720850"/>
              <a:gd name="connsiteY69" fmla="*/ 546100 h 2263775"/>
              <a:gd name="connsiteX70" fmla="*/ 1025525 w 1720850"/>
              <a:gd name="connsiteY70" fmla="*/ 482600 h 2263775"/>
              <a:gd name="connsiteX71" fmla="*/ 1092200 w 1720850"/>
              <a:gd name="connsiteY71" fmla="*/ 444500 h 2263775"/>
              <a:gd name="connsiteX72" fmla="*/ 1130300 w 1720850"/>
              <a:gd name="connsiteY72" fmla="*/ 428625 h 2263775"/>
              <a:gd name="connsiteX73" fmla="*/ 1146175 w 1720850"/>
              <a:gd name="connsiteY73" fmla="*/ 390525 h 2263775"/>
              <a:gd name="connsiteX74" fmla="*/ 1155700 w 1720850"/>
              <a:gd name="connsiteY74" fmla="*/ 352425 h 2263775"/>
              <a:gd name="connsiteX75" fmla="*/ 1206500 w 1720850"/>
              <a:gd name="connsiteY75" fmla="*/ 320675 h 2263775"/>
              <a:gd name="connsiteX76" fmla="*/ 1203325 w 1720850"/>
              <a:gd name="connsiteY76" fmla="*/ 276225 h 2263775"/>
              <a:gd name="connsiteX77" fmla="*/ 1244600 w 1720850"/>
              <a:gd name="connsiteY77" fmla="*/ 222250 h 2263775"/>
              <a:gd name="connsiteX78" fmla="*/ 1273175 w 1720850"/>
              <a:gd name="connsiteY78" fmla="*/ 171450 h 2263775"/>
              <a:gd name="connsiteX79" fmla="*/ 1244600 w 1720850"/>
              <a:gd name="connsiteY79" fmla="*/ 104775 h 2263775"/>
              <a:gd name="connsiteX80" fmla="*/ 1222375 w 1720850"/>
              <a:gd name="connsiteY80" fmla="*/ 57150 h 2263775"/>
              <a:gd name="connsiteX81" fmla="*/ 1247775 w 1720850"/>
              <a:gd name="connsiteY81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0 w 1720850"/>
              <a:gd name="connsiteY41" fmla="*/ 1457325 h 2263775"/>
              <a:gd name="connsiteX42" fmla="*/ 34925 w 1720850"/>
              <a:gd name="connsiteY42" fmla="*/ 1438275 h 2263775"/>
              <a:gd name="connsiteX43" fmla="*/ 107950 w 1720850"/>
              <a:gd name="connsiteY43" fmla="*/ 1422400 h 2263775"/>
              <a:gd name="connsiteX44" fmla="*/ 161925 w 1720850"/>
              <a:gd name="connsiteY44" fmla="*/ 1390650 h 2263775"/>
              <a:gd name="connsiteX45" fmla="*/ 200025 w 1720850"/>
              <a:gd name="connsiteY45" fmla="*/ 1406525 h 2263775"/>
              <a:gd name="connsiteX46" fmla="*/ 222250 w 1720850"/>
              <a:gd name="connsiteY46" fmla="*/ 1377950 h 2263775"/>
              <a:gd name="connsiteX47" fmla="*/ 301625 w 1720850"/>
              <a:gd name="connsiteY47" fmla="*/ 1381125 h 2263775"/>
              <a:gd name="connsiteX48" fmla="*/ 282575 w 1720850"/>
              <a:gd name="connsiteY48" fmla="*/ 1339850 h 2263775"/>
              <a:gd name="connsiteX49" fmla="*/ 314325 w 1720850"/>
              <a:gd name="connsiteY49" fmla="*/ 1311275 h 2263775"/>
              <a:gd name="connsiteX50" fmla="*/ 390525 w 1720850"/>
              <a:gd name="connsiteY50" fmla="*/ 1298575 h 2263775"/>
              <a:gd name="connsiteX51" fmla="*/ 419100 w 1720850"/>
              <a:gd name="connsiteY51" fmla="*/ 1235075 h 2263775"/>
              <a:gd name="connsiteX52" fmla="*/ 492125 w 1720850"/>
              <a:gd name="connsiteY52" fmla="*/ 1219200 h 2263775"/>
              <a:gd name="connsiteX53" fmla="*/ 549275 w 1720850"/>
              <a:gd name="connsiteY53" fmla="*/ 1162050 h 2263775"/>
              <a:gd name="connsiteX54" fmla="*/ 587375 w 1720850"/>
              <a:gd name="connsiteY54" fmla="*/ 1095375 h 2263775"/>
              <a:gd name="connsiteX55" fmla="*/ 612775 w 1720850"/>
              <a:gd name="connsiteY55" fmla="*/ 1041400 h 2263775"/>
              <a:gd name="connsiteX56" fmla="*/ 654050 w 1720850"/>
              <a:gd name="connsiteY56" fmla="*/ 1019175 h 2263775"/>
              <a:gd name="connsiteX57" fmla="*/ 669925 w 1720850"/>
              <a:gd name="connsiteY57" fmla="*/ 974725 h 2263775"/>
              <a:gd name="connsiteX58" fmla="*/ 714375 w 1720850"/>
              <a:gd name="connsiteY58" fmla="*/ 942975 h 2263775"/>
              <a:gd name="connsiteX59" fmla="*/ 777875 w 1720850"/>
              <a:gd name="connsiteY59" fmla="*/ 885825 h 2263775"/>
              <a:gd name="connsiteX60" fmla="*/ 812800 w 1720850"/>
              <a:gd name="connsiteY60" fmla="*/ 869950 h 2263775"/>
              <a:gd name="connsiteX61" fmla="*/ 825500 w 1720850"/>
              <a:gd name="connsiteY61" fmla="*/ 806450 h 2263775"/>
              <a:gd name="connsiteX62" fmla="*/ 806450 w 1720850"/>
              <a:gd name="connsiteY62" fmla="*/ 765175 h 2263775"/>
              <a:gd name="connsiteX63" fmla="*/ 831850 w 1720850"/>
              <a:gd name="connsiteY63" fmla="*/ 739775 h 2263775"/>
              <a:gd name="connsiteX64" fmla="*/ 860425 w 1720850"/>
              <a:gd name="connsiteY64" fmla="*/ 692150 h 2263775"/>
              <a:gd name="connsiteX65" fmla="*/ 889000 w 1720850"/>
              <a:gd name="connsiteY65" fmla="*/ 701675 h 2263775"/>
              <a:gd name="connsiteX66" fmla="*/ 962025 w 1720850"/>
              <a:gd name="connsiteY66" fmla="*/ 660400 h 2263775"/>
              <a:gd name="connsiteX67" fmla="*/ 977900 w 1720850"/>
              <a:gd name="connsiteY67" fmla="*/ 603250 h 2263775"/>
              <a:gd name="connsiteX68" fmla="*/ 990600 w 1720850"/>
              <a:gd name="connsiteY68" fmla="*/ 546100 h 2263775"/>
              <a:gd name="connsiteX69" fmla="*/ 1025525 w 1720850"/>
              <a:gd name="connsiteY69" fmla="*/ 482600 h 2263775"/>
              <a:gd name="connsiteX70" fmla="*/ 1092200 w 1720850"/>
              <a:gd name="connsiteY70" fmla="*/ 444500 h 2263775"/>
              <a:gd name="connsiteX71" fmla="*/ 1130300 w 1720850"/>
              <a:gd name="connsiteY71" fmla="*/ 428625 h 2263775"/>
              <a:gd name="connsiteX72" fmla="*/ 1146175 w 1720850"/>
              <a:gd name="connsiteY72" fmla="*/ 390525 h 2263775"/>
              <a:gd name="connsiteX73" fmla="*/ 1155700 w 1720850"/>
              <a:gd name="connsiteY73" fmla="*/ 352425 h 2263775"/>
              <a:gd name="connsiteX74" fmla="*/ 1206500 w 1720850"/>
              <a:gd name="connsiteY74" fmla="*/ 320675 h 2263775"/>
              <a:gd name="connsiteX75" fmla="*/ 1203325 w 1720850"/>
              <a:gd name="connsiteY75" fmla="*/ 276225 h 2263775"/>
              <a:gd name="connsiteX76" fmla="*/ 1244600 w 1720850"/>
              <a:gd name="connsiteY76" fmla="*/ 222250 h 2263775"/>
              <a:gd name="connsiteX77" fmla="*/ 1273175 w 1720850"/>
              <a:gd name="connsiteY77" fmla="*/ 171450 h 2263775"/>
              <a:gd name="connsiteX78" fmla="*/ 1244600 w 1720850"/>
              <a:gd name="connsiteY78" fmla="*/ 104775 h 2263775"/>
              <a:gd name="connsiteX79" fmla="*/ 1222375 w 1720850"/>
              <a:gd name="connsiteY79" fmla="*/ 57150 h 2263775"/>
              <a:gd name="connsiteX80" fmla="*/ 1247775 w 1720850"/>
              <a:gd name="connsiteY80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0 w 1720850"/>
              <a:gd name="connsiteY40" fmla="*/ 1457325 h 2263775"/>
              <a:gd name="connsiteX41" fmla="*/ 34925 w 1720850"/>
              <a:gd name="connsiteY41" fmla="*/ 1438275 h 2263775"/>
              <a:gd name="connsiteX42" fmla="*/ 107950 w 1720850"/>
              <a:gd name="connsiteY42" fmla="*/ 1422400 h 2263775"/>
              <a:gd name="connsiteX43" fmla="*/ 161925 w 1720850"/>
              <a:gd name="connsiteY43" fmla="*/ 1390650 h 2263775"/>
              <a:gd name="connsiteX44" fmla="*/ 200025 w 1720850"/>
              <a:gd name="connsiteY44" fmla="*/ 1406525 h 2263775"/>
              <a:gd name="connsiteX45" fmla="*/ 222250 w 1720850"/>
              <a:gd name="connsiteY45" fmla="*/ 1377950 h 2263775"/>
              <a:gd name="connsiteX46" fmla="*/ 301625 w 1720850"/>
              <a:gd name="connsiteY46" fmla="*/ 1381125 h 2263775"/>
              <a:gd name="connsiteX47" fmla="*/ 282575 w 1720850"/>
              <a:gd name="connsiteY47" fmla="*/ 1339850 h 2263775"/>
              <a:gd name="connsiteX48" fmla="*/ 314325 w 1720850"/>
              <a:gd name="connsiteY48" fmla="*/ 1311275 h 2263775"/>
              <a:gd name="connsiteX49" fmla="*/ 390525 w 1720850"/>
              <a:gd name="connsiteY49" fmla="*/ 1298575 h 2263775"/>
              <a:gd name="connsiteX50" fmla="*/ 419100 w 1720850"/>
              <a:gd name="connsiteY50" fmla="*/ 1235075 h 2263775"/>
              <a:gd name="connsiteX51" fmla="*/ 492125 w 1720850"/>
              <a:gd name="connsiteY51" fmla="*/ 1219200 h 2263775"/>
              <a:gd name="connsiteX52" fmla="*/ 549275 w 1720850"/>
              <a:gd name="connsiteY52" fmla="*/ 1162050 h 2263775"/>
              <a:gd name="connsiteX53" fmla="*/ 587375 w 1720850"/>
              <a:gd name="connsiteY53" fmla="*/ 1095375 h 2263775"/>
              <a:gd name="connsiteX54" fmla="*/ 612775 w 1720850"/>
              <a:gd name="connsiteY54" fmla="*/ 1041400 h 2263775"/>
              <a:gd name="connsiteX55" fmla="*/ 654050 w 1720850"/>
              <a:gd name="connsiteY55" fmla="*/ 1019175 h 2263775"/>
              <a:gd name="connsiteX56" fmla="*/ 669925 w 1720850"/>
              <a:gd name="connsiteY56" fmla="*/ 974725 h 2263775"/>
              <a:gd name="connsiteX57" fmla="*/ 714375 w 1720850"/>
              <a:gd name="connsiteY57" fmla="*/ 942975 h 2263775"/>
              <a:gd name="connsiteX58" fmla="*/ 777875 w 1720850"/>
              <a:gd name="connsiteY58" fmla="*/ 885825 h 2263775"/>
              <a:gd name="connsiteX59" fmla="*/ 812800 w 1720850"/>
              <a:gd name="connsiteY59" fmla="*/ 869950 h 2263775"/>
              <a:gd name="connsiteX60" fmla="*/ 825500 w 1720850"/>
              <a:gd name="connsiteY60" fmla="*/ 806450 h 2263775"/>
              <a:gd name="connsiteX61" fmla="*/ 806450 w 1720850"/>
              <a:gd name="connsiteY61" fmla="*/ 765175 h 2263775"/>
              <a:gd name="connsiteX62" fmla="*/ 831850 w 1720850"/>
              <a:gd name="connsiteY62" fmla="*/ 739775 h 2263775"/>
              <a:gd name="connsiteX63" fmla="*/ 860425 w 1720850"/>
              <a:gd name="connsiteY63" fmla="*/ 692150 h 2263775"/>
              <a:gd name="connsiteX64" fmla="*/ 889000 w 1720850"/>
              <a:gd name="connsiteY64" fmla="*/ 701675 h 2263775"/>
              <a:gd name="connsiteX65" fmla="*/ 962025 w 1720850"/>
              <a:gd name="connsiteY65" fmla="*/ 660400 h 2263775"/>
              <a:gd name="connsiteX66" fmla="*/ 977900 w 1720850"/>
              <a:gd name="connsiteY66" fmla="*/ 603250 h 2263775"/>
              <a:gd name="connsiteX67" fmla="*/ 990600 w 1720850"/>
              <a:gd name="connsiteY67" fmla="*/ 546100 h 2263775"/>
              <a:gd name="connsiteX68" fmla="*/ 1025525 w 1720850"/>
              <a:gd name="connsiteY68" fmla="*/ 482600 h 2263775"/>
              <a:gd name="connsiteX69" fmla="*/ 1092200 w 1720850"/>
              <a:gd name="connsiteY69" fmla="*/ 444500 h 2263775"/>
              <a:gd name="connsiteX70" fmla="*/ 1130300 w 1720850"/>
              <a:gd name="connsiteY70" fmla="*/ 428625 h 2263775"/>
              <a:gd name="connsiteX71" fmla="*/ 1146175 w 1720850"/>
              <a:gd name="connsiteY71" fmla="*/ 390525 h 2263775"/>
              <a:gd name="connsiteX72" fmla="*/ 1155700 w 1720850"/>
              <a:gd name="connsiteY72" fmla="*/ 352425 h 2263775"/>
              <a:gd name="connsiteX73" fmla="*/ 1206500 w 1720850"/>
              <a:gd name="connsiteY73" fmla="*/ 320675 h 2263775"/>
              <a:gd name="connsiteX74" fmla="*/ 1203325 w 1720850"/>
              <a:gd name="connsiteY74" fmla="*/ 276225 h 2263775"/>
              <a:gd name="connsiteX75" fmla="*/ 1244600 w 1720850"/>
              <a:gd name="connsiteY75" fmla="*/ 222250 h 2263775"/>
              <a:gd name="connsiteX76" fmla="*/ 1273175 w 1720850"/>
              <a:gd name="connsiteY76" fmla="*/ 171450 h 2263775"/>
              <a:gd name="connsiteX77" fmla="*/ 1244600 w 1720850"/>
              <a:gd name="connsiteY77" fmla="*/ 104775 h 2263775"/>
              <a:gd name="connsiteX78" fmla="*/ 1222375 w 1720850"/>
              <a:gd name="connsiteY78" fmla="*/ 57150 h 2263775"/>
              <a:gd name="connsiteX79" fmla="*/ 1247775 w 1720850"/>
              <a:gd name="connsiteY79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0 w 1720850"/>
              <a:gd name="connsiteY39" fmla="*/ 1457325 h 2263775"/>
              <a:gd name="connsiteX40" fmla="*/ 34925 w 1720850"/>
              <a:gd name="connsiteY40" fmla="*/ 1438275 h 2263775"/>
              <a:gd name="connsiteX41" fmla="*/ 107950 w 1720850"/>
              <a:gd name="connsiteY41" fmla="*/ 1422400 h 2263775"/>
              <a:gd name="connsiteX42" fmla="*/ 161925 w 1720850"/>
              <a:gd name="connsiteY42" fmla="*/ 1390650 h 2263775"/>
              <a:gd name="connsiteX43" fmla="*/ 200025 w 1720850"/>
              <a:gd name="connsiteY43" fmla="*/ 1406525 h 2263775"/>
              <a:gd name="connsiteX44" fmla="*/ 222250 w 1720850"/>
              <a:gd name="connsiteY44" fmla="*/ 1377950 h 2263775"/>
              <a:gd name="connsiteX45" fmla="*/ 301625 w 1720850"/>
              <a:gd name="connsiteY45" fmla="*/ 1381125 h 2263775"/>
              <a:gd name="connsiteX46" fmla="*/ 282575 w 1720850"/>
              <a:gd name="connsiteY46" fmla="*/ 1339850 h 2263775"/>
              <a:gd name="connsiteX47" fmla="*/ 314325 w 1720850"/>
              <a:gd name="connsiteY47" fmla="*/ 1311275 h 2263775"/>
              <a:gd name="connsiteX48" fmla="*/ 390525 w 1720850"/>
              <a:gd name="connsiteY48" fmla="*/ 1298575 h 2263775"/>
              <a:gd name="connsiteX49" fmla="*/ 419100 w 1720850"/>
              <a:gd name="connsiteY49" fmla="*/ 1235075 h 2263775"/>
              <a:gd name="connsiteX50" fmla="*/ 492125 w 1720850"/>
              <a:gd name="connsiteY50" fmla="*/ 1219200 h 2263775"/>
              <a:gd name="connsiteX51" fmla="*/ 549275 w 1720850"/>
              <a:gd name="connsiteY51" fmla="*/ 1162050 h 2263775"/>
              <a:gd name="connsiteX52" fmla="*/ 587375 w 1720850"/>
              <a:gd name="connsiteY52" fmla="*/ 1095375 h 2263775"/>
              <a:gd name="connsiteX53" fmla="*/ 612775 w 1720850"/>
              <a:gd name="connsiteY53" fmla="*/ 1041400 h 2263775"/>
              <a:gd name="connsiteX54" fmla="*/ 654050 w 1720850"/>
              <a:gd name="connsiteY54" fmla="*/ 1019175 h 2263775"/>
              <a:gd name="connsiteX55" fmla="*/ 669925 w 1720850"/>
              <a:gd name="connsiteY55" fmla="*/ 974725 h 2263775"/>
              <a:gd name="connsiteX56" fmla="*/ 714375 w 1720850"/>
              <a:gd name="connsiteY56" fmla="*/ 942975 h 2263775"/>
              <a:gd name="connsiteX57" fmla="*/ 777875 w 1720850"/>
              <a:gd name="connsiteY57" fmla="*/ 885825 h 2263775"/>
              <a:gd name="connsiteX58" fmla="*/ 812800 w 1720850"/>
              <a:gd name="connsiteY58" fmla="*/ 869950 h 2263775"/>
              <a:gd name="connsiteX59" fmla="*/ 825500 w 1720850"/>
              <a:gd name="connsiteY59" fmla="*/ 806450 h 2263775"/>
              <a:gd name="connsiteX60" fmla="*/ 806450 w 1720850"/>
              <a:gd name="connsiteY60" fmla="*/ 765175 h 2263775"/>
              <a:gd name="connsiteX61" fmla="*/ 831850 w 1720850"/>
              <a:gd name="connsiteY61" fmla="*/ 739775 h 2263775"/>
              <a:gd name="connsiteX62" fmla="*/ 860425 w 1720850"/>
              <a:gd name="connsiteY62" fmla="*/ 692150 h 2263775"/>
              <a:gd name="connsiteX63" fmla="*/ 889000 w 1720850"/>
              <a:gd name="connsiteY63" fmla="*/ 701675 h 2263775"/>
              <a:gd name="connsiteX64" fmla="*/ 962025 w 1720850"/>
              <a:gd name="connsiteY64" fmla="*/ 660400 h 2263775"/>
              <a:gd name="connsiteX65" fmla="*/ 977900 w 1720850"/>
              <a:gd name="connsiteY65" fmla="*/ 603250 h 2263775"/>
              <a:gd name="connsiteX66" fmla="*/ 990600 w 1720850"/>
              <a:gd name="connsiteY66" fmla="*/ 546100 h 2263775"/>
              <a:gd name="connsiteX67" fmla="*/ 1025525 w 1720850"/>
              <a:gd name="connsiteY67" fmla="*/ 482600 h 2263775"/>
              <a:gd name="connsiteX68" fmla="*/ 1092200 w 1720850"/>
              <a:gd name="connsiteY68" fmla="*/ 444500 h 2263775"/>
              <a:gd name="connsiteX69" fmla="*/ 1130300 w 1720850"/>
              <a:gd name="connsiteY69" fmla="*/ 428625 h 2263775"/>
              <a:gd name="connsiteX70" fmla="*/ 1146175 w 1720850"/>
              <a:gd name="connsiteY70" fmla="*/ 390525 h 2263775"/>
              <a:gd name="connsiteX71" fmla="*/ 1155700 w 1720850"/>
              <a:gd name="connsiteY71" fmla="*/ 352425 h 2263775"/>
              <a:gd name="connsiteX72" fmla="*/ 1206500 w 1720850"/>
              <a:gd name="connsiteY72" fmla="*/ 320675 h 2263775"/>
              <a:gd name="connsiteX73" fmla="*/ 1203325 w 1720850"/>
              <a:gd name="connsiteY73" fmla="*/ 276225 h 2263775"/>
              <a:gd name="connsiteX74" fmla="*/ 1244600 w 1720850"/>
              <a:gd name="connsiteY74" fmla="*/ 222250 h 2263775"/>
              <a:gd name="connsiteX75" fmla="*/ 1273175 w 1720850"/>
              <a:gd name="connsiteY75" fmla="*/ 171450 h 2263775"/>
              <a:gd name="connsiteX76" fmla="*/ 1244600 w 1720850"/>
              <a:gd name="connsiteY76" fmla="*/ 104775 h 2263775"/>
              <a:gd name="connsiteX77" fmla="*/ 1222375 w 1720850"/>
              <a:gd name="connsiteY77" fmla="*/ 57150 h 2263775"/>
              <a:gd name="connsiteX78" fmla="*/ 1247775 w 1720850"/>
              <a:gd name="connsiteY78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0 w 1720850"/>
              <a:gd name="connsiteY38" fmla="*/ 1457325 h 2263775"/>
              <a:gd name="connsiteX39" fmla="*/ 34925 w 1720850"/>
              <a:gd name="connsiteY39" fmla="*/ 1438275 h 2263775"/>
              <a:gd name="connsiteX40" fmla="*/ 107950 w 1720850"/>
              <a:gd name="connsiteY40" fmla="*/ 1422400 h 2263775"/>
              <a:gd name="connsiteX41" fmla="*/ 161925 w 1720850"/>
              <a:gd name="connsiteY41" fmla="*/ 1390650 h 2263775"/>
              <a:gd name="connsiteX42" fmla="*/ 200025 w 1720850"/>
              <a:gd name="connsiteY42" fmla="*/ 1406525 h 2263775"/>
              <a:gd name="connsiteX43" fmla="*/ 222250 w 1720850"/>
              <a:gd name="connsiteY43" fmla="*/ 1377950 h 2263775"/>
              <a:gd name="connsiteX44" fmla="*/ 301625 w 1720850"/>
              <a:gd name="connsiteY44" fmla="*/ 1381125 h 2263775"/>
              <a:gd name="connsiteX45" fmla="*/ 282575 w 1720850"/>
              <a:gd name="connsiteY45" fmla="*/ 1339850 h 2263775"/>
              <a:gd name="connsiteX46" fmla="*/ 314325 w 1720850"/>
              <a:gd name="connsiteY46" fmla="*/ 1311275 h 2263775"/>
              <a:gd name="connsiteX47" fmla="*/ 390525 w 1720850"/>
              <a:gd name="connsiteY47" fmla="*/ 1298575 h 2263775"/>
              <a:gd name="connsiteX48" fmla="*/ 419100 w 1720850"/>
              <a:gd name="connsiteY48" fmla="*/ 1235075 h 2263775"/>
              <a:gd name="connsiteX49" fmla="*/ 492125 w 1720850"/>
              <a:gd name="connsiteY49" fmla="*/ 1219200 h 2263775"/>
              <a:gd name="connsiteX50" fmla="*/ 549275 w 1720850"/>
              <a:gd name="connsiteY50" fmla="*/ 1162050 h 2263775"/>
              <a:gd name="connsiteX51" fmla="*/ 587375 w 1720850"/>
              <a:gd name="connsiteY51" fmla="*/ 1095375 h 2263775"/>
              <a:gd name="connsiteX52" fmla="*/ 612775 w 1720850"/>
              <a:gd name="connsiteY52" fmla="*/ 1041400 h 2263775"/>
              <a:gd name="connsiteX53" fmla="*/ 654050 w 1720850"/>
              <a:gd name="connsiteY53" fmla="*/ 1019175 h 2263775"/>
              <a:gd name="connsiteX54" fmla="*/ 669925 w 1720850"/>
              <a:gd name="connsiteY54" fmla="*/ 974725 h 2263775"/>
              <a:gd name="connsiteX55" fmla="*/ 714375 w 1720850"/>
              <a:gd name="connsiteY55" fmla="*/ 942975 h 2263775"/>
              <a:gd name="connsiteX56" fmla="*/ 777875 w 1720850"/>
              <a:gd name="connsiteY56" fmla="*/ 885825 h 2263775"/>
              <a:gd name="connsiteX57" fmla="*/ 812800 w 1720850"/>
              <a:gd name="connsiteY57" fmla="*/ 869950 h 2263775"/>
              <a:gd name="connsiteX58" fmla="*/ 825500 w 1720850"/>
              <a:gd name="connsiteY58" fmla="*/ 806450 h 2263775"/>
              <a:gd name="connsiteX59" fmla="*/ 806450 w 1720850"/>
              <a:gd name="connsiteY59" fmla="*/ 765175 h 2263775"/>
              <a:gd name="connsiteX60" fmla="*/ 831850 w 1720850"/>
              <a:gd name="connsiteY60" fmla="*/ 739775 h 2263775"/>
              <a:gd name="connsiteX61" fmla="*/ 860425 w 1720850"/>
              <a:gd name="connsiteY61" fmla="*/ 692150 h 2263775"/>
              <a:gd name="connsiteX62" fmla="*/ 889000 w 1720850"/>
              <a:gd name="connsiteY62" fmla="*/ 701675 h 2263775"/>
              <a:gd name="connsiteX63" fmla="*/ 962025 w 1720850"/>
              <a:gd name="connsiteY63" fmla="*/ 660400 h 2263775"/>
              <a:gd name="connsiteX64" fmla="*/ 977900 w 1720850"/>
              <a:gd name="connsiteY64" fmla="*/ 603250 h 2263775"/>
              <a:gd name="connsiteX65" fmla="*/ 990600 w 1720850"/>
              <a:gd name="connsiteY65" fmla="*/ 546100 h 2263775"/>
              <a:gd name="connsiteX66" fmla="*/ 1025525 w 1720850"/>
              <a:gd name="connsiteY66" fmla="*/ 482600 h 2263775"/>
              <a:gd name="connsiteX67" fmla="*/ 1092200 w 1720850"/>
              <a:gd name="connsiteY67" fmla="*/ 444500 h 2263775"/>
              <a:gd name="connsiteX68" fmla="*/ 1130300 w 1720850"/>
              <a:gd name="connsiteY68" fmla="*/ 428625 h 2263775"/>
              <a:gd name="connsiteX69" fmla="*/ 1146175 w 1720850"/>
              <a:gd name="connsiteY69" fmla="*/ 390525 h 2263775"/>
              <a:gd name="connsiteX70" fmla="*/ 1155700 w 1720850"/>
              <a:gd name="connsiteY70" fmla="*/ 352425 h 2263775"/>
              <a:gd name="connsiteX71" fmla="*/ 1206500 w 1720850"/>
              <a:gd name="connsiteY71" fmla="*/ 320675 h 2263775"/>
              <a:gd name="connsiteX72" fmla="*/ 1203325 w 1720850"/>
              <a:gd name="connsiteY72" fmla="*/ 276225 h 2263775"/>
              <a:gd name="connsiteX73" fmla="*/ 1244600 w 1720850"/>
              <a:gd name="connsiteY73" fmla="*/ 222250 h 2263775"/>
              <a:gd name="connsiteX74" fmla="*/ 1273175 w 1720850"/>
              <a:gd name="connsiteY74" fmla="*/ 171450 h 2263775"/>
              <a:gd name="connsiteX75" fmla="*/ 1244600 w 1720850"/>
              <a:gd name="connsiteY75" fmla="*/ 104775 h 2263775"/>
              <a:gd name="connsiteX76" fmla="*/ 1222375 w 1720850"/>
              <a:gd name="connsiteY76" fmla="*/ 57150 h 2263775"/>
              <a:gd name="connsiteX77" fmla="*/ 1247775 w 1720850"/>
              <a:gd name="connsiteY77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0 w 1720850"/>
              <a:gd name="connsiteY38" fmla="*/ 1457325 h 2263775"/>
              <a:gd name="connsiteX39" fmla="*/ 107950 w 1720850"/>
              <a:gd name="connsiteY39" fmla="*/ 1422400 h 2263775"/>
              <a:gd name="connsiteX40" fmla="*/ 161925 w 1720850"/>
              <a:gd name="connsiteY40" fmla="*/ 1390650 h 2263775"/>
              <a:gd name="connsiteX41" fmla="*/ 200025 w 1720850"/>
              <a:gd name="connsiteY41" fmla="*/ 1406525 h 2263775"/>
              <a:gd name="connsiteX42" fmla="*/ 222250 w 1720850"/>
              <a:gd name="connsiteY42" fmla="*/ 1377950 h 2263775"/>
              <a:gd name="connsiteX43" fmla="*/ 301625 w 1720850"/>
              <a:gd name="connsiteY43" fmla="*/ 1381125 h 2263775"/>
              <a:gd name="connsiteX44" fmla="*/ 282575 w 1720850"/>
              <a:gd name="connsiteY44" fmla="*/ 1339850 h 2263775"/>
              <a:gd name="connsiteX45" fmla="*/ 314325 w 1720850"/>
              <a:gd name="connsiteY45" fmla="*/ 1311275 h 2263775"/>
              <a:gd name="connsiteX46" fmla="*/ 390525 w 1720850"/>
              <a:gd name="connsiteY46" fmla="*/ 1298575 h 2263775"/>
              <a:gd name="connsiteX47" fmla="*/ 419100 w 1720850"/>
              <a:gd name="connsiteY47" fmla="*/ 1235075 h 2263775"/>
              <a:gd name="connsiteX48" fmla="*/ 492125 w 1720850"/>
              <a:gd name="connsiteY48" fmla="*/ 1219200 h 2263775"/>
              <a:gd name="connsiteX49" fmla="*/ 549275 w 1720850"/>
              <a:gd name="connsiteY49" fmla="*/ 1162050 h 2263775"/>
              <a:gd name="connsiteX50" fmla="*/ 587375 w 1720850"/>
              <a:gd name="connsiteY50" fmla="*/ 1095375 h 2263775"/>
              <a:gd name="connsiteX51" fmla="*/ 612775 w 1720850"/>
              <a:gd name="connsiteY51" fmla="*/ 1041400 h 2263775"/>
              <a:gd name="connsiteX52" fmla="*/ 654050 w 1720850"/>
              <a:gd name="connsiteY52" fmla="*/ 1019175 h 2263775"/>
              <a:gd name="connsiteX53" fmla="*/ 669925 w 1720850"/>
              <a:gd name="connsiteY53" fmla="*/ 974725 h 2263775"/>
              <a:gd name="connsiteX54" fmla="*/ 714375 w 1720850"/>
              <a:gd name="connsiteY54" fmla="*/ 942975 h 2263775"/>
              <a:gd name="connsiteX55" fmla="*/ 777875 w 1720850"/>
              <a:gd name="connsiteY55" fmla="*/ 885825 h 2263775"/>
              <a:gd name="connsiteX56" fmla="*/ 812800 w 1720850"/>
              <a:gd name="connsiteY56" fmla="*/ 869950 h 2263775"/>
              <a:gd name="connsiteX57" fmla="*/ 825500 w 1720850"/>
              <a:gd name="connsiteY57" fmla="*/ 806450 h 2263775"/>
              <a:gd name="connsiteX58" fmla="*/ 806450 w 1720850"/>
              <a:gd name="connsiteY58" fmla="*/ 765175 h 2263775"/>
              <a:gd name="connsiteX59" fmla="*/ 831850 w 1720850"/>
              <a:gd name="connsiteY59" fmla="*/ 739775 h 2263775"/>
              <a:gd name="connsiteX60" fmla="*/ 860425 w 1720850"/>
              <a:gd name="connsiteY60" fmla="*/ 692150 h 2263775"/>
              <a:gd name="connsiteX61" fmla="*/ 889000 w 1720850"/>
              <a:gd name="connsiteY61" fmla="*/ 701675 h 2263775"/>
              <a:gd name="connsiteX62" fmla="*/ 962025 w 1720850"/>
              <a:gd name="connsiteY62" fmla="*/ 660400 h 2263775"/>
              <a:gd name="connsiteX63" fmla="*/ 977900 w 1720850"/>
              <a:gd name="connsiteY63" fmla="*/ 603250 h 2263775"/>
              <a:gd name="connsiteX64" fmla="*/ 990600 w 1720850"/>
              <a:gd name="connsiteY64" fmla="*/ 546100 h 2263775"/>
              <a:gd name="connsiteX65" fmla="*/ 1025525 w 1720850"/>
              <a:gd name="connsiteY65" fmla="*/ 482600 h 2263775"/>
              <a:gd name="connsiteX66" fmla="*/ 1092200 w 1720850"/>
              <a:gd name="connsiteY66" fmla="*/ 444500 h 2263775"/>
              <a:gd name="connsiteX67" fmla="*/ 1130300 w 1720850"/>
              <a:gd name="connsiteY67" fmla="*/ 428625 h 2263775"/>
              <a:gd name="connsiteX68" fmla="*/ 1146175 w 1720850"/>
              <a:gd name="connsiteY68" fmla="*/ 390525 h 2263775"/>
              <a:gd name="connsiteX69" fmla="*/ 1155700 w 1720850"/>
              <a:gd name="connsiteY69" fmla="*/ 352425 h 2263775"/>
              <a:gd name="connsiteX70" fmla="*/ 1206500 w 1720850"/>
              <a:gd name="connsiteY70" fmla="*/ 320675 h 2263775"/>
              <a:gd name="connsiteX71" fmla="*/ 1203325 w 1720850"/>
              <a:gd name="connsiteY71" fmla="*/ 276225 h 2263775"/>
              <a:gd name="connsiteX72" fmla="*/ 1244600 w 1720850"/>
              <a:gd name="connsiteY72" fmla="*/ 222250 h 2263775"/>
              <a:gd name="connsiteX73" fmla="*/ 1273175 w 1720850"/>
              <a:gd name="connsiteY73" fmla="*/ 171450 h 2263775"/>
              <a:gd name="connsiteX74" fmla="*/ 1244600 w 1720850"/>
              <a:gd name="connsiteY74" fmla="*/ 104775 h 2263775"/>
              <a:gd name="connsiteX75" fmla="*/ 1222375 w 1720850"/>
              <a:gd name="connsiteY75" fmla="*/ 57150 h 2263775"/>
              <a:gd name="connsiteX76" fmla="*/ 1247775 w 1720850"/>
              <a:gd name="connsiteY76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0 w 1720850"/>
              <a:gd name="connsiteY38" fmla="*/ 1457325 h 2263775"/>
              <a:gd name="connsiteX39" fmla="*/ 161925 w 1720850"/>
              <a:gd name="connsiteY39" fmla="*/ 1390650 h 2263775"/>
              <a:gd name="connsiteX40" fmla="*/ 200025 w 1720850"/>
              <a:gd name="connsiteY40" fmla="*/ 1406525 h 2263775"/>
              <a:gd name="connsiteX41" fmla="*/ 222250 w 1720850"/>
              <a:gd name="connsiteY41" fmla="*/ 1377950 h 2263775"/>
              <a:gd name="connsiteX42" fmla="*/ 301625 w 1720850"/>
              <a:gd name="connsiteY42" fmla="*/ 1381125 h 2263775"/>
              <a:gd name="connsiteX43" fmla="*/ 282575 w 1720850"/>
              <a:gd name="connsiteY43" fmla="*/ 1339850 h 2263775"/>
              <a:gd name="connsiteX44" fmla="*/ 314325 w 1720850"/>
              <a:gd name="connsiteY44" fmla="*/ 1311275 h 2263775"/>
              <a:gd name="connsiteX45" fmla="*/ 390525 w 1720850"/>
              <a:gd name="connsiteY45" fmla="*/ 1298575 h 2263775"/>
              <a:gd name="connsiteX46" fmla="*/ 419100 w 1720850"/>
              <a:gd name="connsiteY46" fmla="*/ 1235075 h 2263775"/>
              <a:gd name="connsiteX47" fmla="*/ 492125 w 1720850"/>
              <a:gd name="connsiteY47" fmla="*/ 1219200 h 2263775"/>
              <a:gd name="connsiteX48" fmla="*/ 549275 w 1720850"/>
              <a:gd name="connsiteY48" fmla="*/ 1162050 h 2263775"/>
              <a:gd name="connsiteX49" fmla="*/ 587375 w 1720850"/>
              <a:gd name="connsiteY49" fmla="*/ 1095375 h 2263775"/>
              <a:gd name="connsiteX50" fmla="*/ 612775 w 1720850"/>
              <a:gd name="connsiteY50" fmla="*/ 1041400 h 2263775"/>
              <a:gd name="connsiteX51" fmla="*/ 654050 w 1720850"/>
              <a:gd name="connsiteY51" fmla="*/ 1019175 h 2263775"/>
              <a:gd name="connsiteX52" fmla="*/ 669925 w 1720850"/>
              <a:gd name="connsiteY52" fmla="*/ 974725 h 2263775"/>
              <a:gd name="connsiteX53" fmla="*/ 714375 w 1720850"/>
              <a:gd name="connsiteY53" fmla="*/ 942975 h 2263775"/>
              <a:gd name="connsiteX54" fmla="*/ 777875 w 1720850"/>
              <a:gd name="connsiteY54" fmla="*/ 885825 h 2263775"/>
              <a:gd name="connsiteX55" fmla="*/ 812800 w 1720850"/>
              <a:gd name="connsiteY55" fmla="*/ 869950 h 2263775"/>
              <a:gd name="connsiteX56" fmla="*/ 825500 w 1720850"/>
              <a:gd name="connsiteY56" fmla="*/ 806450 h 2263775"/>
              <a:gd name="connsiteX57" fmla="*/ 806450 w 1720850"/>
              <a:gd name="connsiteY57" fmla="*/ 765175 h 2263775"/>
              <a:gd name="connsiteX58" fmla="*/ 831850 w 1720850"/>
              <a:gd name="connsiteY58" fmla="*/ 739775 h 2263775"/>
              <a:gd name="connsiteX59" fmla="*/ 860425 w 1720850"/>
              <a:gd name="connsiteY59" fmla="*/ 692150 h 2263775"/>
              <a:gd name="connsiteX60" fmla="*/ 889000 w 1720850"/>
              <a:gd name="connsiteY60" fmla="*/ 701675 h 2263775"/>
              <a:gd name="connsiteX61" fmla="*/ 962025 w 1720850"/>
              <a:gd name="connsiteY61" fmla="*/ 660400 h 2263775"/>
              <a:gd name="connsiteX62" fmla="*/ 977900 w 1720850"/>
              <a:gd name="connsiteY62" fmla="*/ 603250 h 2263775"/>
              <a:gd name="connsiteX63" fmla="*/ 990600 w 1720850"/>
              <a:gd name="connsiteY63" fmla="*/ 546100 h 2263775"/>
              <a:gd name="connsiteX64" fmla="*/ 1025525 w 1720850"/>
              <a:gd name="connsiteY64" fmla="*/ 482600 h 2263775"/>
              <a:gd name="connsiteX65" fmla="*/ 1092200 w 1720850"/>
              <a:gd name="connsiteY65" fmla="*/ 444500 h 2263775"/>
              <a:gd name="connsiteX66" fmla="*/ 1130300 w 1720850"/>
              <a:gd name="connsiteY66" fmla="*/ 428625 h 2263775"/>
              <a:gd name="connsiteX67" fmla="*/ 1146175 w 1720850"/>
              <a:gd name="connsiteY67" fmla="*/ 390525 h 2263775"/>
              <a:gd name="connsiteX68" fmla="*/ 1155700 w 1720850"/>
              <a:gd name="connsiteY68" fmla="*/ 352425 h 2263775"/>
              <a:gd name="connsiteX69" fmla="*/ 1206500 w 1720850"/>
              <a:gd name="connsiteY69" fmla="*/ 320675 h 2263775"/>
              <a:gd name="connsiteX70" fmla="*/ 1203325 w 1720850"/>
              <a:gd name="connsiteY70" fmla="*/ 276225 h 2263775"/>
              <a:gd name="connsiteX71" fmla="*/ 1244600 w 1720850"/>
              <a:gd name="connsiteY71" fmla="*/ 222250 h 2263775"/>
              <a:gd name="connsiteX72" fmla="*/ 1273175 w 1720850"/>
              <a:gd name="connsiteY72" fmla="*/ 171450 h 2263775"/>
              <a:gd name="connsiteX73" fmla="*/ 1244600 w 1720850"/>
              <a:gd name="connsiteY73" fmla="*/ 104775 h 2263775"/>
              <a:gd name="connsiteX74" fmla="*/ 1222375 w 1720850"/>
              <a:gd name="connsiteY74" fmla="*/ 57150 h 2263775"/>
              <a:gd name="connsiteX75" fmla="*/ 1247775 w 1720850"/>
              <a:gd name="connsiteY75" fmla="*/ 0 h 2263775"/>
              <a:gd name="connsiteX0" fmla="*/ 1558925 w 1558925"/>
              <a:gd name="connsiteY0" fmla="*/ 2263775 h 2263775"/>
              <a:gd name="connsiteX1" fmla="*/ 1543050 w 1558925"/>
              <a:gd name="connsiteY1" fmla="*/ 2206625 h 2263775"/>
              <a:gd name="connsiteX2" fmla="*/ 1511300 w 1558925"/>
              <a:gd name="connsiteY2" fmla="*/ 2162175 h 2263775"/>
              <a:gd name="connsiteX3" fmla="*/ 1473200 w 1558925"/>
              <a:gd name="connsiteY3" fmla="*/ 2149475 h 2263775"/>
              <a:gd name="connsiteX4" fmla="*/ 1419225 w 1558925"/>
              <a:gd name="connsiteY4" fmla="*/ 2152650 h 2263775"/>
              <a:gd name="connsiteX5" fmla="*/ 1377950 w 1558925"/>
              <a:gd name="connsiteY5" fmla="*/ 2149475 h 2263775"/>
              <a:gd name="connsiteX6" fmla="*/ 1343025 w 1558925"/>
              <a:gd name="connsiteY6" fmla="*/ 2130425 h 2263775"/>
              <a:gd name="connsiteX7" fmla="*/ 1314450 w 1558925"/>
              <a:gd name="connsiteY7" fmla="*/ 2143125 h 2263775"/>
              <a:gd name="connsiteX8" fmla="*/ 1263650 w 1558925"/>
              <a:gd name="connsiteY8" fmla="*/ 2130425 h 2263775"/>
              <a:gd name="connsiteX9" fmla="*/ 1228725 w 1558925"/>
              <a:gd name="connsiteY9" fmla="*/ 2117725 h 2263775"/>
              <a:gd name="connsiteX10" fmla="*/ 1212850 w 1558925"/>
              <a:gd name="connsiteY10" fmla="*/ 2111375 h 2263775"/>
              <a:gd name="connsiteX11" fmla="*/ 1152525 w 1558925"/>
              <a:gd name="connsiteY11" fmla="*/ 2117725 h 2263775"/>
              <a:gd name="connsiteX12" fmla="*/ 1098550 w 1558925"/>
              <a:gd name="connsiteY12" fmla="*/ 2073275 h 2263775"/>
              <a:gd name="connsiteX13" fmla="*/ 1066800 w 1558925"/>
              <a:gd name="connsiteY13" fmla="*/ 2051050 h 2263775"/>
              <a:gd name="connsiteX14" fmla="*/ 1031875 w 1558925"/>
              <a:gd name="connsiteY14" fmla="*/ 2038350 h 2263775"/>
              <a:gd name="connsiteX15" fmla="*/ 1006475 w 1558925"/>
              <a:gd name="connsiteY15" fmla="*/ 2003425 h 2263775"/>
              <a:gd name="connsiteX16" fmla="*/ 958850 w 1558925"/>
              <a:gd name="connsiteY16" fmla="*/ 1990725 h 2263775"/>
              <a:gd name="connsiteX17" fmla="*/ 920750 w 1558925"/>
              <a:gd name="connsiteY17" fmla="*/ 1968500 h 2263775"/>
              <a:gd name="connsiteX18" fmla="*/ 885825 w 1558925"/>
              <a:gd name="connsiteY18" fmla="*/ 1971675 h 2263775"/>
              <a:gd name="connsiteX19" fmla="*/ 869950 w 1558925"/>
              <a:gd name="connsiteY19" fmla="*/ 1949450 h 2263775"/>
              <a:gd name="connsiteX20" fmla="*/ 825500 w 1558925"/>
              <a:gd name="connsiteY20" fmla="*/ 1936750 h 2263775"/>
              <a:gd name="connsiteX21" fmla="*/ 800100 w 1558925"/>
              <a:gd name="connsiteY21" fmla="*/ 1943100 h 2263775"/>
              <a:gd name="connsiteX22" fmla="*/ 752475 w 1558925"/>
              <a:gd name="connsiteY22" fmla="*/ 1936750 h 2263775"/>
              <a:gd name="connsiteX23" fmla="*/ 708025 w 1558925"/>
              <a:gd name="connsiteY23" fmla="*/ 1952625 h 2263775"/>
              <a:gd name="connsiteX24" fmla="*/ 641350 w 1558925"/>
              <a:gd name="connsiteY24" fmla="*/ 1946275 h 2263775"/>
              <a:gd name="connsiteX25" fmla="*/ 641350 w 1558925"/>
              <a:gd name="connsiteY25" fmla="*/ 1946275 h 2263775"/>
              <a:gd name="connsiteX26" fmla="*/ 587375 w 1558925"/>
              <a:gd name="connsiteY26" fmla="*/ 1952625 h 2263775"/>
              <a:gd name="connsiteX27" fmla="*/ 600075 w 1558925"/>
              <a:gd name="connsiteY27" fmla="*/ 1927225 h 2263775"/>
              <a:gd name="connsiteX28" fmla="*/ 577850 w 1558925"/>
              <a:gd name="connsiteY28" fmla="*/ 1917700 h 2263775"/>
              <a:gd name="connsiteX29" fmla="*/ 596900 w 1558925"/>
              <a:gd name="connsiteY29" fmla="*/ 1857375 h 2263775"/>
              <a:gd name="connsiteX30" fmla="*/ 571500 w 1558925"/>
              <a:gd name="connsiteY30" fmla="*/ 1803400 h 2263775"/>
              <a:gd name="connsiteX31" fmla="*/ 527050 w 1558925"/>
              <a:gd name="connsiteY31" fmla="*/ 1762125 h 2263775"/>
              <a:gd name="connsiteX32" fmla="*/ 482600 w 1558925"/>
              <a:gd name="connsiteY32" fmla="*/ 1739900 h 2263775"/>
              <a:gd name="connsiteX33" fmla="*/ 438150 w 1558925"/>
              <a:gd name="connsiteY33" fmla="*/ 1803400 h 2263775"/>
              <a:gd name="connsiteX34" fmla="*/ 381000 w 1558925"/>
              <a:gd name="connsiteY34" fmla="*/ 1860550 h 2263775"/>
              <a:gd name="connsiteX35" fmla="*/ 342900 w 1558925"/>
              <a:gd name="connsiteY35" fmla="*/ 1870075 h 2263775"/>
              <a:gd name="connsiteX36" fmla="*/ 298450 w 1558925"/>
              <a:gd name="connsiteY36" fmla="*/ 1847850 h 2263775"/>
              <a:gd name="connsiteX37" fmla="*/ 254000 w 1558925"/>
              <a:gd name="connsiteY37" fmla="*/ 1851025 h 2263775"/>
              <a:gd name="connsiteX38" fmla="*/ 0 w 1558925"/>
              <a:gd name="connsiteY38" fmla="*/ 1390650 h 2263775"/>
              <a:gd name="connsiteX39" fmla="*/ 38100 w 1558925"/>
              <a:gd name="connsiteY39" fmla="*/ 1406525 h 2263775"/>
              <a:gd name="connsiteX40" fmla="*/ 60325 w 1558925"/>
              <a:gd name="connsiteY40" fmla="*/ 1377950 h 2263775"/>
              <a:gd name="connsiteX41" fmla="*/ 139700 w 1558925"/>
              <a:gd name="connsiteY41" fmla="*/ 1381125 h 2263775"/>
              <a:gd name="connsiteX42" fmla="*/ 120650 w 1558925"/>
              <a:gd name="connsiteY42" fmla="*/ 1339850 h 2263775"/>
              <a:gd name="connsiteX43" fmla="*/ 152400 w 1558925"/>
              <a:gd name="connsiteY43" fmla="*/ 1311275 h 2263775"/>
              <a:gd name="connsiteX44" fmla="*/ 228600 w 1558925"/>
              <a:gd name="connsiteY44" fmla="*/ 1298575 h 2263775"/>
              <a:gd name="connsiteX45" fmla="*/ 257175 w 1558925"/>
              <a:gd name="connsiteY45" fmla="*/ 1235075 h 2263775"/>
              <a:gd name="connsiteX46" fmla="*/ 330200 w 1558925"/>
              <a:gd name="connsiteY46" fmla="*/ 1219200 h 2263775"/>
              <a:gd name="connsiteX47" fmla="*/ 387350 w 1558925"/>
              <a:gd name="connsiteY47" fmla="*/ 1162050 h 2263775"/>
              <a:gd name="connsiteX48" fmla="*/ 425450 w 1558925"/>
              <a:gd name="connsiteY48" fmla="*/ 1095375 h 2263775"/>
              <a:gd name="connsiteX49" fmla="*/ 450850 w 1558925"/>
              <a:gd name="connsiteY49" fmla="*/ 1041400 h 2263775"/>
              <a:gd name="connsiteX50" fmla="*/ 492125 w 1558925"/>
              <a:gd name="connsiteY50" fmla="*/ 1019175 h 2263775"/>
              <a:gd name="connsiteX51" fmla="*/ 508000 w 1558925"/>
              <a:gd name="connsiteY51" fmla="*/ 974725 h 2263775"/>
              <a:gd name="connsiteX52" fmla="*/ 552450 w 1558925"/>
              <a:gd name="connsiteY52" fmla="*/ 942975 h 2263775"/>
              <a:gd name="connsiteX53" fmla="*/ 615950 w 1558925"/>
              <a:gd name="connsiteY53" fmla="*/ 885825 h 2263775"/>
              <a:gd name="connsiteX54" fmla="*/ 650875 w 1558925"/>
              <a:gd name="connsiteY54" fmla="*/ 869950 h 2263775"/>
              <a:gd name="connsiteX55" fmla="*/ 663575 w 1558925"/>
              <a:gd name="connsiteY55" fmla="*/ 806450 h 2263775"/>
              <a:gd name="connsiteX56" fmla="*/ 644525 w 1558925"/>
              <a:gd name="connsiteY56" fmla="*/ 765175 h 2263775"/>
              <a:gd name="connsiteX57" fmla="*/ 669925 w 1558925"/>
              <a:gd name="connsiteY57" fmla="*/ 739775 h 2263775"/>
              <a:gd name="connsiteX58" fmla="*/ 698500 w 1558925"/>
              <a:gd name="connsiteY58" fmla="*/ 692150 h 2263775"/>
              <a:gd name="connsiteX59" fmla="*/ 727075 w 1558925"/>
              <a:gd name="connsiteY59" fmla="*/ 701675 h 2263775"/>
              <a:gd name="connsiteX60" fmla="*/ 800100 w 1558925"/>
              <a:gd name="connsiteY60" fmla="*/ 660400 h 2263775"/>
              <a:gd name="connsiteX61" fmla="*/ 815975 w 1558925"/>
              <a:gd name="connsiteY61" fmla="*/ 603250 h 2263775"/>
              <a:gd name="connsiteX62" fmla="*/ 828675 w 1558925"/>
              <a:gd name="connsiteY62" fmla="*/ 546100 h 2263775"/>
              <a:gd name="connsiteX63" fmla="*/ 863600 w 1558925"/>
              <a:gd name="connsiteY63" fmla="*/ 482600 h 2263775"/>
              <a:gd name="connsiteX64" fmla="*/ 930275 w 1558925"/>
              <a:gd name="connsiteY64" fmla="*/ 444500 h 2263775"/>
              <a:gd name="connsiteX65" fmla="*/ 968375 w 1558925"/>
              <a:gd name="connsiteY65" fmla="*/ 428625 h 2263775"/>
              <a:gd name="connsiteX66" fmla="*/ 984250 w 1558925"/>
              <a:gd name="connsiteY66" fmla="*/ 390525 h 2263775"/>
              <a:gd name="connsiteX67" fmla="*/ 993775 w 1558925"/>
              <a:gd name="connsiteY67" fmla="*/ 352425 h 2263775"/>
              <a:gd name="connsiteX68" fmla="*/ 1044575 w 1558925"/>
              <a:gd name="connsiteY68" fmla="*/ 320675 h 2263775"/>
              <a:gd name="connsiteX69" fmla="*/ 1041400 w 1558925"/>
              <a:gd name="connsiteY69" fmla="*/ 276225 h 2263775"/>
              <a:gd name="connsiteX70" fmla="*/ 1082675 w 1558925"/>
              <a:gd name="connsiteY70" fmla="*/ 222250 h 2263775"/>
              <a:gd name="connsiteX71" fmla="*/ 1111250 w 1558925"/>
              <a:gd name="connsiteY71" fmla="*/ 171450 h 2263775"/>
              <a:gd name="connsiteX72" fmla="*/ 1082675 w 1558925"/>
              <a:gd name="connsiteY72" fmla="*/ 104775 h 2263775"/>
              <a:gd name="connsiteX73" fmla="*/ 1060450 w 1558925"/>
              <a:gd name="connsiteY73" fmla="*/ 57150 h 2263775"/>
              <a:gd name="connsiteX74" fmla="*/ 1085850 w 1558925"/>
              <a:gd name="connsiteY74" fmla="*/ 0 h 2263775"/>
              <a:gd name="connsiteX0" fmla="*/ 1520825 w 1520825"/>
              <a:gd name="connsiteY0" fmla="*/ 2263775 h 2263775"/>
              <a:gd name="connsiteX1" fmla="*/ 1504950 w 1520825"/>
              <a:gd name="connsiteY1" fmla="*/ 2206625 h 2263775"/>
              <a:gd name="connsiteX2" fmla="*/ 1473200 w 1520825"/>
              <a:gd name="connsiteY2" fmla="*/ 2162175 h 2263775"/>
              <a:gd name="connsiteX3" fmla="*/ 1435100 w 1520825"/>
              <a:gd name="connsiteY3" fmla="*/ 2149475 h 2263775"/>
              <a:gd name="connsiteX4" fmla="*/ 1381125 w 1520825"/>
              <a:gd name="connsiteY4" fmla="*/ 2152650 h 2263775"/>
              <a:gd name="connsiteX5" fmla="*/ 1339850 w 1520825"/>
              <a:gd name="connsiteY5" fmla="*/ 2149475 h 2263775"/>
              <a:gd name="connsiteX6" fmla="*/ 1304925 w 1520825"/>
              <a:gd name="connsiteY6" fmla="*/ 2130425 h 2263775"/>
              <a:gd name="connsiteX7" fmla="*/ 1276350 w 1520825"/>
              <a:gd name="connsiteY7" fmla="*/ 2143125 h 2263775"/>
              <a:gd name="connsiteX8" fmla="*/ 1225550 w 1520825"/>
              <a:gd name="connsiteY8" fmla="*/ 2130425 h 2263775"/>
              <a:gd name="connsiteX9" fmla="*/ 1190625 w 1520825"/>
              <a:gd name="connsiteY9" fmla="*/ 2117725 h 2263775"/>
              <a:gd name="connsiteX10" fmla="*/ 1174750 w 1520825"/>
              <a:gd name="connsiteY10" fmla="*/ 2111375 h 2263775"/>
              <a:gd name="connsiteX11" fmla="*/ 1114425 w 1520825"/>
              <a:gd name="connsiteY11" fmla="*/ 2117725 h 2263775"/>
              <a:gd name="connsiteX12" fmla="*/ 1060450 w 1520825"/>
              <a:gd name="connsiteY12" fmla="*/ 2073275 h 2263775"/>
              <a:gd name="connsiteX13" fmla="*/ 1028700 w 1520825"/>
              <a:gd name="connsiteY13" fmla="*/ 2051050 h 2263775"/>
              <a:gd name="connsiteX14" fmla="*/ 993775 w 1520825"/>
              <a:gd name="connsiteY14" fmla="*/ 2038350 h 2263775"/>
              <a:gd name="connsiteX15" fmla="*/ 968375 w 1520825"/>
              <a:gd name="connsiteY15" fmla="*/ 2003425 h 2263775"/>
              <a:gd name="connsiteX16" fmla="*/ 920750 w 1520825"/>
              <a:gd name="connsiteY16" fmla="*/ 1990725 h 2263775"/>
              <a:gd name="connsiteX17" fmla="*/ 882650 w 1520825"/>
              <a:gd name="connsiteY17" fmla="*/ 1968500 h 2263775"/>
              <a:gd name="connsiteX18" fmla="*/ 847725 w 1520825"/>
              <a:gd name="connsiteY18" fmla="*/ 1971675 h 2263775"/>
              <a:gd name="connsiteX19" fmla="*/ 831850 w 1520825"/>
              <a:gd name="connsiteY19" fmla="*/ 1949450 h 2263775"/>
              <a:gd name="connsiteX20" fmla="*/ 787400 w 1520825"/>
              <a:gd name="connsiteY20" fmla="*/ 1936750 h 2263775"/>
              <a:gd name="connsiteX21" fmla="*/ 762000 w 1520825"/>
              <a:gd name="connsiteY21" fmla="*/ 1943100 h 2263775"/>
              <a:gd name="connsiteX22" fmla="*/ 714375 w 1520825"/>
              <a:gd name="connsiteY22" fmla="*/ 1936750 h 2263775"/>
              <a:gd name="connsiteX23" fmla="*/ 669925 w 1520825"/>
              <a:gd name="connsiteY23" fmla="*/ 1952625 h 2263775"/>
              <a:gd name="connsiteX24" fmla="*/ 603250 w 1520825"/>
              <a:gd name="connsiteY24" fmla="*/ 1946275 h 2263775"/>
              <a:gd name="connsiteX25" fmla="*/ 603250 w 1520825"/>
              <a:gd name="connsiteY25" fmla="*/ 1946275 h 2263775"/>
              <a:gd name="connsiteX26" fmla="*/ 549275 w 1520825"/>
              <a:gd name="connsiteY26" fmla="*/ 1952625 h 2263775"/>
              <a:gd name="connsiteX27" fmla="*/ 561975 w 1520825"/>
              <a:gd name="connsiteY27" fmla="*/ 1927225 h 2263775"/>
              <a:gd name="connsiteX28" fmla="*/ 539750 w 1520825"/>
              <a:gd name="connsiteY28" fmla="*/ 1917700 h 2263775"/>
              <a:gd name="connsiteX29" fmla="*/ 558800 w 1520825"/>
              <a:gd name="connsiteY29" fmla="*/ 1857375 h 2263775"/>
              <a:gd name="connsiteX30" fmla="*/ 533400 w 1520825"/>
              <a:gd name="connsiteY30" fmla="*/ 1803400 h 2263775"/>
              <a:gd name="connsiteX31" fmla="*/ 488950 w 1520825"/>
              <a:gd name="connsiteY31" fmla="*/ 1762125 h 2263775"/>
              <a:gd name="connsiteX32" fmla="*/ 444500 w 1520825"/>
              <a:gd name="connsiteY32" fmla="*/ 1739900 h 2263775"/>
              <a:gd name="connsiteX33" fmla="*/ 400050 w 1520825"/>
              <a:gd name="connsiteY33" fmla="*/ 1803400 h 2263775"/>
              <a:gd name="connsiteX34" fmla="*/ 342900 w 1520825"/>
              <a:gd name="connsiteY34" fmla="*/ 1860550 h 2263775"/>
              <a:gd name="connsiteX35" fmla="*/ 304800 w 1520825"/>
              <a:gd name="connsiteY35" fmla="*/ 1870075 h 2263775"/>
              <a:gd name="connsiteX36" fmla="*/ 260350 w 1520825"/>
              <a:gd name="connsiteY36" fmla="*/ 1847850 h 2263775"/>
              <a:gd name="connsiteX37" fmla="*/ 215900 w 1520825"/>
              <a:gd name="connsiteY37" fmla="*/ 1851025 h 2263775"/>
              <a:gd name="connsiteX38" fmla="*/ 0 w 1520825"/>
              <a:gd name="connsiteY38" fmla="*/ 1406525 h 2263775"/>
              <a:gd name="connsiteX39" fmla="*/ 22225 w 1520825"/>
              <a:gd name="connsiteY39" fmla="*/ 1377950 h 2263775"/>
              <a:gd name="connsiteX40" fmla="*/ 101600 w 1520825"/>
              <a:gd name="connsiteY40" fmla="*/ 1381125 h 2263775"/>
              <a:gd name="connsiteX41" fmla="*/ 82550 w 1520825"/>
              <a:gd name="connsiteY41" fmla="*/ 1339850 h 2263775"/>
              <a:gd name="connsiteX42" fmla="*/ 114300 w 1520825"/>
              <a:gd name="connsiteY42" fmla="*/ 1311275 h 2263775"/>
              <a:gd name="connsiteX43" fmla="*/ 190500 w 1520825"/>
              <a:gd name="connsiteY43" fmla="*/ 1298575 h 2263775"/>
              <a:gd name="connsiteX44" fmla="*/ 219075 w 1520825"/>
              <a:gd name="connsiteY44" fmla="*/ 1235075 h 2263775"/>
              <a:gd name="connsiteX45" fmla="*/ 292100 w 1520825"/>
              <a:gd name="connsiteY45" fmla="*/ 1219200 h 2263775"/>
              <a:gd name="connsiteX46" fmla="*/ 349250 w 1520825"/>
              <a:gd name="connsiteY46" fmla="*/ 1162050 h 2263775"/>
              <a:gd name="connsiteX47" fmla="*/ 387350 w 1520825"/>
              <a:gd name="connsiteY47" fmla="*/ 1095375 h 2263775"/>
              <a:gd name="connsiteX48" fmla="*/ 412750 w 1520825"/>
              <a:gd name="connsiteY48" fmla="*/ 1041400 h 2263775"/>
              <a:gd name="connsiteX49" fmla="*/ 454025 w 1520825"/>
              <a:gd name="connsiteY49" fmla="*/ 1019175 h 2263775"/>
              <a:gd name="connsiteX50" fmla="*/ 469900 w 1520825"/>
              <a:gd name="connsiteY50" fmla="*/ 974725 h 2263775"/>
              <a:gd name="connsiteX51" fmla="*/ 514350 w 1520825"/>
              <a:gd name="connsiteY51" fmla="*/ 942975 h 2263775"/>
              <a:gd name="connsiteX52" fmla="*/ 577850 w 1520825"/>
              <a:gd name="connsiteY52" fmla="*/ 885825 h 2263775"/>
              <a:gd name="connsiteX53" fmla="*/ 612775 w 1520825"/>
              <a:gd name="connsiteY53" fmla="*/ 869950 h 2263775"/>
              <a:gd name="connsiteX54" fmla="*/ 625475 w 1520825"/>
              <a:gd name="connsiteY54" fmla="*/ 806450 h 2263775"/>
              <a:gd name="connsiteX55" fmla="*/ 606425 w 1520825"/>
              <a:gd name="connsiteY55" fmla="*/ 765175 h 2263775"/>
              <a:gd name="connsiteX56" fmla="*/ 631825 w 1520825"/>
              <a:gd name="connsiteY56" fmla="*/ 739775 h 2263775"/>
              <a:gd name="connsiteX57" fmla="*/ 660400 w 1520825"/>
              <a:gd name="connsiteY57" fmla="*/ 692150 h 2263775"/>
              <a:gd name="connsiteX58" fmla="*/ 688975 w 1520825"/>
              <a:gd name="connsiteY58" fmla="*/ 701675 h 2263775"/>
              <a:gd name="connsiteX59" fmla="*/ 762000 w 1520825"/>
              <a:gd name="connsiteY59" fmla="*/ 660400 h 2263775"/>
              <a:gd name="connsiteX60" fmla="*/ 777875 w 1520825"/>
              <a:gd name="connsiteY60" fmla="*/ 603250 h 2263775"/>
              <a:gd name="connsiteX61" fmla="*/ 790575 w 1520825"/>
              <a:gd name="connsiteY61" fmla="*/ 546100 h 2263775"/>
              <a:gd name="connsiteX62" fmla="*/ 825500 w 1520825"/>
              <a:gd name="connsiteY62" fmla="*/ 482600 h 2263775"/>
              <a:gd name="connsiteX63" fmla="*/ 892175 w 1520825"/>
              <a:gd name="connsiteY63" fmla="*/ 444500 h 2263775"/>
              <a:gd name="connsiteX64" fmla="*/ 930275 w 1520825"/>
              <a:gd name="connsiteY64" fmla="*/ 428625 h 2263775"/>
              <a:gd name="connsiteX65" fmla="*/ 946150 w 1520825"/>
              <a:gd name="connsiteY65" fmla="*/ 390525 h 2263775"/>
              <a:gd name="connsiteX66" fmla="*/ 955675 w 1520825"/>
              <a:gd name="connsiteY66" fmla="*/ 352425 h 2263775"/>
              <a:gd name="connsiteX67" fmla="*/ 1006475 w 1520825"/>
              <a:gd name="connsiteY67" fmla="*/ 320675 h 2263775"/>
              <a:gd name="connsiteX68" fmla="*/ 1003300 w 1520825"/>
              <a:gd name="connsiteY68" fmla="*/ 276225 h 2263775"/>
              <a:gd name="connsiteX69" fmla="*/ 1044575 w 1520825"/>
              <a:gd name="connsiteY69" fmla="*/ 222250 h 2263775"/>
              <a:gd name="connsiteX70" fmla="*/ 1073150 w 1520825"/>
              <a:gd name="connsiteY70" fmla="*/ 171450 h 2263775"/>
              <a:gd name="connsiteX71" fmla="*/ 1044575 w 1520825"/>
              <a:gd name="connsiteY71" fmla="*/ 104775 h 2263775"/>
              <a:gd name="connsiteX72" fmla="*/ 1022350 w 1520825"/>
              <a:gd name="connsiteY72" fmla="*/ 57150 h 2263775"/>
              <a:gd name="connsiteX73" fmla="*/ 1047750 w 1520825"/>
              <a:gd name="connsiteY73" fmla="*/ 0 h 2263775"/>
              <a:gd name="connsiteX0" fmla="*/ 1520825 w 1520825"/>
              <a:gd name="connsiteY0" fmla="*/ 2263775 h 2263775"/>
              <a:gd name="connsiteX1" fmla="*/ 1504950 w 1520825"/>
              <a:gd name="connsiteY1" fmla="*/ 2206625 h 2263775"/>
              <a:gd name="connsiteX2" fmla="*/ 1473200 w 1520825"/>
              <a:gd name="connsiteY2" fmla="*/ 2162175 h 2263775"/>
              <a:gd name="connsiteX3" fmla="*/ 1435100 w 1520825"/>
              <a:gd name="connsiteY3" fmla="*/ 2149475 h 2263775"/>
              <a:gd name="connsiteX4" fmla="*/ 1381125 w 1520825"/>
              <a:gd name="connsiteY4" fmla="*/ 2152650 h 2263775"/>
              <a:gd name="connsiteX5" fmla="*/ 1339850 w 1520825"/>
              <a:gd name="connsiteY5" fmla="*/ 2149475 h 2263775"/>
              <a:gd name="connsiteX6" fmla="*/ 1304925 w 1520825"/>
              <a:gd name="connsiteY6" fmla="*/ 2130425 h 2263775"/>
              <a:gd name="connsiteX7" fmla="*/ 1276350 w 1520825"/>
              <a:gd name="connsiteY7" fmla="*/ 2143125 h 2263775"/>
              <a:gd name="connsiteX8" fmla="*/ 1225550 w 1520825"/>
              <a:gd name="connsiteY8" fmla="*/ 2130425 h 2263775"/>
              <a:gd name="connsiteX9" fmla="*/ 1190625 w 1520825"/>
              <a:gd name="connsiteY9" fmla="*/ 2117725 h 2263775"/>
              <a:gd name="connsiteX10" fmla="*/ 1174750 w 1520825"/>
              <a:gd name="connsiteY10" fmla="*/ 2111375 h 2263775"/>
              <a:gd name="connsiteX11" fmla="*/ 1114425 w 1520825"/>
              <a:gd name="connsiteY11" fmla="*/ 2117725 h 2263775"/>
              <a:gd name="connsiteX12" fmla="*/ 1060450 w 1520825"/>
              <a:gd name="connsiteY12" fmla="*/ 2073275 h 2263775"/>
              <a:gd name="connsiteX13" fmla="*/ 1028700 w 1520825"/>
              <a:gd name="connsiteY13" fmla="*/ 2051050 h 2263775"/>
              <a:gd name="connsiteX14" fmla="*/ 993775 w 1520825"/>
              <a:gd name="connsiteY14" fmla="*/ 2038350 h 2263775"/>
              <a:gd name="connsiteX15" fmla="*/ 968375 w 1520825"/>
              <a:gd name="connsiteY15" fmla="*/ 2003425 h 2263775"/>
              <a:gd name="connsiteX16" fmla="*/ 920750 w 1520825"/>
              <a:gd name="connsiteY16" fmla="*/ 1990725 h 2263775"/>
              <a:gd name="connsiteX17" fmla="*/ 882650 w 1520825"/>
              <a:gd name="connsiteY17" fmla="*/ 1968500 h 2263775"/>
              <a:gd name="connsiteX18" fmla="*/ 847725 w 1520825"/>
              <a:gd name="connsiteY18" fmla="*/ 1971675 h 2263775"/>
              <a:gd name="connsiteX19" fmla="*/ 831850 w 1520825"/>
              <a:gd name="connsiteY19" fmla="*/ 1949450 h 2263775"/>
              <a:gd name="connsiteX20" fmla="*/ 787400 w 1520825"/>
              <a:gd name="connsiteY20" fmla="*/ 1936750 h 2263775"/>
              <a:gd name="connsiteX21" fmla="*/ 762000 w 1520825"/>
              <a:gd name="connsiteY21" fmla="*/ 1943100 h 2263775"/>
              <a:gd name="connsiteX22" fmla="*/ 714375 w 1520825"/>
              <a:gd name="connsiteY22" fmla="*/ 1936750 h 2263775"/>
              <a:gd name="connsiteX23" fmla="*/ 669925 w 1520825"/>
              <a:gd name="connsiteY23" fmla="*/ 1952625 h 2263775"/>
              <a:gd name="connsiteX24" fmla="*/ 603250 w 1520825"/>
              <a:gd name="connsiteY24" fmla="*/ 1946275 h 2263775"/>
              <a:gd name="connsiteX25" fmla="*/ 603250 w 1520825"/>
              <a:gd name="connsiteY25" fmla="*/ 1946275 h 2263775"/>
              <a:gd name="connsiteX26" fmla="*/ 549275 w 1520825"/>
              <a:gd name="connsiteY26" fmla="*/ 1952625 h 2263775"/>
              <a:gd name="connsiteX27" fmla="*/ 561975 w 1520825"/>
              <a:gd name="connsiteY27" fmla="*/ 1927225 h 2263775"/>
              <a:gd name="connsiteX28" fmla="*/ 539750 w 1520825"/>
              <a:gd name="connsiteY28" fmla="*/ 1917700 h 2263775"/>
              <a:gd name="connsiteX29" fmla="*/ 558800 w 1520825"/>
              <a:gd name="connsiteY29" fmla="*/ 1857375 h 2263775"/>
              <a:gd name="connsiteX30" fmla="*/ 533400 w 1520825"/>
              <a:gd name="connsiteY30" fmla="*/ 1803400 h 2263775"/>
              <a:gd name="connsiteX31" fmla="*/ 488950 w 1520825"/>
              <a:gd name="connsiteY31" fmla="*/ 1762125 h 2263775"/>
              <a:gd name="connsiteX32" fmla="*/ 444500 w 1520825"/>
              <a:gd name="connsiteY32" fmla="*/ 1739900 h 2263775"/>
              <a:gd name="connsiteX33" fmla="*/ 400050 w 1520825"/>
              <a:gd name="connsiteY33" fmla="*/ 1803400 h 2263775"/>
              <a:gd name="connsiteX34" fmla="*/ 342900 w 1520825"/>
              <a:gd name="connsiteY34" fmla="*/ 1860550 h 2263775"/>
              <a:gd name="connsiteX35" fmla="*/ 304800 w 1520825"/>
              <a:gd name="connsiteY35" fmla="*/ 1870075 h 2263775"/>
              <a:gd name="connsiteX36" fmla="*/ 260350 w 1520825"/>
              <a:gd name="connsiteY36" fmla="*/ 1847850 h 2263775"/>
              <a:gd name="connsiteX37" fmla="*/ 215900 w 1520825"/>
              <a:gd name="connsiteY37" fmla="*/ 1851025 h 2263775"/>
              <a:gd name="connsiteX38" fmla="*/ 0 w 1520825"/>
              <a:gd name="connsiteY38" fmla="*/ 1406525 h 2263775"/>
              <a:gd name="connsiteX39" fmla="*/ 101600 w 1520825"/>
              <a:gd name="connsiteY39" fmla="*/ 1381125 h 2263775"/>
              <a:gd name="connsiteX40" fmla="*/ 82550 w 1520825"/>
              <a:gd name="connsiteY40" fmla="*/ 1339850 h 2263775"/>
              <a:gd name="connsiteX41" fmla="*/ 114300 w 1520825"/>
              <a:gd name="connsiteY41" fmla="*/ 1311275 h 2263775"/>
              <a:gd name="connsiteX42" fmla="*/ 190500 w 1520825"/>
              <a:gd name="connsiteY42" fmla="*/ 1298575 h 2263775"/>
              <a:gd name="connsiteX43" fmla="*/ 219075 w 1520825"/>
              <a:gd name="connsiteY43" fmla="*/ 1235075 h 2263775"/>
              <a:gd name="connsiteX44" fmla="*/ 292100 w 1520825"/>
              <a:gd name="connsiteY44" fmla="*/ 1219200 h 2263775"/>
              <a:gd name="connsiteX45" fmla="*/ 349250 w 1520825"/>
              <a:gd name="connsiteY45" fmla="*/ 1162050 h 2263775"/>
              <a:gd name="connsiteX46" fmla="*/ 387350 w 1520825"/>
              <a:gd name="connsiteY46" fmla="*/ 1095375 h 2263775"/>
              <a:gd name="connsiteX47" fmla="*/ 412750 w 1520825"/>
              <a:gd name="connsiteY47" fmla="*/ 1041400 h 2263775"/>
              <a:gd name="connsiteX48" fmla="*/ 454025 w 1520825"/>
              <a:gd name="connsiteY48" fmla="*/ 1019175 h 2263775"/>
              <a:gd name="connsiteX49" fmla="*/ 469900 w 1520825"/>
              <a:gd name="connsiteY49" fmla="*/ 974725 h 2263775"/>
              <a:gd name="connsiteX50" fmla="*/ 514350 w 1520825"/>
              <a:gd name="connsiteY50" fmla="*/ 942975 h 2263775"/>
              <a:gd name="connsiteX51" fmla="*/ 577850 w 1520825"/>
              <a:gd name="connsiteY51" fmla="*/ 885825 h 2263775"/>
              <a:gd name="connsiteX52" fmla="*/ 612775 w 1520825"/>
              <a:gd name="connsiteY52" fmla="*/ 869950 h 2263775"/>
              <a:gd name="connsiteX53" fmla="*/ 625475 w 1520825"/>
              <a:gd name="connsiteY53" fmla="*/ 806450 h 2263775"/>
              <a:gd name="connsiteX54" fmla="*/ 606425 w 1520825"/>
              <a:gd name="connsiteY54" fmla="*/ 765175 h 2263775"/>
              <a:gd name="connsiteX55" fmla="*/ 631825 w 1520825"/>
              <a:gd name="connsiteY55" fmla="*/ 739775 h 2263775"/>
              <a:gd name="connsiteX56" fmla="*/ 660400 w 1520825"/>
              <a:gd name="connsiteY56" fmla="*/ 692150 h 2263775"/>
              <a:gd name="connsiteX57" fmla="*/ 688975 w 1520825"/>
              <a:gd name="connsiteY57" fmla="*/ 701675 h 2263775"/>
              <a:gd name="connsiteX58" fmla="*/ 762000 w 1520825"/>
              <a:gd name="connsiteY58" fmla="*/ 660400 h 2263775"/>
              <a:gd name="connsiteX59" fmla="*/ 777875 w 1520825"/>
              <a:gd name="connsiteY59" fmla="*/ 603250 h 2263775"/>
              <a:gd name="connsiteX60" fmla="*/ 790575 w 1520825"/>
              <a:gd name="connsiteY60" fmla="*/ 546100 h 2263775"/>
              <a:gd name="connsiteX61" fmla="*/ 825500 w 1520825"/>
              <a:gd name="connsiteY61" fmla="*/ 482600 h 2263775"/>
              <a:gd name="connsiteX62" fmla="*/ 892175 w 1520825"/>
              <a:gd name="connsiteY62" fmla="*/ 444500 h 2263775"/>
              <a:gd name="connsiteX63" fmla="*/ 930275 w 1520825"/>
              <a:gd name="connsiteY63" fmla="*/ 428625 h 2263775"/>
              <a:gd name="connsiteX64" fmla="*/ 946150 w 1520825"/>
              <a:gd name="connsiteY64" fmla="*/ 390525 h 2263775"/>
              <a:gd name="connsiteX65" fmla="*/ 955675 w 1520825"/>
              <a:gd name="connsiteY65" fmla="*/ 352425 h 2263775"/>
              <a:gd name="connsiteX66" fmla="*/ 1006475 w 1520825"/>
              <a:gd name="connsiteY66" fmla="*/ 320675 h 2263775"/>
              <a:gd name="connsiteX67" fmla="*/ 1003300 w 1520825"/>
              <a:gd name="connsiteY67" fmla="*/ 276225 h 2263775"/>
              <a:gd name="connsiteX68" fmla="*/ 1044575 w 1520825"/>
              <a:gd name="connsiteY68" fmla="*/ 222250 h 2263775"/>
              <a:gd name="connsiteX69" fmla="*/ 1073150 w 1520825"/>
              <a:gd name="connsiteY69" fmla="*/ 171450 h 2263775"/>
              <a:gd name="connsiteX70" fmla="*/ 1044575 w 1520825"/>
              <a:gd name="connsiteY70" fmla="*/ 104775 h 2263775"/>
              <a:gd name="connsiteX71" fmla="*/ 1022350 w 1520825"/>
              <a:gd name="connsiteY71" fmla="*/ 57150 h 2263775"/>
              <a:gd name="connsiteX72" fmla="*/ 1047750 w 1520825"/>
              <a:gd name="connsiteY72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19050 w 1438275"/>
              <a:gd name="connsiteY38" fmla="*/ 1381125 h 2263775"/>
              <a:gd name="connsiteX39" fmla="*/ 0 w 1438275"/>
              <a:gd name="connsiteY39" fmla="*/ 1339850 h 2263775"/>
              <a:gd name="connsiteX40" fmla="*/ 31750 w 1438275"/>
              <a:gd name="connsiteY40" fmla="*/ 1311275 h 2263775"/>
              <a:gd name="connsiteX41" fmla="*/ 107950 w 1438275"/>
              <a:gd name="connsiteY41" fmla="*/ 1298575 h 2263775"/>
              <a:gd name="connsiteX42" fmla="*/ 136525 w 1438275"/>
              <a:gd name="connsiteY42" fmla="*/ 1235075 h 2263775"/>
              <a:gd name="connsiteX43" fmla="*/ 209550 w 1438275"/>
              <a:gd name="connsiteY43" fmla="*/ 1219200 h 2263775"/>
              <a:gd name="connsiteX44" fmla="*/ 266700 w 1438275"/>
              <a:gd name="connsiteY44" fmla="*/ 1162050 h 2263775"/>
              <a:gd name="connsiteX45" fmla="*/ 304800 w 1438275"/>
              <a:gd name="connsiteY45" fmla="*/ 1095375 h 2263775"/>
              <a:gd name="connsiteX46" fmla="*/ 330200 w 1438275"/>
              <a:gd name="connsiteY46" fmla="*/ 1041400 h 2263775"/>
              <a:gd name="connsiteX47" fmla="*/ 371475 w 1438275"/>
              <a:gd name="connsiteY47" fmla="*/ 1019175 h 2263775"/>
              <a:gd name="connsiteX48" fmla="*/ 387350 w 1438275"/>
              <a:gd name="connsiteY48" fmla="*/ 974725 h 2263775"/>
              <a:gd name="connsiteX49" fmla="*/ 431800 w 1438275"/>
              <a:gd name="connsiteY49" fmla="*/ 942975 h 2263775"/>
              <a:gd name="connsiteX50" fmla="*/ 495300 w 1438275"/>
              <a:gd name="connsiteY50" fmla="*/ 885825 h 2263775"/>
              <a:gd name="connsiteX51" fmla="*/ 530225 w 1438275"/>
              <a:gd name="connsiteY51" fmla="*/ 869950 h 2263775"/>
              <a:gd name="connsiteX52" fmla="*/ 542925 w 1438275"/>
              <a:gd name="connsiteY52" fmla="*/ 806450 h 2263775"/>
              <a:gd name="connsiteX53" fmla="*/ 523875 w 1438275"/>
              <a:gd name="connsiteY53" fmla="*/ 765175 h 2263775"/>
              <a:gd name="connsiteX54" fmla="*/ 549275 w 1438275"/>
              <a:gd name="connsiteY54" fmla="*/ 739775 h 2263775"/>
              <a:gd name="connsiteX55" fmla="*/ 577850 w 1438275"/>
              <a:gd name="connsiteY55" fmla="*/ 692150 h 2263775"/>
              <a:gd name="connsiteX56" fmla="*/ 606425 w 1438275"/>
              <a:gd name="connsiteY56" fmla="*/ 701675 h 2263775"/>
              <a:gd name="connsiteX57" fmla="*/ 679450 w 1438275"/>
              <a:gd name="connsiteY57" fmla="*/ 660400 h 2263775"/>
              <a:gd name="connsiteX58" fmla="*/ 695325 w 1438275"/>
              <a:gd name="connsiteY58" fmla="*/ 603250 h 2263775"/>
              <a:gd name="connsiteX59" fmla="*/ 708025 w 1438275"/>
              <a:gd name="connsiteY59" fmla="*/ 546100 h 2263775"/>
              <a:gd name="connsiteX60" fmla="*/ 742950 w 1438275"/>
              <a:gd name="connsiteY60" fmla="*/ 482600 h 2263775"/>
              <a:gd name="connsiteX61" fmla="*/ 809625 w 1438275"/>
              <a:gd name="connsiteY61" fmla="*/ 444500 h 2263775"/>
              <a:gd name="connsiteX62" fmla="*/ 847725 w 1438275"/>
              <a:gd name="connsiteY62" fmla="*/ 428625 h 2263775"/>
              <a:gd name="connsiteX63" fmla="*/ 863600 w 1438275"/>
              <a:gd name="connsiteY63" fmla="*/ 390525 h 2263775"/>
              <a:gd name="connsiteX64" fmla="*/ 873125 w 1438275"/>
              <a:gd name="connsiteY64" fmla="*/ 352425 h 2263775"/>
              <a:gd name="connsiteX65" fmla="*/ 923925 w 1438275"/>
              <a:gd name="connsiteY65" fmla="*/ 320675 h 2263775"/>
              <a:gd name="connsiteX66" fmla="*/ 920750 w 1438275"/>
              <a:gd name="connsiteY66" fmla="*/ 276225 h 2263775"/>
              <a:gd name="connsiteX67" fmla="*/ 962025 w 1438275"/>
              <a:gd name="connsiteY67" fmla="*/ 222250 h 2263775"/>
              <a:gd name="connsiteX68" fmla="*/ 990600 w 1438275"/>
              <a:gd name="connsiteY68" fmla="*/ 171450 h 2263775"/>
              <a:gd name="connsiteX69" fmla="*/ 962025 w 1438275"/>
              <a:gd name="connsiteY69" fmla="*/ 104775 h 2263775"/>
              <a:gd name="connsiteX70" fmla="*/ 939800 w 1438275"/>
              <a:gd name="connsiteY70" fmla="*/ 57150 h 2263775"/>
              <a:gd name="connsiteX71" fmla="*/ 965200 w 1438275"/>
              <a:gd name="connsiteY71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31750 w 1438275"/>
              <a:gd name="connsiteY39" fmla="*/ 1311275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371475 w 1438275"/>
              <a:gd name="connsiteY46" fmla="*/ 1019175 h 2263775"/>
              <a:gd name="connsiteX47" fmla="*/ 387350 w 1438275"/>
              <a:gd name="connsiteY47" fmla="*/ 974725 h 2263775"/>
              <a:gd name="connsiteX48" fmla="*/ 431800 w 1438275"/>
              <a:gd name="connsiteY48" fmla="*/ 942975 h 2263775"/>
              <a:gd name="connsiteX49" fmla="*/ 495300 w 1438275"/>
              <a:gd name="connsiteY49" fmla="*/ 885825 h 2263775"/>
              <a:gd name="connsiteX50" fmla="*/ 530225 w 1438275"/>
              <a:gd name="connsiteY50" fmla="*/ 869950 h 2263775"/>
              <a:gd name="connsiteX51" fmla="*/ 542925 w 1438275"/>
              <a:gd name="connsiteY51" fmla="*/ 806450 h 2263775"/>
              <a:gd name="connsiteX52" fmla="*/ 523875 w 1438275"/>
              <a:gd name="connsiteY52" fmla="*/ 765175 h 2263775"/>
              <a:gd name="connsiteX53" fmla="*/ 549275 w 1438275"/>
              <a:gd name="connsiteY53" fmla="*/ 739775 h 2263775"/>
              <a:gd name="connsiteX54" fmla="*/ 577850 w 1438275"/>
              <a:gd name="connsiteY54" fmla="*/ 692150 h 2263775"/>
              <a:gd name="connsiteX55" fmla="*/ 606425 w 1438275"/>
              <a:gd name="connsiteY55" fmla="*/ 701675 h 2263775"/>
              <a:gd name="connsiteX56" fmla="*/ 679450 w 1438275"/>
              <a:gd name="connsiteY56" fmla="*/ 660400 h 2263775"/>
              <a:gd name="connsiteX57" fmla="*/ 695325 w 1438275"/>
              <a:gd name="connsiteY57" fmla="*/ 603250 h 2263775"/>
              <a:gd name="connsiteX58" fmla="*/ 708025 w 1438275"/>
              <a:gd name="connsiteY58" fmla="*/ 546100 h 2263775"/>
              <a:gd name="connsiteX59" fmla="*/ 742950 w 1438275"/>
              <a:gd name="connsiteY59" fmla="*/ 482600 h 2263775"/>
              <a:gd name="connsiteX60" fmla="*/ 809625 w 1438275"/>
              <a:gd name="connsiteY60" fmla="*/ 444500 h 2263775"/>
              <a:gd name="connsiteX61" fmla="*/ 847725 w 1438275"/>
              <a:gd name="connsiteY61" fmla="*/ 428625 h 2263775"/>
              <a:gd name="connsiteX62" fmla="*/ 863600 w 1438275"/>
              <a:gd name="connsiteY62" fmla="*/ 390525 h 2263775"/>
              <a:gd name="connsiteX63" fmla="*/ 873125 w 1438275"/>
              <a:gd name="connsiteY63" fmla="*/ 352425 h 2263775"/>
              <a:gd name="connsiteX64" fmla="*/ 923925 w 1438275"/>
              <a:gd name="connsiteY64" fmla="*/ 320675 h 2263775"/>
              <a:gd name="connsiteX65" fmla="*/ 920750 w 1438275"/>
              <a:gd name="connsiteY65" fmla="*/ 276225 h 2263775"/>
              <a:gd name="connsiteX66" fmla="*/ 962025 w 1438275"/>
              <a:gd name="connsiteY66" fmla="*/ 222250 h 2263775"/>
              <a:gd name="connsiteX67" fmla="*/ 990600 w 1438275"/>
              <a:gd name="connsiteY67" fmla="*/ 171450 h 2263775"/>
              <a:gd name="connsiteX68" fmla="*/ 962025 w 1438275"/>
              <a:gd name="connsiteY68" fmla="*/ 104775 h 2263775"/>
              <a:gd name="connsiteX69" fmla="*/ 939800 w 1438275"/>
              <a:gd name="connsiteY69" fmla="*/ 57150 h 2263775"/>
              <a:gd name="connsiteX70" fmla="*/ 965200 w 1438275"/>
              <a:gd name="connsiteY70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107950 w 1438275"/>
              <a:gd name="connsiteY39" fmla="*/ 1298575 h 2263775"/>
              <a:gd name="connsiteX40" fmla="*/ 136525 w 1438275"/>
              <a:gd name="connsiteY40" fmla="*/ 1235075 h 2263775"/>
              <a:gd name="connsiteX41" fmla="*/ 209550 w 1438275"/>
              <a:gd name="connsiteY41" fmla="*/ 1219200 h 2263775"/>
              <a:gd name="connsiteX42" fmla="*/ 266700 w 1438275"/>
              <a:gd name="connsiteY42" fmla="*/ 1162050 h 2263775"/>
              <a:gd name="connsiteX43" fmla="*/ 304800 w 1438275"/>
              <a:gd name="connsiteY43" fmla="*/ 1095375 h 2263775"/>
              <a:gd name="connsiteX44" fmla="*/ 330200 w 1438275"/>
              <a:gd name="connsiteY44" fmla="*/ 1041400 h 2263775"/>
              <a:gd name="connsiteX45" fmla="*/ 371475 w 1438275"/>
              <a:gd name="connsiteY45" fmla="*/ 1019175 h 2263775"/>
              <a:gd name="connsiteX46" fmla="*/ 387350 w 1438275"/>
              <a:gd name="connsiteY46" fmla="*/ 974725 h 2263775"/>
              <a:gd name="connsiteX47" fmla="*/ 431800 w 1438275"/>
              <a:gd name="connsiteY47" fmla="*/ 942975 h 2263775"/>
              <a:gd name="connsiteX48" fmla="*/ 495300 w 1438275"/>
              <a:gd name="connsiteY48" fmla="*/ 885825 h 2263775"/>
              <a:gd name="connsiteX49" fmla="*/ 530225 w 1438275"/>
              <a:gd name="connsiteY49" fmla="*/ 869950 h 2263775"/>
              <a:gd name="connsiteX50" fmla="*/ 542925 w 1438275"/>
              <a:gd name="connsiteY50" fmla="*/ 806450 h 2263775"/>
              <a:gd name="connsiteX51" fmla="*/ 523875 w 1438275"/>
              <a:gd name="connsiteY51" fmla="*/ 765175 h 2263775"/>
              <a:gd name="connsiteX52" fmla="*/ 549275 w 1438275"/>
              <a:gd name="connsiteY52" fmla="*/ 739775 h 2263775"/>
              <a:gd name="connsiteX53" fmla="*/ 577850 w 1438275"/>
              <a:gd name="connsiteY53" fmla="*/ 692150 h 2263775"/>
              <a:gd name="connsiteX54" fmla="*/ 606425 w 1438275"/>
              <a:gd name="connsiteY54" fmla="*/ 701675 h 2263775"/>
              <a:gd name="connsiteX55" fmla="*/ 679450 w 1438275"/>
              <a:gd name="connsiteY55" fmla="*/ 660400 h 2263775"/>
              <a:gd name="connsiteX56" fmla="*/ 695325 w 1438275"/>
              <a:gd name="connsiteY56" fmla="*/ 603250 h 2263775"/>
              <a:gd name="connsiteX57" fmla="*/ 708025 w 1438275"/>
              <a:gd name="connsiteY57" fmla="*/ 546100 h 2263775"/>
              <a:gd name="connsiteX58" fmla="*/ 742950 w 1438275"/>
              <a:gd name="connsiteY58" fmla="*/ 482600 h 2263775"/>
              <a:gd name="connsiteX59" fmla="*/ 809625 w 1438275"/>
              <a:gd name="connsiteY59" fmla="*/ 444500 h 2263775"/>
              <a:gd name="connsiteX60" fmla="*/ 847725 w 1438275"/>
              <a:gd name="connsiteY60" fmla="*/ 428625 h 2263775"/>
              <a:gd name="connsiteX61" fmla="*/ 863600 w 1438275"/>
              <a:gd name="connsiteY61" fmla="*/ 390525 h 2263775"/>
              <a:gd name="connsiteX62" fmla="*/ 873125 w 1438275"/>
              <a:gd name="connsiteY62" fmla="*/ 352425 h 2263775"/>
              <a:gd name="connsiteX63" fmla="*/ 923925 w 1438275"/>
              <a:gd name="connsiteY63" fmla="*/ 320675 h 2263775"/>
              <a:gd name="connsiteX64" fmla="*/ 920750 w 1438275"/>
              <a:gd name="connsiteY64" fmla="*/ 276225 h 2263775"/>
              <a:gd name="connsiteX65" fmla="*/ 962025 w 1438275"/>
              <a:gd name="connsiteY65" fmla="*/ 222250 h 2263775"/>
              <a:gd name="connsiteX66" fmla="*/ 990600 w 1438275"/>
              <a:gd name="connsiteY66" fmla="*/ 171450 h 2263775"/>
              <a:gd name="connsiteX67" fmla="*/ 962025 w 1438275"/>
              <a:gd name="connsiteY67" fmla="*/ 104775 h 2263775"/>
              <a:gd name="connsiteX68" fmla="*/ 939800 w 1438275"/>
              <a:gd name="connsiteY68" fmla="*/ 57150 h 2263775"/>
              <a:gd name="connsiteX69" fmla="*/ 965200 w 1438275"/>
              <a:gd name="connsiteY69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371475 w 1438275"/>
              <a:gd name="connsiteY46" fmla="*/ 1019175 h 2263775"/>
              <a:gd name="connsiteX47" fmla="*/ 387350 w 1438275"/>
              <a:gd name="connsiteY47" fmla="*/ 974725 h 2263775"/>
              <a:gd name="connsiteX48" fmla="*/ 431800 w 1438275"/>
              <a:gd name="connsiteY48" fmla="*/ 942975 h 2263775"/>
              <a:gd name="connsiteX49" fmla="*/ 495300 w 1438275"/>
              <a:gd name="connsiteY49" fmla="*/ 885825 h 2263775"/>
              <a:gd name="connsiteX50" fmla="*/ 530225 w 1438275"/>
              <a:gd name="connsiteY50" fmla="*/ 869950 h 2263775"/>
              <a:gd name="connsiteX51" fmla="*/ 542925 w 1438275"/>
              <a:gd name="connsiteY51" fmla="*/ 806450 h 2263775"/>
              <a:gd name="connsiteX52" fmla="*/ 523875 w 1438275"/>
              <a:gd name="connsiteY52" fmla="*/ 765175 h 2263775"/>
              <a:gd name="connsiteX53" fmla="*/ 549275 w 1438275"/>
              <a:gd name="connsiteY53" fmla="*/ 739775 h 2263775"/>
              <a:gd name="connsiteX54" fmla="*/ 577850 w 1438275"/>
              <a:gd name="connsiteY54" fmla="*/ 692150 h 2263775"/>
              <a:gd name="connsiteX55" fmla="*/ 606425 w 1438275"/>
              <a:gd name="connsiteY55" fmla="*/ 701675 h 2263775"/>
              <a:gd name="connsiteX56" fmla="*/ 679450 w 1438275"/>
              <a:gd name="connsiteY56" fmla="*/ 660400 h 2263775"/>
              <a:gd name="connsiteX57" fmla="*/ 695325 w 1438275"/>
              <a:gd name="connsiteY57" fmla="*/ 603250 h 2263775"/>
              <a:gd name="connsiteX58" fmla="*/ 708025 w 1438275"/>
              <a:gd name="connsiteY58" fmla="*/ 546100 h 2263775"/>
              <a:gd name="connsiteX59" fmla="*/ 742950 w 1438275"/>
              <a:gd name="connsiteY59" fmla="*/ 482600 h 2263775"/>
              <a:gd name="connsiteX60" fmla="*/ 809625 w 1438275"/>
              <a:gd name="connsiteY60" fmla="*/ 444500 h 2263775"/>
              <a:gd name="connsiteX61" fmla="*/ 847725 w 1438275"/>
              <a:gd name="connsiteY61" fmla="*/ 428625 h 2263775"/>
              <a:gd name="connsiteX62" fmla="*/ 863600 w 1438275"/>
              <a:gd name="connsiteY62" fmla="*/ 390525 h 2263775"/>
              <a:gd name="connsiteX63" fmla="*/ 873125 w 1438275"/>
              <a:gd name="connsiteY63" fmla="*/ 352425 h 2263775"/>
              <a:gd name="connsiteX64" fmla="*/ 923925 w 1438275"/>
              <a:gd name="connsiteY64" fmla="*/ 320675 h 2263775"/>
              <a:gd name="connsiteX65" fmla="*/ 920750 w 1438275"/>
              <a:gd name="connsiteY65" fmla="*/ 276225 h 2263775"/>
              <a:gd name="connsiteX66" fmla="*/ 962025 w 1438275"/>
              <a:gd name="connsiteY66" fmla="*/ 222250 h 2263775"/>
              <a:gd name="connsiteX67" fmla="*/ 990600 w 1438275"/>
              <a:gd name="connsiteY67" fmla="*/ 171450 h 2263775"/>
              <a:gd name="connsiteX68" fmla="*/ 962025 w 1438275"/>
              <a:gd name="connsiteY68" fmla="*/ 104775 h 2263775"/>
              <a:gd name="connsiteX69" fmla="*/ 939800 w 1438275"/>
              <a:gd name="connsiteY69" fmla="*/ 57150 h 2263775"/>
              <a:gd name="connsiteX70" fmla="*/ 965200 w 1438275"/>
              <a:gd name="connsiteY70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371475 w 1438275"/>
              <a:gd name="connsiteY46" fmla="*/ 1019175 h 2263775"/>
              <a:gd name="connsiteX47" fmla="*/ 387350 w 1438275"/>
              <a:gd name="connsiteY47" fmla="*/ 974725 h 2263775"/>
              <a:gd name="connsiteX48" fmla="*/ 431800 w 1438275"/>
              <a:gd name="connsiteY48" fmla="*/ 942975 h 2263775"/>
              <a:gd name="connsiteX49" fmla="*/ 530225 w 1438275"/>
              <a:gd name="connsiteY49" fmla="*/ 869950 h 2263775"/>
              <a:gd name="connsiteX50" fmla="*/ 542925 w 1438275"/>
              <a:gd name="connsiteY50" fmla="*/ 806450 h 2263775"/>
              <a:gd name="connsiteX51" fmla="*/ 523875 w 1438275"/>
              <a:gd name="connsiteY51" fmla="*/ 765175 h 2263775"/>
              <a:gd name="connsiteX52" fmla="*/ 549275 w 1438275"/>
              <a:gd name="connsiteY52" fmla="*/ 739775 h 2263775"/>
              <a:gd name="connsiteX53" fmla="*/ 577850 w 1438275"/>
              <a:gd name="connsiteY53" fmla="*/ 692150 h 2263775"/>
              <a:gd name="connsiteX54" fmla="*/ 606425 w 1438275"/>
              <a:gd name="connsiteY54" fmla="*/ 701675 h 2263775"/>
              <a:gd name="connsiteX55" fmla="*/ 679450 w 1438275"/>
              <a:gd name="connsiteY55" fmla="*/ 660400 h 2263775"/>
              <a:gd name="connsiteX56" fmla="*/ 695325 w 1438275"/>
              <a:gd name="connsiteY56" fmla="*/ 603250 h 2263775"/>
              <a:gd name="connsiteX57" fmla="*/ 708025 w 1438275"/>
              <a:gd name="connsiteY57" fmla="*/ 546100 h 2263775"/>
              <a:gd name="connsiteX58" fmla="*/ 742950 w 1438275"/>
              <a:gd name="connsiteY58" fmla="*/ 482600 h 2263775"/>
              <a:gd name="connsiteX59" fmla="*/ 809625 w 1438275"/>
              <a:gd name="connsiteY59" fmla="*/ 444500 h 2263775"/>
              <a:gd name="connsiteX60" fmla="*/ 847725 w 1438275"/>
              <a:gd name="connsiteY60" fmla="*/ 428625 h 2263775"/>
              <a:gd name="connsiteX61" fmla="*/ 863600 w 1438275"/>
              <a:gd name="connsiteY61" fmla="*/ 390525 h 2263775"/>
              <a:gd name="connsiteX62" fmla="*/ 873125 w 1438275"/>
              <a:gd name="connsiteY62" fmla="*/ 352425 h 2263775"/>
              <a:gd name="connsiteX63" fmla="*/ 923925 w 1438275"/>
              <a:gd name="connsiteY63" fmla="*/ 320675 h 2263775"/>
              <a:gd name="connsiteX64" fmla="*/ 920750 w 1438275"/>
              <a:gd name="connsiteY64" fmla="*/ 276225 h 2263775"/>
              <a:gd name="connsiteX65" fmla="*/ 962025 w 1438275"/>
              <a:gd name="connsiteY65" fmla="*/ 222250 h 2263775"/>
              <a:gd name="connsiteX66" fmla="*/ 990600 w 1438275"/>
              <a:gd name="connsiteY66" fmla="*/ 171450 h 2263775"/>
              <a:gd name="connsiteX67" fmla="*/ 962025 w 1438275"/>
              <a:gd name="connsiteY67" fmla="*/ 104775 h 2263775"/>
              <a:gd name="connsiteX68" fmla="*/ 939800 w 1438275"/>
              <a:gd name="connsiteY68" fmla="*/ 57150 h 2263775"/>
              <a:gd name="connsiteX69" fmla="*/ 965200 w 1438275"/>
              <a:gd name="connsiteY69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371475 w 1438275"/>
              <a:gd name="connsiteY46" fmla="*/ 1019175 h 2263775"/>
              <a:gd name="connsiteX47" fmla="*/ 387350 w 1438275"/>
              <a:gd name="connsiteY47" fmla="*/ 974725 h 2263775"/>
              <a:gd name="connsiteX48" fmla="*/ 530225 w 1438275"/>
              <a:gd name="connsiteY48" fmla="*/ 869950 h 2263775"/>
              <a:gd name="connsiteX49" fmla="*/ 542925 w 1438275"/>
              <a:gd name="connsiteY49" fmla="*/ 806450 h 2263775"/>
              <a:gd name="connsiteX50" fmla="*/ 523875 w 1438275"/>
              <a:gd name="connsiteY50" fmla="*/ 765175 h 2263775"/>
              <a:gd name="connsiteX51" fmla="*/ 549275 w 1438275"/>
              <a:gd name="connsiteY51" fmla="*/ 739775 h 2263775"/>
              <a:gd name="connsiteX52" fmla="*/ 577850 w 1438275"/>
              <a:gd name="connsiteY52" fmla="*/ 692150 h 2263775"/>
              <a:gd name="connsiteX53" fmla="*/ 606425 w 1438275"/>
              <a:gd name="connsiteY53" fmla="*/ 701675 h 2263775"/>
              <a:gd name="connsiteX54" fmla="*/ 679450 w 1438275"/>
              <a:gd name="connsiteY54" fmla="*/ 660400 h 2263775"/>
              <a:gd name="connsiteX55" fmla="*/ 695325 w 1438275"/>
              <a:gd name="connsiteY55" fmla="*/ 603250 h 2263775"/>
              <a:gd name="connsiteX56" fmla="*/ 708025 w 1438275"/>
              <a:gd name="connsiteY56" fmla="*/ 546100 h 2263775"/>
              <a:gd name="connsiteX57" fmla="*/ 742950 w 1438275"/>
              <a:gd name="connsiteY57" fmla="*/ 482600 h 2263775"/>
              <a:gd name="connsiteX58" fmla="*/ 809625 w 1438275"/>
              <a:gd name="connsiteY58" fmla="*/ 444500 h 2263775"/>
              <a:gd name="connsiteX59" fmla="*/ 847725 w 1438275"/>
              <a:gd name="connsiteY59" fmla="*/ 428625 h 2263775"/>
              <a:gd name="connsiteX60" fmla="*/ 863600 w 1438275"/>
              <a:gd name="connsiteY60" fmla="*/ 390525 h 2263775"/>
              <a:gd name="connsiteX61" fmla="*/ 873125 w 1438275"/>
              <a:gd name="connsiteY61" fmla="*/ 352425 h 2263775"/>
              <a:gd name="connsiteX62" fmla="*/ 923925 w 1438275"/>
              <a:gd name="connsiteY62" fmla="*/ 320675 h 2263775"/>
              <a:gd name="connsiteX63" fmla="*/ 920750 w 1438275"/>
              <a:gd name="connsiteY63" fmla="*/ 276225 h 2263775"/>
              <a:gd name="connsiteX64" fmla="*/ 962025 w 1438275"/>
              <a:gd name="connsiteY64" fmla="*/ 222250 h 2263775"/>
              <a:gd name="connsiteX65" fmla="*/ 990600 w 1438275"/>
              <a:gd name="connsiteY65" fmla="*/ 171450 h 2263775"/>
              <a:gd name="connsiteX66" fmla="*/ 962025 w 1438275"/>
              <a:gd name="connsiteY66" fmla="*/ 104775 h 2263775"/>
              <a:gd name="connsiteX67" fmla="*/ 939800 w 1438275"/>
              <a:gd name="connsiteY67" fmla="*/ 57150 h 2263775"/>
              <a:gd name="connsiteX68" fmla="*/ 965200 w 1438275"/>
              <a:gd name="connsiteY68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371475 w 1438275"/>
              <a:gd name="connsiteY46" fmla="*/ 1019175 h 2263775"/>
              <a:gd name="connsiteX47" fmla="*/ 530225 w 1438275"/>
              <a:gd name="connsiteY47" fmla="*/ 869950 h 2263775"/>
              <a:gd name="connsiteX48" fmla="*/ 542925 w 1438275"/>
              <a:gd name="connsiteY48" fmla="*/ 806450 h 2263775"/>
              <a:gd name="connsiteX49" fmla="*/ 523875 w 1438275"/>
              <a:gd name="connsiteY49" fmla="*/ 765175 h 2263775"/>
              <a:gd name="connsiteX50" fmla="*/ 549275 w 1438275"/>
              <a:gd name="connsiteY50" fmla="*/ 739775 h 2263775"/>
              <a:gd name="connsiteX51" fmla="*/ 577850 w 1438275"/>
              <a:gd name="connsiteY51" fmla="*/ 692150 h 2263775"/>
              <a:gd name="connsiteX52" fmla="*/ 606425 w 1438275"/>
              <a:gd name="connsiteY52" fmla="*/ 701675 h 2263775"/>
              <a:gd name="connsiteX53" fmla="*/ 679450 w 1438275"/>
              <a:gd name="connsiteY53" fmla="*/ 660400 h 2263775"/>
              <a:gd name="connsiteX54" fmla="*/ 695325 w 1438275"/>
              <a:gd name="connsiteY54" fmla="*/ 603250 h 2263775"/>
              <a:gd name="connsiteX55" fmla="*/ 708025 w 1438275"/>
              <a:gd name="connsiteY55" fmla="*/ 546100 h 2263775"/>
              <a:gd name="connsiteX56" fmla="*/ 742950 w 1438275"/>
              <a:gd name="connsiteY56" fmla="*/ 482600 h 2263775"/>
              <a:gd name="connsiteX57" fmla="*/ 809625 w 1438275"/>
              <a:gd name="connsiteY57" fmla="*/ 444500 h 2263775"/>
              <a:gd name="connsiteX58" fmla="*/ 847725 w 1438275"/>
              <a:gd name="connsiteY58" fmla="*/ 428625 h 2263775"/>
              <a:gd name="connsiteX59" fmla="*/ 863600 w 1438275"/>
              <a:gd name="connsiteY59" fmla="*/ 390525 h 2263775"/>
              <a:gd name="connsiteX60" fmla="*/ 873125 w 1438275"/>
              <a:gd name="connsiteY60" fmla="*/ 352425 h 2263775"/>
              <a:gd name="connsiteX61" fmla="*/ 923925 w 1438275"/>
              <a:gd name="connsiteY61" fmla="*/ 320675 h 2263775"/>
              <a:gd name="connsiteX62" fmla="*/ 920750 w 1438275"/>
              <a:gd name="connsiteY62" fmla="*/ 276225 h 2263775"/>
              <a:gd name="connsiteX63" fmla="*/ 962025 w 1438275"/>
              <a:gd name="connsiteY63" fmla="*/ 222250 h 2263775"/>
              <a:gd name="connsiteX64" fmla="*/ 990600 w 1438275"/>
              <a:gd name="connsiteY64" fmla="*/ 171450 h 2263775"/>
              <a:gd name="connsiteX65" fmla="*/ 962025 w 1438275"/>
              <a:gd name="connsiteY65" fmla="*/ 104775 h 2263775"/>
              <a:gd name="connsiteX66" fmla="*/ 939800 w 1438275"/>
              <a:gd name="connsiteY66" fmla="*/ 57150 h 2263775"/>
              <a:gd name="connsiteX67" fmla="*/ 965200 w 1438275"/>
              <a:gd name="connsiteY67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530225 w 1438275"/>
              <a:gd name="connsiteY46" fmla="*/ 869950 h 2263775"/>
              <a:gd name="connsiteX47" fmla="*/ 542925 w 1438275"/>
              <a:gd name="connsiteY47" fmla="*/ 806450 h 2263775"/>
              <a:gd name="connsiteX48" fmla="*/ 523875 w 1438275"/>
              <a:gd name="connsiteY48" fmla="*/ 765175 h 2263775"/>
              <a:gd name="connsiteX49" fmla="*/ 549275 w 1438275"/>
              <a:gd name="connsiteY49" fmla="*/ 739775 h 2263775"/>
              <a:gd name="connsiteX50" fmla="*/ 577850 w 1438275"/>
              <a:gd name="connsiteY50" fmla="*/ 692150 h 2263775"/>
              <a:gd name="connsiteX51" fmla="*/ 606425 w 1438275"/>
              <a:gd name="connsiteY51" fmla="*/ 701675 h 2263775"/>
              <a:gd name="connsiteX52" fmla="*/ 679450 w 1438275"/>
              <a:gd name="connsiteY52" fmla="*/ 660400 h 2263775"/>
              <a:gd name="connsiteX53" fmla="*/ 695325 w 1438275"/>
              <a:gd name="connsiteY53" fmla="*/ 603250 h 2263775"/>
              <a:gd name="connsiteX54" fmla="*/ 708025 w 1438275"/>
              <a:gd name="connsiteY54" fmla="*/ 546100 h 2263775"/>
              <a:gd name="connsiteX55" fmla="*/ 742950 w 1438275"/>
              <a:gd name="connsiteY55" fmla="*/ 482600 h 2263775"/>
              <a:gd name="connsiteX56" fmla="*/ 809625 w 1438275"/>
              <a:gd name="connsiteY56" fmla="*/ 444500 h 2263775"/>
              <a:gd name="connsiteX57" fmla="*/ 847725 w 1438275"/>
              <a:gd name="connsiteY57" fmla="*/ 428625 h 2263775"/>
              <a:gd name="connsiteX58" fmla="*/ 863600 w 1438275"/>
              <a:gd name="connsiteY58" fmla="*/ 390525 h 2263775"/>
              <a:gd name="connsiteX59" fmla="*/ 873125 w 1438275"/>
              <a:gd name="connsiteY59" fmla="*/ 352425 h 2263775"/>
              <a:gd name="connsiteX60" fmla="*/ 923925 w 1438275"/>
              <a:gd name="connsiteY60" fmla="*/ 320675 h 2263775"/>
              <a:gd name="connsiteX61" fmla="*/ 920750 w 1438275"/>
              <a:gd name="connsiteY61" fmla="*/ 276225 h 2263775"/>
              <a:gd name="connsiteX62" fmla="*/ 962025 w 1438275"/>
              <a:gd name="connsiteY62" fmla="*/ 222250 h 2263775"/>
              <a:gd name="connsiteX63" fmla="*/ 990600 w 1438275"/>
              <a:gd name="connsiteY63" fmla="*/ 171450 h 2263775"/>
              <a:gd name="connsiteX64" fmla="*/ 962025 w 1438275"/>
              <a:gd name="connsiteY64" fmla="*/ 104775 h 2263775"/>
              <a:gd name="connsiteX65" fmla="*/ 939800 w 1438275"/>
              <a:gd name="connsiteY65" fmla="*/ 57150 h 2263775"/>
              <a:gd name="connsiteX66" fmla="*/ 965200 w 1438275"/>
              <a:gd name="connsiteY66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530225 w 1438275"/>
              <a:gd name="connsiteY45" fmla="*/ 869950 h 2263775"/>
              <a:gd name="connsiteX46" fmla="*/ 542925 w 1438275"/>
              <a:gd name="connsiteY46" fmla="*/ 806450 h 2263775"/>
              <a:gd name="connsiteX47" fmla="*/ 523875 w 1438275"/>
              <a:gd name="connsiteY47" fmla="*/ 765175 h 2263775"/>
              <a:gd name="connsiteX48" fmla="*/ 549275 w 1438275"/>
              <a:gd name="connsiteY48" fmla="*/ 739775 h 2263775"/>
              <a:gd name="connsiteX49" fmla="*/ 577850 w 1438275"/>
              <a:gd name="connsiteY49" fmla="*/ 692150 h 2263775"/>
              <a:gd name="connsiteX50" fmla="*/ 606425 w 1438275"/>
              <a:gd name="connsiteY50" fmla="*/ 701675 h 2263775"/>
              <a:gd name="connsiteX51" fmla="*/ 679450 w 1438275"/>
              <a:gd name="connsiteY51" fmla="*/ 660400 h 2263775"/>
              <a:gd name="connsiteX52" fmla="*/ 695325 w 1438275"/>
              <a:gd name="connsiteY52" fmla="*/ 603250 h 2263775"/>
              <a:gd name="connsiteX53" fmla="*/ 708025 w 1438275"/>
              <a:gd name="connsiteY53" fmla="*/ 546100 h 2263775"/>
              <a:gd name="connsiteX54" fmla="*/ 742950 w 1438275"/>
              <a:gd name="connsiteY54" fmla="*/ 482600 h 2263775"/>
              <a:gd name="connsiteX55" fmla="*/ 809625 w 1438275"/>
              <a:gd name="connsiteY55" fmla="*/ 444500 h 2263775"/>
              <a:gd name="connsiteX56" fmla="*/ 847725 w 1438275"/>
              <a:gd name="connsiteY56" fmla="*/ 428625 h 2263775"/>
              <a:gd name="connsiteX57" fmla="*/ 863600 w 1438275"/>
              <a:gd name="connsiteY57" fmla="*/ 390525 h 2263775"/>
              <a:gd name="connsiteX58" fmla="*/ 873125 w 1438275"/>
              <a:gd name="connsiteY58" fmla="*/ 352425 h 2263775"/>
              <a:gd name="connsiteX59" fmla="*/ 923925 w 1438275"/>
              <a:gd name="connsiteY59" fmla="*/ 320675 h 2263775"/>
              <a:gd name="connsiteX60" fmla="*/ 920750 w 1438275"/>
              <a:gd name="connsiteY60" fmla="*/ 276225 h 2263775"/>
              <a:gd name="connsiteX61" fmla="*/ 962025 w 1438275"/>
              <a:gd name="connsiteY61" fmla="*/ 222250 h 2263775"/>
              <a:gd name="connsiteX62" fmla="*/ 990600 w 1438275"/>
              <a:gd name="connsiteY62" fmla="*/ 171450 h 2263775"/>
              <a:gd name="connsiteX63" fmla="*/ 962025 w 1438275"/>
              <a:gd name="connsiteY63" fmla="*/ 104775 h 2263775"/>
              <a:gd name="connsiteX64" fmla="*/ 939800 w 1438275"/>
              <a:gd name="connsiteY64" fmla="*/ 57150 h 2263775"/>
              <a:gd name="connsiteX65" fmla="*/ 965200 w 1438275"/>
              <a:gd name="connsiteY65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530225 w 1438275"/>
              <a:gd name="connsiteY44" fmla="*/ 869950 h 2263775"/>
              <a:gd name="connsiteX45" fmla="*/ 542925 w 1438275"/>
              <a:gd name="connsiteY45" fmla="*/ 806450 h 2263775"/>
              <a:gd name="connsiteX46" fmla="*/ 523875 w 1438275"/>
              <a:gd name="connsiteY46" fmla="*/ 765175 h 2263775"/>
              <a:gd name="connsiteX47" fmla="*/ 549275 w 1438275"/>
              <a:gd name="connsiteY47" fmla="*/ 739775 h 2263775"/>
              <a:gd name="connsiteX48" fmla="*/ 577850 w 1438275"/>
              <a:gd name="connsiteY48" fmla="*/ 692150 h 2263775"/>
              <a:gd name="connsiteX49" fmla="*/ 606425 w 1438275"/>
              <a:gd name="connsiteY49" fmla="*/ 701675 h 2263775"/>
              <a:gd name="connsiteX50" fmla="*/ 679450 w 1438275"/>
              <a:gd name="connsiteY50" fmla="*/ 660400 h 2263775"/>
              <a:gd name="connsiteX51" fmla="*/ 695325 w 1438275"/>
              <a:gd name="connsiteY51" fmla="*/ 603250 h 2263775"/>
              <a:gd name="connsiteX52" fmla="*/ 708025 w 1438275"/>
              <a:gd name="connsiteY52" fmla="*/ 546100 h 2263775"/>
              <a:gd name="connsiteX53" fmla="*/ 742950 w 1438275"/>
              <a:gd name="connsiteY53" fmla="*/ 482600 h 2263775"/>
              <a:gd name="connsiteX54" fmla="*/ 809625 w 1438275"/>
              <a:gd name="connsiteY54" fmla="*/ 444500 h 2263775"/>
              <a:gd name="connsiteX55" fmla="*/ 847725 w 1438275"/>
              <a:gd name="connsiteY55" fmla="*/ 428625 h 2263775"/>
              <a:gd name="connsiteX56" fmla="*/ 863600 w 1438275"/>
              <a:gd name="connsiteY56" fmla="*/ 390525 h 2263775"/>
              <a:gd name="connsiteX57" fmla="*/ 873125 w 1438275"/>
              <a:gd name="connsiteY57" fmla="*/ 352425 h 2263775"/>
              <a:gd name="connsiteX58" fmla="*/ 923925 w 1438275"/>
              <a:gd name="connsiteY58" fmla="*/ 320675 h 2263775"/>
              <a:gd name="connsiteX59" fmla="*/ 920750 w 1438275"/>
              <a:gd name="connsiteY59" fmla="*/ 276225 h 2263775"/>
              <a:gd name="connsiteX60" fmla="*/ 962025 w 1438275"/>
              <a:gd name="connsiteY60" fmla="*/ 222250 h 2263775"/>
              <a:gd name="connsiteX61" fmla="*/ 990600 w 1438275"/>
              <a:gd name="connsiteY61" fmla="*/ 171450 h 2263775"/>
              <a:gd name="connsiteX62" fmla="*/ 962025 w 1438275"/>
              <a:gd name="connsiteY62" fmla="*/ 104775 h 2263775"/>
              <a:gd name="connsiteX63" fmla="*/ 939800 w 1438275"/>
              <a:gd name="connsiteY63" fmla="*/ 57150 h 2263775"/>
              <a:gd name="connsiteX64" fmla="*/ 965200 w 1438275"/>
              <a:gd name="connsiteY64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530225 w 1438275"/>
              <a:gd name="connsiteY43" fmla="*/ 869950 h 2263775"/>
              <a:gd name="connsiteX44" fmla="*/ 542925 w 1438275"/>
              <a:gd name="connsiteY44" fmla="*/ 806450 h 2263775"/>
              <a:gd name="connsiteX45" fmla="*/ 523875 w 1438275"/>
              <a:gd name="connsiteY45" fmla="*/ 765175 h 2263775"/>
              <a:gd name="connsiteX46" fmla="*/ 549275 w 1438275"/>
              <a:gd name="connsiteY46" fmla="*/ 739775 h 2263775"/>
              <a:gd name="connsiteX47" fmla="*/ 577850 w 1438275"/>
              <a:gd name="connsiteY47" fmla="*/ 692150 h 2263775"/>
              <a:gd name="connsiteX48" fmla="*/ 606425 w 1438275"/>
              <a:gd name="connsiteY48" fmla="*/ 701675 h 2263775"/>
              <a:gd name="connsiteX49" fmla="*/ 679450 w 1438275"/>
              <a:gd name="connsiteY49" fmla="*/ 660400 h 2263775"/>
              <a:gd name="connsiteX50" fmla="*/ 695325 w 1438275"/>
              <a:gd name="connsiteY50" fmla="*/ 603250 h 2263775"/>
              <a:gd name="connsiteX51" fmla="*/ 708025 w 1438275"/>
              <a:gd name="connsiteY51" fmla="*/ 546100 h 2263775"/>
              <a:gd name="connsiteX52" fmla="*/ 742950 w 1438275"/>
              <a:gd name="connsiteY52" fmla="*/ 482600 h 2263775"/>
              <a:gd name="connsiteX53" fmla="*/ 809625 w 1438275"/>
              <a:gd name="connsiteY53" fmla="*/ 444500 h 2263775"/>
              <a:gd name="connsiteX54" fmla="*/ 847725 w 1438275"/>
              <a:gd name="connsiteY54" fmla="*/ 428625 h 2263775"/>
              <a:gd name="connsiteX55" fmla="*/ 863600 w 1438275"/>
              <a:gd name="connsiteY55" fmla="*/ 390525 h 2263775"/>
              <a:gd name="connsiteX56" fmla="*/ 873125 w 1438275"/>
              <a:gd name="connsiteY56" fmla="*/ 352425 h 2263775"/>
              <a:gd name="connsiteX57" fmla="*/ 923925 w 1438275"/>
              <a:gd name="connsiteY57" fmla="*/ 320675 h 2263775"/>
              <a:gd name="connsiteX58" fmla="*/ 920750 w 1438275"/>
              <a:gd name="connsiteY58" fmla="*/ 276225 h 2263775"/>
              <a:gd name="connsiteX59" fmla="*/ 962025 w 1438275"/>
              <a:gd name="connsiteY59" fmla="*/ 222250 h 2263775"/>
              <a:gd name="connsiteX60" fmla="*/ 990600 w 1438275"/>
              <a:gd name="connsiteY60" fmla="*/ 171450 h 2263775"/>
              <a:gd name="connsiteX61" fmla="*/ 962025 w 1438275"/>
              <a:gd name="connsiteY61" fmla="*/ 104775 h 2263775"/>
              <a:gd name="connsiteX62" fmla="*/ 939800 w 1438275"/>
              <a:gd name="connsiteY62" fmla="*/ 57150 h 2263775"/>
              <a:gd name="connsiteX63" fmla="*/ 965200 w 1438275"/>
              <a:gd name="connsiteY63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57488 w 1438275"/>
              <a:gd name="connsiteY43" fmla="*/ 1184170 h 2263775"/>
              <a:gd name="connsiteX44" fmla="*/ 530225 w 1438275"/>
              <a:gd name="connsiteY44" fmla="*/ 869950 h 2263775"/>
              <a:gd name="connsiteX45" fmla="*/ 542925 w 1438275"/>
              <a:gd name="connsiteY45" fmla="*/ 806450 h 2263775"/>
              <a:gd name="connsiteX46" fmla="*/ 523875 w 1438275"/>
              <a:gd name="connsiteY46" fmla="*/ 765175 h 2263775"/>
              <a:gd name="connsiteX47" fmla="*/ 549275 w 1438275"/>
              <a:gd name="connsiteY47" fmla="*/ 739775 h 2263775"/>
              <a:gd name="connsiteX48" fmla="*/ 577850 w 1438275"/>
              <a:gd name="connsiteY48" fmla="*/ 692150 h 2263775"/>
              <a:gd name="connsiteX49" fmla="*/ 606425 w 1438275"/>
              <a:gd name="connsiteY49" fmla="*/ 701675 h 2263775"/>
              <a:gd name="connsiteX50" fmla="*/ 679450 w 1438275"/>
              <a:gd name="connsiteY50" fmla="*/ 660400 h 2263775"/>
              <a:gd name="connsiteX51" fmla="*/ 695325 w 1438275"/>
              <a:gd name="connsiteY51" fmla="*/ 603250 h 2263775"/>
              <a:gd name="connsiteX52" fmla="*/ 708025 w 1438275"/>
              <a:gd name="connsiteY52" fmla="*/ 546100 h 2263775"/>
              <a:gd name="connsiteX53" fmla="*/ 742950 w 1438275"/>
              <a:gd name="connsiteY53" fmla="*/ 482600 h 2263775"/>
              <a:gd name="connsiteX54" fmla="*/ 809625 w 1438275"/>
              <a:gd name="connsiteY54" fmla="*/ 444500 h 2263775"/>
              <a:gd name="connsiteX55" fmla="*/ 847725 w 1438275"/>
              <a:gd name="connsiteY55" fmla="*/ 428625 h 2263775"/>
              <a:gd name="connsiteX56" fmla="*/ 863600 w 1438275"/>
              <a:gd name="connsiteY56" fmla="*/ 390525 h 2263775"/>
              <a:gd name="connsiteX57" fmla="*/ 873125 w 1438275"/>
              <a:gd name="connsiteY57" fmla="*/ 352425 h 2263775"/>
              <a:gd name="connsiteX58" fmla="*/ 923925 w 1438275"/>
              <a:gd name="connsiteY58" fmla="*/ 320675 h 2263775"/>
              <a:gd name="connsiteX59" fmla="*/ 920750 w 1438275"/>
              <a:gd name="connsiteY59" fmla="*/ 276225 h 2263775"/>
              <a:gd name="connsiteX60" fmla="*/ 962025 w 1438275"/>
              <a:gd name="connsiteY60" fmla="*/ 222250 h 2263775"/>
              <a:gd name="connsiteX61" fmla="*/ 990600 w 1438275"/>
              <a:gd name="connsiteY61" fmla="*/ 171450 h 2263775"/>
              <a:gd name="connsiteX62" fmla="*/ 962025 w 1438275"/>
              <a:gd name="connsiteY62" fmla="*/ 104775 h 2263775"/>
              <a:gd name="connsiteX63" fmla="*/ 939800 w 1438275"/>
              <a:gd name="connsiteY63" fmla="*/ 57150 h 2263775"/>
              <a:gd name="connsiteX64" fmla="*/ 965200 w 1438275"/>
              <a:gd name="connsiteY64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530225 w 1438275"/>
              <a:gd name="connsiteY43" fmla="*/ 869950 h 2263775"/>
              <a:gd name="connsiteX44" fmla="*/ 542925 w 1438275"/>
              <a:gd name="connsiteY44" fmla="*/ 806450 h 2263775"/>
              <a:gd name="connsiteX45" fmla="*/ 523875 w 1438275"/>
              <a:gd name="connsiteY45" fmla="*/ 765175 h 2263775"/>
              <a:gd name="connsiteX46" fmla="*/ 549275 w 1438275"/>
              <a:gd name="connsiteY46" fmla="*/ 739775 h 2263775"/>
              <a:gd name="connsiteX47" fmla="*/ 577850 w 1438275"/>
              <a:gd name="connsiteY47" fmla="*/ 692150 h 2263775"/>
              <a:gd name="connsiteX48" fmla="*/ 606425 w 1438275"/>
              <a:gd name="connsiteY48" fmla="*/ 701675 h 2263775"/>
              <a:gd name="connsiteX49" fmla="*/ 679450 w 1438275"/>
              <a:gd name="connsiteY49" fmla="*/ 660400 h 2263775"/>
              <a:gd name="connsiteX50" fmla="*/ 695325 w 1438275"/>
              <a:gd name="connsiteY50" fmla="*/ 603250 h 2263775"/>
              <a:gd name="connsiteX51" fmla="*/ 708025 w 1438275"/>
              <a:gd name="connsiteY51" fmla="*/ 546100 h 2263775"/>
              <a:gd name="connsiteX52" fmla="*/ 742950 w 1438275"/>
              <a:gd name="connsiteY52" fmla="*/ 482600 h 2263775"/>
              <a:gd name="connsiteX53" fmla="*/ 809625 w 1438275"/>
              <a:gd name="connsiteY53" fmla="*/ 444500 h 2263775"/>
              <a:gd name="connsiteX54" fmla="*/ 847725 w 1438275"/>
              <a:gd name="connsiteY54" fmla="*/ 428625 h 2263775"/>
              <a:gd name="connsiteX55" fmla="*/ 863600 w 1438275"/>
              <a:gd name="connsiteY55" fmla="*/ 390525 h 2263775"/>
              <a:gd name="connsiteX56" fmla="*/ 873125 w 1438275"/>
              <a:gd name="connsiteY56" fmla="*/ 352425 h 2263775"/>
              <a:gd name="connsiteX57" fmla="*/ 923925 w 1438275"/>
              <a:gd name="connsiteY57" fmla="*/ 320675 h 2263775"/>
              <a:gd name="connsiteX58" fmla="*/ 920750 w 1438275"/>
              <a:gd name="connsiteY58" fmla="*/ 276225 h 2263775"/>
              <a:gd name="connsiteX59" fmla="*/ 962025 w 1438275"/>
              <a:gd name="connsiteY59" fmla="*/ 222250 h 2263775"/>
              <a:gd name="connsiteX60" fmla="*/ 990600 w 1438275"/>
              <a:gd name="connsiteY60" fmla="*/ 171450 h 2263775"/>
              <a:gd name="connsiteX61" fmla="*/ 962025 w 1438275"/>
              <a:gd name="connsiteY61" fmla="*/ 104775 h 2263775"/>
              <a:gd name="connsiteX62" fmla="*/ 939800 w 1438275"/>
              <a:gd name="connsiteY62" fmla="*/ 57150 h 2263775"/>
              <a:gd name="connsiteX63" fmla="*/ 965200 w 1438275"/>
              <a:gd name="connsiteY63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530225 w 1438275"/>
              <a:gd name="connsiteY42" fmla="*/ 869950 h 2263775"/>
              <a:gd name="connsiteX43" fmla="*/ 542925 w 1438275"/>
              <a:gd name="connsiteY43" fmla="*/ 806450 h 2263775"/>
              <a:gd name="connsiteX44" fmla="*/ 523875 w 1438275"/>
              <a:gd name="connsiteY44" fmla="*/ 765175 h 2263775"/>
              <a:gd name="connsiteX45" fmla="*/ 549275 w 1438275"/>
              <a:gd name="connsiteY45" fmla="*/ 739775 h 2263775"/>
              <a:gd name="connsiteX46" fmla="*/ 577850 w 1438275"/>
              <a:gd name="connsiteY46" fmla="*/ 692150 h 2263775"/>
              <a:gd name="connsiteX47" fmla="*/ 606425 w 1438275"/>
              <a:gd name="connsiteY47" fmla="*/ 701675 h 2263775"/>
              <a:gd name="connsiteX48" fmla="*/ 679450 w 1438275"/>
              <a:gd name="connsiteY48" fmla="*/ 660400 h 2263775"/>
              <a:gd name="connsiteX49" fmla="*/ 695325 w 1438275"/>
              <a:gd name="connsiteY49" fmla="*/ 603250 h 2263775"/>
              <a:gd name="connsiteX50" fmla="*/ 708025 w 1438275"/>
              <a:gd name="connsiteY50" fmla="*/ 546100 h 2263775"/>
              <a:gd name="connsiteX51" fmla="*/ 742950 w 1438275"/>
              <a:gd name="connsiteY51" fmla="*/ 482600 h 2263775"/>
              <a:gd name="connsiteX52" fmla="*/ 809625 w 1438275"/>
              <a:gd name="connsiteY52" fmla="*/ 444500 h 2263775"/>
              <a:gd name="connsiteX53" fmla="*/ 847725 w 1438275"/>
              <a:gd name="connsiteY53" fmla="*/ 428625 h 2263775"/>
              <a:gd name="connsiteX54" fmla="*/ 863600 w 1438275"/>
              <a:gd name="connsiteY54" fmla="*/ 390525 h 2263775"/>
              <a:gd name="connsiteX55" fmla="*/ 873125 w 1438275"/>
              <a:gd name="connsiteY55" fmla="*/ 352425 h 2263775"/>
              <a:gd name="connsiteX56" fmla="*/ 923925 w 1438275"/>
              <a:gd name="connsiteY56" fmla="*/ 320675 h 2263775"/>
              <a:gd name="connsiteX57" fmla="*/ 920750 w 1438275"/>
              <a:gd name="connsiteY57" fmla="*/ 276225 h 2263775"/>
              <a:gd name="connsiteX58" fmla="*/ 962025 w 1438275"/>
              <a:gd name="connsiteY58" fmla="*/ 222250 h 2263775"/>
              <a:gd name="connsiteX59" fmla="*/ 990600 w 1438275"/>
              <a:gd name="connsiteY59" fmla="*/ 171450 h 2263775"/>
              <a:gd name="connsiteX60" fmla="*/ 962025 w 1438275"/>
              <a:gd name="connsiteY60" fmla="*/ 104775 h 2263775"/>
              <a:gd name="connsiteX61" fmla="*/ 939800 w 1438275"/>
              <a:gd name="connsiteY61" fmla="*/ 57150 h 2263775"/>
              <a:gd name="connsiteX62" fmla="*/ 965200 w 1438275"/>
              <a:gd name="connsiteY62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530225 w 1438275"/>
              <a:gd name="connsiteY41" fmla="*/ 869950 h 2263775"/>
              <a:gd name="connsiteX42" fmla="*/ 542925 w 1438275"/>
              <a:gd name="connsiteY42" fmla="*/ 806450 h 2263775"/>
              <a:gd name="connsiteX43" fmla="*/ 523875 w 1438275"/>
              <a:gd name="connsiteY43" fmla="*/ 765175 h 2263775"/>
              <a:gd name="connsiteX44" fmla="*/ 549275 w 1438275"/>
              <a:gd name="connsiteY44" fmla="*/ 739775 h 2263775"/>
              <a:gd name="connsiteX45" fmla="*/ 577850 w 1438275"/>
              <a:gd name="connsiteY45" fmla="*/ 692150 h 2263775"/>
              <a:gd name="connsiteX46" fmla="*/ 606425 w 1438275"/>
              <a:gd name="connsiteY46" fmla="*/ 701675 h 2263775"/>
              <a:gd name="connsiteX47" fmla="*/ 679450 w 1438275"/>
              <a:gd name="connsiteY47" fmla="*/ 660400 h 2263775"/>
              <a:gd name="connsiteX48" fmla="*/ 695325 w 1438275"/>
              <a:gd name="connsiteY48" fmla="*/ 603250 h 2263775"/>
              <a:gd name="connsiteX49" fmla="*/ 708025 w 1438275"/>
              <a:gd name="connsiteY49" fmla="*/ 546100 h 2263775"/>
              <a:gd name="connsiteX50" fmla="*/ 742950 w 1438275"/>
              <a:gd name="connsiteY50" fmla="*/ 482600 h 2263775"/>
              <a:gd name="connsiteX51" fmla="*/ 809625 w 1438275"/>
              <a:gd name="connsiteY51" fmla="*/ 444500 h 2263775"/>
              <a:gd name="connsiteX52" fmla="*/ 847725 w 1438275"/>
              <a:gd name="connsiteY52" fmla="*/ 428625 h 2263775"/>
              <a:gd name="connsiteX53" fmla="*/ 863600 w 1438275"/>
              <a:gd name="connsiteY53" fmla="*/ 390525 h 2263775"/>
              <a:gd name="connsiteX54" fmla="*/ 873125 w 1438275"/>
              <a:gd name="connsiteY54" fmla="*/ 352425 h 2263775"/>
              <a:gd name="connsiteX55" fmla="*/ 923925 w 1438275"/>
              <a:gd name="connsiteY55" fmla="*/ 320675 h 2263775"/>
              <a:gd name="connsiteX56" fmla="*/ 920750 w 1438275"/>
              <a:gd name="connsiteY56" fmla="*/ 276225 h 2263775"/>
              <a:gd name="connsiteX57" fmla="*/ 962025 w 1438275"/>
              <a:gd name="connsiteY57" fmla="*/ 222250 h 2263775"/>
              <a:gd name="connsiteX58" fmla="*/ 990600 w 1438275"/>
              <a:gd name="connsiteY58" fmla="*/ 171450 h 2263775"/>
              <a:gd name="connsiteX59" fmla="*/ 962025 w 1438275"/>
              <a:gd name="connsiteY59" fmla="*/ 104775 h 2263775"/>
              <a:gd name="connsiteX60" fmla="*/ 939800 w 1438275"/>
              <a:gd name="connsiteY60" fmla="*/ 57150 h 2263775"/>
              <a:gd name="connsiteX61" fmla="*/ 965200 w 1438275"/>
              <a:gd name="connsiteY61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530225 w 1438275"/>
              <a:gd name="connsiteY40" fmla="*/ 869950 h 2263775"/>
              <a:gd name="connsiteX41" fmla="*/ 542925 w 1438275"/>
              <a:gd name="connsiteY41" fmla="*/ 806450 h 2263775"/>
              <a:gd name="connsiteX42" fmla="*/ 523875 w 1438275"/>
              <a:gd name="connsiteY42" fmla="*/ 765175 h 2263775"/>
              <a:gd name="connsiteX43" fmla="*/ 549275 w 1438275"/>
              <a:gd name="connsiteY43" fmla="*/ 739775 h 2263775"/>
              <a:gd name="connsiteX44" fmla="*/ 577850 w 1438275"/>
              <a:gd name="connsiteY44" fmla="*/ 692150 h 2263775"/>
              <a:gd name="connsiteX45" fmla="*/ 606425 w 1438275"/>
              <a:gd name="connsiteY45" fmla="*/ 701675 h 2263775"/>
              <a:gd name="connsiteX46" fmla="*/ 679450 w 1438275"/>
              <a:gd name="connsiteY46" fmla="*/ 660400 h 2263775"/>
              <a:gd name="connsiteX47" fmla="*/ 695325 w 1438275"/>
              <a:gd name="connsiteY47" fmla="*/ 603250 h 2263775"/>
              <a:gd name="connsiteX48" fmla="*/ 708025 w 1438275"/>
              <a:gd name="connsiteY48" fmla="*/ 546100 h 2263775"/>
              <a:gd name="connsiteX49" fmla="*/ 742950 w 1438275"/>
              <a:gd name="connsiteY49" fmla="*/ 482600 h 2263775"/>
              <a:gd name="connsiteX50" fmla="*/ 809625 w 1438275"/>
              <a:gd name="connsiteY50" fmla="*/ 444500 h 2263775"/>
              <a:gd name="connsiteX51" fmla="*/ 847725 w 1438275"/>
              <a:gd name="connsiteY51" fmla="*/ 428625 h 2263775"/>
              <a:gd name="connsiteX52" fmla="*/ 863600 w 1438275"/>
              <a:gd name="connsiteY52" fmla="*/ 390525 h 2263775"/>
              <a:gd name="connsiteX53" fmla="*/ 873125 w 1438275"/>
              <a:gd name="connsiteY53" fmla="*/ 352425 h 2263775"/>
              <a:gd name="connsiteX54" fmla="*/ 923925 w 1438275"/>
              <a:gd name="connsiteY54" fmla="*/ 320675 h 2263775"/>
              <a:gd name="connsiteX55" fmla="*/ 920750 w 1438275"/>
              <a:gd name="connsiteY55" fmla="*/ 276225 h 2263775"/>
              <a:gd name="connsiteX56" fmla="*/ 962025 w 1438275"/>
              <a:gd name="connsiteY56" fmla="*/ 222250 h 2263775"/>
              <a:gd name="connsiteX57" fmla="*/ 990600 w 1438275"/>
              <a:gd name="connsiteY57" fmla="*/ 171450 h 2263775"/>
              <a:gd name="connsiteX58" fmla="*/ 962025 w 1438275"/>
              <a:gd name="connsiteY58" fmla="*/ 104775 h 2263775"/>
              <a:gd name="connsiteX59" fmla="*/ 939800 w 1438275"/>
              <a:gd name="connsiteY59" fmla="*/ 57150 h 2263775"/>
              <a:gd name="connsiteX60" fmla="*/ 965200 w 1438275"/>
              <a:gd name="connsiteY60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530225 w 1438275"/>
              <a:gd name="connsiteY39" fmla="*/ 869950 h 2263775"/>
              <a:gd name="connsiteX40" fmla="*/ 542925 w 1438275"/>
              <a:gd name="connsiteY40" fmla="*/ 806450 h 2263775"/>
              <a:gd name="connsiteX41" fmla="*/ 523875 w 1438275"/>
              <a:gd name="connsiteY41" fmla="*/ 765175 h 2263775"/>
              <a:gd name="connsiteX42" fmla="*/ 549275 w 1438275"/>
              <a:gd name="connsiteY42" fmla="*/ 739775 h 2263775"/>
              <a:gd name="connsiteX43" fmla="*/ 577850 w 1438275"/>
              <a:gd name="connsiteY43" fmla="*/ 692150 h 2263775"/>
              <a:gd name="connsiteX44" fmla="*/ 606425 w 1438275"/>
              <a:gd name="connsiteY44" fmla="*/ 701675 h 2263775"/>
              <a:gd name="connsiteX45" fmla="*/ 679450 w 1438275"/>
              <a:gd name="connsiteY45" fmla="*/ 660400 h 2263775"/>
              <a:gd name="connsiteX46" fmla="*/ 695325 w 1438275"/>
              <a:gd name="connsiteY46" fmla="*/ 603250 h 2263775"/>
              <a:gd name="connsiteX47" fmla="*/ 708025 w 1438275"/>
              <a:gd name="connsiteY47" fmla="*/ 546100 h 2263775"/>
              <a:gd name="connsiteX48" fmla="*/ 742950 w 1438275"/>
              <a:gd name="connsiteY48" fmla="*/ 482600 h 2263775"/>
              <a:gd name="connsiteX49" fmla="*/ 809625 w 1438275"/>
              <a:gd name="connsiteY49" fmla="*/ 444500 h 2263775"/>
              <a:gd name="connsiteX50" fmla="*/ 847725 w 1438275"/>
              <a:gd name="connsiteY50" fmla="*/ 428625 h 2263775"/>
              <a:gd name="connsiteX51" fmla="*/ 863600 w 1438275"/>
              <a:gd name="connsiteY51" fmla="*/ 390525 h 2263775"/>
              <a:gd name="connsiteX52" fmla="*/ 873125 w 1438275"/>
              <a:gd name="connsiteY52" fmla="*/ 352425 h 2263775"/>
              <a:gd name="connsiteX53" fmla="*/ 923925 w 1438275"/>
              <a:gd name="connsiteY53" fmla="*/ 320675 h 2263775"/>
              <a:gd name="connsiteX54" fmla="*/ 920750 w 1438275"/>
              <a:gd name="connsiteY54" fmla="*/ 276225 h 2263775"/>
              <a:gd name="connsiteX55" fmla="*/ 962025 w 1438275"/>
              <a:gd name="connsiteY55" fmla="*/ 222250 h 2263775"/>
              <a:gd name="connsiteX56" fmla="*/ 990600 w 1438275"/>
              <a:gd name="connsiteY56" fmla="*/ 171450 h 2263775"/>
              <a:gd name="connsiteX57" fmla="*/ 962025 w 1438275"/>
              <a:gd name="connsiteY57" fmla="*/ 104775 h 2263775"/>
              <a:gd name="connsiteX58" fmla="*/ 939800 w 1438275"/>
              <a:gd name="connsiteY58" fmla="*/ 57150 h 2263775"/>
              <a:gd name="connsiteX59" fmla="*/ 965200 w 1438275"/>
              <a:gd name="connsiteY59" fmla="*/ 0 h 2263775"/>
              <a:gd name="connsiteX0" fmla="*/ 1304925 w 1304925"/>
              <a:gd name="connsiteY0" fmla="*/ 2263775 h 2263775"/>
              <a:gd name="connsiteX1" fmla="*/ 1289050 w 1304925"/>
              <a:gd name="connsiteY1" fmla="*/ 2206625 h 2263775"/>
              <a:gd name="connsiteX2" fmla="*/ 1257300 w 1304925"/>
              <a:gd name="connsiteY2" fmla="*/ 2162175 h 2263775"/>
              <a:gd name="connsiteX3" fmla="*/ 1219200 w 1304925"/>
              <a:gd name="connsiteY3" fmla="*/ 2149475 h 2263775"/>
              <a:gd name="connsiteX4" fmla="*/ 1165225 w 1304925"/>
              <a:gd name="connsiteY4" fmla="*/ 2152650 h 2263775"/>
              <a:gd name="connsiteX5" fmla="*/ 1123950 w 1304925"/>
              <a:gd name="connsiteY5" fmla="*/ 2149475 h 2263775"/>
              <a:gd name="connsiteX6" fmla="*/ 1089025 w 1304925"/>
              <a:gd name="connsiteY6" fmla="*/ 2130425 h 2263775"/>
              <a:gd name="connsiteX7" fmla="*/ 1060450 w 1304925"/>
              <a:gd name="connsiteY7" fmla="*/ 2143125 h 2263775"/>
              <a:gd name="connsiteX8" fmla="*/ 1009650 w 1304925"/>
              <a:gd name="connsiteY8" fmla="*/ 2130425 h 2263775"/>
              <a:gd name="connsiteX9" fmla="*/ 974725 w 1304925"/>
              <a:gd name="connsiteY9" fmla="*/ 2117725 h 2263775"/>
              <a:gd name="connsiteX10" fmla="*/ 958850 w 1304925"/>
              <a:gd name="connsiteY10" fmla="*/ 2111375 h 2263775"/>
              <a:gd name="connsiteX11" fmla="*/ 898525 w 1304925"/>
              <a:gd name="connsiteY11" fmla="*/ 2117725 h 2263775"/>
              <a:gd name="connsiteX12" fmla="*/ 844550 w 1304925"/>
              <a:gd name="connsiteY12" fmla="*/ 2073275 h 2263775"/>
              <a:gd name="connsiteX13" fmla="*/ 812800 w 1304925"/>
              <a:gd name="connsiteY13" fmla="*/ 2051050 h 2263775"/>
              <a:gd name="connsiteX14" fmla="*/ 777875 w 1304925"/>
              <a:gd name="connsiteY14" fmla="*/ 2038350 h 2263775"/>
              <a:gd name="connsiteX15" fmla="*/ 752475 w 1304925"/>
              <a:gd name="connsiteY15" fmla="*/ 2003425 h 2263775"/>
              <a:gd name="connsiteX16" fmla="*/ 704850 w 1304925"/>
              <a:gd name="connsiteY16" fmla="*/ 1990725 h 2263775"/>
              <a:gd name="connsiteX17" fmla="*/ 666750 w 1304925"/>
              <a:gd name="connsiteY17" fmla="*/ 1968500 h 2263775"/>
              <a:gd name="connsiteX18" fmla="*/ 631825 w 1304925"/>
              <a:gd name="connsiteY18" fmla="*/ 1971675 h 2263775"/>
              <a:gd name="connsiteX19" fmla="*/ 615950 w 1304925"/>
              <a:gd name="connsiteY19" fmla="*/ 1949450 h 2263775"/>
              <a:gd name="connsiteX20" fmla="*/ 571500 w 1304925"/>
              <a:gd name="connsiteY20" fmla="*/ 1936750 h 2263775"/>
              <a:gd name="connsiteX21" fmla="*/ 546100 w 1304925"/>
              <a:gd name="connsiteY21" fmla="*/ 1943100 h 2263775"/>
              <a:gd name="connsiteX22" fmla="*/ 498475 w 1304925"/>
              <a:gd name="connsiteY22" fmla="*/ 1936750 h 2263775"/>
              <a:gd name="connsiteX23" fmla="*/ 454025 w 1304925"/>
              <a:gd name="connsiteY23" fmla="*/ 1952625 h 2263775"/>
              <a:gd name="connsiteX24" fmla="*/ 387350 w 1304925"/>
              <a:gd name="connsiteY24" fmla="*/ 1946275 h 2263775"/>
              <a:gd name="connsiteX25" fmla="*/ 387350 w 1304925"/>
              <a:gd name="connsiteY25" fmla="*/ 1946275 h 2263775"/>
              <a:gd name="connsiteX26" fmla="*/ 333375 w 1304925"/>
              <a:gd name="connsiteY26" fmla="*/ 1952625 h 2263775"/>
              <a:gd name="connsiteX27" fmla="*/ 346075 w 1304925"/>
              <a:gd name="connsiteY27" fmla="*/ 1927225 h 2263775"/>
              <a:gd name="connsiteX28" fmla="*/ 323850 w 1304925"/>
              <a:gd name="connsiteY28" fmla="*/ 1917700 h 2263775"/>
              <a:gd name="connsiteX29" fmla="*/ 342900 w 1304925"/>
              <a:gd name="connsiteY29" fmla="*/ 1857375 h 2263775"/>
              <a:gd name="connsiteX30" fmla="*/ 317500 w 1304925"/>
              <a:gd name="connsiteY30" fmla="*/ 1803400 h 2263775"/>
              <a:gd name="connsiteX31" fmla="*/ 273050 w 1304925"/>
              <a:gd name="connsiteY31" fmla="*/ 1762125 h 2263775"/>
              <a:gd name="connsiteX32" fmla="*/ 228600 w 1304925"/>
              <a:gd name="connsiteY32" fmla="*/ 1739900 h 2263775"/>
              <a:gd name="connsiteX33" fmla="*/ 184150 w 1304925"/>
              <a:gd name="connsiteY33" fmla="*/ 1803400 h 2263775"/>
              <a:gd name="connsiteX34" fmla="*/ 127000 w 1304925"/>
              <a:gd name="connsiteY34" fmla="*/ 1860550 h 2263775"/>
              <a:gd name="connsiteX35" fmla="*/ 88900 w 1304925"/>
              <a:gd name="connsiteY35" fmla="*/ 1870075 h 2263775"/>
              <a:gd name="connsiteX36" fmla="*/ 44450 w 1304925"/>
              <a:gd name="connsiteY36" fmla="*/ 1847850 h 2263775"/>
              <a:gd name="connsiteX37" fmla="*/ 0 w 1304925"/>
              <a:gd name="connsiteY37" fmla="*/ 1851025 h 2263775"/>
              <a:gd name="connsiteX38" fmla="*/ 396875 w 1304925"/>
              <a:gd name="connsiteY38" fmla="*/ 869950 h 2263775"/>
              <a:gd name="connsiteX39" fmla="*/ 409575 w 1304925"/>
              <a:gd name="connsiteY39" fmla="*/ 806450 h 2263775"/>
              <a:gd name="connsiteX40" fmla="*/ 390525 w 1304925"/>
              <a:gd name="connsiteY40" fmla="*/ 765175 h 2263775"/>
              <a:gd name="connsiteX41" fmla="*/ 415925 w 1304925"/>
              <a:gd name="connsiteY41" fmla="*/ 739775 h 2263775"/>
              <a:gd name="connsiteX42" fmla="*/ 444500 w 1304925"/>
              <a:gd name="connsiteY42" fmla="*/ 692150 h 2263775"/>
              <a:gd name="connsiteX43" fmla="*/ 473075 w 1304925"/>
              <a:gd name="connsiteY43" fmla="*/ 701675 h 2263775"/>
              <a:gd name="connsiteX44" fmla="*/ 546100 w 1304925"/>
              <a:gd name="connsiteY44" fmla="*/ 660400 h 2263775"/>
              <a:gd name="connsiteX45" fmla="*/ 561975 w 1304925"/>
              <a:gd name="connsiteY45" fmla="*/ 603250 h 2263775"/>
              <a:gd name="connsiteX46" fmla="*/ 574675 w 1304925"/>
              <a:gd name="connsiteY46" fmla="*/ 546100 h 2263775"/>
              <a:gd name="connsiteX47" fmla="*/ 609600 w 1304925"/>
              <a:gd name="connsiteY47" fmla="*/ 482600 h 2263775"/>
              <a:gd name="connsiteX48" fmla="*/ 676275 w 1304925"/>
              <a:gd name="connsiteY48" fmla="*/ 444500 h 2263775"/>
              <a:gd name="connsiteX49" fmla="*/ 714375 w 1304925"/>
              <a:gd name="connsiteY49" fmla="*/ 428625 h 2263775"/>
              <a:gd name="connsiteX50" fmla="*/ 730250 w 1304925"/>
              <a:gd name="connsiteY50" fmla="*/ 390525 h 2263775"/>
              <a:gd name="connsiteX51" fmla="*/ 739775 w 1304925"/>
              <a:gd name="connsiteY51" fmla="*/ 352425 h 2263775"/>
              <a:gd name="connsiteX52" fmla="*/ 790575 w 1304925"/>
              <a:gd name="connsiteY52" fmla="*/ 320675 h 2263775"/>
              <a:gd name="connsiteX53" fmla="*/ 787400 w 1304925"/>
              <a:gd name="connsiteY53" fmla="*/ 276225 h 2263775"/>
              <a:gd name="connsiteX54" fmla="*/ 828675 w 1304925"/>
              <a:gd name="connsiteY54" fmla="*/ 222250 h 2263775"/>
              <a:gd name="connsiteX55" fmla="*/ 857250 w 1304925"/>
              <a:gd name="connsiteY55" fmla="*/ 171450 h 2263775"/>
              <a:gd name="connsiteX56" fmla="*/ 828675 w 1304925"/>
              <a:gd name="connsiteY56" fmla="*/ 104775 h 2263775"/>
              <a:gd name="connsiteX57" fmla="*/ 806450 w 1304925"/>
              <a:gd name="connsiteY57" fmla="*/ 57150 h 2263775"/>
              <a:gd name="connsiteX58" fmla="*/ 831850 w 1304925"/>
              <a:gd name="connsiteY58" fmla="*/ 0 h 2263775"/>
              <a:gd name="connsiteX0" fmla="*/ 1260475 w 1260475"/>
              <a:gd name="connsiteY0" fmla="*/ 2263775 h 2263775"/>
              <a:gd name="connsiteX1" fmla="*/ 1244600 w 1260475"/>
              <a:gd name="connsiteY1" fmla="*/ 2206625 h 2263775"/>
              <a:gd name="connsiteX2" fmla="*/ 1212850 w 1260475"/>
              <a:gd name="connsiteY2" fmla="*/ 2162175 h 2263775"/>
              <a:gd name="connsiteX3" fmla="*/ 1174750 w 1260475"/>
              <a:gd name="connsiteY3" fmla="*/ 2149475 h 2263775"/>
              <a:gd name="connsiteX4" fmla="*/ 1120775 w 1260475"/>
              <a:gd name="connsiteY4" fmla="*/ 2152650 h 2263775"/>
              <a:gd name="connsiteX5" fmla="*/ 1079500 w 1260475"/>
              <a:gd name="connsiteY5" fmla="*/ 2149475 h 2263775"/>
              <a:gd name="connsiteX6" fmla="*/ 1044575 w 1260475"/>
              <a:gd name="connsiteY6" fmla="*/ 2130425 h 2263775"/>
              <a:gd name="connsiteX7" fmla="*/ 1016000 w 1260475"/>
              <a:gd name="connsiteY7" fmla="*/ 2143125 h 2263775"/>
              <a:gd name="connsiteX8" fmla="*/ 965200 w 1260475"/>
              <a:gd name="connsiteY8" fmla="*/ 2130425 h 2263775"/>
              <a:gd name="connsiteX9" fmla="*/ 930275 w 1260475"/>
              <a:gd name="connsiteY9" fmla="*/ 2117725 h 2263775"/>
              <a:gd name="connsiteX10" fmla="*/ 914400 w 1260475"/>
              <a:gd name="connsiteY10" fmla="*/ 2111375 h 2263775"/>
              <a:gd name="connsiteX11" fmla="*/ 854075 w 1260475"/>
              <a:gd name="connsiteY11" fmla="*/ 2117725 h 2263775"/>
              <a:gd name="connsiteX12" fmla="*/ 800100 w 1260475"/>
              <a:gd name="connsiteY12" fmla="*/ 2073275 h 2263775"/>
              <a:gd name="connsiteX13" fmla="*/ 768350 w 1260475"/>
              <a:gd name="connsiteY13" fmla="*/ 2051050 h 2263775"/>
              <a:gd name="connsiteX14" fmla="*/ 733425 w 1260475"/>
              <a:gd name="connsiteY14" fmla="*/ 2038350 h 2263775"/>
              <a:gd name="connsiteX15" fmla="*/ 708025 w 1260475"/>
              <a:gd name="connsiteY15" fmla="*/ 2003425 h 2263775"/>
              <a:gd name="connsiteX16" fmla="*/ 660400 w 1260475"/>
              <a:gd name="connsiteY16" fmla="*/ 1990725 h 2263775"/>
              <a:gd name="connsiteX17" fmla="*/ 622300 w 1260475"/>
              <a:gd name="connsiteY17" fmla="*/ 1968500 h 2263775"/>
              <a:gd name="connsiteX18" fmla="*/ 587375 w 1260475"/>
              <a:gd name="connsiteY18" fmla="*/ 1971675 h 2263775"/>
              <a:gd name="connsiteX19" fmla="*/ 571500 w 1260475"/>
              <a:gd name="connsiteY19" fmla="*/ 1949450 h 2263775"/>
              <a:gd name="connsiteX20" fmla="*/ 527050 w 1260475"/>
              <a:gd name="connsiteY20" fmla="*/ 1936750 h 2263775"/>
              <a:gd name="connsiteX21" fmla="*/ 501650 w 1260475"/>
              <a:gd name="connsiteY21" fmla="*/ 1943100 h 2263775"/>
              <a:gd name="connsiteX22" fmla="*/ 454025 w 1260475"/>
              <a:gd name="connsiteY22" fmla="*/ 1936750 h 2263775"/>
              <a:gd name="connsiteX23" fmla="*/ 409575 w 1260475"/>
              <a:gd name="connsiteY23" fmla="*/ 1952625 h 2263775"/>
              <a:gd name="connsiteX24" fmla="*/ 342900 w 1260475"/>
              <a:gd name="connsiteY24" fmla="*/ 1946275 h 2263775"/>
              <a:gd name="connsiteX25" fmla="*/ 342900 w 1260475"/>
              <a:gd name="connsiteY25" fmla="*/ 1946275 h 2263775"/>
              <a:gd name="connsiteX26" fmla="*/ 288925 w 1260475"/>
              <a:gd name="connsiteY26" fmla="*/ 1952625 h 2263775"/>
              <a:gd name="connsiteX27" fmla="*/ 301625 w 1260475"/>
              <a:gd name="connsiteY27" fmla="*/ 1927225 h 2263775"/>
              <a:gd name="connsiteX28" fmla="*/ 279400 w 1260475"/>
              <a:gd name="connsiteY28" fmla="*/ 1917700 h 2263775"/>
              <a:gd name="connsiteX29" fmla="*/ 298450 w 1260475"/>
              <a:gd name="connsiteY29" fmla="*/ 1857375 h 2263775"/>
              <a:gd name="connsiteX30" fmla="*/ 273050 w 1260475"/>
              <a:gd name="connsiteY30" fmla="*/ 1803400 h 2263775"/>
              <a:gd name="connsiteX31" fmla="*/ 228600 w 1260475"/>
              <a:gd name="connsiteY31" fmla="*/ 1762125 h 2263775"/>
              <a:gd name="connsiteX32" fmla="*/ 184150 w 1260475"/>
              <a:gd name="connsiteY32" fmla="*/ 1739900 h 2263775"/>
              <a:gd name="connsiteX33" fmla="*/ 139700 w 1260475"/>
              <a:gd name="connsiteY33" fmla="*/ 1803400 h 2263775"/>
              <a:gd name="connsiteX34" fmla="*/ 82550 w 1260475"/>
              <a:gd name="connsiteY34" fmla="*/ 1860550 h 2263775"/>
              <a:gd name="connsiteX35" fmla="*/ 44450 w 1260475"/>
              <a:gd name="connsiteY35" fmla="*/ 1870075 h 2263775"/>
              <a:gd name="connsiteX36" fmla="*/ 0 w 1260475"/>
              <a:gd name="connsiteY36" fmla="*/ 1847850 h 2263775"/>
              <a:gd name="connsiteX37" fmla="*/ 352425 w 1260475"/>
              <a:gd name="connsiteY37" fmla="*/ 869950 h 2263775"/>
              <a:gd name="connsiteX38" fmla="*/ 365125 w 1260475"/>
              <a:gd name="connsiteY38" fmla="*/ 806450 h 2263775"/>
              <a:gd name="connsiteX39" fmla="*/ 346075 w 1260475"/>
              <a:gd name="connsiteY39" fmla="*/ 765175 h 2263775"/>
              <a:gd name="connsiteX40" fmla="*/ 371475 w 1260475"/>
              <a:gd name="connsiteY40" fmla="*/ 739775 h 2263775"/>
              <a:gd name="connsiteX41" fmla="*/ 400050 w 1260475"/>
              <a:gd name="connsiteY41" fmla="*/ 692150 h 2263775"/>
              <a:gd name="connsiteX42" fmla="*/ 428625 w 1260475"/>
              <a:gd name="connsiteY42" fmla="*/ 701675 h 2263775"/>
              <a:gd name="connsiteX43" fmla="*/ 501650 w 1260475"/>
              <a:gd name="connsiteY43" fmla="*/ 660400 h 2263775"/>
              <a:gd name="connsiteX44" fmla="*/ 517525 w 1260475"/>
              <a:gd name="connsiteY44" fmla="*/ 603250 h 2263775"/>
              <a:gd name="connsiteX45" fmla="*/ 530225 w 1260475"/>
              <a:gd name="connsiteY45" fmla="*/ 546100 h 2263775"/>
              <a:gd name="connsiteX46" fmla="*/ 565150 w 1260475"/>
              <a:gd name="connsiteY46" fmla="*/ 482600 h 2263775"/>
              <a:gd name="connsiteX47" fmla="*/ 631825 w 1260475"/>
              <a:gd name="connsiteY47" fmla="*/ 444500 h 2263775"/>
              <a:gd name="connsiteX48" fmla="*/ 669925 w 1260475"/>
              <a:gd name="connsiteY48" fmla="*/ 428625 h 2263775"/>
              <a:gd name="connsiteX49" fmla="*/ 685800 w 1260475"/>
              <a:gd name="connsiteY49" fmla="*/ 390525 h 2263775"/>
              <a:gd name="connsiteX50" fmla="*/ 695325 w 1260475"/>
              <a:gd name="connsiteY50" fmla="*/ 352425 h 2263775"/>
              <a:gd name="connsiteX51" fmla="*/ 746125 w 1260475"/>
              <a:gd name="connsiteY51" fmla="*/ 320675 h 2263775"/>
              <a:gd name="connsiteX52" fmla="*/ 742950 w 1260475"/>
              <a:gd name="connsiteY52" fmla="*/ 276225 h 2263775"/>
              <a:gd name="connsiteX53" fmla="*/ 784225 w 1260475"/>
              <a:gd name="connsiteY53" fmla="*/ 222250 h 2263775"/>
              <a:gd name="connsiteX54" fmla="*/ 812800 w 1260475"/>
              <a:gd name="connsiteY54" fmla="*/ 171450 h 2263775"/>
              <a:gd name="connsiteX55" fmla="*/ 784225 w 1260475"/>
              <a:gd name="connsiteY55" fmla="*/ 104775 h 2263775"/>
              <a:gd name="connsiteX56" fmla="*/ 762000 w 1260475"/>
              <a:gd name="connsiteY56" fmla="*/ 57150 h 2263775"/>
              <a:gd name="connsiteX57" fmla="*/ 787400 w 1260475"/>
              <a:gd name="connsiteY57" fmla="*/ 0 h 2263775"/>
              <a:gd name="connsiteX0" fmla="*/ 1216025 w 1216025"/>
              <a:gd name="connsiteY0" fmla="*/ 2263775 h 2263775"/>
              <a:gd name="connsiteX1" fmla="*/ 1200150 w 1216025"/>
              <a:gd name="connsiteY1" fmla="*/ 2206625 h 2263775"/>
              <a:gd name="connsiteX2" fmla="*/ 1168400 w 1216025"/>
              <a:gd name="connsiteY2" fmla="*/ 2162175 h 2263775"/>
              <a:gd name="connsiteX3" fmla="*/ 1130300 w 1216025"/>
              <a:gd name="connsiteY3" fmla="*/ 2149475 h 2263775"/>
              <a:gd name="connsiteX4" fmla="*/ 1076325 w 1216025"/>
              <a:gd name="connsiteY4" fmla="*/ 2152650 h 2263775"/>
              <a:gd name="connsiteX5" fmla="*/ 1035050 w 1216025"/>
              <a:gd name="connsiteY5" fmla="*/ 2149475 h 2263775"/>
              <a:gd name="connsiteX6" fmla="*/ 1000125 w 1216025"/>
              <a:gd name="connsiteY6" fmla="*/ 2130425 h 2263775"/>
              <a:gd name="connsiteX7" fmla="*/ 971550 w 1216025"/>
              <a:gd name="connsiteY7" fmla="*/ 2143125 h 2263775"/>
              <a:gd name="connsiteX8" fmla="*/ 920750 w 1216025"/>
              <a:gd name="connsiteY8" fmla="*/ 2130425 h 2263775"/>
              <a:gd name="connsiteX9" fmla="*/ 885825 w 1216025"/>
              <a:gd name="connsiteY9" fmla="*/ 2117725 h 2263775"/>
              <a:gd name="connsiteX10" fmla="*/ 869950 w 1216025"/>
              <a:gd name="connsiteY10" fmla="*/ 2111375 h 2263775"/>
              <a:gd name="connsiteX11" fmla="*/ 809625 w 1216025"/>
              <a:gd name="connsiteY11" fmla="*/ 2117725 h 2263775"/>
              <a:gd name="connsiteX12" fmla="*/ 755650 w 1216025"/>
              <a:gd name="connsiteY12" fmla="*/ 2073275 h 2263775"/>
              <a:gd name="connsiteX13" fmla="*/ 723900 w 1216025"/>
              <a:gd name="connsiteY13" fmla="*/ 2051050 h 2263775"/>
              <a:gd name="connsiteX14" fmla="*/ 688975 w 1216025"/>
              <a:gd name="connsiteY14" fmla="*/ 2038350 h 2263775"/>
              <a:gd name="connsiteX15" fmla="*/ 663575 w 1216025"/>
              <a:gd name="connsiteY15" fmla="*/ 2003425 h 2263775"/>
              <a:gd name="connsiteX16" fmla="*/ 615950 w 1216025"/>
              <a:gd name="connsiteY16" fmla="*/ 1990725 h 2263775"/>
              <a:gd name="connsiteX17" fmla="*/ 577850 w 1216025"/>
              <a:gd name="connsiteY17" fmla="*/ 1968500 h 2263775"/>
              <a:gd name="connsiteX18" fmla="*/ 542925 w 1216025"/>
              <a:gd name="connsiteY18" fmla="*/ 1971675 h 2263775"/>
              <a:gd name="connsiteX19" fmla="*/ 527050 w 1216025"/>
              <a:gd name="connsiteY19" fmla="*/ 1949450 h 2263775"/>
              <a:gd name="connsiteX20" fmla="*/ 482600 w 1216025"/>
              <a:gd name="connsiteY20" fmla="*/ 1936750 h 2263775"/>
              <a:gd name="connsiteX21" fmla="*/ 457200 w 1216025"/>
              <a:gd name="connsiteY21" fmla="*/ 1943100 h 2263775"/>
              <a:gd name="connsiteX22" fmla="*/ 409575 w 1216025"/>
              <a:gd name="connsiteY22" fmla="*/ 1936750 h 2263775"/>
              <a:gd name="connsiteX23" fmla="*/ 365125 w 1216025"/>
              <a:gd name="connsiteY23" fmla="*/ 1952625 h 2263775"/>
              <a:gd name="connsiteX24" fmla="*/ 298450 w 1216025"/>
              <a:gd name="connsiteY24" fmla="*/ 1946275 h 2263775"/>
              <a:gd name="connsiteX25" fmla="*/ 298450 w 1216025"/>
              <a:gd name="connsiteY25" fmla="*/ 1946275 h 2263775"/>
              <a:gd name="connsiteX26" fmla="*/ 244475 w 1216025"/>
              <a:gd name="connsiteY26" fmla="*/ 1952625 h 2263775"/>
              <a:gd name="connsiteX27" fmla="*/ 257175 w 1216025"/>
              <a:gd name="connsiteY27" fmla="*/ 1927225 h 2263775"/>
              <a:gd name="connsiteX28" fmla="*/ 234950 w 1216025"/>
              <a:gd name="connsiteY28" fmla="*/ 1917700 h 2263775"/>
              <a:gd name="connsiteX29" fmla="*/ 254000 w 1216025"/>
              <a:gd name="connsiteY29" fmla="*/ 1857375 h 2263775"/>
              <a:gd name="connsiteX30" fmla="*/ 228600 w 1216025"/>
              <a:gd name="connsiteY30" fmla="*/ 1803400 h 2263775"/>
              <a:gd name="connsiteX31" fmla="*/ 184150 w 1216025"/>
              <a:gd name="connsiteY31" fmla="*/ 1762125 h 2263775"/>
              <a:gd name="connsiteX32" fmla="*/ 139700 w 1216025"/>
              <a:gd name="connsiteY32" fmla="*/ 1739900 h 2263775"/>
              <a:gd name="connsiteX33" fmla="*/ 95250 w 1216025"/>
              <a:gd name="connsiteY33" fmla="*/ 1803400 h 2263775"/>
              <a:gd name="connsiteX34" fmla="*/ 38100 w 1216025"/>
              <a:gd name="connsiteY34" fmla="*/ 1860550 h 2263775"/>
              <a:gd name="connsiteX35" fmla="*/ 0 w 1216025"/>
              <a:gd name="connsiteY35" fmla="*/ 1870075 h 2263775"/>
              <a:gd name="connsiteX36" fmla="*/ 307975 w 1216025"/>
              <a:gd name="connsiteY36" fmla="*/ 869950 h 2263775"/>
              <a:gd name="connsiteX37" fmla="*/ 320675 w 1216025"/>
              <a:gd name="connsiteY37" fmla="*/ 806450 h 2263775"/>
              <a:gd name="connsiteX38" fmla="*/ 301625 w 1216025"/>
              <a:gd name="connsiteY38" fmla="*/ 765175 h 2263775"/>
              <a:gd name="connsiteX39" fmla="*/ 327025 w 1216025"/>
              <a:gd name="connsiteY39" fmla="*/ 739775 h 2263775"/>
              <a:gd name="connsiteX40" fmla="*/ 355600 w 1216025"/>
              <a:gd name="connsiteY40" fmla="*/ 692150 h 2263775"/>
              <a:gd name="connsiteX41" fmla="*/ 384175 w 1216025"/>
              <a:gd name="connsiteY41" fmla="*/ 701675 h 2263775"/>
              <a:gd name="connsiteX42" fmla="*/ 457200 w 1216025"/>
              <a:gd name="connsiteY42" fmla="*/ 660400 h 2263775"/>
              <a:gd name="connsiteX43" fmla="*/ 473075 w 1216025"/>
              <a:gd name="connsiteY43" fmla="*/ 603250 h 2263775"/>
              <a:gd name="connsiteX44" fmla="*/ 485775 w 1216025"/>
              <a:gd name="connsiteY44" fmla="*/ 546100 h 2263775"/>
              <a:gd name="connsiteX45" fmla="*/ 520700 w 1216025"/>
              <a:gd name="connsiteY45" fmla="*/ 482600 h 2263775"/>
              <a:gd name="connsiteX46" fmla="*/ 587375 w 1216025"/>
              <a:gd name="connsiteY46" fmla="*/ 444500 h 2263775"/>
              <a:gd name="connsiteX47" fmla="*/ 625475 w 1216025"/>
              <a:gd name="connsiteY47" fmla="*/ 428625 h 2263775"/>
              <a:gd name="connsiteX48" fmla="*/ 641350 w 1216025"/>
              <a:gd name="connsiteY48" fmla="*/ 390525 h 2263775"/>
              <a:gd name="connsiteX49" fmla="*/ 650875 w 1216025"/>
              <a:gd name="connsiteY49" fmla="*/ 352425 h 2263775"/>
              <a:gd name="connsiteX50" fmla="*/ 701675 w 1216025"/>
              <a:gd name="connsiteY50" fmla="*/ 320675 h 2263775"/>
              <a:gd name="connsiteX51" fmla="*/ 698500 w 1216025"/>
              <a:gd name="connsiteY51" fmla="*/ 276225 h 2263775"/>
              <a:gd name="connsiteX52" fmla="*/ 739775 w 1216025"/>
              <a:gd name="connsiteY52" fmla="*/ 222250 h 2263775"/>
              <a:gd name="connsiteX53" fmla="*/ 768350 w 1216025"/>
              <a:gd name="connsiteY53" fmla="*/ 171450 h 2263775"/>
              <a:gd name="connsiteX54" fmla="*/ 739775 w 1216025"/>
              <a:gd name="connsiteY54" fmla="*/ 104775 h 2263775"/>
              <a:gd name="connsiteX55" fmla="*/ 717550 w 1216025"/>
              <a:gd name="connsiteY55" fmla="*/ 57150 h 2263775"/>
              <a:gd name="connsiteX56" fmla="*/ 742950 w 1216025"/>
              <a:gd name="connsiteY56" fmla="*/ 0 h 2263775"/>
              <a:gd name="connsiteX0" fmla="*/ 1177925 w 1177925"/>
              <a:gd name="connsiteY0" fmla="*/ 2263775 h 2263775"/>
              <a:gd name="connsiteX1" fmla="*/ 1162050 w 1177925"/>
              <a:gd name="connsiteY1" fmla="*/ 2206625 h 2263775"/>
              <a:gd name="connsiteX2" fmla="*/ 1130300 w 1177925"/>
              <a:gd name="connsiteY2" fmla="*/ 2162175 h 2263775"/>
              <a:gd name="connsiteX3" fmla="*/ 1092200 w 1177925"/>
              <a:gd name="connsiteY3" fmla="*/ 2149475 h 2263775"/>
              <a:gd name="connsiteX4" fmla="*/ 1038225 w 1177925"/>
              <a:gd name="connsiteY4" fmla="*/ 2152650 h 2263775"/>
              <a:gd name="connsiteX5" fmla="*/ 996950 w 1177925"/>
              <a:gd name="connsiteY5" fmla="*/ 2149475 h 2263775"/>
              <a:gd name="connsiteX6" fmla="*/ 962025 w 1177925"/>
              <a:gd name="connsiteY6" fmla="*/ 2130425 h 2263775"/>
              <a:gd name="connsiteX7" fmla="*/ 933450 w 1177925"/>
              <a:gd name="connsiteY7" fmla="*/ 2143125 h 2263775"/>
              <a:gd name="connsiteX8" fmla="*/ 882650 w 1177925"/>
              <a:gd name="connsiteY8" fmla="*/ 2130425 h 2263775"/>
              <a:gd name="connsiteX9" fmla="*/ 847725 w 1177925"/>
              <a:gd name="connsiteY9" fmla="*/ 2117725 h 2263775"/>
              <a:gd name="connsiteX10" fmla="*/ 831850 w 1177925"/>
              <a:gd name="connsiteY10" fmla="*/ 2111375 h 2263775"/>
              <a:gd name="connsiteX11" fmla="*/ 771525 w 1177925"/>
              <a:gd name="connsiteY11" fmla="*/ 2117725 h 2263775"/>
              <a:gd name="connsiteX12" fmla="*/ 717550 w 1177925"/>
              <a:gd name="connsiteY12" fmla="*/ 2073275 h 2263775"/>
              <a:gd name="connsiteX13" fmla="*/ 685800 w 1177925"/>
              <a:gd name="connsiteY13" fmla="*/ 2051050 h 2263775"/>
              <a:gd name="connsiteX14" fmla="*/ 650875 w 1177925"/>
              <a:gd name="connsiteY14" fmla="*/ 2038350 h 2263775"/>
              <a:gd name="connsiteX15" fmla="*/ 625475 w 1177925"/>
              <a:gd name="connsiteY15" fmla="*/ 2003425 h 2263775"/>
              <a:gd name="connsiteX16" fmla="*/ 577850 w 1177925"/>
              <a:gd name="connsiteY16" fmla="*/ 1990725 h 2263775"/>
              <a:gd name="connsiteX17" fmla="*/ 539750 w 1177925"/>
              <a:gd name="connsiteY17" fmla="*/ 1968500 h 2263775"/>
              <a:gd name="connsiteX18" fmla="*/ 504825 w 1177925"/>
              <a:gd name="connsiteY18" fmla="*/ 1971675 h 2263775"/>
              <a:gd name="connsiteX19" fmla="*/ 488950 w 1177925"/>
              <a:gd name="connsiteY19" fmla="*/ 1949450 h 2263775"/>
              <a:gd name="connsiteX20" fmla="*/ 444500 w 1177925"/>
              <a:gd name="connsiteY20" fmla="*/ 1936750 h 2263775"/>
              <a:gd name="connsiteX21" fmla="*/ 419100 w 1177925"/>
              <a:gd name="connsiteY21" fmla="*/ 1943100 h 2263775"/>
              <a:gd name="connsiteX22" fmla="*/ 371475 w 1177925"/>
              <a:gd name="connsiteY22" fmla="*/ 1936750 h 2263775"/>
              <a:gd name="connsiteX23" fmla="*/ 327025 w 1177925"/>
              <a:gd name="connsiteY23" fmla="*/ 1952625 h 2263775"/>
              <a:gd name="connsiteX24" fmla="*/ 260350 w 1177925"/>
              <a:gd name="connsiteY24" fmla="*/ 1946275 h 2263775"/>
              <a:gd name="connsiteX25" fmla="*/ 260350 w 1177925"/>
              <a:gd name="connsiteY25" fmla="*/ 1946275 h 2263775"/>
              <a:gd name="connsiteX26" fmla="*/ 206375 w 1177925"/>
              <a:gd name="connsiteY26" fmla="*/ 1952625 h 2263775"/>
              <a:gd name="connsiteX27" fmla="*/ 219075 w 1177925"/>
              <a:gd name="connsiteY27" fmla="*/ 1927225 h 2263775"/>
              <a:gd name="connsiteX28" fmla="*/ 196850 w 1177925"/>
              <a:gd name="connsiteY28" fmla="*/ 1917700 h 2263775"/>
              <a:gd name="connsiteX29" fmla="*/ 215900 w 1177925"/>
              <a:gd name="connsiteY29" fmla="*/ 1857375 h 2263775"/>
              <a:gd name="connsiteX30" fmla="*/ 190500 w 1177925"/>
              <a:gd name="connsiteY30" fmla="*/ 1803400 h 2263775"/>
              <a:gd name="connsiteX31" fmla="*/ 146050 w 1177925"/>
              <a:gd name="connsiteY31" fmla="*/ 1762125 h 2263775"/>
              <a:gd name="connsiteX32" fmla="*/ 101600 w 1177925"/>
              <a:gd name="connsiteY32" fmla="*/ 1739900 h 2263775"/>
              <a:gd name="connsiteX33" fmla="*/ 57150 w 1177925"/>
              <a:gd name="connsiteY33" fmla="*/ 1803400 h 2263775"/>
              <a:gd name="connsiteX34" fmla="*/ 0 w 1177925"/>
              <a:gd name="connsiteY34" fmla="*/ 1860550 h 2263775"/>
              <a:gd name="connsiteX35" fmla="*/ 269875 w 1177925"/>
              <a:gd name="connsiteY35" fmla="*/ 869950 h 2263775"/>
              <a:gd name="connsiteX36" fmla="*/ 282575 w 1177925"/>
              <a:gd name="connsiteY36" fmla="*/ 806450 h 2263775"/>
              <a:gd name="connsiteX37" fmla="*/ 263525 w 1177925"/>
              <a:gd name="connsiteY37" fmla="*/ 765175 h 2263775"/>
              <a:gd name="connsiteX38" fmla="*/ 288925 w 1177925"/>
              <a:gd name="connsiteY38" fmla="*/ 739775 h 2263775"/>
              <a:gd name="connsiteX39" fmla="*/ 317500 w 1177925"/>
              <a:gd name="connsiteY39" fmla="*/ 692150 h 2263775"/>
              <a:gd name="connsiteX40" fmla="*/ 346075 w 1177925"/>
              <a:gd name="connsiteY40" fmla="*/ 701675 h 2263775"/>
              <a:gd name="connsiteX41" fmla="*/ 419100 w 1177925"/>
              <a:gd name="connsiteY41" fmla="*/ 660400 h 2263775"/>
              <a:gd name="connsiteX42" fmla="*/ 434975 w 1177925"/>
              <a:gd name="connsiteY42" fmla="*/ 603250 h 2263775"/>
              <a:gd name="connsiteX43" fmla="*/ 447675 w 1177925"/>
              <a:gd name="connsiteY43" fmla="*/ 546100 h 2263775"/>
              <a:gd name="connsiteX44" fmla="*/ 482600 w 1177925"/>
              <a:gd name="connsiteY44" fmla="*/ 482600 h 2263775"/>
              <a:gd name="connsiteX45" fmla="*/ 549275 w 1177925"/>
              <a:gd name="connsiteY45" fmla="*/ 444500 h 2263775"/>
              <a:gd name="connsiteX46" fmla="*/ 587375 w 1177925"/>
              <a:gd name="connsiteY46" fmla="*/ 428625 h 2263775"/>
              <a:gd name="connsiteX47" fmla="*/ 603250 w 1177925"/>
              <a:gd name="connsiteY47" fmla="*/ 390525 h 2263775"/>
              <a:gd name="connsiteX48" fmla="*/ 612775 w 1177925"/>
              <a:gd name="connsiteY48" fmla="*/ 352425 h 2263775"/>
              <a:gd name="connsiteX49" fmla="*/ 663575 w 1177925"/>
              <a:gd name="connsiteY49" fmla="*/ 320675 h 2263775"/>
              <a:gd name="connsiteX50" fmla="*/ 660400 w 1177925"/>
              <a:gd name="connsiteY50" fmla="*/ 276225 h 2263775"/>
              <a:gd name="connsiteX51" fmla="*/ 701675 w 1177925"/>
              <a:gd name="connsiteY51" fmla="*/ 222250 h 2263775"/>
              <a:gd name="connsiteX52" fmla="*/ 730250 w 1177925"/>
              <a:gd name="connsiteY52" fmla="*/ 171450 h 2263775"/>
              <a:gd name="connsiteX53" fmla="*/ 701675 w 1177925"/>
              <a:gd name="connsiteY53" fmla="*/ 104775 h 2263775"/>
              <a:gd name="connsiteX54" fmla="*/ 679450 w 1177925"/>
              <a:gd name="connsiteY54" fmla="*/ 57150 h 2263775"/>
              <a:gd name="connsiteX55" fmla="*/ 704850 w 1177925"/>
              <a:gd name="connsiteY55" fmla="*/ 0 h 2263775"/>
              <a:gd name="connsiteX0" fmla="*/ 1120775 w 1120775"/>
              <a:gd name="connsiteY0" fmla="*/ 2263775 h 2263775"/>
              <a:gd name="connsiteX1" fmla="*/ 1104900 w 1120775"/>
              <a:gd name="connsiteY1" fmla="*/ 2206625 h 2263775"/>
              <a:gd name="connsiteX2" fmla="*/ 1073150 w 1120775"/>
              <a:gd name="connsiteY2" fmla="*/ 2162175 h 2263775"/>
              <a:gd name="connsiteX3" fmla="*/ 1035050 w 1120775"/>
              <a:gd name="connsiteY3" fmla="*/ 2149475 h 2263775"/>
              <a:gd name="connsiteX4" fmla="*/ 981075 w 1120775"/>
              <a:gd name="connsiteY4" fmla="*/ 2152650 h 2263775"/>
              <a:gd name="connsiteX5" fmla="*/ 939800 w 1120775"/>
              <a:gd name="connsiteY5" fmla="*/ 2149475 h 2263775"/>
              <a:gd name="connsiteX6" fmla="*/ 904875 w 1120775"/>
              <a:gd name="connsiteY6" fmla="*/ 2130425 h 2263775"/>
              <a:gd name="connsiteX7" fmla="*/ 876300 w 1120775"/>
              <a:gd name="connsiteY7" fmla="*/ 2143125 h 2263775"/>
              <a:gd name="connsiteX8" fmla="*/ 825500 w 1120775"/>
              <a:gd name="connsiteY8" fmla="*/ 2130425 h 2263775"/>
              <a:gd name="connsiteX9" fmla="*/ 790575 w 1120775"/>
              <a:gd name="connsiteY9" fmla="*/ 2117725 h 2263775"/>
              <a:gd name="connsiteX10" fmla="*/ 774700 w 1120775"/>
              <a:gd name="connsiteY10" fmla="*/ 2111375 h 2263775"/>
              <a:gd name="connsiteX11" fmla="*/ 714375 w 1120775"/>
              <a:gd name="connsiteY11" fmla="*/ 2117725 h 2263775"/>
              <a:gd name="connsiteX12" fmla="*/ 660400 w 1120775"/>
              <a:gd name="connsiteY12" fmla="*/ 2073275 h 2263775"/>
              <a:gd name="connsiteX13" fmla="*/ 628650 w 1120775"/>
              <a:gd name="connsiteY13" fmla="*/ 2051050 h 2263775"/>
              <a:gd name="connsiteX14" fmla="*/ 593725 w 1120775"/>
              <a:gd name="connsiteY14" fmla="*/ 2038350 h 2263775"/>
              <a:gd name="connsiteX15" fmla="*/ 568325 w 1120775"/>
              <a:gd name="connsiteY15" fmla="*/ 2003425 h 2263775"/>
              <a:gd name="connsiteX16" fmla="*/ 520700 w 1120775"/>
              <a:gd name="connsiteY16" fmla="*/ 1990725 h 2263775"/>
              <a:gd name="connsiteX17" fmla="*/ 482600 w 1120775"/>
              <a:gd name="connsiteY17" fmla="*/ 1968500 h 2263775"/>
              <a:gd name="connsiteX18" fmla="*/ 447675 w 1120775"/>
              <a:gd name="connsiteY18" fmla="*/ 1971675 h 2263775"/>
              <a:gd name="connsiteX19" fmla="*/ 431800 w 1120775"/>
              <a:gd name="connsiteY19" fmla="*/ 1949450 h 2263775"/>
              <a:gd name="connsiteX20" fmla="*/ 387350 w 1120775"/>
              <a:gd name="connsiteY20" fmla="*/ 1936750 h 2263775"/>
              <a:gd name="connsiteX21" fmla="*/ 361950 w 1120775"/>
              <a:gd name="connsiteY21" fmla="*/ 1943100 h 2263775"/>
              <a:gd name="connsiteX22" fmla="*/ 314325 w 1120775"/>
              <a:gd name="connsiteY22" fmla="*/ 1936750 h 2263775"/>
              <a:gd name="connsiteX23" fmla="*/ 269875 w 1120775"/>
              <a:gd name="connsiteY23" fmla="*/ 1952625 h 2263775"/>
              <a:gd name="connsiteX24" fmla="*/ 203200 w 1120775"/>
              <a:gd name="connsiteY24" fmla="*/ 1946275 h 2263775"/>
              <a:gd name="connsiteX25" fmla="*/ 203200 w 1120775"/>
              <a:gd name="connsiteY25" fmla="*/ 1946275 h 2263775"/>
              <a:gd name="connsiteX26" fmla="*/ 149225 w 1120775"/>
              <a:gd name="connsiteY26" fmla="*/ 1952625 h 2263775"/>
              <a:gd name="connsiteX27" fmla="*/ 161925 w 1120775"/>
              <a:gd name="connsiteY27" fmla="*/ 1927225 h 2263775"/>
              <a:gd name="connsiteX28" fmla="*/ 139700 w 1120775"/>
              <a:gd name="connsiteY28" fmla="*/ 1917700 h 2263775"/>
              <a:gd name="connsiteX29" fmla="*/ 158750 w 1120775"/>
              <a:gd name="connsiteY29" fmla="*/ 1857375 h 2263775"/>
              <a:gd name="connsiteX30" fmla="*/ 133350 w 1120775"/>
              <a:gd name="connsiteY30" fmla="*/ 1803400 h 2263775"/>
              <a:gd name="connsiteX31" fmla="*/ 88900 w 1120775"/>
              <a:gd name="connsiteY31" fmla="*/ 1762125 h 2263775"/>
              <a:gd name="connsiteX32" fmla="*/ 44450 w 1120775"/>
              <a:gd name="connsiteY32" fmla="*/ 1739900 h 2263775"/>
              <a:gd name="connsiteX33" fmla="*/ 0 w 1120775"/>
              <a:gd name="connsiteY33" fmla="*/ 1803400 h 2263775"/>
              <a:gd name="connsiteX34" fmla="*/ 212725 w 1120775"/>
              <a:gd name="connsiteY34" fmla="*/ 869950 h 2263775"/>
              <a:gd name="connsiteX35" fmla="*/ 225425 w 1120775"/>
              <a:gd name="connsiteY35" fmla="*/ 806450 h 2263775"/>
              <a:gd name="connsiteX36" fmla="*/ 206375 w 1120775"/>
              <a:gd name="connsiteY36" fmla="*/ 765175 h 2263775"/>
              <a:gd name="connsiteX37" fmla="*/ 231775 w 1120775"/>
              <a:gd name="connsiteY37" fmla="*/ 739775 h 2263775"/>
              <a:gd name="connsiteX38" fmla="*/ 260350 w 1120775"/>
              <a:gd name="connsiteY38" fmla="*/ 692150 h 2263775"/>
              <a:gd name="connsiteX39" fmla="*/ 288925 w 1120775"/>
              <a:gd name="connsiteY39" fmla="*/ 701675 h 2263775"/>
              <a:gd name="connsiteX40" fmla="*/ 361950 w 1120775"/>
              <a:gd name="connsiteY40" fmla="*/ 660400 h 2263775"/>
              <a:gd name="connsiteX41" fmla="*/ 377825 w 1120775"/>
              <a:gd name="connsiteY41" fmla="*/ 603250 h 2263775"/>
              <a:gd name="connsiteX42" fmla="*/ 390525 w 1120775"/>
              <a:gd name="connsiteY42" fmla="*/ 546100 h 2263775"/>
              <a:gd name="connsiteX43" fmla="*/ 425450 w 1120775"/>
              <a:gd name="connsiteY43" fmla="*/ 482600 h 2263775"/>
              <a:gd name="connsiteX44" fmla="*/ 492125 w 1120775"/>
              <a:gd name="connsiteY44" fmla="*/ 444500 h 2263775"/>
              <a:gd name="connsiteX45" fmla="*/ 530225 w 1120775"/>
              <a:gd name="connsiteY45" fmla="*/ 428625 h 2263775"/>
              <a:gd name="connsiteX46" fmla="*/ 546100 w 1120775"/>
              <a:gd name="connsiteY46" fmla="*/ 390525 h 2263775"/>
              <a:gd name="connsiteX47" fmla="*/ 555625 w 1120775"/>
              <a:gd name="connsiteY47" fmla="*/ 352425 h 2263775"/>
              <a:gd name="connsiteX48" fmla="*/ 606425 w 1120775"/>
              <a:gd name="connsiteY48" fmla="*/ 320675 h 2263775"/>
              <a:gd name="connsiteX49" fmla="*/ 603250 w 1120775"/>
              <a:gd name="connsiteY49" fmla="*/ 276225 h 2263775"/>
              <a:gd name="connsiteX50" fmla="*/ 644525 w 1120775"/>
              <a:gd name="connsiteY50" fmla="*/ 222250 h 2263775"/>
              <a:gd name="connsiteX51" fmla="*/ 673100 w 1120775"/>
              <a:gd name="connsiteY51" fmla="*/ 171450 h 2263775"/>
              <a:gd name="connsiteX52" fmla="*/ 644525 w 1120775"/>
              <a:gd name="connsiteY52" fmla="*/ 104775 h 2263775"/>
              <a:gd name="connsiteX53" fmla="*/ 622300 w 1120775"/>
              <a:gd name="connsiteY53" fmla="*/ 57150 h 2263775"/>
              <a:gd name="connsiteX54" fmla="*/ 647700 w 1120775"/>
              <a:gd name="connsiteY54" fmla="*/ 0 h 2263775"/>
              <a:gd name="connsiteX0" fmla="*/ 1076325 w 1076325"/>
              <a:gd name="connsiteY0" fmla="*/ 2263775 h 2263775"/>
              <a:gd name="connsiteX1" fmla="*/ 1060450 w 1076325"/>
              <a:gd name="connsiteY1" fmla="*/ 2206625 h 2263775"/>
              <a:gd name="connsiteX2" fmla="*/ 1028700 w 1076325"/>
              <a:gd name="connsiteY2" fmla="*/ 2162175 h 2263775"/>
              <a:gd name="connsiteX3" fmla="*/ 990600 w 1076325"/>
              <a:gd name="connsiteY3" fmla="*/ 2149475 h 2263775"/>
              <a:gd name="connsiteX4" fmla="*/ 936625 w 1076325"/>
              <a:gd name="connsiteY4" fmla="*/ 2152650 h 2263775"/>
              <a:gd name="connsiteX5" fmla="*/ 895350 w 1076325"/>
              <a:gd name="connsiteY5" fmla="*/ 2149475 h 2263775"/>
              <a:gd name="connsiteX6" fmla="*/ 860425 w 1076325"/>
              <a:gd name="connsiteY6" fmla="*/ 2130425 h 2263775"/>
              <a:gd name="connsiteX7" fmla="*/ 831850 w 1076325"/>
              <a:gd name="connsiteY7" fmla="*/ 2143125 h 2263775"/>
              <a:gd name="connsiteX8" fmla="*/ 781050 w 1076325"/>
              <a:gd name="connsiteY8" fmla="*/ 2130425 h 2263775"/>
              <a:gd name="connsiteX9" fmla="*/ 746125 w 1076325"/>
              <a:gd name="connsiteY9" fmla="*/ 2117725 h 2263775"/>
              <a:gd name="connsiteX10" fmla="*/ 730250 w 1076325"/>
              <a:gd name="connsiteY10" fmla="*/ 2111375 h 2263775"/>
              <a:gd name="connsiteX11" fmla="*/ 669925 w 1076325"/>
              <a:gd name="connsiteY11" fmla="*/ 2117725 h 2263775"/>
              <a:gd name="connsiteX12" fmla="*/ 615950 w 1076325"/>
              <a:gd name="connsiteY12" fmla="*/ 2073275 h 2263775"/>
              <a:gd name="connsiteX13" fmla="*/ 584200 w 1076325"/>
              <a:gd name="connsiteY13" fmla="*/ 2051050 h 2263775"/>
              <a:gd name="connsiteX14" fmla="*/ 549275 w 1076325"/>
              <a:gd name="connsiteY14" fmla="*/ 2038350 h 2263775"/>
              <a:gd name="connsiteX15" fmla="*/ 523875 w 1076325"/>
              <a:gd name="connsiteY15" fmla="*/ 2003425 h 2263775"/>
              <a:gd name="connsiteX16" fmla="*/ 476250 w 1076325"/>
              <a:gd name="connsiteY16" fmla="*/ 1990725 h 2263775"/>
              <a:gd name="connsiteX17" fmla="*/ 438150 w 1076325"/>
              <a:gd name="connsiteY17" fmla="*/ 1968500 h 2263775"/>
              <a:gd name="connsiteX18" fmla="*/ 403225 w 1076325"/>
              <a:gd name="connsiteY18" fmla="*/ 1971675 h 2263775"/>
              <a:gd name="connsiteX19" fmla="*/ 387350 w 1076325"/>
              <a:gd name="connsiteY19" fmla="*/ 1949450 h 2263775"/>
              <a:gd name="connsiteX20" fmla="*/ 342900 w 1076325"/>
              <a:gd name="connsiteY20" fmla="*/ 1936750 h 2263775"/>
              <a:gd name="connsiteX21" fmla="*/ 317500 w 1076325"/>
              <a:gd name="connsiteY21" fmla="*/ 1943100 h 2263775"/>
              <a:gd name="connsiteX22" fmla="*/ 269875 w 1076325"/>
              <a:gd name="connsiteY22" fmla="*/ 1936750 h 2263775"/>
              <a:gd name="connsiteX23" fmla="*/ 225425 w 1076325"/>
              <a:gd name="connsiteY23" fmla="*/ 1952625 h 2263775"/>
              <a:gd name="connsiteX24" fmla="*/ 158750 w 1076325"/>
              <a:gd name="connsiteY24" fmla="*/ 1946275 h 2263775"/>
              <a:gd name="connsiteX25" fmla="*/ 158750 w 1076325"/>
              <a:gd name="connsiteY25" fmla="*/ 1946275 h 2263775"/>
              <a:gd name="connsiteX26" fmla="*/ 104775 w 1076325"/>
              <a:gd name="connsiteY26" fmla="*/ 1952625 h 2263775"/>
              <a:gd name="connsiteX27" fmla="*/ 117475 w 1076325"/>
              <a:gd name="connsiteY27" fmla="*/ 1927225 h 2263775"/>
              <a:gd name="connsiteX28" fmla="*/ 95250 w 1076325"/>
              <a:gd name="connsiteY28" fmla="*/ 1917700 h 2263775"/>
              <a:gd name="connsiteX29" fmla="*/ 114300 w 1076325"/>
              <a:gd name="connsiteY29" fmla="*/ 1857375 h 2263775"/>
              <a:gd name="connsiteX30" fmla="*/ 88900 w 1076325"/>
              <a:gd name="connsiteY30" fmla="*/ 1803400 h 2263775"/>
              <a:gd name="connsiteX31" fmla="*/ 44450 w 1076325"/>
              <a:gd name="connsiteY31" fmla="*/ 1762125 h 2263775"/>
              <a:gd name="connsiteX32" fmla="*/ 0 w 1076325"/>
              <a:gd name="connsiteY32" fmla="*/ 1739900 h 2263775"/>
              <a:gd name="connsiteX33" fmla="*/ 168275 w 1076325"/>
              <a:gd name="connsiteY33" fmla="*/ 869950 h 2263775"/>
              <a:gd name="connsiteX34" fmla="*/ 180975 w 1076325"/>
              <a:gd name="connsiteY34" fmla="*/ 806450 h 2263775"/>
              <a:gd name="connsiteX35" fmla="*/ 161925 w 1076325"/>
              <a:gd name="connsiteY35" fmla="*/ 765175 h 2263775"/>
              <a:gd name="connsiteX36" fmla="*/ 187325 w 1076325"/>
              <a:gd name="connsiteY36" fmla="*/ 739775 h 2263775"/>
              <a:gd name="connsiteX37" fmla="*/ 215900 w 1076325"/>
              <a:gd name="connsiteY37" fmla="*/ 692150 h 2263775"/>
              <a:gd name="connsiteX38" fmla="*/ 244475 w 1076325"/>
              <a:gd name="connsiteY38" fmla="*/ 701675 h 2263775"/>
              <a:gd name="connsiteX39" fmla="*/ 317500 w 1076325"/>
              <a:gd name="connsiteY39" fmla="*/ 660400 h 2263775"/>
              <a:gd name="connsiteX40" fmla="*/ 333375 w 1076325"/>
              <a:gd name="connsiteY40" fmla="*/ 603250 h 2263775"/>
              <a:gd name="connsiteX41" fmla="*/ 346075 w 1076325"/>
              <a:gd name="connsiteY41" fmla="*/ 546100 h 2263775"/>
              <a:gd name="connsiteX42" fmla="*/ 381000 w 1076325"/>
              <a:gd name="connsiteY42" fmla="*/ 482600 h 2263775"/>
              <a:gd name="connsiteX43" fmla="*/ 447675 w 1076325"/>
              <a:gd name="connsiteY43" fmla="*/ 444500 h 2263775"/>
              <a:gd name="connsiteX44" fmla="*/ 485775 w 1076325"/>
              <a:gd name="connsiteY44" fmla="*/ 428625 h 2263775"/>
              <a:gd name="connsiteX45" fmla="*/ 501650 w 1076325"/>
              <a:gd name="connsiteY45" fmla="*/ 390525 h 2263775"/>
              <a:gd name="connsiteX46" fmla="*/ 511175 w 1076325"/>
              <a:gd name="connsiteY46" fmla="*/ 352425 h 2263775"/>
              <a:gd name="connsiteX47" fmla="*/ 561975 w 1076325"/>
              <a:gd name="connsiteY47" fmla="*/ 320675 h 2263775"/>
              <a:gd name="connsiteX48" fmla="*/ 558800 w 1076325"/>
              <a:gd name="connsiteY48" fmla="*/ 276225 h 2263775"/>
              <a:gd name="connsiteX49" fmla="*/ 600075 w 1076325"/>
              <a:gd name="connsiteY49" fmla="*/ 222250 h 2263775"/>
              <a:gd name="connsiteX50" fmla="*/ 628650 w 1076325"/>
              <a:gd name="connsiteY50" fmla="*/ 171450 h 2263775"/>
              <a:gd name="connsiteX51" fmla="*/ 600075 w 1076325"/>
              <a:gd name="connsiteY51" fmla="*/ 104775 h 2263775"/>
              <a:gd name="connsiteX52" fmla="*/ 577850 w 1076325"/>
              <a:gd name="connsiteY52" fmla="*/ 57150 h 2263775"/>
              <a:gd name="connsiteX53" fmla="*/ 603250 w 1076325"/>
              <a:gd name="connsiteY53" fmla="*/ 0 h 2263775"/>
              <a:gd name="connsiteX0" fmla="*/ 1031875 w 1031875"/>
              <a:gd name="connsiteY0" fmla="*/ 2263775 h 2263775"/>
              <a:gd name="connsiteX1" fmla="*/ 1016000 w 1031875"/>
              <a:gd name="connsiteY1" fmla="*/ 2206625 h 2263775"/>
              <a:gd name="connsiteX2" fmla="*/ 984250 w 1031875"/>
              <a:gd name="connsiteY2" fmla="*/ 2162175 h 2263775"/>
              <a:gd name="connsiteX3" fmla="*/ 946150 w 1031875"/>
              <a:gd name="connsiteY3" fmla="*/ 2149475 h 2263775"/>
              <a:gd name="connsiteX4" fmla="*/ 892175 w 1031875"/>
              <a:gd name="connsiteY4" fmla="*/ 2152650 h 2263775"/>
              <a:gd name="connsiteX5" fmla="*/ 850900 w 1031875"/>
              <a:gd name="connsiteY5" fmla="*/ 2149475 h 2263775"/>
              <a:gd name="connsiteX6" fmla="*/ 815975 w 1031875"/>
              <a:gd name="connsiteY6" fmla="*/ 2130425 h 2263775"/>
              <a:gd name="connsiteX7" fmla="*/ 787400 w 1031875"/>
              <a:gd name="connsiteY7" fmla="*/ 2143125 h 2263775"/>
              <a:gd name="connsiteX8" fmla="*/ 736600 w 1031875"/>
              <a:gd name="connsiteY8" fmla="*/ 2130425 h 2263775"/>
              <a:gd name="connsiteX9" fmla="*/ 701675 w 1031875"/>
              <a:gd name="connsiteY9" fmla="*/ 2117725 h 2263775"/>
              <a:gd name="connsiteX10" fmla="*/ 685800 w 1031875"/>
              <a:gd name="connsiteY10" fmla="*/ 2111375 h 2263775"/>
              <a:gd name="connsiteX11" fmla="*/ 625475 w 1031875"/>
              <a:gd name="connsiteY11" fmla="*/ 2117725 h 2263775"/>
              <a:gd name="connsiteX12" fmla="*/ 571500 w 1031875"/>
              <a:gd name="connsiteY12" fmla="*/ 2073275 h 2263775"/>
              <a:gd name="connsiteX13" fmla="*/ 539750 w 1031875"/>
              <a:gd name="connsiteY13" fmla="*/ 2051050 h 2263775"/>
              <a:gd name="connsiteX14" fmla="*/ 504825 w 1031875"/>
              <a:gd name="connsiteY14" fmla="*/ 2038350 h 2263775"/>
              <a:gd name="connsiteX15" fmla="*/ 479425 w 1031875"/>
              <a:gd name="connsiteY15" fmla="*/ 2003425 h 2263775"/>
              <a:gd name="connsiteX16" fmla="*/ 431800 w 1031875"/>
              <a:gd name="connsiteY16" fmla="*/ 1990725 h 2263775"/>
              <a:gd name="connsiteX17" fmla="*/ 393700 w 1031875"/>
              <a:gd name="connsiteY17" fmla="*/ 1968500 h 2263775"/>
              <a:gd name="connsiteX18" fmla="*/ 358775 w 1031875"/>
              <a:gd name="connsiteY18" fmla="*/ 1971675 h 2263775"/>
              <a:gd name="connsiteX19" fmla="*/ 342900 w 1031875"/>
              <a:gd name="connsiteY19" fmla="*/ 1949450 h 2263775"/>
              <a:gd name="connsiteX20" fmla="*/ 298450 w 1031875"/>
              <a:gd name="connsiteY20" fmla="*/ 1936750 h 2263775"/>
              <a:gd name="connsiteX21" fmla="*/ 273050 w 1031875"/>
              <a:gd name="connsiteY21" fmla="*/ 1943100 h 2263775"/>
              <a:gd name="connsiteX22" fmla="*/ 225425 w 1031875"/>
              <a:gd name="connsiteY22" fmla="*/ 1936750 h 2263775"/>
              <a:gd name="connsiteX23" fmla="*/ 180975 w 1031875"/>
              <a:gd name="connsiteY23" fmla="*/ 1952625 h 2263775"/>
              <a:gd name="connsiteX24" fmla="*/ 114300 w 1031875"/>
              <a:gd name="connsiteY24" fmla="*/ 1946275 h 2263775"/>
              <a:gd name="connsiteX25" fmla="*/ 114300 w 1031875"/>
              <a:gd name="connsiteY25" fmla="*/ 1946275 h 2263775"/>
              <a:gd name="connsiteX26" fmla="*/ 60325 w 1031875"/>
              <a:gd name="connsiteY26" fmla="*/ 1952625 h 2263775"/>
              <a:gd name="connsiteX27" fmla="*/ 73025 w 1031875"/>
              <a:gd name="connsiteY27" fmla="*/ 1927225 h 2263775"/>
              <a:gd name="connsiteX28" fmla="*/ 50800 w 1031875"/>
              <a:gd name="connsiteY28" fmla="*/ 1917700 h 2263775"/>
              <a:gd name="connsiteX29" fmla="*/ 69850 w 1031875"/>
              <a:gd name="connsiteY29" fmla="*/ 1857375 h 2263775"/>
              <a:gd name="connsiteX30" fmla="*/ 44450 w 1031875"/>
              <a:gd name="connsiteY30" fmla="*/ 1803400 h 2263775"/>
              <a:gd name="connsiteX31" fmla="*/ 0 w 1031875"/>
              <a:gd name="connsiteY31" fmla="*/ 1762125 h 2263775"/>
              <a:gd name="connsiteX32" fmla="*/ 123825 w 1031875"/>
              <a:gd name="connsiteY32" fmla="*/ 869950 h 2263775"/>
              <a:gd name="connsiteX33" fmla="*/ 136525 w 1031875"/>
              <a:gd name="connsiteY33" fmla="*/ 806450 h 2263775"/>
              <a:gd name="connsiteX34" fmla="*/ 117475 w 1031875"/>
              <a:gd name="connsiteY34" fmla="*/ 765175 h 2263775"/>
              <a:gd name="connsiteX35" fmla="*/ 142875 w 1031875"/>
              <a:gd name="connsiteY35" fmla="*/ 739775 h 2263775"/>
              <a:gd name="connsiteX36" fmla="*/ 171450 w 1031875"/>
              <a:gd name="connsiteY36" fmla="*/ 692150 h 2263775"/>
              <a:gd name="connsiteX37" fmla="*/ 200025 w 1031875"/>
              <a:gd name="connsiteY37" fmla="*/ 701675 h 2263775"/>
              <a:gd name="connsiteX38" fmla="*/ 273050 w 1031875"/>
              <a:gd name="connsiteY38" fmla="*/ 660400 h 2263775"/>
              <a:gd name="connsiteX39" fmla="*/ 288925 w 1031875"/>
              <a:gd name="connsiteY39" fmla="*/ 603250 h 2263775"/>
              <a:gd name="connsiteX40" fmla="*/ 301625 w 1031875"/>
              <a:gd name="connsiteY40" fmla="*/ 546100 h 2263775"/>
              <a:gd name="connsiteX41" fmla="*/ 336550 w 1031875"/>
              <a:gd name="connsiteY41" fmla="*/ 482600 h 2263775"/>
              <a:gd name="connsiteX42" fmla="*/ 403225 w 1031875"/>
              <a:gd name="connsiteY42" fmla="*/ 444500 h 2263775"/>
              <a:gd name="connsiteX43" fmla="*/ 441325 w 1031875"/>
              <a:gd name="connsiteY43" fmla="*/ 428625 h 2263775"/>
              <a:gd name="connsiteX44" fmla="*/ 457200 w 1031875"/>
              <a:gd name="connsiteY44" fmla="*/ 390525 h 2263775"/>
              <a:gd name="connsiteX45" fmla="*/ 466725 w 1031875"/>
              <a:gd name="connsiteY45" fmla="*/ 352425 h 2263775"/>
              <a:gd name="connsiteX46" fmla="*/ 517525 w 1031875"/>
              <a:gd name="connsiteY46" fmla="*/ 320675 h 2263775"/>
              <a:gd name="connsiteX47" fmla="*/ 514350 w 1031875"/>
              <a:gd name="connsiteY47" fmla="*/ 276225 h 2263775"/>
              <a:gd name="connsiteX48" fmla="*/ 555625 w 1031875"/>
              <a:gd name="connsiteY48" fmla="*/ 222250 h 2263775"/>
              <a:gd name="connsiteX49" fmla="*/ 584200 w 1031875"/>
              <a:gd name="connsiteY49" fmla="*/ 171450 h 2263775"/>
              <a:gd name="connsiteX50" fmla="*/ 555625 w 1031875"/>
              <a:gd name="connsiteY50" fmla="*/ 104775 h 2263775"/>
              <a:gd name="connsiteX51" fmla="*/ 533400 w 1031875"/>
              <a:gd name="connsiteY51" fmla="*/ 57150 h 2263775"/>
              <a:gd name="connsiteX52" fmla="*/ 558800 w 1031875"/>
              <a:gd name="connsiteY52" fmla="*/ 0 h 2263775"/>
              <a:gd name="connsiteX0" fmla="*/ 987425 w 987425"/>
              <a:gd name="connsiteY0" fmla="*/ 2263775 h 2263775"/>
              <a:gd name="connsiteX1" fmla="*/ 971550 w 987425"/>
              <a:gd name="connsiteY1" fmla="*/ 2206625 h 2263775"/>
              <a:gd name="connsiteX2" fmla="*/ 939800 w 987425"/>
              <a:gd name="connsiteY2" fmla="*/ 2162175 h 2263775"/>
              <a:gd name="connsiteX3" fmla="*/ 901700 w 987425"/>
              <a:gd name="connsiteY3" fmla="*/ 2149475 h 2263775"/>
              <a:gd name="connsiteX4" fmla="*/ 847725 w 987425"/>
              <a:gd name="connsiteY4" fmla="*/ 2152650 h 2263775"/>
              <a:gd name="connsiteX5" fmla="*/ 806450 w 987425"/>
              <a:gd name="connsiteY5" fmla="*/ 2149475 h 2263775"/>
              <a:gd name="connsiteX6" fmla="*/ 771525 w 987425"/>
              <a:gd name="connsiteY6" fmla="*/ 2130425 h 2263775"/>
              <a:gd name="connsiteX7" fmla="*/ 742950 w 987425"/>
              <a:gd name="connsiteY7" fmla="*/ 2143125 h 2263775"/>
              <a:gd name="connsiteX8" fmla="*/ 692150 w 987425"/>
              <a:gd name="connsiteY8" fmla="*/ 2130425 h 2263775"/>
              <a:gd name="connsiteX9" fmla="*/ 657225 w 987425"/>
              <a:gd name="connsiteY9" fmla="*/ 2117725 h 2263775"/>
              <a:gd name="connsiteX10" fmla="*/ 641350 w 987425"/>
              <a:gd name="connsiteY10" fmla="*/ 2111375 h 2263775"/>
              <a:gd name="connsiteX11" fmla="*/ 581025 w 987425"/>
              <a:gd name="connsiteY11" fmla="*/ 2117725 h 2263775"/>
              <a:gd name="connsiteX12" fmla="*/ 527050 w 987425"/>
              <a:gd name="connsiteY12" fmla="*/ 2073275 h 2263775"/>
              <a:gd name="connsiteX13" fmla="*/ 495300 w 987425"/>
              <a:gd name="connsiteY13" fmla="*/ 2051050 h 2263775"/>
              <a:gd name="connsiteX14" fmla="*/ 460375 w 987425"/>
              <a:gd name="connsiteY14" fmla="*/ 2038350 h 2263775"/>
              <a:gd name="connsiteX15" fmla="*/ 434975 w 987425"/>
              <a:gd name="connsiteY15" fmla="*/ 2003425 h 2263775"/>
              <a:gd name="connsiteX16" fmla="*/ 387350 w 987425"/>
              <a:gd name="connsiteY16" fmla="*/ 1990725 h 2263775"/>
              <a:gd name="connsiteX17" fmla="*/ 349250 w 987425"/>
              <a:gd name="connsiteY17" fmla="*/ 1968500 h 2263775"/>
              <a:gd name="connsiteX18" fmla="*/ 314325 w 987425"/>
              <a:gd name="connsiteY18" fmla="*/ 1971675 h 2263775"/>
              <a:gd name="connsiteX19" fmla="*/ 298450 w 987425"/>
              <a:gd name="connsiteY19" fmla="*/ 1949450 h 2263775"/>
              <a:gd name="connsiteX20" fmla="*/ 254000 w 987425"/>
              <a:gd name="connsiteY20" fmla="*/ 1936750 h 2263775"/>
              <a:gd name="connsiteX21" fmla="*/ 228600 w 987425"/>
              <a:gd name="connsiteY21" fmla="*/ 1943100 h 2263775"/>
              <a:gd name="connsiteX22" fmla="*/ 180975 w 987425"/>
              <a:gd name="connsiteY22" fmla="*/ 1936750 h 2263775"/>
              <a:gd name="connsiteX23" fmla="*/ 136525 w 987425"/>
              <a:gd name="connsiteY23" fmla="*/ 1952625 h 2263775"/>
              <a:gd name="connsiteX24" fmla="*/ 69850 w 987425"/>
              <a:gd name="connsiteY24" fmla="*/ 1946275 h 2263775"/>
              <a:gd name="connsiteX25" fmla="*/ 69850 w 987425"/>
              <a:gd name="connsiteY25" fmla="*/ 1946275 h 2263775"/>
              <a:gd name="connsiteX26" fmla="*/ 15875 w 987425"/>
              <a:gd name="connsiteY26" fmla="*/ 1952625 h 2263775"/>
              <a:gd name="connsiteX27" fmla="*/ 28575 w 987425"/>
              <a:gd name="connsiteY27" fmla="*/ 1927225 h 2263775"/>
              <a:gd name="connsiteX28" fmla="*/ 6350 w 987425"/>
              <a:gd name="connsiteY28" fmla="*/ 1917700 h 2263775"/>
              <a:gd name="connsiteX29" fmla="*/ 25400 w 987425"/>
              <a:gd name="connsiteY29" fmla="*/ 1857375 h 2263775"/>
              <a:gd name="connsiteX30" fmla="*/ 0 w 987425"/>
              <a:gd name="connsiteY30" fmla="*/ 1803400 h 2263775"/>
              <a:gd name="connsiteX31" fmla="*/ 79375 w 987425"/>
              <a:gd name="connsiteY31" fmla="*/ 869950 h 2263775"/>
              <a:gd name="connsiteX32" fmla="*/ 92075 w 987425"/>
              <a:gd name="connsiteY32" fmla="*/ 806450 h 2263775"/>
              <a:gd name="connsiteX33" fmla="*/ 73025 w 987425"/>
              <a:gd name="connsiteY33" fmla="*/ 765175 h 2263775"/>
              <a:gd name="connsiteX34" fmla="*/ 98425 w 987425"/>
              <a:gd name="connsiteY34" fmla="*/ 739775 h 2263775"/>
              <a:gd name="connsiteX35" fmla="*/ 127000 w 987425"/>
              <a:gd name="connsiteY35" fmla="*/ 692150 h 2263775"/>
              <a:gd name="connsiteX36" fmla="*/ 155575 w 987425"/>
              <a:gd name="connsiteY36" fmla="*/ 701675 h 2263775"/>
              <a:gd name="connsiteX37" fmla="*/ 228600 w 987425"/>
              <a:gd name="connsiteY37" fmla="*/ 660400 h 2263775"/>
              <a:gd name="connsiteX38" fmla="*/ 244475 w 987425"/>
              <a:gd name="connsiteY38" fmla="*/ 603250 h 2263775"/>
              <a:gd name="connsiteX39" fmla="*/ 257175 w 987425"/>
              <a:gd name="connsiteY39" fmla="*/ 546100 h 2263775"/>
              <a:gd name="connsiteX40" fmla="*/ 292100 w 987425"/>
              <a:gd name="connsiteY40" fmla="*/ 482600 h 2263775"/>
              <a:gd name="connsiteX41" fmla="*/ 358775 w 987425"/>
              <a:gd name="connsiteY41" fmla="*/ 444500 h 2263775"/>
              <a:gd name="connsiteX42" fmla="*/ 396875 w 987425"/>
              <a:gd name="connsiteY42" fmla="*/ 428625 h 2263775"/>
              <a:gd name="connsiteX43" fmla="*/ 412750 w 987425"/>
              <a:gd name="connsiteY43" fmla="*/ 390525 h 2263775"/>
              <a:gd name="connsiteX44" fmla="*/ 422275 w 987425"/>
              <a:gd name="connsiteY44" fmla="*/ 352425 h 2263775"/>
              <a:gd name="connsiteX45" fmla="*/ 473075 w 987425"/>
              <a:gd name="connsiteY45" fmla="*/ 320675 h 2263775"/>
              <a:gd name="connsiteX46" fmla="*/ 469900 w 987425"/>
              <a:gd name="connsiteY46" fmla="*/ 276225 h 2263775"/>
              <a:gd name="connsiteX47" fmla="*/ 511175 w 987425"/>
              <a:gd name="connsiteY47" fmla="*/ 222250 h 2263775"/>
              <a:gd name="connsiteX48" fmla="*/ 539750 w 987425"/>
              <a:gd name="connsiteY48" fmla="*/ 171450 h 2263775"/>
              <a:gd name="connsiteX49" fmla="*/ 511175 w 987425"/>
              <a:gd name="connsiteY49" fmla="*/ 104775 h 2263775"/>
              <a:gd name="connsiteX50" fmla="*/ 488950 w 987425"/>
              <a:gd name="connsiteY50" fmla="*/ 57150 h 2263775"/>
              <a:gd name="connsiteX51" fmla="*/ 514350 w 987425"/>
              <a:gd name="connsiteY51" fmla="*/ 0 h 2263775"/>
              <a:gd name="connsiteX0" fmla="*/ 981075 w 981075"/>
              <a:gd name="connsiteY0" fmla="*/ 2263775 h 2263775"/>
              <a:gd name="connsiteX1" fmla="*/ 965200 w 981075"/>
              <a:gd name="connsiteY1" fmla="*/ 2206625 h 2263775"/>
              <a:gd name="connsiteX2" fmla="*/ 933450 w 981075"/>
              <a:gd name="connsiteY2" fmla="*/ 2162175 h 2263775"/>
              <a:gd name="connsiteX3" fmla="*/ 895350 w 981075"/>
              <a:gd name="connsiteY3" fmla="*/ 2149475 h 2263775"/>
              <a:gd name="connsiteX4" fmla="*/ 841375 w 981075"/>
              <a:gd name="connsiteY4" fmla="*/ 2152650 h 2263775"/>
              <a:gd name="connsiteX5" fmla="*/ 800100 w 981075"/>
              <a:gd name="connsiteY5" fmla="*/ 2149475 h 2263775"/>
              <a:gd name="connsiteX6" fmla="*/ 765175 w 981075"/>
              <a:gd name="connsiteY6" fmla="*/ 2130425 h 2263775"/>
              <a:gd name="connsiteX7" fmla="*/ 736600 w 981075"/>
              <a:gd name="connsiteY7" fmla="*/ 2143125 h 2263775"/>
              <a:gd name="connsiteX8" fmla="*/ 685800 w 981075"/>
              <a:gd name="connsiteY8" fmla="*/ 2130425 h 2263775"/>
              <a:gd name="connsiteX9" fmla="*/ 650875 w 981075"/>
              <a:gd name="connsiteY9" fmla="*/ 2117725 h 2263775"/>
              <a:gd name="connsiteX10" fmla="*/ 635000 w 981075"/>
              <a:gd name="connsiteY10" fmla="*/ 2111375 h 2263775"/>
              <a:gd name="connsiteX11" fmla="*/ 574675 w 981075"/>
              <a:gd name="connsiteY11" fmla="*/ 2117725 h 2263775"/>
              <a:gd name="connsiteX12" fmla="*/ 520700 w 981075"/>
              <a:gd name="connsiteY12" fmla="*/ 2073275 h 2263775"/>
              <a:gd name="connsiteX13" fmla="*/ 488950 w 981075"/>
              <a:gd name="connsiteY13" fmla="*/ 2051050 h 2263775"/>
              <a:gd name="connsiteX14" fmla="*/ 454025 w 981075"/>
              <a:gd name="connsiteY14" fmla="*/ 2038350 h 2263775"/>
              <a:gd name="connsiteX15" fmla="*/ 428625 w 981075"/>
              <a:gd name="connsiteY15" fmla="*/ 2003425 h 2263775"/>
              <a:gd name="connsiteX16" fmla="*/ 381000 w 981075"/>
              <a:gd name="connsiteY16" fmla="*/ 1990725 h 2263775"/>
              <a:gd name="connsiteX17" fmla="*/ 342900 w 981075"/>
              <a:gd name="connsiteY17" fmla="*/ 1968500 h 2263775"/>
              <a:gd name="connsiteX18" fmla="*/ 307975 w 981075"/>
              <a:gd name="connsiteY18" fmla="*/ 1971675 h 2263775"/>
              <a:gd name="connsiteX19" fmla="*/ 292100 w 981075"/>
              <a:gd name="connsiteY19" fmla="*/ 1949450 h 2263775"/>
              <a:gd name="connsiteX20" fmla="*/ 247650 w 981075"/>
              <a:gd name="connsiteY20" fmla="*/ 1936750 h 2263775"/>
              <a:gd name="connsiteX21" fmla="*/ 222250 w 981075"/>
              <a:gd name="connsiteY21" fmla="*/ 1943100 h 2263775"/>
              <a:gd name="connsiteX22" fmla="*/ 174625 w 981075"/>
              <a:gd name="connsiteY22" fmla="*/ 1936750 h 2263775"/>
              <a:gd name="connsiteX23" fmla="*/ 130175 w 981075"/>
              <a:gd name="connsiteY23" fmla="*/ 1952625 h 2263775"/>
              <a:gd name="connsiteX24" fmla="*/ 63500 w 981075"/>
              <a:gd name="connsiteY24" fmla="*/ 1946275 h 2263775"/>
              <a:gd name="connsiteX25" fmla="*/ 63500 w 981075"/>
              <a:gd name="connsiteY25" fmla="*/ 1946275 h 2263775"/>
              <a:gd name="connsiteX26" fmla="*/ 9525 w 981075"/>
              <a:gd name="connsiteY26" fmla="*/ 1952625 h 2263775"/>
              <a:gd name="connsiteX27" fmla="*/ 22225 w 981075"/>
              <a:gd name="connsiteY27" fmla="*/ 1927225 h 2263775"/>
              <a:gd name="connsiteX28" fmla="*/ 0 w 981075"/>
              <a:gd name="connsiteY28" fmla="*/ 1917700 h 2263775"/>
              <a:gd name="connsiteX29" fmla="*/ 19050 w 981075"/>
              <a:gd name="connsiteY29" fmla="*/ 1857375 h 2263775"/>
              <a:gd name="connsiteX30" fmla="*/ 73025 w 981075"/>
              <a:gd name="connsiteY30" fmla="*/ 869950 h 2263775"/>
              <a:gd name="connsiteX31" fmla="*/ 85725 w 981075"/>
              <a:gd name="connsiteY31" fmla="*/ 806450 h 2263775"/>
              <a:gd name="connsiteX32" fmla="*/ 66675 w 981075"/>
              <a:gd name="connsiteY32" fmla="*/ 765175 h 2263775"/>
              <a:gd name="connsiteX33" fmla="*/ 92075 w 981075"/>
              <a:gd name="connsiteY33" fmla="*/ 739775 h 2263775"/>
              <a:gd name="connsiteX34" fmla="*/ 120650 w 981075"/>
              <a:gd name="connsiteY34" fmla="*/ 692150 h 2263775"/>
              <a:gd name="connsiteX35" fmla="*/ 149225 w 981075"/>
              <a:gd name="connsiteY35" fmla="*/ 701675 h 2263775"/>
              <a:gd name="connsiteX36" fmla="*/ 222250 w 981075"/>
              <a:gd name="connsiteY36" fmla="*/ 660400 h 2263775"/>
              <a:gd name="connsiteX37" fmla="*/ 238125 w 981075"/>
              <a:gd name="connsiteY37" fmla="*/ 603250 h 2263775"/>
              <a:gd name="connsiteX38" fmla="*/ 250825 w 981075"/>
              <a:gd name="connsiteY38" fmla="*/ 546100 h 2263775"/>
              <a:gd name="connsiteX39" fmla="*/ 285750 w 981075"/>
              <a:gd name="connsiteY39" fmla="*/ 482600 h 2263775"/>
              <a:gd name="connsiteX40" fmla="*/ 352425 w 981075"/>
              <a:gd name="connsiteY40" fmla="*/ 444500 h 2263775"/>
              <a:gd name="connsiteX41" fmla="*/ 390525 w 981075"/>
              <a:gd name="connsiteY41" fmla="*/ 428625 h 2263775"/>
              <a:gd name="connsiteX42" fmla="*/ 406400 w 981075"/>
              <a:gd name="connsiteY42" fmla="*/ 390525 h 2263775"/>
              <a:gd name="connsiteX43" fmla="*/ 415925 w 981075"/>
              <a:gd name="connsiteY43" fmla="*/ 352425 h 2263775"/>
              <a:gd name="connsiteX44" fmla="*/ 466725 w 981075"/>
              <a:gd name="connsiteY44" fmla="*/ 320675 h 2263775"/>
              <a:gd name="connsiteX45" fmla="*/ 463550 w 981075"/>
              <a:gd name="connsiteY45" fmla="*/ 276225 h 2263775"/>
              <a:gd name="connsiteX46" fmla="*/ 504825 w 981075"/>
              <a:gd name="connsiteY46" fmla="*/ 222250 h 2263775"/>
              <a:gd name="connsiteX47" fmla="*/ 533400 w 981075"/>
              <a:gd name="connsiteY47" fmla="*/ 171450 h 2263775"/>
              <a:gd name="connsiteX48" fmla="*/ 504825 w 981075"/>
              <a:gd name="connsiteY48" fmla="*/ 104775 h 2263775"/>
              <a:gd name="connsiteX49" fmla="*/ 482600 w 981075"/>
              <a:gd name="connsiteY49" fmla="*/ 57150 h 2263775"/>
              <a:gd name="connsiteX50" fmla="*/ 508000 w 981075"/>
              <a:gd name="connsiteY50" fmla="*/ 0 h 2263775"/>
              <a:gd name="connsiteX0" fmla="*/ 981075 w 981075"/>
              <a:gd name="connsiteY0" fmla="*/ 2263775 h 2263775"/>
              <a:gd name="connsiteX1" fmla="*/ 965200 w 981075"/>
              <a:gd name="connsiteY1" fmla="*/ 2206625 h 2263775"/>
              <a:gd name="connsiteX2" fmla="*/ 933450 w 981075"/>
              <a:gd name="connsiteY2" fmla="*/ 2162175 h 2263775"/>
              <a:gd name="connsiteX3" fmla="*/ 895350 w 981075"/>
              <a:gd name="connsiteY3" fmla="*/ 2149475 h 2263775"/>
              <a:gd name="connsiteX4" fmla="*/ 841375 w 981075"/>
              <a:gd name="connsiteY4" fmla="*/ 2152650 h 2263775"/>
              <a:gd name="connsiteX5" fmla="*/ 800100 w 981075"/>
              <a:gd name="connsiteY5" fmla="*/ 2149475 h 2263775"/>
              <a:gd name="connsiteX6" fmla="*/ 765175 w 981075"/>
              <a:gd name="connsiteY6" fmla="*/ 2130425 h 2263775"/>
              <a:gd name="connsiteX7" fmla="*/ 736600 w 981075"/>
              <a:gd name="connsiteY7" fmla="*/ 2143125 h 2263775"/>
              <a:gd name="connsiteX8" fmla="*/ 685800 w 981075"/>
              <a:gd name="connsiteY8" fmla="*/ 2130425 h 2263775"/>
              <a:gd name="connsiteX9" fmla="*/ 650875 w 981075"/>
              <a:gd name="connsiteY9" fmla="*/ 2117725 h 2263775"/>
              <a:gd name="connsiteX10" fmla="*/ 635000 w 981075"/>
              <a:gd name="connsiteY10" fmla="*/ 2111375 h 2263775"/>
              <a:gd name="connsiteX11" fmla="*/ 574675 w 981075"/>
              <a:gd name="connsiteY11" fmla="*/ 2117725 h 2263775"/>
              <a:gd name="connsiteX12" fmla="*/ 520700 w 981075"/>
              <a:gd name="connsiteY12" fmla="*/ 2073275 h 2263775"/>
              <a:gd name="connsiteX13" fmla="*/ 488950 w 981075"/>
              <a:gd name="connsiteY13" fmla="*/ 2051050 h 2263775"/>
              <a:gd name="connsiteX14" fmla="*/ 454025 w 981075"/>
              <a:gd name="connsiteY14" fmla="*/ 2038350 h 2263775"/>
              <a:gd name="connsiteX15" fmla="*/ 428625 w 981075"/>
              <a:gd name="connsiteY15" fmla="*/ 2003425 h 2263775"/>
              <a:gd name="connsiteX16" fmla="*/ 381000 w 981075"/>
              <a:gd name="connsiteY16" fmla="*/ 1990725 h 2263775"/>
              <a:gd name="connsiteX17" fmla="*/ 342900 w 981075"/>
              <a:gd name="connsiteY17" fmla="*/ 1968500 h 2263775"/>
              <a:gd name="connsiteX18" fmla="*/ 307975 w 981075"/>
              <a:gd name="connsiteY18" fmla="*/ 1971675 h 2263775"/>
              <a:gd name="connsiteX19" fmla="*/ 292100 w 981075"/>
              <a:gd name="connsiteY19" fmla="*/ 1949450 h 2263775"/>
              <a:gd name="connsiteX20" fmla="*/ 247650 w 981075"/>
              <a:gd name="connsiteY20" fmla="*/ 1936750 h 2263775"/>
              <a:gd name="connsiteX21" fmla="*/ 222250 w 981075"/>
              <a:gd name="connsiteY21" fmla="*/ 1943100 h 2263775"/>
              <a:gd name="connsiteX22" fmla="*/ 174625 w 981075"/>
              <a:gd name="connsiteY22" fmla="*/ 1936750 h 2263775"/>
              <a:gd name="connsiteX23" fmla="*/ 130175 w 981075"/>
              <a:gd name="connsiteY23" fmla="*/ 1952625 h 2263775"/>
              <a:gd name="connsiteX24" fmla="*/ 63500 w 981075"/>
              <a:gd name="connsiteY24" fmla="*/ 1946275 h 2263775"/>
              <a:gd name="connsiteX25" fmla="*/ 63500 w 981075"/>
              <a:gd name="connsiteY25" fmla="*/ 1946275 h 2263775"/>
              <a:gd name="connsiteX26" fmla="*/ 9525 w 981075"/>
              <a:gd name="connsiteY26" fmla="*/ 1952625 h 2263775"/>
              <a:gd name="connsiteX27" fmla="*/ 22225 w 981075"/>
              <a:gd name="connsiteY27" fmla="*/ 1927225 h 2263775"/>
              <a:gd name="connsiteX28" fmla="*/ 0 w 981075"/>
              <a:gd name="connsiteY28" fmla="*/ 1917700 h 2263775"/>
              <a:gd name="connsiteX29" fmla="*/ 73025 w 981075"/>
              <a:gd name="connsiteY29" fmla="*/ 869950 h 2263775"/>
              <a:gd name="connsiteX30" fmla="*/ 85725 w 981075"/>
              <a:gd name="connsiteY30" fmla="*/ 806450 h 2263775"/>
              <a:gd name="connsiteX31" fmla="*/ 66675 w 981075"/>
              <a:gd name="connsiteY31" fmla="*/ 765175 h 2263775"/>
              <a:gd name="connsiteX32" fmla="*/ 92075 w 981075"/>
              <a:gd name="connsiteY32" fmla="*/ 739775 h 2263775"/>
              <a:gd name="connsiteX33" fmla="*/ 120650 w 981075"/>
              <a:gd name="connsiteY33" fmla="*/ 692150 h 2263775"/>
              <a:gd name="connsiteX34" fmla="*/ 149225 w 981075"/>
              <a:gd name="connsiteY34" fmla="*/ 701675 h 2263775"/>
              <a:gd name="connsiteX35" fmla="*/ 222250 w 981075"/>
              <a:gd name="connsiteY35" fmla="*/ 660400 h 2263775"/>
              <a:gd name="connsiteX36" fmla="*/ 238125 w 981075"/>
              <a:gd name="connsiteY36" fmla="*/ 603250 h 2263775"/>
              <a:gd name="connsiteX37" fmla="*/ 250825 w 981075"/>
              <a:gd name="connsiteY37" fmla="*/ 546100 h 2263775"/>
              <a:gd name="connsiteX38" fmla="*/ 285750 w 981075"/>
              <a:gd name="connsiteY38" fmla="*/ 482600 h 2263775"/>
              <a:gd name="connsiteX39" fmla="*/ 352425 w 981075"/>
              <a:gd name="connsiteY39" fmla="*/ 444500 h 2263775"/>
              <a:gd name="connsiteX40" fmla="*/ 390525 w 981075"/>
              <a:gd name="connsiteY40" fmla="*/ 428625 h 2263775"/>
              <a:gd name="connsiteX41" fmla="*/ 406400 w 981075"/>
              <a:gd name="connsiteY41" fmla="*/ 390525 h 2263775"/>
              <a:gd name="connsiteX42" fmla="*/ 415925 w 981075"/>
              <a:gd name="connsiteY42" fmla="*/ 352425 h 2263775"/>
              <a:gd name="connsiteX43" fmla="*/ 466725 w 981075"/>
              <a:gd name="connsiteY43" fmla="*/ 320675 h 2263775"/>
              <a:gd name="connsiteX44" fmla="*/ 463550 w 981075"/>
              <a:gd name="connsiteY44" fmla="*/ 276225 h 2263775"/>
              <a:gd name="connsiteX45" fmla="*/ 504825 w 981075"/>
              <a:gd name="connsiteY45" fmla="*/ 222250 h 2263775"/>
              <a:gd name="connsiteX46" fmla="*/ 533400 w 981075"/>
              <a:gd name="connsiteY46" fmla="*/ 171450 h 2263775"/>
              <a:gd name="connsiteX47" fmla="*/ 504825 w 981075"/>
              <a:gd name="connsiteY47" fmla="*/ 104775 h 2263775"/>
              <a:gd name="connsiteX48" fmla="*/ 482600 w 981075"/>
              <a:gd name="connsiteY48" fmla="*/ 57150 h 2263775"/>
              <a:gd name="connsiteX49" fmla="*/ 508000 w 981075"/>
              <a:gd name="connsiteY49" fmla="*/ 0 h 2263775"/>
              <a:gd name="connsiteX0" fmla="*/ 971550 w 971550"/>
              <a:gd name="connsiteY0" fmla="*/ 2263775 h 2263775"/>
              <a:gd name="connsiteX1" fmla="*/ 955675 w 971550"/>
              <a:gd name="connsiteY1" fmla="*/ 2206625 h 2263775"/>
              <a:gd name="connsiteX2" fmla="*/ 923925 w 971550"/>
              <a:gd name="connsiteY2" fmla="*/ 2162175 h 2263775"/>
              <a:gd name="connsiteX3" fmla="*/ 885825 w 971550"/>
              <a:gd name="connsiteY3" fmla="*/ 2149475 h 2263775"/>
              <a:gd name="connsiteX4" fmla="*/ 831850 w 971550"/>
              <a:gd name="connsiteY4" fmla="*/ 2152650 h 2263775"/>
              <a:gd name="connsiteX5" fmla="*/ 790575 w 971550"/>
              <a:gd name="connsiteY5" fmla="*/ 2149475 h 2263775"/>
              <a:gd name="connsiteX6" fmla="*/ 755650 w 971550"/>
              <a:gd name="connsiteY6" fmla="*/ 2130425 h 2263775"/>
              <a:gd name="connsiteX7" fmla="*/ 727075 w 971550"/>
              <a:gd name="connsiteY7" fmla="*/ 2143125 h 2263775"/>
              <a:gd name="connsiteX8" fmla="*/ 676275 w 971550"/>
              <a:gd name="connsiteY8" fmla="*/ 2130425 h 2263775"/>
              <a:gd name="connsiteX9" fmla="*/ 641350 w 971550"/>
              <a:gd name="connsiteY9" fmla="*/ 2117725 h 2263775"/>
              <a:gd name="connsiteX10" fmla="*/ 625475 w 971550"/>
              <a:gd name="connsiteY10" fmla="*/ 2111375 h 2263775"/>
              <a:gd name="connsiteX11" fmla="*/ 565150 w 971550"/>
              <a:gd name="connsiteY11" fmla="*/ 2117725 h 2263775"/>
              <a:gd name="connsiteX12" fmla="*/ 511175 w 971550"/>
              <a:gd name="connsiteY12" fmla="*/ 2073275 h 2263775"/>
              <a:gd name="connsiteX13" fmla="*/ 479425 w 971550"/>
              <a:gd name="connsiteY13" fmla="*/ 2051050 h 2263775"/>
              <a:gd name="connsiteX14" fmla="*/ 444500 w 971550"/>
              <a:gd name="connsiteY14" fmla="*/ 2038350 h 2263775"/>
              <a:gd name="connsiteX15" fmla="*/ 419100 w 971550"/>
              <a:gd name="connsiteY15" fmla="*/ 2003425 h 2263775"/>
              <a:gd name="connsiteX16" fmla="*/ 371475 w 971550"/>
              <a:gd name="connsiteY16" fmla="*/ 1990725 h 2263775"/>
              <a:gd name="connsiteX17" fmla="*/ 333375 w 971550"/>
              <a:gd name="connsiteY17" fmla="*/ 1968500 h 2263775"/>
              <a:gd name="connsiteX18" fmla="*/ 298450 w 971550"/>
              <a:gd name="connsiteY18" fmla="*/ 1971675 h 2263775"/>
              <a:gd name="connsiteX19" fmla="*/ 282575 w 971550"/>
              <a:gd name="connsiteY19" fmla="*/ 1949450 h 2263775"/>
              <a:gd name="connsiteX20" fmla="*/ 238125 w 971550"/>
              <a:gd name="connsiteY20" fmla="*/ 1936750 h 2263775"/>
              <a:gd name="connsiteX21" fmla="*/ 212725 w 971550"/>
              <a:gd name="connsiteY21" fmla="*/ 1943100 h 2263775"/>
              <a:gd name="connsiteX22" fmla="*/ 165100 w 971550"/>
              <a:gd name="connsiteY22" fmla="*/ 1936750 h 2263775"/>
              <a:gd name="connsiteX23" fmla="*/ 120650 w 971550"/>
              <a:gd name="connsiteY23" fmla="*/ 1952625 h 2263775"/>
              <a:gd name="connsiteX24" fmla="*/ 53975 w 971550"/>
              <a:gd name="connsiteY24" fmla="*/ 1946275 h 2263775"/>
              <a:gd name="connsiteX25" fmla="*/ 53975 w 971550"/>
              <a:gd name="connsiteY25" fmla="*/ 1946275 h 2263775"/>
              <a:gd name="connsiteX26" fmla="*/ 0 w 971550"/>
              <a:gd name="connsiteY26" fmla="*/ 1952625 h 2263775"/>
              <a:gd name="connsiteX27" fmla="*/ 12700 w 971550"/>
              <a:gd name="connsiteY27" fmla="*/ 1927225 h 2263775"/>
              <a:gd name="connsiteX28" fmla="*/ 63500 w 971550"/>
              <a:gd name="connsiteY28" fmla="*/ 869950 h 2263775"/>
              <a:gd name="connsiteX29" fmla="*/ 76200 w 971550"/>
              <a:gd name="connsiteY29" fmla="*/ 806450 h 2263775"/>
              <a:gd name="connsiteX30" fmla="*/ 57150 w 971550"/>
              <a:gd name="connsiteY30" fmla="*/ 765175 h 2263775"/>
              <a:gd name="connsiteX31" fmla="*/ 82550 w 971550"/>
              <a:gd name="connsiteY31" fmla="*/ 739775 h 2263775"/>
              <a:gd name="connsiteX32" fmla="*/ 111125 w 971550"/>
              <a:gd name="connsiteY32" fmla="*/ 692150 h 2263775"/>
              <a:gd name="connsiteX33" fmla="*/ 139700 w 971550"/>
              <a:gd name="connsiteY33" fmla="*/ 701675 h 2263775"/>
              <a:gd name="connsiteX34" fmla="*/ 212725 w 971550"/>
              <a:gd name="connsiteY34" fmla="*/ 660400 h 2263775"/>
              <a:gd name="connsiteX35" fmla="*/ 228600 w 971550"/>
              <a:gd name="connsiteY35" fmla="*/ 603250 h 2263775"/>
              <a:gd name="connsiteX36" fmla="*/ 241300 w 971550"/>
              <a:gd name="connsiteY36" fmla="*/ 546100 h 2263775"/>
              <a:gd name="connsiteX37" fmla="*/ 276225 w 971550"/>
              <a:gd name="connsiteY37" fmla="*/ 482600 h 2263775"/>
              <a:gd name="connsiteX38" fmla="*/ 342900 w 971550"/>
              <a:gd name="connsiteY38" fmla="*/ 444500 h 2263775"/>
              <a:gd name="connsiteX39" fmla="*/ 381000 w 971550"/>
              <a:gd name="connsiteY39" fmla="*/ 428625 h 2263775"/>
              <a:gd name="connsiteX40" fmla="*/ 396875 w 971550"/>
              <a:gd name="connsiteY40" fmla="*/ 390525 h 2263775"/>
              <a:gd name="connsiteX41" fmla="*/ 406400 w 971550"/>
              <a:gd name="connsiteY41" fmla="*/ 352425 h 2263775"/>
              <a:gd name="connsiteX42" fmla="*/ 457200 w 971550"/>
              <a:gd name="connsiteY42" fmla="*/ 320675 h 2263775"/>
              <a:gd name="connsiteX43" fmla="*/ 454025 w 971550"/>
              <a:gd name="connsiteY43" fmla="*/ 276225 h 2263775"/>
              <a:gd name="connsiteX44" fmla="*/ 495300 w 971550"/>
              <a:gd name="connsiteY44" fmla="*/ 222250 h 2263775"/>
              <a:gd name="connsiteX45" fmla="*/ 523875 w 971550"/>
              <a:gd name="connsiteY45" fmla="*/ 171450 h 2263775"/>
              <a:gd name="connsiteX46" fmla="*/ 495300 w 971550"/>
              <a:gd name="connsiteY46" fmla="*/ 104775 h 2263775"/>
              <a:gd name="connsiteX47" fmla="*/ 473075 w 971550"/>
              <a:gd name="connsiteY47" fmla="*/ 57150 h 2263775"/>
              <a:gd name="connsiteX48" fmla="*/ 498475 w 971550"/>
              <a:gd name="connsiteY48" fmla="*/ 0 h 2263775"/>
              <a:gd name="connsiteX0" fmla="*/ 971550 w 971550"/>
              <a:gd name="connsiteY0" fmla="*/ 2263775 h 2263775"/>
              <a:gd name="connsiteX1" fmla="*/ 955675 w 971550"/>
              <a:gd name="connsiteY1" fmla="*/ 2206625 h 2263775"/>
              <a:gd name="connsiteX2" fmla="*/ 923925 w 971550"/>
              <a:gd name="connsiteY2" fmla="*/ 2162175 h 2263775"/>
              <a:gd name="connsiteX3" fmla="*/ 885825 w 971550"/>
              <a:gd name="connsiteY3" fmla="*/ 2149475 h 2263775"/>
              <a:gd name="connsiteX4" fmla="*/ 831850 w 971550"/>
              <a:gd name="connsiteY4" fmla="*/ 2152650 h 2263775"/>
              <a:gd name="connsiteX5" fmla="*/ 790575 w 971550"/>
              <a:gd name="connsiteY5" fmla="*/ 2149475 h 2263775"/>
              <a:gd name="connsiteX6" fmla="*/ 755650 w 971550"/>
              <a:gd name="connsiteY6" fmla="*/ 2130425 h 2263775"/>
              <a:gd name="connsiteX7" fmla="*/ 727075 w 971550"/>
              <a:gd name="connsiteY7" fmla="*/ 2143125 h 2263775"/>
              <a:gd name="connsiteX8" fmla="*/ 676275 w 971550"/>
              <a:gd name="connsiteY8" fmla="*/ 2130425 h 2263775"/>
              <a:gd name="connsiteX9" fmla="*/ 641350 w 971550"/>
              <a:gd name="connsiteY9" fmla="*/ 2117725 h 2263775"/>
              <a:gd name="connsiteX10" fmla="*/ 625475 w 971550"/>
              <a:gd name="connsiteY10" fmla="*/ 2111375 h 2263775"/>
              <a:gd name="connsiteX11" fmla="*/ 565150 w 971550"/>
              <a:gd name="connsiteY11" fmla="*/ 2117725 h 2263775"/>
              <a:gd name="connsiteX12" fmla="*/ 511175 w 971550"/>
              <a:gd name="connsiteY12" fmla="*/ 2073275 h 2263775"/>
              <a:gd name="connsiteX13" fmla="*/ 479425 w 971550"/>
              <a:gd name="connsiteY13" fmla="*/ 2051050 h 2263775"/>
              <a:gd name="connsiteX14" fmla="*/ 444500 w 971550"/>
              <a:gd name="connsiteY14" fmla="*/ 2038350 h 2263775"/>
              <a:gd name="connsiteX15" fmla="*/ 419100 w 971550"/>
              <a:gd name="connsiteY15" fmla="*/ 2003425 h 2263775"/>
              <a:gd name="connsiteX16" fmla="*/ 371475 w 971550"/>
              <a:gd name="connsiteY16" fmla="*/ 1990725 h 2263775"/>
              <a:gd name="connsiteX17" fmla="*/ 333375 w 971550"/>
              <a:gd name="connsiteY17" fmla="*/ 1968500 h 2263775"/>
              <a:gd name="connsiteX18" fmla="*/ 298450 w 971550"/>
              <a:gd name="connsiteY18" fmla="*/ 1971675 h 2263775"/>
              <a:gd name="connsiteX19" fmla="*/ 282575 w 971550"/>
              <a:gd name="connsiteY19" fmla="*/ 1949450 h 2263775"/>
              <a:gd name="connsiteX20" fmla="*/ 238125 w 971550"/>
              <a:gd name="connsiteY20" fmla="*/ 1936750 h 2263775"/>
              <a:gd name="connsiteX21" fmla="*/ 212725 w 971550"/>
              <a:gd name="connsiteY21" fmla="*/ 1943100 h 2263775"/>
              <a:gd name="connsiteX22" fmla="*/ 165100 w 971550"/>
              <a:gd name="connsiteY22" fmla="*/ 1936750 h 2263775"/>
              <a:gd name="connsiteX23" fmla="*/ 120650 w 971550"/>
              <a:gd name="connsiteY23" fmla="*/ 1952625 h 2263775"/>
              <a:gd name="connsiteX24" fmla="*/ 53975 w 971550"/>
              <a:gd name="connsiteY24" fmla="*/ 1946275 h 2263775"/>
              <a:gd name="connsiteX25" fmla="*/ 53975 w 971550"/>
              <a:gd name="connsiteY25" fmla="*/ 1946275 h 2263775"/>
              <a:gd name="connsiteX26" fmla="*/ 0 w 971550"/>
              <a:gd name="connsiteY26" fmla="*/ 1952625 h 2263775"/>
              <a:gd name="connsiteX27" fmla="*/ 63500 w 971550"/>
              <a:gd name="connsiteY27" fmla="*/ 869950 h 2263775"/>
              <a:gd name="connsiteX28" fmla="*/ 76200 w 971550"/>
              <a:gd name="connsiteY28" fmla="*/ 806450 h 2263775"/>
              <a:gd name="connsiteX29" fmla="*/ 57150 w 971550"/>
              <a:gd name="connsiteY29" fmla="*/ 765175 h 2263775"/>
              <a:gd name="connsiteX30" fmla="*/ 82550 w 971550"/>
              <a:gd name="connsiteY30" fmla="*/ 739775 h 2263775"/>
              <a:gd name="connsiteX31" fmla="*/ 111125 w 971550"/>
              <a:gd name="connsiteY31" fmla="*/ 692150 h 2263775"/>
              <a:gd name="connsiteX32" fmla="*/ 139700 w 971550"/>
              <a:gd name="connsiteY32" fmla="*/ 701675 h 2263775"/>
              <a:gd name="connsiteX33" fmla="*/ 212725 w 971550"/>
              <a:gd name="connsiteY33" fmla="*/ 660400 h 2263775"/>
              <a:gd name="connsiteX34" fmla="*/ 228600 w 971550"/>
              <a:gd name="connsiteY34" fmla="*/ 603250 h 2263775"/>
              <a:gd name="connsiteX35" fmla="*/ 241300 w 971550"/>
              <a:gd name="connsiteY35" fmla="*/ 546100 h 2263775"/>
              <a:gd name="connsiteX36" fmla="*/ 276225 w 971550"/>
              <a:gd name="connsiteY36" fmla="*/ 482600 h 2263775"/>
              <a:gd name="connsiteX37" fmla="*/ 342900 w 971550"/>
              <a:gd name="connsiteY37" fmla="*/ 444500 h 2263775"/>
              <a:gd name="connsiteX38" fmla="*/ 381000 w 971550"/>
              <a:gd name="connsiteY38" fmla="*/ 428625 h 2263775"/>
              <a:gd name="connsiteX39" fmla="*/ 396875 w 971550"/>
              <a:gd name="connsiteY39" fmla="*/ 390525 h 2263775"/>
              <a:gd name="connsiteX40" fmla="*/ 406400 w 971550"/>
              <a:gd name="connsiteY40" fmla="*/ 352425 h 2263775"/>
              <a:gd name="connsiteX41" fmla="*/ 457200 w 971550"/>
              <a:gd name="connsiteY41" fmla="*/ 320675 h 2263775"/>
              <a:gd name="connsiteX42" fmla="*/ 454025 w 971550"/>
              <a:gd name="connsiteY42" fmla="*/ 276225 h 2263775"/>
              <a:gd name="connsiteX43" fmla="*/ 495300 w 971550"/>
              <a:gd name="connsiteY43" fmla="*/ 222250 h 2263775"/>
              <a:gd name="connsiteX44" fmla="*/ 523875 w 971550"/>
              <a:gd name="connsiteY44" fmla="*/ 171450 h 2263775"/>
              <a:gd name="connsiteX45" fmla="*/ 495300 w 971550"/>
              <a:gd name="connsiteY45" fmla="*/ 104775 h 2263775"/>
              <a:gd name="connsiteX46" fmla="*/ 473075 w 971550"/>
              <a:gd name="connsiteY46" fmla="*/ 57150 h 2263775"/>
              <a:gd name="connsiteX47" fmla="*/ 498475 w 971550"/>
              <a:gd name="connsiteY47" fmla="*/ 0 h 2263775"/>
              <a:gd name="connsiteX0" fmla="*/ 917575 w 917575"/>
              <a:gd name="connsiteY0" fmla="*/ 2263775 h 2263775"/>
              <a:gd name="connsiteX1" fmla="*/ 901700 w 917575"/>
              <a:gd name="connsiteY1" fmla="*/ 2206625 h 2263775"/>
              <a:gd name="connsiteX2" fmla="*/ 869950 w 917575"/>
              <a:gd name="connsiteY2" fmla="*/ 2162175 h 2263775"/>
              <a:gd name="connsiteX3" fmla="*/ 831850 w 917575"/>
              <a:gd name="connsiteY3" fmla="*/ 2149475 h 2263775"/>
              <a:gd name="connsiteX4" fmla="*/ 777875 w 917575"/>
              <a:gd name="connsiteY4" fmla="*/ 2152650 h 2263775"/>
              <a:gd name="connsiteX5" fmla="*/ 736600 w 917575"/>
              <a:gd name="connsiteY5" fmla="*/ 2149475 h 2263775"/>
              <a:gd name="connsiteX6" fmla="*/ 701675 w 917575"/>
              <a:gd name="connsiteY6" fmla="*/ 2130425 h 2263775"/>
              <a:gd name="connsiteX7" fmla="*/ 673100 w 917575"/>
              <a:gd name="connsiteY7" fmla="*/ 2143125 h 2263775"/>
              <a:gd name="connsiteX8" fmla="*/ 622300 w 917575"/>
              <a:gd name="connsiteY8" fmla="*/ 2130425 h 2263775"/>
              <a:gd name="connsiteX9" fmla="*/ 587375 w 917575"/>
              <a:gd name="connsiteY9" fmla="*/ 2117725 h 2263775"/>
              <a:gd name="connsiteX10" fmla="*/ 571500 w 917575"/>
              <a:gd name="connsiteY10" fmla="*/ 2111375 h 2263775"/>
              <a:gd name="connsiteX11" fmla="*/ 511175 w 917575"/>
              <a:gd name="connsiteY11" fmla="*/ 2117725 h 2263775"/>
              <a:gd name="connsiteX12" fmla="*/ 457200 w 917575"/>
              <a:gd name="connsiteY12" fmla="*/ 2073275 h 2263775"/>
              <a:gd name="connsiteX13" fmla="*/ 425450 w 917575"/>
              <a:gd name="connsiteY13" fmla="*/ 2051050 h 2263775"/>
              <a:gd name="connsiteX14" fmla="*/ 390525 w 917575"/>
              <a:gd name="connsiteY14" fmla="*/ 2038350 h 2263775"/>
              <a:gd name="connsiteX15" fmla="*/ 365125 w 917575"/>
              <a:gd name="connsiteY15" fmla="*/ 2003425 h 2263775"/>
              <a:gd name="connsiteX16" fmla="*/ 317500 w 917575"/>
              <a:gd name="connsiteY16" fmla="*/ 1990725 h 2263775"/>
              <a:gd name="connsiteX17" fmla="*/ 279400 w 917575"/>
              <a:gd name="connsiteY17" fmla="*/ 1968500 h 2263775"/>
              <a:gd name="connsiteX18" fmla="*/ 244475 w 917575"/>
              <a:gd name="connsiteY18" fmla="*/ 1971675 h 2263775"/>
              <a:gd name="connsiteX19" fmla="*/ 228600 w 917575"/>
              <a:gd name="connsiteY19" fmla="*/ 1949450 h 2263775"/>
              <a:gd name="connsiteX20" fmla="*/ 184150 w 917575"/>
              <a:gd name="connsiteY20" fmla="*/ 1936750 h 2263775"/>
              <a:gd name="connsiteX21" fmla="*/ 158750 w 917575"/>
              <a:gd name="connsiteY21" fmla="*/ 1943100 h 2263775"/>
              <a:gd name="connsiteX22" fmla="*/ 111125 w 917575"/>
              <a:gd name="connsiteY22" fmla="*/ 1936750 h 2263775"/>
              <a:gd name="connsiteX23" fmla="*/ 66675 w 917575"/>
              <a:gd name="connsiteY23" fmla="*/ 1952625 h 2263775"/>
              <a:gd name="connsiteX24" fmla="*/ 0 w 917575"/>
              <a:gd name="connsiteY24" fmla="*/ 1946275 h 2263775"/>
              <a:gd name="connsiteX25" fmla="*/ 0 w 917575"/>
              <a:gd name="connsiteY25" fmla="*/ 1946275 h 2263775"/>
              <a:gd name="connsiteX26" fmla="*/ 9525 w 917575"/>
              <a:gd name="connsiteY26" fmla="*/ 869950 h 2263775"/>
              <a:gd name="connsiteX27" fmla="*/ 22225 w 917575"/>
              <a:gd name="connsiteY27" fmla="*/ 806450 h 2263775"/>
              <a:gd name="connsiteX28" fmla="*/ 3175 w 917575"/>
              <a:gd name="connsiteY28" fmla="*/ 765175 h 2263775"/>
              <a:gd name="connsiteX29" fmla="*/ 28575 w 917575"/>
              <a:gd name="connsiteY29" fmla="*/ 739775 h 2263775"/>
              <a:gd name="connsiteX30" fmla="*/ 57150 w 917575"/>
              <a:gd name="connsiteY30" fmla="*/ 692150 h 2263775"/>
              <a:gd name="connsiteX31" fmla="*/ 85725 w 917575"/>
              <a:gd name="connsiteY31" fmla="*/ 701675 h 2263775"/>
              <a:gd name="connsiteX32" fmla="*/ 158750 w 917575"/>
              <a:gd name="connsiteY32" fmla="*/ 660400 h 2263775"/>
              <a:gd name="connsiteX33" fmla="*/ 174625 w 917575"/>
              <a:gd name="connsiteY33" fmla="*/ 603250 h 2263775"/>
              <a:gd name="connsiteX34" fmla="*/ 187325 w 917575"/>
              <a:gd name="connsiteY34" fmla="*/ 546100 h 2263775"/>
              <a:gd name="connsiteX35" fmla="*/ 222250 w 917575"/>
              <a:gd name="connsiteY35" fmla="*/ 482600 h 2263775"/>
              <a:gd name="connsiteX36" fmla="*/ 288925 w 917575"/>
              <a:gd name="connsiteY36" fmla="*/ 444500 h 2263775"/>
              <a:gd name="connsiteX37" fmla="*/ 327025 w 917575"/>
              <a:gd name="connsiteY37" fmla="*/ 428625 h 2263775"/>
              <a:gd name="connsiteX38" fmla="*/ 342900 w 917575"/>
              <a:gd name="connsiteY38" fmla="*/ 390525 h 2263775"/>
              <a:gd name="connsiteX39" fmla="*/ 352425 w 917575"/>
              <a:gd name="connsiteY39" fmla="*/ 352425 h 2263775"/>
              <a:gd name="connsiteX40" fmla="*/ 403225 w 917575"/>
              <a:gd name="connsiteY40" fmla="*/ 320675 h 2263775"/>
              <a:gd name="connsiteX41" fmla="*/ 400050 w 917575"/>
              <a:gd name="connsiteY41" fmla="*/ 276225 h 2263775"/>
              <a:gd name="connsiteX42" fmla="*/ 441325 w 917575"/>
              <a:gd name="connsiteY42" fmla="*/ 222250 h 2263775"/>
              <a:gd name="connsiteX43" fmla="*/ 469900 w 917575"/>
              <a:gd name="connsiteY43" fmla="*/ 171450 h 2263775"/>
              <a:gd name="connsiteX44" fmla="*/ 441325 w 917575"/>
              <a:gd name="connsiteY44" fmla="*/ 104775 h 2263775"/>
              <a:gd name="connsiteX45" fmla="*/ 419100 w 917575"/>
              <a:gd name="connsiteY45" fmla="*/ 57150 h 2263775"/>
              <a:gd name="connsiteX46" fmla="*/ 444500 w 917575"/>
              <a:gd name="connsiteY46" fmla="*/ 0 h 2263775"/>
              <a:gd name="connsiteX0" fmla="*/ 917575 w 917575"/>
              <a:gd name="connsiteY0" fmla="*/ 2206625 h 2206625"/>
              <a:gd name="connsiteX1" fmla="*/ 901700 w 917575"/>
              <a:gd name="connsiteY1" fmla="*/ 2149475 h 2206625"/>
              <a:gd name="connsiteX2" fmla="*/ 869950 w 917575"/>
              <a:gd name="connsiteY2" fmla="*/ 2105025 h 2206625"/>
              <a:gd name="connsiteX3" fmla="*/ 831850 w 917575"/>
              <a:gd name="connsiteY3" fmla="*/ 2092325 h 2206625"/>
              <a:gd name="connsiteX4" fmla="*/ 777875 w 917575"/>
              <a:gd name="connsiteY4" fmla="*/ 2095500 h 2206625"/>
              <a:gd name="connsiteX5" fmla="*/ 736600 w 917575"/>
              <a:gd name="connsiteY5" fmla="*/ 2092325 h 2206625"/>
              <a:gd name="connsiteX6" fmla="*/ 701675 w 917575"/>
              <a:gd name="connsiteY6" fmla="*/ 2073275 h 2206625"/>
              <a:gd name="connsiteX7" fmla="*/ 673100 w 917575"/>
              <a:gd name="connsiteY7" fmla="*/ 2085975 h 2206625"/>
              <a:gd name="connsiteX8" fmla="*/ 622300 w 917575"/>
              <a:gd name="connsiteY8" fmla="*/ 2073275 h 2206625"/>
              <a:gd name="connsiteX9" fmla="*/ 587375 w 917575"/>
              <a:gd name="connsiteY9" fmla="*/ 2060575 h 2206625"/>
              <a:gd name="connsiteX10" fmla="*/ 571500 w 917575"/>
              <a:gd name="connsiteY10" fmla="*/ 2054225 h 2206625"/>
              <a:gd name="connsiteX11" fmla="*/ 511175 w 917575"/>
              <a:gd name="connsiteY11" fmla="*/ 2060575 h 2206625"/>
              <a:gd name="connsiteX12" fmla="*/ 457200 w 917575"/>
              <a:gd name="connsiteY12" fmla="*/ 2016125 h 2206625"/>
              <a:gd name="connsiteX13" fmla="*/ 425450 w 917575"/>
              <a:gd name="connsiteY13" fmla="*/ 1993900 h 2206625"/>
              <a:gd name="connsiteX14" fmla="*/ 390525 w 917575"/>
              <a:gd name="connsiteY14" fmla="*/ 1981200 h 2206625"/>
              <a:gd name="connsiteX15" fmla="*/ 365125 w 917575"/>
              <a:gd name="connsiteY15" fmla="*/ 1946275 h 2206625"/>
              <a:gd name="connsiteX16" fmla="*/ 317500 w 917575"/>
              <a:gd name="connsiteY16" fmla="*/ 1933575 h 2206625"/>
              <a:gd name="connsiteX17" fmla="*/ 279400 w 917575"/>
              <a:gd name="connsiteY17" fmla="*/ 1911350 h 2206625"/>
              <a:gd name="connsiteX18" fmla="*/ 244475 w 917575"/>
              <a:gd name="connsiteY18" fmla="*/ 1914525 h 2206625"/>
              <a:gd name="connsiteX19" fmla="*/ 228600 w 917575"/>
              <a:gd name="connsiteY19" fmla="*/ 1892300 h 2206625"/>
              <a:gd name="connsiteX20" fmla="*/ 184150 w 917575"/>
              <a:gd name="connsiteY20" fmla="*/ 1879600 h 2206625"/>
              <a:gd name="connsiteX21" fmla="*/ 158750 w 917575"/>
              <a:gd name="connsiteY21" fmla="*/ 1885950 h 2206625"/>
              <a:gd name="connsiteX22" fmla="*/ 111125 w 917575"/>
              <a:gd name="connsiteY22" fmla="*/ 1879600 h 2206625"/>
              <a:gd name="connsiteX23" fmla="*/ 66675 w 917575"/>
              <a:gd name="connsiteY23" fmla="*/ 1895475 h 2206625"/>
              <a:gd name="connsiteX24" fmla="*/ 0 w 917575"/>
              <a:gd name="connsiteY24" fmla="*/ 1889125 h 2206625"/>
              <a:gd name="connsiteX25" fmla="*/ 0 w 917575"/>
              <a:gd name="connsiteY25" fmla="*/ 1889125 h 2206625"/>
              <a:gd name="connsiteX26" fmla="*/ 9525 w 917575"/>
              <a:gd name="connsiteY26" fmla="*/ 812800 h 2206625"/>
              <a:gd name="connsiteX27" fmla="*/ 22225 w 917575"/>
              <a:gd name="connsiteY27" fmla="*/ 749300 h 2206625"/>
              <a:gd name="connsiteX28" fmla="*/ 3175 w 917575"/>
              <a:gd name="connsiteY28" fmla="*/ 708025 h 2206625"/>
              <a:gd name="connsiteX29" fmla="*/ 28575 w 917575"/>
              <a:gd name="connsiteY29" fmla="*/ 682625 h 2206625"/>
              <a:gd name="connsiteX30" fmla="*/ 57150 w 917575"/>
              <a:gd name="connsiteY30" fmla="*/ 635000 h 2206625"/>
              <a:gd name="connsiteX31" fmla="*/ 85725 w 917575"/>
              <a:gd name="connsiteY31" fmla="*/ 644525 h 2206625"/>
              <a:gd name="connsiteX32" fmla="*/ 158750 w 917575"/>
              <a:gd name="connsiteY32" fmla="*/ 603250 h 2206625"/>
              <a:gd name="connsiteX33" fmla="*/ 174625 w 917575"/>
              <a:gd name="connsiteY33" fmla="*/ 546100 h 2206625"/>
              <a:gd name="connsiteX34" fmla="*/ 187325 w 917575"/>
              <a:gd name="connsiteY34" fmla="*/ 488950 h 2206625"/>
              <a:gd name="connsiteX35" fmla="*/ 222250 w 917575"/>
              <a:gd name="connsiteY35" fmla="*/ 425450 h 2206625"/>
              <a:gd name="connsiteX36" fmla="*/ 288925 w 917575"/>
              <a:gd name="connsiteY36" fmla="*/ 387350 h 2206625"/>
              <a:gd name="connsiteX37" fmla="*/ 327025 w 917575"/>
              <a:gd name="connsiteY37" fmla="*/ 371475 h 2206625"/>
              <a:gd name="connsiteX38" fmla="*/ 342900 w 917575"/>
              <a:gd name="connsiteY38" fmla="*/ 333375 h 2206625"/>
              <a:gd name="connsiteX39" fmla="*/ 352425 w 917575"/>
              <a:gd name="connsiteY39" fmla="*/ 295275 h 2206625"/>
              <a:gd name="connsiteX40" fmla="*/ 403225 w 917575"/>
              <a:gd name="connsiteY40" fmla="*/ 263525 h 2206625"/>
              <a:gd name="connsiteX41" fmla="*/ 400050 w 917575"/>
              <a:gd name="connsiteY41" fmla="*/ 219075 h 2206625"/>
              <a:gd name="connsiteX42" fmla="*/ 441325 w 917575"/>
              <a:gd name="connsiteY42" fmla="*/ 165100 h 2206625"/>
              <a:gd name="connsiteX43" fmla="*/ 469900 w 917575"/>
              <a:gd name="connsiteY43" fmla="*/ 114300 h 2206625"/>
              <a:gd name="connsiteX44" fmla="*/ 441325 w 917575"/>
              <a:gd name="connsiteY44" fmla="*/ 47625 h 2206625"/>
              <a:gd name="connsiteX45" fmla="*/ 419100 w 917575"/>
              <a:gd name="connsiteY45" fmla="*/ 0 h 2206625"/>
              <a:gd name="connsiteX0" fmla="*/ 917575 w 917575"/>
              <a:gd name="connsiteY0" fmla="*/ 2159000 h 2159000"/>
              <a:gd name="connsiteX1" fmla="*/ 901700 w 917575"/>
              <a:gd name="connsiteY1" fmla="*/ 2101850 h 2159000"/>
              <a:gd name="connsiteX2" fmla="*/ 869950 w 917575"/>
              <a:gd name="connsiteY2" fmla="*/ 2057400 h 2159000"/>
              <a:gd name="connsiteX3" fmla="*/ 831850 w 917575"/>
              <a:gd name="connsiteY3" fmla="*/ 2044700 h 2159000"/>
              <a:gd name="connsiteX4" fmla="*/ 777875 w 917575"/>
              <a:gd name="connsiteY4" fmla="*/ 2047875 h 2159000"/>
              <a:gd name="connsiteX5" fmla="*/ 736600 w 917575"/>
              <a:gd name="connsiteY5" fmla="*/ 2044700 h 2159000"/>
              <a:gd name="connsiteX6" fmla="*/ 701675 w 917575"/>
              <a:gd name="connsiteY6" fmla="*/ 2025650 h 2159000"/>
              <a:gd name="connsiteX7" fmla="*/ 673100 w 917575"/>
              <a:gd name="connsiteY7" fmla="*/ 2038350 h 2159000"/>
              <a:gd name="connsiteX8" fmla="*/ 622300 w 917575"/>
              <a:gd name="connsiteY8" fmla="*/ 2025650 h 2159000"/>
              <a:gd name="connsiteX9" fmla="*/ 587375 w 917575"/>
              <a:gd name="connsiteY9" fmla="*/ 2012950 h 2159000"/>
              <a:gd name="connsiteX10" fmla="*/ 571500 w 917575"/>
              <a:gd name="connsiteY10" fmla="*/ 2006600 h 2159000"/>
              <a:gd name="connsiteX11" fmla="*/ 511175 w 917575"/>
              <a:gd name="connsiteY11" fmla="*/ 2012950 h 2159000"/>
              <a:gd name="connsiteX12" fmla="*/ 457200 w 917575"/>
              <a:gd name="connsiteY12" fmla="*/ 1968500 h 2159000"/>
              <a:gd name="connsiteX13" fmla="*/ 425450 w 917575"/>
              <a:gd name="connsiteY13" fmla="*/ 1946275 h 2159000"/>
              <a:gd name="connsiteX14" fmla="*/ 390525 w 917575"/>
              <a:gd name="connsiteY14" fmla="*/ 1933575 h 2159000"/>
              <a:gd name="connsiteX15" fmla="*/ 365125 w 917575"/>
              <a:gd name="connsiteY15" fmla="*/ 1898650 h 2159000"/>
              <a:gd name="connsiteX16" fmla="*/ 317500 w 917575"/>
              <a:gd name="connsiteY16" fmla="*/ 1885950 h 2159000"/>
              <a:gd name="connsiteX17" fmla="*/ 279400 w 917575"/>
              <a:gd name="connsiteY17" fmla="*/ 1863725 h 2159000"/>
              <a:gd name="connsiteX18" fmla="*/ 244475 w 917575"/>
              <a:gd name="connsiteY18" fmla="*/ 1866900 h 2159000"/>
              <a:gd name="connsiteX19" fmla="*/ 228600 w 917575"/>
              <a:gd name="connsiteY19" fmla="*/ 1844675 h 2159000"/>
              <a:gd name="connsiteX20" fmla="*/ 184150 w 917575"/>
              <a:gd name="connsiteY20" fmla="*/ 1831975 h 2159000"/>
              <a:gd name="connsiteX21" fmla="*/ 158750 w 917575"/>
              <a:gd name="connsiteY21" fmla="*/ 1838325 h 2159000"/>
              <a:gd name="connsiteX22" fmla="*/ 111125 w 917575"/>
              <a:gd name="connsiteY22" fmla="*/ 1831975 h 2159000"/>
              <a:gd name="connsiteX23" fmla="*/ 66675 w 917575"/>
              <a:gd name="connsiteY23" fmla="*/ 1847850 h 2159000"/>
              <a:gd name="connsiteX24" fmla="*/ 0 w 917575"/>
              <a:gd name="connsiteY24" fmla="*/ 1841500 h 2159000"/>
              <a:gd name="connsiteX25" fmla="*/ 0 w 917575"/>
              <a:gd name="connsiteY25" fmla="*/ 1841500 h 2159000"/>
              <a:gd name="connsiteX26" fmla="*/ 9525 w 917575"/>
              <a:gd name="connsiteY26" fmla="*/ 765175 h 2159000"/>
              <a:gd name="connsiteX27" fmla="*/ 22225 w 917575"/>
              <a:gd name="connsiteY27" fmla="*/ 701675 h 2159000"/>
              <a:gd name="connsiteX28" fmla="*/ 3175 w 917575"/>
              <a:gd name="connsiteY28" fmla="*/ 660400 h 2159000"/>
              <a:gd name="connsiteX29" fmla="*/ 28575 w 917575"/>
              <a:gd name="connsiteY29" fmla="*/ 635000 h 2159000"/>
              <a:gd name="connsiteX30" fmla="*/ 57150 w 917575"/>
              <a:gd name="connsiteY30" fmla="*/ 587375 h 2159000"/>
              <a:gd name="connsiteX31" fmla="*/ 85725 w 917575"/>
              <a:gd name="connsiteY31" fmla="*/ 596900 h 2159000"/>
              <a:gd name="connsiteX32" fmla="*/ 158750 w 917575"/>
              <a:gd name="connsiteY32" fmla="*/ 555625 h 2159000"/>
              <a:gd name="connsiteX33" fmla="*/ 174625 w 917575"/>
              <a:gd name="connsiteY33" fmla="*/ 498475 h 2159000"/>
              <a:gd name="connsiteX34" fmla="*/ 187325 w 917575"/>
              <a:gd name="connsiteY34" fmla="*/ 441325 h 2159000"/>
              <a:gd name="connsiteX35" fmla="*/ 222250 w 917575"/>
              <a:gd name="connsiteY35" fmla="*/ 377825 h 2159000"/>
              <a:gd name="connsiteX36" fmla="*/ 288925 w 917575"/>
              <a:gd name="connsiteY36" fmla="*/ 339725 h 2159000"/>
              <a:gd name="connsiteX37" fmla="*/ 327025 w 917575"/>
              <a:gd name="connsiteY37" fmla="*/ 323850 h 2159000"/>
              <a:gd name="connsiteX38" fmla="*/ 342900 w 917575"/>
              <a:gd name="connsiteY38" fmla="*/ 285750 h 2159000"/>
              <a:gd name="connsiteX39" fmla="*/ 352425 w 917575"/>
              <a:gd name="connsiteY39" fmla="*/ 247650 h 2159000"/>
              <a:gd name="connsiteX40" fmla="*/ 403225 w 917575"/>
              <a:gd name="connsiteY40" fmla="*/ 215900 h 2159000"/>
              <a:gd name="connsiteX41" fmla="*/ 400050 w 917575"/>
              <a:gd name="connsiteY41" fmla="*/ 171450 h 2159000"/>
              <a:gd name="connsiteX42" fmla="*/ 441325 w 917575"/>
              <a:gd name="connsiteY42" fmla="*/ 117475 h 2159000"/>
              <a:gd name="connsiteX43" fmla="*/ 469900 w 917575"/>
              <a:gd name="connsiteY43" fmla="*/ 66675 h 2159000"/>
              <a:gd name="connsiteX44" fmla="*/ 441325 w 917575"/>
              <a:gd name="connsiteY44" fmla="*/ 0 h 2159000"/>
              <a:gd name="connsiteX0" fmla="*/ 917575 w 917575"/>
              <a:gd name="connsiteY0" fmla="*/ 2092325 h 2092325"/>
              <a:gd name="connsiteX1" fmla="*/ 901700 w 917575"/>
              <a:gd name="connsiteY1" fmla="*/ 2035175 h 2092325"/>
              <a:gd name="connsiteX2" fmla="*/ 869950 w 917575"/>
              <a:gd name="connsiteY2" fmla="*/ 1990725 h 2092325"/>
              <a:gd name="connsiteX3" fmla="*/ 831850 w 917575"/>
              <a:gd name="connsiteY3" fmla="*/ 1978025 h 2092325"/>
              <a:gd name="connsiteX4" fmla="*/ 777875 w 917575"/>
              <a:gd name="connsiteY4" fmla="*/ 1981200 h 2092325"/>
              <a:gd name="connsiteX5" fmla="*/ 736600 w 917575"/>
              <a:gd name="connsiteY5" fmla="*/ 1978025 h 2092325"/>
              <a:gd name="connsiteX6" fmla="*/ 701675 w 917575"/>
              <a:gd name="connsiteY6" fmla="*/ 1958975 h 2092325"/>
              <a:gd name="connsiteX7" fmla="*/ 673100 w 917575"/>
              <a:gd name="connsiteY7" fmla="*/ 1971675 h 2092325"/>
              <a:gd name="connsiteX8" fmla="*/ 622300 w 917575"/>
              <a:gd name="connsiteY8" fmla="*/ 1958975 h 2092325"/>
              <a:gd name="connsiteX9" fmla="*/ 587375 w 917575"/>
              <a:gd name="connsiteY9" fmla="*/ 1946275 h 2092325"/>
              <a:gd name="connsiteX10" fmla="*/ 571500 w 917575"/>
              <a:gd name="connsiteY10" fmla="*/ 1939925 h 2092325"/>
              <a:gd name="connsiteX11" fmla="*/ 511175 w 917575"/>
              <a:gd name="connsiteY11" fmla="*/ 1946275 h 2092325"/>
              <a:gd name="connsiteX12" fmla="*/ 457200 w 917575"/>
              <a:gd name="connsiteY12" fmla="*/ 1901825 h 2092325"/>
              <a:gd name="connsiteX13" fmla="*/ 425450 w 917575"/>
              <a:gd name="connsiteY13" fmla="*/ 1879600 h 2092325"/>
              <a:gd name="connsiteX14" fmla="*/ 390525 w 917575"/>
              <a:gd name="connsiteY14" fmla="*/ 1866900 h 2092325"/>
              <a:gd name="connsiteX15" fmla="*/ 365125 w 917575"/>
              <a:gd name="connsiteY15" fmla="*/ 1831975 h 2092325"/>
              <a:gd name="connsiteX16" fmla="*/ 317500 w 917575"/>
              <a:gd name="connsiteY16" fmla="*/ 1819275 h 2092325"/>
              <a:gd name="connsiteX17" fmla="*/ 279400 w 917575"/>
              <a:gd name="connsiteY17" fmla="*/ 1797050 h 2092325"/>
              <a:gd name="connsiteX18" fmla="*/ 244475 w 917575"/>
              <a:gd name="connsiteY18" fmla="*/ 1800225 h 2092325"/>
              <a:gd name="connsiteX19" fmla="*/ 228600 w 917575"/>
              <a:gd name="connsiteY19" fmla="*/ 1778000 h 2092325"/>
              <a:gd name="connsiteX20" fmla="*/ 184150 w 917575"/>
              <a:gd name="connsiteY20" fmla="*/ 1765300 h 2092325"/>
              <a:gd name="connsiteX21" fmla="*/ 158750 w 917575"/>
              <a:gd name="connsiteY21" fmla="*/ 1771650 h 2092325"/>
              <a:gd name="connsiteX22" fmla="*/ 111125 w 917575"/>
              <a:gd name="connsiteY22" fmla="*/ 1765300 h 2092325"/>
              <a:gd name="connsiteX23" fmla="*/ 66675 w 917575"/>
              <a:gd name="connsiteY23" fmla="*/ 1781175 h 2092325"/>
              <a:gd name="connsiteX24" fmla="*/ 0 w 917575"/>
              <a:gd name="connsiteY24" fmla="*/ 1774825 h 2092325"/>
              <a:gd name="connsiteX25" fmla="*/ 0 w 917575"/>
              <a:gd name="connsiteY25" fmla="*/ 1774825 h 2092325"/>
              <a:gd name="connsiteX26" fmla="*/ 9525 w 917575"/>
              <a:gd name="connsiteY26" fmla="*/ 698500 h 2092325"/>
              <a:gd name="connsiteX27" fmla="*/ 22225 w 917575"/>
              <a:gd name="connsiteY27" fmla="*/ 635000 h 2092325"/>
              <a:gd name="connsiteX28" fmla="*/ 3175 w 917575"/>
              <a:gd name="connsiteY28" fmla="*/ 593725 h 2092325"/>
              <a:gd name="connsiteX29" fmla="*/ 28575 w 917575"/>
              <a:gd name="connsiteY29" fmla="*/ 568325 h 2092325"/>
              <a:gd name="connsiteX30" fmla="*/ 57150 w 917575"/>
              <a:gd name="connsiteY30" fmla="*/ 520700 h 2092325"/>
              <a:gd name="connsiteX31" fmla="*/ 85725 w 917575"/>
              <a:gd name="connsiteY31" fmla="*/ 530225 h 2092325"/>
              <a:gd name="connsiteX32" fmla="*/ 158750 w 917575"/>
              <a:gd name="connsiteY32" fmla="*/ 488950 h 2092325"/>
              <a:gd name="connsiteX33" fmla="*/ 174625 w 917575"/>
              <a:gd name="connsiteY33" fmla="*/ 431800 h 2092325"/>
              <a:gd name="connsiteX34" fmla="*/ 187325 w 917575"/>
              <a:gd name="connsiteY34" fmla="*/ 374650 h 2092325"/>
              <a:gd name="connsiteX35" fmla="*/ 222250 w 917575"/>
              <a:gd name="connsiteY35" fmla="*/ 311150 h 2092325"/>
              <a:gd name="connsiteX36" fmla="*/ 288925 w 917575"/>
              <a:gd name="connsiteY36" fmla="*/ 273050 h 2092325"/>
              <a:gd name="connsiteX37" fmla="*/ 327025 w 917575"/>
              <a:gd name="connsiteY37" fmla="*/ 257175 h 2092325"/>
              <a:gd name="connsiteX38" fmla="*/ 342900 w 917575"/>
              <a:gd name="connsiteY38" fmla="*/ 219075 h 2092325"/>
              <a:gd name="connsiteX39" fmla="*/ 352425 w 917575"/>
              <a:gd name="connsiteY39" fmla="*/ 180975 h 2092325"/>
              <a:gd name="connsiteX40" fmla="*/ 403225 w 917575"/>
              <a:gd name="connsiteY40" fmla="*/ 149225 h 2092325"/>
              <a:gd name="connsiteX41" fmla="*/ 400050 w 917575"/>
              <a:gd name="connsiteY41" fmla="*/ 104775 h 2092325"/>
              <a:gd name="connsiteX42" fmla="*/ 441325 w 917575"/>
              <a:gd name="connsiteY42" fmla="*/ 50800 h 2092325"/>
              <a:gd name="connsiteX43" fmla="*/ 469900 w 917575"/>
              <a:gd name="connsiteY43" fmla="*/ 0 h 2092325"/>
              <a:gd name="connsiteX0" fmla="*/ 917575 w 917575"/>
              <a:gd name="connsiteY0" fmla="*/ 2041525 h 2041525"/>
              <a:gd name="connsiteX1" fmla="*/ 901700 w 917575"/>
              <a:gd name="connsiteY1" fmla="*/ 1984375 h 2041525"/>
              <a:gd name="connsiteX2" fmla="*/ 869950 w 917575"/>
              <a:gd name="connsiteY2" fmla="*/ 1939925 h 2041525"/>
              <a:gd name="connsiteX3" fmla="*/ 831850 w 917575"/>
              <a:gd name="connsiteY3" fmla="*/ 1927225 h 2041525"/>
              <a:gd name="connsiteX4" fmla="*/ 777875 w 917575"/>
              <a:gd name="connsiteY4" fmla="*/ 1930400 h 2041525"/>
              <a:gd name="connsiteX5" fmla="*/ 736600 w 917575"/>
              <a:gd name="connsiteY5" fmla="*/ 1927225 h 2041525"/>
              <a:gd name="connsiteX6" fmla="*/ 701675 w 917575"/>
              <a:gd name="connsiteY6" fmla="*/ 1908175 h 2041525"/>
              <a:gd name="connsiteX7" fmla="*/ 673100 w 917575"/>
              <a:gd name="connsiteY7" fmla="*/ 1920875 h 2041525"/>
              <a:gd name="connsiteX8" fmla="*/ 622300 w 917575"/>
              <a:gd name="connsiteY8" fmla="*/ 1908175 h 2041525"/>
              <a:gd name="connsiteX9" fmla="*/ 587375 w 917575"/>
              <a:gd name="connsiteY9" fmla="*/ 1895475 h 2041525"/>
              <a:gd name="connsiteX10" fmla="*/ 571500 w 917575"/>
              <a:gd name="connsiteY10" fmla="*/ 1889125 h 2041525"/>
              <a:gd name="connsiteX11" fmla="*/ 511175 w 917575"/>
              <a:gd name="connsiteY11" fmla="*/ 1895475 h 2041525"/>
              <a:gd name="connsiteX12" fmla="*/ 457200 w 917575"/>
              <a:gd name="connsiteY12" fmla="*/ 1851025 h 2041525"/>
              <a:gd name="connsiteX13" fmla="*/ 425450 w 917575"/>
              <a:gd name="connsiteY13" fmla="*/ 1828800 h 2041525"/>
              <a:gd name="connsiteX14" fmla="*/ 390525 w 917575"/>
              <a:gd name="connsiteY14" fmla="*/ 1816100 h 2041525"/>
              <a:gd name="connsiteX15" fmla="*/ 365125 w 917575"/>
              <a:gd name="connsiteY15" fmla="*/ 1781175 h 2041525"/>
              <a:gd name="connsiteX16" fmla="*/ 317500 w 917575"/>
              <a:gd name="connsiteY16" fmla="*/ 1768475 h 2041525"/>
              <a:gd name="connsiteX17" fmla="*/ 279400 w 917575"/>
              <a:gd name="connsiteY17" fmla="*/ 1746250 h 2041525"/>
              <a:gd name="connsiteX18" fmla="*/ 244475 w 917575"/>
              <a:gd name="connsiteY18" fmla="*/ 1749425 h 2041525"/>
              <a:gd name="connsiteX19" fmla="*/ 228600 w 917575"/>
              <a:gd name="connsiteY19" fmla="*/ 1727200 h 2041525"/>
              <a:gd name="connsiteX20" fmla="*/ 184150 w 917575"/>
              <a:gd name="connsiteY20" fmla="*/ 1714500 h 2041525"/>
              <a:gd name="connsiteX21" fmla="*/ 158750 w 917575"/>
              <a:gd name="connsiteY21" fmla="*/ 1720850 h 2041525"/>
              <a:gd name="connsiteX22" fmla="*/ 111125 w 917575"/>
              <a:gd name="connsiteY22" fmla="*/ 1714500 h 2041525"/>
              <a:gd name="connsiteX23" fmla="*/ 66675 w 917575"/>
              <a:gd name="connsiteY23" fmla="*/ 1730375 h 2041525"/>
              <a:gd name="connsiteX24" fmla="*/ 0 w 917575"/>
              <a:gd name="connsiteY24" fmla="*/ 1724025 h 2041525"/>
              <a:gd name="connsiteX25" fmla="*/ 0 w 917575"/>
              <a:gd name="connsiteY25" fmla="*/ 1724025 h 2041525"/>
              <a:gd name="connsiteX26" fmla="*/ 9525 w 917575"/>
              <a:gd name="connsiteY26" fmla="*/ 647700 h 2041525"/>
              <a:gd name="connsiteX27" fmla="*/ 22225 w 917575"/>
              <a:gd name="connsiteY27" fmla="*/ 584200 h 2041525"/>
              <a:gd name="connsiteX28" fmla="*/ 3175 w 917575"/>
              <a:gd name="connsiteY28" fmla="*/ 542925 h 2041525"/>
              <a:gd name="connsiteX29" fmla="*/ 28575 w 917575"/>
              <a:gd name="connsiteY29" fmla="*/ 517525 h 2041525"/>
              <a:gd name="connsiteX30" fmla="*/ 57150 w 917575"/>
              <a:gd name="connsiteY30" fmla="*/ 469900 h 2041525"/>
              <a:gd name="connsiteX31" fmla="*/ 85725 w 917575"/>
              <a:gd name="connsiteY31" fmla="*/ 479425 h 2041525"/>
              <a:gd name="connsiteX32" fmla="*/ 158750 w 917575"/>
              <a:gd name="connsiteY32" fmla="*/ 438150 h 2041525"/>
              <a:gd name="connsiteX33" fmla="*/ 174625 w 917575"/>
              <a:gd name="connsiteY33" fmla="*/ 381000 h 2041525"/>
              <a:gd name="connsiteX34" fmla="*/ 187325 w 917575"/>
              <a:gd name="connsiteY34" fmla="*/ 323850 h 2041525"/>
              <a:gd name="connsiteX35" fmla="*/ 222250 w 917575"/>
              <a:gd name="connsiteY35" fmla="*/ 260350 h 2041525"/>
              <a:gd name="connsiteX36" fmla="*/ 288925 w 917575"/>
              <a:gd name="connsiteY36" fmla="*/ 222250 h 2041525"/>
              <a:gd name="connsiteX37" fmla="*/ 327025 w 917575"/>
              <a:gd name="connsiteY37" fmla="*/ 206375 h 2041525"/>
              <a:gd name="connsiteX38" fmla="*/ 342900 w 917575"/>
              <a:gd name="connsiteY38" fmla="*/ 168275 h 2041525"/>
              <a:gd name="connsiteX39" fmla="*/ 352425 w 917575"/>
              <a:gd name="connsiteY39" fmla="*/ 130175 h 2041525"/>
              <a:gd name="connsiteX40" fmla="*/ 403225 w 917575"/>
              <a:gd name="connsiteY40" fmla="*/ 98425 h 2041525"/>
              <a:gd name="connsiteX41" fmla="*/ 400050 w 917575"/>
              <a:gd name="connsiteY41" fmla="*/ 53975 h 2041525"/>
              <a:gd name="connsiteX42" fmla="*/ 441325 w 917575"/>
              <a:gd name="connsiteY42" fmla="*/ 0 h 2041525"/>
              <a:gd name="connsiteX0" fmla="*/ 917575 w 917575"/>
              <a:gd name="connsiteY0" fmla="*/ 1987550 h 1987550"/>
              <a:gd name="connsiteX1" fmla="*/ 901700 w 917575"/>
              <a:gd name="connsiteY1" fmla="*/ 1930400 h 1987550"/>
              <a:gd name="connsiteX2" fmla="*/ 869950 w 917575"/>
              <a:gd name="connsiteY2" fmla="*/ 1885950 h 1987550"/>
              <a:gd name="connsiteX3" fmla="*/ 831850 w 917575"/>
              <a:gd name="connsiteY3" fmla="*/ 1873250 h 1987550"/>
              <a:gd name="connsiteX4" fmla="*/ 777875 w 917575"/>
              <a:gd name="connsiteY4" fmla="*/ 1876425 h 1987550"/>
              <a:gd name="connsiteX5" fmla="*/ 736600 w 917575"/>
              <a:gd name="connsiteY5" fmla="*/ 1873250 h 1987550"/>
              <a:gd name="connsiteX6" fmla="*/ 701675 w 917575"/>
              <a:gd name="connsiteY6" fmla="*/ 1854200 h 1987550"/>
              <a:gd name="connsiteX7" fmla="*/ 673100 w 917575"/>
              <a:gd name="connsiteY7" fmla="*/ 1866900 h 1987550"/>
              <a:gd name="connsiteX8" fmla="*/ 622300 w 917575"/>
              <a:gd name="connsiteY8" fmla="*/ 1854200 h 1987550"/>
              <a:gd name="connsiteX9" fmla="*/ 587375 w 917575"/>
              <a:gd name="connsiteY9" fmla="*/ 1841500 h 1987550"/>
              <a:gd name="connsiteX10" fmla="*/ 571500 w 917575"/>
              <a:gd name="connsiteY10" fmla="*/ 1835150 h 1987550"/>
              <a:gd name="connsiteX11" fmla="*/ 511175 w 917575"/>
              <a:gd name="connsiteY11" fmla="*/ 1841500 h 1987550"/>
              <a:gd name="connsiteX12" fmla="*/ 457200 w 917575"/>
              <a:gd name="connsiteY12" fmla="*/ 1797050 h 1987550"/>
              <a:gd name="connsiteX13" fmla="*/ 425450 w 917575"/>
              <a:gd name="connsiteY13" fmla="*/ 1774825 h 1987550"/>
              <a:gd name="connsiteX14" fmla="*/ 390525 w 917575"/>
              <a:gd name="connsiteY14" fmla="*/ 1762125 h 1987550"/>
              <a:gd name="connsiteX15" fmla="*/ 365125 w 917575"/>
              <a:gd name="connsiteY15" fmla="*/ 1727200 h 1987550"/>
              <a:gd name="connsiteX16" fmla="*/ 317500 w 917575"/>
              <a:gd name="connsiteY16" fmla="*/ 1714500 h 1987550"/>
              <a:gd name="connsiteX17" fmla="*/ 279400 w 917575"/>
              <a:gd name="connsiteY17" fmla="*/ 1692275 h 1987550"/>
              <a:gd name="connsiteX18" fmla="*/ 244475 w 917575"/>
              <a:gd name="connsiteY18" fmla="*/ 1695450 h 1987550"/>
              <a:gd name="connsiteX19" fmla="*/ 228600 w 917575"/>
              <a:gd name="connsiteY19" fmla="*/ 1673225 h 1987550"/>
              <a:gd name="connsiteX20" fmla="*/ 184150 w 917575"/>
              <a:gd name="connsiteY20" fmla="*/ 1660525 h 1987550"/>
              <a:gd name="connsiteX21" fmla="*/ 158750 w 917575"/>
              <a:gd name="connsiteY21" fmla="*/ 1666875 h 1987550"/>
              <a:gd name="connsiteX22" fmla="*/ 111125 w 917575"/>
              <a:gd name="connsiteY22" fmla="*/ 1660525 h 1987550"/>
              <a:gd name="connsiteX23" fmla="*/ 66675 w 917575"/>
              <a:gd name="connsiteY23" fmla="*/ 1676400 h 1987550"/>
              <a:gd name="connsiteX24" fmla="*/ 0 w 917575"/>
              <a:gd name="connsiteY24" fmla="*/ 1670050 h 1987550"/>
              <a:gd name="connsiteX25" fmla="*/ 0 w 917575"/>
              <a:gd name="connsiteY25" fmla="*/ 1670050 h 1987550"/>
              <a:gd name="connsiteX26" fmla="*/ 9525 w 917575"/>
              <a:gd name="connsiteY26" fmla="*/ 593725 h 1987550"/>
              <a:gd name="connsiteX27" fmla="*/ 22225 w 917575"/>
              <a:gd name="connsiteY27" fmla="*/ 530225 h 1987550"/>
              <a:gd name="connsiteX28" fmla="*/ 3175 w 917575"/>
              <a:gd name="connsiteY28" fmla="*/ 488950 h 1987550"/>
              <a:gd name="connsiteX29" fmla="*/ 28575 w 917575"/>
              <a:gd name="connsiteY29" fmla="*/ 463550 h 1987550"/>
              <a:gd name="connsiteX30" fmla="*/ 57150 w 917575"/>
              <a:gd name="connsiteY30" fmla="*/ 415925 h 1987550"/>
              <a:gd name="connsiteX31" fmla="*/ 85725 w 917575"/>
              <a:gd name="connsiteY31" fmla="*/ 425450 h 1987550"/>
              <a:gd name="connsiteX32" fmla="*/ 158750 w 917575"/>
              <a:gd name="connsiteY32" fmla="*/ 384175 h 1987550"/>
              <a:gd name="connsiteX33" fmla="*/ 174625 w 917575"/>
              <a:gd name="connsiteY33" fmla="*/ 327025 h 1987550"/>
              <a:gd name="connsiteX34" fmla="*/ 187325 w 917575"/>
              <a:gd name="connsiteY34" fmla="*/ 269875 h 1987550"/>
              <a:gd name="connsiteX35" fmla="*/ 222250 w 917575"/>
              <a:gd name="connsiteY35" fmla="*/ 206375 h 1987550"/>
              <a:gd name="connsiteX36" fmla="*/ 288925 w 917575"/>
              <a:gd name="connsiteY36" fmla="*/ 168275 h 1987550"/>
              <a:gd name="connsiteX37" fmla="*/ 327025 w 917575"/>
              <a:gd name="connsiteY37" fmla="*/ 152400 h 1987550"/>
              <a:gd name="connsiteX38" fmla="*/ 342900 w 917575"/>
              <a:gd name="connsiteY38" fmla="*/ 114300 h 1987550"/>
              <a:gd name="connsiteX39" fmla="*/ 352425 w 917575"/>
              <a:gd name="connsiteY39" fmla="*/ 76200 h 1987550"/>
              <a:gd name="connsiteX40" fmla="*/ 403225 w 917575"/>
              <a:gd name="connsiteY40" fmla="*/ 44450 h 1987550"/>
              <a:gd name="connsiteX41" fmla="*/ 400050 w 917575"/>
              <a:gd name="connsiteY41" fmla="*/ 0 h 1987550"/>
              <a:gd name="connsiteX0" fmla="*/ 917575 w 917575"/>
              <a:gd name="connsiteY0" fmla="*/ 1943100 h 1943100"/>
              <a:gd name="connsiteX1" fmla="*/ 901700 w 917575"/>
              <a:gd name="connsiteY1" fmla="*/ 1885950 h 1943100"/>
              <a:gd name="connsiteX2" fmla="*/ 869950 w 917575"/>
              <a:gd name="connsiteY2" fmla="*/ 1841500 h 1943100"/>
              <a:gd name="connsiteX3" fmla="*/ 831850 w 917575"/>
              <a:gd name="connsiteY3" fmla="*/ 1828800 h 1943100"/>
              <a:gd name="connsiteX4" fmla="*/ 777875 w 917575"/>
              <a:gd name="connsiteY4" fmla="*/ 1831975 h 1943100"/>
              <a:gd name="connsiteX5" fmla="*/ 736600 w 917575"/>
              <a:gd name="connsiteY5" fmla="*/ 1828800 h 1943100"/>
              <a:gd name="connsiteX6" fmla="*/ 701675 w 917575"/>
              <a:gd name="connsiteY6" fmla="*/ 1809750 h 1943100"/>
              <a:gd name="connsiteX7" fmla="*/ 673100 w 917575"/>
              <a:gd name="connsiteY7" fmla="*/ 1822450 h 1943100"/>
              <a:gd name="connsiteX8" fmla="*/ 622300 w 917575"/>
              <a:gd name="connsiteY8" fmla="*/ 1809750 h 1943100"/>
              <a:gd name="connsiteX9" fmla="*/ 587375 w 917575"/>
              <a:gd name="connsiteY9" fmla="*/ 1797050 h 1943100"/>
              <a:gd name="connsiteX10" fmla="*/ 571500 w 917575"/>
              <a:gd name="connsiteY10" fmla="*/ 1790700 h 1943100"/>
              <a:gd name="connsiteX11" fmla="*/ 511175 w 917575"/>
              <a:gd name="connsiteY11" fmla="*/ 1797050 h 1943100"/>
              <a:gd name="connsiteX12" fmla="*/ 457200 w 917575"/>
              <a:gd name="connsiteY12" fmla="*/ 1752600 h 1943100"/>
              <a:gd name="connsiteX13" fmla="*/ 425450 w 917575"/>
              <a:gd name="connsiteY13" fmla="*/ 1730375 h 1943100"/>
              <a:gd name="connsiteX14" fmla="*/ 390525 w 917575"/>
              <a:gd name="connsiteY14" fmla="*/ 1717675 h 1943100"/>
              <a:gd name="connsiteX15" fmla="*/ 365125 w 917575"/>
              <a:gd name="connsiteY15" fmla="*/ 1682750 h 1943100"/>
              <a:gd name="connsiteX16" fmla="*/ 317500 w 917575"/>
              <a:gd name="connsiteY16" fmla="*/ 1670050 h 1943100"/>
              <a:gd name="connsiteX17" fmla="*/ 279400 w 917575"/>
              <a:gd name="connsiteY17" fmla="*/ 1647825 h 1943100"/>
              <a:gd name="connsiteX18" fmla="*/ 244475 w 917575"/>
              <a:gd name="connsiteY18" fmla="*/ 1651000 h 1943100"/>
              <a:gd name="connsiteX19" fmla="*/ 228600 w 917575"/>
              <a:gd name="connsiteY19" fmla="*/ 1628775 h 1943100"/>
              <a:gd name="connsiteX20" fmla="*/ 184150 w 917575"/>
              <a:gd name="connsiteY20" fmla="*/ 1616075 h 1943100"/>
              <a:gd name="connsiteX21" fmla="*/ 158750 w 917575"/>
              <a:gd name="connsiteY21" fmla="*/ 1622425 h 1943100"/>
              <a:gd name="connsiteX22" fmla="*/ 111125 w 917575"/>
              <a:gd name="connsiteY22" fmla="*/ 1616075 h 1943100"/>
              <a:gd name="connsiteX23" fmla="*/ 66675 w 917575"/>
              <a:gd name="connsiteY23" fmla="*/ 1631950 h 1943100"/>
              <a:gd name="connsiteX24" fmla="*/ 0 w 917575"/>
              <a:gd name="connsiteY24" fmla="*/ 1625600 h 1943100"/>
              <a:gd name="connsiteX25" fmla="*/ 0 w 917575"/>
              <a:gd name="connsiteY25" fmla="*/ 1625600 h 1943100"/>
              <a:gd name="connsiteX26" fmla="*/ 9525 w 917575"/>
              <a:gd name="connsiteY26" fmla="*/ 549275 h 1943100"/>
              <a:gd name="connsiteX27" fmla="*/ 22225 w 917575"/>
              <a:gd name="connsiteY27" fmla="*/ 485775 h 1943100"/>
              <a:gd name="connsiteX28" fmla="*/ 3175 w 917575"/>
              <a:gd name="connsiteY28" fmla="*/ 444500 h 1943100"/>
              <a:gd name="connsiteX29" fmla="*/ 28575 w 917575"/>
              <a:gd name="connsiteY29" fmla="*/ 419100 h 1943100"/>
              <a:gd name="connsiteX30" fmla="*/ 57150 w 917575"/>
              <a:gd name="connsiteY30" fmla="*/ 371475 h 1943100"/>
              <a:gd name="connsiteX31" fmla="*/ 85725 w 917575"/>
              <a:gd name="connsiteY31" fmla="*/ 381000 h 1943100"/>
              <a:gd name="connsiteX32" fmla="*/ 158750 w 917575"/>
              <a:gd name="connsiteY32" fmla="*/ 339725 h 1943100"/>
              <a:gd name="connsiteX33" fmla="*/ 174625 w 917575"/>
              <a:gd name="connsiteY33" fmla="*/ 282575 h 1943100"/>
              <a:gd name="connsiteX34" fmla="*/ 187325 w 917575"/>
              <a:gd name="connsiteY34" fmla="*/ 225425 h 1943100"/>
              <a:gd name="connsiteX35" fmla="*/ 222250 w 917575"/>
              <a:gd name="connsiteY35" fmla="*/ 161925 h 1943100"/>
              <a:gd name="connsiteX36" fmla="*/ 288925 w 917575"/>
              <a:gd name="connsiteY36" fmla="*/ 123825 h 1943100"/>
              <a:gd name="connsiteX37" fmla="*/ 327025 w 917575"/>
              <a:gd name="connsiteY37" fmla="*/ 107950 h 1943100"/>
              <a:gd name="connsiteX38" fmla="*/ 342900 w 917575"/>
              <a:gd name="connsiteY38" fmla="*/ 69850 h 1943100"/>
              <a:gd name="connsiteX39" fmla="*/ 352425 w 917575"/>
              <a:gd name="connsiteY39" fmla="*/ 31750 h 1943100"/>
              <a:gd name="connsiteX40" fmla="*/ 403225 w 917575"/>
              <a:gd name="connsiteY40" fmla="*/ 0 h 1943100"/>
              <a:gd name="connsiteX0" fmla="*/ 917575 w 917575"/>
              <a:gd name="connsiteY0" fmla="*/ 1911350 h 1911350"/>
              <a:gd name="connsiteX1" fmla="*/ 901700 w 917575"/>
              <a:gd name="connsiteY1" fmla="*/ 1854200 h 1911350"/>
              <a:gd name="connsiteX2" fmla="*/ 869950 w 917575"/>
              <a:gd name="connsiteY2" fmla="*/ 1809750 h 1911350"/>
              <a:gd name="connsiteX3" fmla="*/ 831850 w 917575"/>
              <a:gd name="connsiteY3" fmla="*/ 1797050 h 1911350"/>
              <a:gd name="connsiteX4" fmla="*/ 777875 w 917575"/>
              <a:gd name="connsiteY4" fmla="*/ 1800225 h 1911350"/>
              <a:gd name="connsiteX5" fmla="*/ 736600 w 917575"/>
              <a:gd name="connsiteY5" fmla="*/ 1797050 h 1911350"/>
              <a:gd name="connsiteX6" fmla="*/ 701675 w 917575"/>
              <a:gd name="connsiteY6" fmla="*/ 1778000 h 1911350"/>
              <a:gd name="connsiteX7" fmla="*/ 673100 w 917575"/>
              <a:gd name="connsiteY7" fmla="*/ 1790700 h 1911350"/>
              <a:gd name="connsiteX8" fmla="*/ 622300 w 917575"/>
              <a:gd name="connsiteY8" fmla="*/ 1778000 h 1911350"/>
              <a:gd name="connsiteX9" fmla="*/ 587375 w 917575"/>
              <a:gd name="connsiteY9" fmla="*/ 1765300 h 1911350"/>
              <a:gd name="connsiteX10" fmla="*/ 571500 w 917575"/>
              <a:gd name="connsiteY10" fmla="*/ 1758950 h 1911350"/>
              <a:gd name="connsiteX11" fmla="*/ 511175 w 917575"/>
              <a:gd name="connsiteY11" fmla="*/ 1765300 h 1911350"/>
              <a:gd name="connsiteX12" fmla="*/ 457200 w 917575"/>
              <a:gd name="connsiteY12" fmla="*/ 1720850 h 1911350"/>
              <a:gd name="connsiteX13" fmla="*/ 425450 w 917575"/>
              <a:gd name="connsiteY13" fmla="*/ 1698625 h 1911350"/>
              <a:gd name="connsiteX14" fmla="*/ 390525 w 917575"/>
              <a:gd name="connsiteY14" fmla="*/ 1685925 h 1911350"/>
              <a:gd name="connsiteX15" fmla="*/ 365125 w 917575"/>
              <a:gd name="connsiteY15" fmla="*/ 1651000 h 1911350"/>
              <a:gd name="connsiteX16" fmla="*/ 317500 w 917575"/>
              <a:gd name="connsiteY16" fmla="*/ 1638300 h 1911350"/>
              <a:gd name="connsiteX17" fmla="*/ 279400 w 917575"/>
              <a:gd name="connsiteY17" fmla="*/ 1616075 h 1911350"/>
              <a:gd name="connsiteX18" fmla="*/ 244475 w 917575"/>
              <a:gd name="connsiteY18" fmla="*/ 1619250 h 1911350"/>
              <a:gd name="connsiteX19" fmla="*/ 228600 w 917575"/>
              <a:gd name="connsiteY19" fmla="*/ 1597025 h 1911350"/>
              <a:gd name="connsiteX20" fmla="*/ 184150 w 917575"/>
              <a:gd name="connsiteY20" fmla="*/ 1584325 h 1911350"/>
              <a:gd name="connsiteX21" fmla="*/ 158750 w 917575"/>
              <a:gd name="connsiteY21" fmla="*/ 1590675 h 1911350"/>
              <a:gd name="connsiteX22" fmla="*/ 111125 w 917575"/>
              <a:gd name="connsiteY22" fmla="*/ 1584325 h 1911350"/>
              <a:gd name="connsiteX23" fmla="*/ 66675 w 917575"/>
              <a:gd name="connsiteY23" fmla="*/ 1600200 h 1911350"/>
              <a:gd name="connsiteX24" fmla="*/ 0 w 917575"/>
              <a:gd name="connsiteY24" fmla="*/ 1593850 h 1911350"/>
              <a:gd name="connsiteX25" fmla="*/ 0 w 917575"/>
              <a:gd name="connsiteY25" fmla="*/ 1593850 h 1911350"/>
              <a:gd name="connsiteX26" fmla="*/ 9525 w 917575"/>
              <a:gd name="connsiteY26" fmla="*/ 517525 h 1911350"/>
              <a:gd name="connsiteX27" fmla="*/ 22225 w 917575"/>
              <a:gd name="connsiteY27" fmla="*/ 454025 h 1911350"/>
              <a:gd name="connsiteX28" fmla="*/ 3175 w 917575"/>
              <a:gd name="connsiteY28" fmla="*/ 412750 h 1911350"/>
              <a:gd name="connsiteX29" fmla="*/ 28575 w 917575"/>
              <a:gd name="connsiteY29" fmla="*/ 387350 h 1911350"/>
              <a:gd name="connsiteX30" fmla="*/ 57150 w 917575"/>
              <a:gd name="connsiteY30" fmla="*/ 339725 h 1911350"/>
              <a:gd name="connsiteX31" fmla="*/ 85725 w 917575"/>
              <a:gd name="connsiteY31" fmla="*/ 349250 h 1911350"/>
              <a:gd name="connsiteX32" fmla="*/ 158750 w 917575"/>
              <a:gd name="connsiteY32" fmla="*/ 307975 h 1911350"/>
              <a:gd name="connsiteX33" fmla="*/ 174625 w 917575"/>
              <a:gd name="connsiteY33" fmla="*/ 250825 h 1911350"/>
              <a:gd name="connsiteX34" fmla="*/ 187325 w 917575"/>
              <a:gd name="connsiteY34" fmla="*/ 193675 h 1911350"/>
              <a:gd name="connsiteX35" fmla="*/ 222250 w 917575"/>
              <a:gd name="connsiteY35" fmla="*/ 130175 h 1911350"/>
              <a:gd name="connsiteX36" fmla="*/ 288925 w 917575"/>
              <a:gd name="connsiteY36" fmla="*/ 92075 h 1911350"/>
              <a:gd name="connsiteX37" fmla="*/ 327025 w 917575"/>
              <a:gd name="connsiteY37" fmla="*/ 76200 h 1911350"/>
              <a:gd name="connsiteX38" fmla="*/ 342900 w 917575"/>
              <a:gd name="connsiteY38" fmla="*/ 38100 h 1911350"/>
              <a:gd name="connsiteX39" fmla="*/ 352425 w 917575"/>
              <a:gd name="connsiteY39" fmla="*/ 0 h 1911350"/>
              <a:gd name="connsiteX0" fmla="*/ 917575 w 917575"/>
              <a:gd name="connsiteY0" fmla="*/ 1873250 h 1873250"/>
              <a:gd name="connsiteX1" fmla="*/ 901700 w 917575"/>
              <a:gd name="connsiteY1" fmla="*/ 1816100 h 1873250"/>
              <a:gd name="connsiteX2" fmla="*/ 869950 w 917575"/>
              <a:gd name="connsiteY2" fmla="*/ 1771650 h 1873250"/>
              <a:gd name="connsiteX3" fmla="*/ 831850 w 917575"/>
              <a:gd name="connsiteY3" fmla="*/ 1758950 h 1873250"/>
              <a:gd name="connsiteX4" fmla="*/ 777875 w 917575"/>
              <a:gd name="connsiteY4" fmla="*/ 1762125 h 1873250"/>
              <a:gd name="connsiteX5" fmla="*/ 736600 w 917575"/>
              <a:gd name="connsiteY5" fmla="*/ 1758950 h 1873250"/>
              <a:gd name="connsiteX6" fmla="*/ 701675 w 917575"/>
              <a:gd name="connsiteY6" fmla="*/ 1739900 h 1873250"/>
              <a:gd name="connsiteX7" fmla="*/ 673100 w 917575"/>
              <a:gd name="connsiteY7" fmla="*/ 1752600 h 1873250"/>
              <a:gd name="connsiteX8" fmla="*/ 622300 w 917575"/>
              <a:gd name="connsiteY8" fmla="*/ 1739900 h 1873250"/>
              <a:gd name="connsiteX9" fmla="*/ 587375 w 917575"/>
              <a:gd name="connsiteY9" fmla="*/ 1727200 h 1873250"/>
              <a:gd name="connsiteX10" fmla="*/ 571500 w 917575"/>
              <a:gd name="connsiteY10" fmla="*/ 1720850 h 1873250"/>
              <a:gd name="connsiteX11" fmla="*/ 511175 w 917575"/>
              <a:gd name="connsiteY11" fmla="*/ 1727200 h 1873250"/>
              <a:gd name="connsiteX12" fmla="*/ 457200 w 917575"/>
              <a:gd name="connsiteY12" fmla="*/ 1682750 h 1873250"/>
              <a:gd name="connsiteX13" fmla="*/ 425450 w 917575"/>
              <a:gd name="connsiteY13" fmla="*/ 1660525 h 1873250"/>
              <a:gd name="connsiteX14" fmla="*/ 390525 w 917575"/>
              <a:gd name="connsiteY14" fmla="*/ 1647825 h 1873250"/>
              <a:gd name="connsiteX15" fmla="*/ 365125 w 917575"/>
              <a:gd name="connsiteY15" fmla="*/ 1612900 h 1873250"/>
              <a:gd name="connsiteX16" fmla="*/ 317500 w 917575"/>
              <a:gd name="connsiteY16" fmla="*/ 1600200 h 1873250"/>
              <a:gd name="connsiteX17" fmla="*/ 279400 w 917575"/>
              <a:gd name="connsiteY17" fmla="*/ 1577975 h 1873250"/>
              <a:gd name="connsiteX18" fmla="*/ 244475 w 917575"/>
              <a:gd name="connsiteY18" fmla="*/ 1581150 h 1873250"/>
              <a:gd name="connsiteX19" fmla="*/ 228600 w 917575"/>
              <a:gd name="connsiteY19" fmla="*/ 1558925 h 1873250"/>
              <a:gd name="connsiteX20" fmla="*/ 184150 w 917575"/>
              <a:gd name="connsiteY20" fmla="*/ 1546225 h 1873250"/>
              <a:gd name="connsiteX21" fmla="*/ 158750 w 917575"/>
              <a:gd name="connsiteY21" fmla="*/ 1552575 h 1873250"/>
              <a:gd name="connsiteX22" fmla="*/ 111125 w 917575"/>
              <a:gd name="connsiteY22" fmla="*/ 1546225 h 1873250"/>
              <a:gd name="connsiteX23" fmla="*/ 66675 w 917575"/>
              <a:gd name="connsiteY23" fmla="*/ 1562100 h 1873250"/>
              <a:gd name="connsiteX24" fmla="*/ 0 w 917575"/>
              <a:gd name="connsiteY24" fmla="*/ 1555750 h 1873250"/>
              <a:gd name="connsiteX25" fmla="*/ 0 w 917575"/>
              <a:gd name="connsiteY25" fmla="*/ 1555750 h 1873250"/>
              <a:gd name="connsiteX26" fmla="*/ 9525 w 917575"/>
              <a:gd name="connsiteY26" fmla="*/ 479425 h 1873250"/>
              <a:gd name="connsiteX27" fmla="*/ 22225 w 917575"/>
              <a:gd name="connsiteY27" fmla="*/ 415925 h 1873250"/>
              <a:gd name="connsiteX28" fmla="*/ 3175 w 917575"/>
              <a:gd name="connsiteY28" fmla="*/ 374650 h 1873250"/>
              <a:gd name="connsiteX29" fmla="*/ 28575 w 917575"/>
              <a:gd name="connsiteY29" fmla="*/ 349250 h 1873250"/>
              <a:gd name="connsiteX30" fmla="*/ 57150 w 917575"/>
              <a:gd name="connsiteY30" fmla="*/ 301625 h 1873250"/>
              <a:gd name="connsiteX31" fmla="*/ 85725 w 917575"/>
              <a:gd name="connsiteY31" fmla="*/ 311150 h 1873250"/>
              <a:gd name="connsiteX32" fmla="*/ 158750 w 917575"/>
              <a:gd name="connsiteY32" fmla="*/ 269875 h 1873250"/>
              <a:gd name="connsiteX33" fmla="*/ 174625 w 917575"/>
              <a:gd name="connsiteY33" fmla="*/ 212725 h 1873250"/>
              <a:gd name="connsiteX34" fmla="*/ 187325 w 917575"/>
              <a:gd name="connsiteY34" fmla="*/ 155575 h 1873250"/>
              <a:gd name="connsiteX35" fmla="*/ 222250 w 917575"/>
              <a:gd name="connsiteY35" fmla="*/ 92075 h 1873250"/>
              <a:gd name="connsiteX36" fmla="*/ 288925 w 917575"/>
              <a:gd name="connsiteY36" fmla="*/ 53975 h 1873250"/>
              <a:gd name="connsiteX37" fmla="*/ 327025 w 917575"/>
              <a:gd name="connsiteY37" fmla="*/ 38100 h 1873250"/>
              <a:gd name="connsiteX38" fmla="*/ 342900 w 917575"/>
              <a:gd name="connsiteY38" fmla="*/ 0 h 1873250"/>
              <a:gd name="connsiteX0" fmla="*/ 917575 w 917575"/>
              <a:gd name="connsiteY0" fmla="*/ 1835150 h 1835150"/>
              <a:gd name="connsiteX1" fmla="*/ 901700 w 917575"/>
              <a:gd name="connsiteY1" fmla="*/ 1778000 h 1835150"/>
              <a:gd name="connsiteX2" fmla="*/ 869950 w 917575"/>
              <a:gd name="connsiteY2" fmla="*/ 1733550 h 1835150"/>
              <a:gd name="connsiteX3" fmla="*/ 831850 w 917575"/>
              <a:gd name="connsiteY3" fmla="*/ 1720850 h 1835150"/>
              <a:gd name="connsiteX4" fmla="*/ 777875 w 917575"/>
              <a:gd name="connsiteY4" fmla="*/ 1724025 h 1835150"/>
              <a:gd name="connsiteX5" fmla="*/ 736600 w 917575"/>
              <a:gd name="connsiteY5" fmla="*/ 1720850 h 1835150"/>
              <a:gd name="connsiteX6" fmla="*/ 701675 w 917575"/>
              <a:gd name="connsiteY6" fmla="*/ 1701800 h 1835150"/>
              <a:gd name="connsiteX7" fmla="*/ 673100 w 917575"/>
              <a:gd name="connsiteY7" fmla="*/ 1714500 h 1835150"/>
              <a:gd name="connsiteX8" fmla="*/ 622300 w 917575"/>
              <a:gd name="connsiteY8" fmla="*/ 1701800 h 1835150"/>
              <a:gd name="connsiteX9" fmla="*/ 587375 w 917575"/>
              <a:gd name="connsiteY9" fmla="*/ 1689100 h 1835150"/>
              <a:gd name="connsiteX10" fmla="*/ 571500 w 917575"/>
              <a:gd name="connsiteY10" fmla="*/ 1682750 h 1835150"/>
              <a:gd name="connsiteX11" fmla="*/ 511175 w 917575"/>
              <a:gd name="connsiteY11" fmla="*/ 1689100 h 1835150"/>
              <a:gd name="connsiteX12" fmla="*/ 457200 w 917575"/>
              <a:gd name="connsiteY12" fmla="*/ 1644650 h 1835150"/>
              <a:gd name="connsiteX13" fmla="*/ 425450 w 917575"/>
              <a:gd name="connsiteY13" fmla="*/ 1622425 h 1835150"/>
              <a:gd name="connsiteX14" fmla="*/ 390525 w 917575"/>
              <a:gd name="connsiteY14" fmla="*/ 1609725 h 1835150"/>
              <a:gd name="connsiteX15" fmla="*/ 365125 w 917575"/>
              <a:gd name="connsiteY15" fmla="*/ 1574800 h 1835150"/>
              <a:gd name="connsiteX16" fmla="*/ 317500 w 917575"/>
              <a:gd name="connsiteY16" fmla="*/ 1562100 h 1835150"/>
              <a:gd name="connsiteX17" fmla="*/ 279400 w 917575"/>
              <a:gd name="connsiteY17" fmla="*/ 1539875 h 1835150"/>
              <a:gd name="connsiteX18" fmla="*/ 244475 w 917575"/>
              <a:gd name="connsiteY18" fmla="*/ 1543050 h 1835150"/>
              <a:gd name="connsiteX19" fmla="*/ 228600 w 917575"/>
              <a:gd name="connsiteY19" fmla="*/ 1520825 h 1835150"/>
              <a:gd name="connsiteX20" fmla="*/ 184150 w 917575"/>
              <a:gd name="connsiteY20" fmla="*/ 1508125 h 1835150"/>
              <a:gd name="connsiteX21" fmla="*/ 158750 w 917575"/>
              <a:gd name="connsiteY21" fmla="*/ 1514475 h 1835150"/>
              <a:gd name="connsiteX22" fmla="*/ 111125 w 917575"/>
              <a:gd name="connsiteY22" fmla="*/ 1508125 h 1835150"/>
              <a:gd name="connsiteX23" fmla="*/ 66675 w 917575"/>
              <a:gd name="connsiteY23" fmla="*/ 1524000 h 1835150"/>
              <a:gd name="connsiteX24" fmla="*/ 0 w 917575"/>
              <a:gd name="connsiteY24" fmla="*/ 1517650 h 1835150"/>
              <a:gd name="connsiteX25" fmla="*/ 0 w 917575"/>
              <a:gd name="connsiteY25" fmla="*/ 1517650 h 1835150"/>
              <a:gd name="connsiteX26" fmla="*/ 9525 w 917575"/>
              <a:gd name="connsiteY26" fmla="*/ 441325 h 1835150"/>
              <a:gd name="connsiteX27" fmla="*/ 22225 w 917575"/>
              <a:gd name="connsiteY27" fmla="*/ 377825 h 1835150"/>
              <a:gd name="connsiteX28" fmla="*/ 3175 w 917575"/>
              <a:gd name="connsiteY28" fmla="*/ 336550 h 1835150"/>
              <a:gd name="connsiteX29" fmla="*/ 28575 w 917575"/>
              <a:gd name="connsiteY29" fmla="*/ 311150 h 1835150"/>
              <a:gd name="connsiteX30" fmla="*/ 57150 w 917575"/>
              <a:gd name="connsiteY30" fmla="*/ 263525 h 1835150"/>
              <a:gd name="connsiteX31" fmla="*/ 85725 w 917575"/>
              <a:gd name="connsiteY31" fmla="*/ 273050 h 1835150"/>
              <a:gd name="connsiteX32" fmla="*/ 158750 w 917575"/>
              <a:gd name="connsiteY32" fmla="*/ 231775 h 1835150"/>
              <a:gd name="connsiteX33" fmla="*/ 174625 w 917575"/>
              <a:gd name="connsiteY33" fmla="*/ 174625 h 1835150"/>
              <a:gd name="connsiteX34" fmla="*/ 187325 w 917575"/>
              <a:gd name="connsiteY34" fmla="*/ 117475 h 1835150"/>
              <a:gd name="connsiteX35" fmla="*/ 222250 w 917575"/>
              <a:gd name="connsiteY35" fmla="*/ 53975 h 1835150"/>
              <a:gd name="connsiteX36" fmla="*/ 288925 w 917575"/>
              <a:gd name="connsiteY36" fmla="*/ 15875 h 1835150"/>
              <a:gd name="connsiteX37" fmla="*/ 327025 w 917575"/>
              <a:gd name="connsiteY37" fmla="*/ 0 h 1835150"/>
              <a:gd name="connsiteX0" fmla="*/ 917575 w 917575"/>
              <a:gd name="connsiteY0" fmla="*/ 1819275 h 1819275"/>
              <a:gd name="connsiteX1" fmla="*/ 901700 w 917575"/>
              <a:gd name="connsiteY1" fmla="*/ 1762125 h 1819275"/>
              <a:gd name="connsiteX2" fmla="*/ 869950 w 917575"/>
              <a:gd name="connsiteY2" fmla="*/ 1717675 h 1819275"/>
              <a:gd name="connsiteX3" fmla="*/ 831850 w 917575"/>
              <a:gd name="connsiteY3" fmla="*/ 1704975 h 1819275"/>
              <a:gd name="connsiteX4" fmla="*/ 777875 w 917575"/>
              <a:gd name="connsiteY4" fmla="*/ 1708150 h 1819275"/>
              <a:gd name="connsiteX5" fmla="*/ 736600 w 917575"/>
              <a:gd name="connsiteY5" fmla="*/ 1704975 h 1819275"/>
              <a:gd name="connsiteX6" fmla="*/ 701675 w 917575"/>
              <a:gd name="connsiteY6" fmla="*/ 1685925 h 1819275"/>
              <a:gd name="connsiteX7" fmla="*/ 673100 w 917575"/>
              <a:gd name="connsiteY7" fmla="*/ 1698625 h 1819275"/>
              <a:gd name="connsiteX8" fmla="*/ 622300 w 917575"/>
              <a:gd name="connsiteY8" fmla="*/ 1685925 h 1819275"/>
              <a:gd name="connsiteX9" fmla="*/ 587375 w 917575"/>
              <a:gd name="connsiteY9" fmla="*/ 1673225 h 1819275"/>
              <a:gd name="connsiteX10" fmla="*/ 571500 w 917575"/>
              <a:gd name="connsiteY10" fmla="*/ 1666875 h 1819275"/>
              <a:gd name="connsiteX11" fmla="*/ 511175 w 917575"/>
              <a:gd name="connsiteY11" fmla="*/ 1673225 h 1819275"/>
              <a:gd name="connsiteX12" fmla="*/ 457200 w 917575"/>
              <a:gd name="connsiteY12" fmla="*/ 1628775 h 1819275"/>
              <a:gd name="connsiteX13" fmla="*/ 425450 w 917575"/>
              <a:gd name="connsiteY13" fmla="*/ 1606550 h 1819275"/>
              <a:gd name="connsiteX14" fmla="*/ 390525 w 917575"/>
              <a:gd name="connsiteY14" fmla="*/ 1593850 h 1819275"/>
              <a:gd name="connsiteX15" fmla="*/ 365125 w 917575"/>
              <a:gd name="connsiteY15" fmla="*/ 1558925 h 1819275"/>
              <a:gd name="connsiteX16" fmla="*/ 317500 w 917575"/>
              <a:gd name="connsiteY16" fmla="*/ 1546225 h 1819275"/>
              <a:gd name="connsiteX17" fmla="*/ 279400 w 917575"/>
              <a:gd name="connsiteY17" fmla="*/ 1524000 h 1819275"/>
              <a:gd name="connsiteX18" fmla="*/ 244475 w 917575"/>
              <a:gd name="connsiteY18" fmla="*/ 1527175 h 1819275"/>
              <a:gd name="connsiteX19" fmla="*/ 228600 w 917575"/>
              <a:gd name="connsiteY19" fmla="*/ 1504950 h 1819275"/>
              <a:gd name="connsiteX20" fmla="*/ 184150 w 917575"/>
              <a:gd name="connsiteY20" fmla="*/ 1492250 h 1819275"/>
              <a:gd name="connsiteX21" fmla="*/ 158750 w 917575"/>
              <a:gd name="connsiteY21" fmla="*/ 1498600 h 1819275"/>
              <a:gd name="connsiteX22" fmla="*/ 111125 w 917575"/>
              <a:gd name="connsiteY22" fmla="*/ 1492250 h 1819275"/>
              <a:gd name="connsiteX23" fmla="*/ 66675 w 917575"/>
              <a:gd name="connsiteY23" fmla="*/ 1508125 h 1819275"/>
              <a:gd name="connsiteX24" fmla="*/ 0 w 917575"/>
              <a:gd name="connsiteY24" fmla="*/ 1501775 h 1819275"/>
              <a:gd name="connsiteX25" fmla="*/ 0 w 917575"/>
              <a:gd name="connsiteY25" fmla="*/ 1501775 h 1819275"/>
              <a:gd name="connsiteX26" fmla="*/ 9525 w 917575"/>
              <a:gd name="connsiteY26" fmla="*/ 425450 h 1819275"/>
              <a:gd name="connsiteX27" fmla="*/ 22225 w 917575"/>
              <a:gd name="connsiteY27" fmla="*/ 361950 h 1819275"/>
              <a:gd name="connsiteX28" fmla="*/ 3175 w 917575"/>
              <a:gd name="connsiteY28" fmla="*/ 320675 h 1819275"/>
              <a:gd name="connsiteX29" fmla="*/ 28575 w 917575"/>
              <a:gd name="connsiteY29" fmla="*/ 295275 h 1819275"/>
              <a:gd name="connsiteX30" fmla="*/ 57150 w 917575"/>
              <a:gd name="connsiteY30" fmla="*/ 247650 h 1819275"/>
              <a:gd name="connsiteX31" fmla="*/ 85725 w 917575"/>
              <a:gd name="connsiteY31" fmla="*/ 257175 h 1819275"/>
              <a:gd name="connsiteX32" fmla="*/ 158750 w 917575"/>
              <a:gd name="connsiteY32" fmla="*/ 215900 h 1819275"/>
              <a:gd name="connsiteX33" fmla="*/ 174625 w 917575"/>
              <a:gd name="connsiteY33" fmla="*/ 158750 h 1819275"/>
              <a:gd name="connsiteX34" fmla="*/ 187325 w 917575"/>
              <a:gd name="connsiteY34" fmla="*/ 101600 h 1819275"/>
              <a:gd name="connsiteX35" fmla="*/ 222250 w 917575"/>
              <a:gd name="connsiteY35" fmla="*/ 38100 h 1819275"/>
              <a:gd name="connsiteX36" fmla="*/ 288925 w 917575"/>
              <a:gd name="connsiteY36" fmla="*/ 0 h 1819275"/>
              <a:gd name="connsiteX0" fmla="*/ 917575 w 917575"/>
              <a:gd name="connsiteY0" fmla="*/ 1781175 h 1781175"/>
              <a:gd name="connsiteX1" fmla="*/ 901700 w 917575"/>
              <a:gd name="connsiteY1" fmla="*/ 1724025 h 1781175"/>
              <a:gd name="connsiteX2" fmla="*/ 869950 w 917575"/>
              <a:gd name="connsiteY2" fmla="*/ 1679575 h 1781175"/>
              <a:gd name="connsiteX3" fmla="*/ 831850 w 917575"/>
              <a:gd name="connsiteY3" fmla="*/ 1666875 h 1781175"/>
              <a:gd name="connsiteX4" fmla="*/ 777875 w 917575"/>
              <a:gd name="connsiteY4" fmla="*/ 1670050 h 1781175"/>
              <a:gd name="connsiteX5" fmla="*/ 736600 w 917575"/>
              <a:gd name="connsiteY5" fmla="*/ 1666875 h 1781175"/>
              <a:gd name="connsiteX6" fmla="*/ 701675 w 917575"/>
              <a:gd name="connsiteY6" fmla="*/ 1647825 h 1781175"/>
              <a:gd name="connsiteX7" fmla="*/ 673100 w 917575"/>
              <a:gd name="connsiteY7" fmla="*/ 1660525 h 1781175"/>
              <a:gd name="connsiteX8" fmla="*/ 622300 w 917575"/>
              <a:gd name="connsiteY8" fmla="*/ 1647825 h 1781175"/>
              <a:gd name="connsiteX9" fmla="*/ 587375 w 917575"/>
              <a:gd name="connsiteY9" fmla="*/ 1635125 h 1781175"/>
              <a:gd name="connsiteX10" fmla="*/ 571500 w 917575"/>
              <a:gd name="connsiteY10" fmla="*/ 1628775 h 1781175"/>
              <a:gd name="connsiteX11" fmla="*/ 511175 w 917575"/>
              <a:gd name="connsiteY11" fmla="*/ 1635125 h 1781175"/>
              <a:gd name="connsiteX12" fmla="*/ 457200 w 917575"/>
              <a:gd name="connsiteY12" fmla="*/ 1590675 h 1781175"/>
              <a:gd name="connsiteX13" fmla="*/ 425450 w 917575"/>
              <a:gd name="connsiteY13" fmla="*/ 1568450 h 1781175"/>
              <a:gd name="connsiteX14" fmla="*/ 390525 w 917575"/>
              <a:gd name="connsiteY14" fmla="*/ 1555750 h 1781175"/>
              <a:gd name="connsiteX15" fmla="*/ 365125 w 917575"/>
              <a:gd name="connsiteY15" fmla="*/ 1520825 h 1781175"/>
              <a:gd name="connsiteX16" fmla="*/ 317500 w 917575"/>
              <a:gd name="connsiteY16" fmla="*/ 1508125 h 1781175"/>
              <a:gd name="connsiteX17" fmla="*/ 279400 w 917575"/>
              <a:gd name="connsiteY17" fmla="*/ 1485900 h 1781175"/>
              <a:gd name="connsiteX18" fmla="*/ 244475 w 917575"/>
              <a:gd name="connsiteY18" fmla="*/ 1489075 h 1781175"/>
              <a:gd name="connsiteX19" fmla="*/ 228600 w 917575"/>
              <a:gd name="connsiteY19" fmla="*/ 1466850 h 1781175"/>
              <a:gd name="connsiteX20" fmla="*/ 184150 w 917575"/>
              <a:gd name="connsiteY20" fmla="*/ 1454150 h 1781175"/>
              <a:gd name="connsiteX21" fmla="*/ 158750 w 917575"/>
              <a:gd name="connsiteY21" fmla="*/ 1460500 h 1781175"/>
              <a:gd name="connsiteX22" fmla="*/ 111125 w 917575"/>
              <a:gd name="connsiteY22" fmla="*/ 1454150 h 1781175"/>
              <a:gd name="connsiteX23" fmla="*/ 66675 w 917575"/>
              <a:gd name="connsiteY23" fmla="*/ 1470025 h 1781175"/>
              <a:gd name="connsiteX24" fmla="*/ 0 w 917575"/>
              <a:gd name="connsiteY24" fmla="*/ 1463675 h 1781175"/>
              <a:gd name="connsiteX25" fmla="*/ 0 w 917575"/>
              <a:gd name="connsiteY25" fmla="*/ 1463675 h 1781175"/>
              <a:gd name="connsiteX26" fmla="*/ 9525 w 917575"/>
              <a:gd name="connsiteY26" fmla="*/ 387350 h 1781175"/>
              <a:gd name="connsiteX27" fmla="*/ 22225 w 917575"/>
              <a:gd name="connsiteY27" fmla="*/ 323850 h 1781175"/>
              <a:gd name="connsiteX28" fmla="*/ 3175 w 917575"/>
              <a:gd name="connsiteY28" fmla="*/ 282575 h 1781175"/>
              <a:gd name="connsiteX29" fmla="*/ 28575 w 917575"/>
              <a:gd name="connsiteY29" fmla="*/ 257175 h 1781175"/>
              <a:gd name="connsiteX30" fmla="*/ 57150 w 917575"/>
              <a:gd name="connsiteY30" fmla="*/ 209550 h 1781175"/>
              <a:gd name="connsiteX31" fmla="*/ 85725 w 917575"/>
              <a:gd name="connsiteY31" fmla="*/ 219075 h 1781175"/>
              <a:gd name="connsiteX32" fmla="*/ 158750 w 917575"/>
              <a:gd name="connsiteY32" fmla="*/ 177800 h 1781175"/>
              <a:gd name="connsiteX33" fmla="*/ 174625 w 917575"/>
              <a:gd name="connsiteY33" fmla="*/ 120650 h 1781175"/>
              <a:gd name="connsiteX34" fmla="*/ 187325 w 917575"/>
              <a:gd name="connsiteY34" fmla="*/ 63500 h 1781175"/>
              <a:gd name="connsiteX35" fmla="*/ 222250 w 917575"/>
              <a:gd name="connsiteY35" fmla="*/ 0 h 1781175"/>
              <a:gd name="connsiteX0" fmla="*/ 917575 w 917575"/>
              <a:gd name="connsiteY0" fmla="*/ 1781175 h 1781175"/>
              <a:gd name="connsiteX1" fmla="*/ 901700 w 917575"/>
              <a:gd name="connsiteY1" fmla="*/ 1724025 h 1781175"/>
              <a:gd name="connsiteX2" fmla="*/ 869950 w 917575"/>
              <a:gd name="connsiteY2" fmla="*/ 1679575 h 1781175"/>
              <a:gd name="connsiteX3" fmla="*/ 831850 w 917575"/>
              <a:gd name="connsiteY3" fmla="*/ 1666875 h 1781175"/>
              <a:gd name="connsiteX4" fmla="*/ 777875 w 917575"/>
              <a:gd name="connsiteY4" fmla="*/ 1670050 h 1781175"/>
              <a:gd name="connsiteX5" fmla="*/ 736600 w 917575"/>
              <a:gd name="connsiteY5" fmla="*/ 1666875 h 1781175"/>
              <a:gd name="connsiteX6" fmla="*/ 701675 w 917575"/>
              <a:gd name="connsiteY6" fmla="*/ 1647825 h 1781175"/>
              <a:gd name="connsiteX7" fmla="*/ 673100 w 917575"/>
              <a:gd name="connsiteY7" fmla="*/ 1660525 h 1781175"/>
              <a:gd name="connsiteX8" fmla="*/ 622300 w 917575"/>
              <a:gd name="connsiteY8" fmla="*/ 1647825 h 1781175"/>
              <a:gd name="connsiteX9" fmla="*/ 587375 w 917575"/>
              <a:gd name="connsiteY9" fmla="*/ 1635125 h 1781175"/>
              <a:gd name="connsiteX10" fmla="*/ 571500 w 917575"/>
              <a:gd name="connsiteY10" fmla="*/ 1628775 h 1781175"/>
              <a:gd name="connsiteX11" fmla="*/ 511175 w 917575"/>
              <a:gd name="connsiteY11" fmla="*/ 1635125 h 1781175"/>
              <a:gd name="connsiteX12" fmla="*/ 457200 w 917575"/>
              <a:gd name="connsiteY12" fmla="*/ 1590675 h 1781175"/>
              <a:gd name="connsiteX13" fmla="*/ 425450 w 917575"/>
              <a:gd name="connsiteY13" fmla="*/ 1568450 h 1781175"/>
              <a:gd name="connsiteX14" fmla="*/ 390525 w 917575"/>
              <a:gd name="connsiteY14" fmla="*/ 1555750 h 1781175"/>
              <a:gd name="connsiteX15" fmla="*/ 365125 w 917575"/>
              <a:gd name="connsiteY15" fmla="*/ 1520825 h 1781175"/>
              <a:gd name="connsiteX16" fmla="*/ 317500 w 917575"/>
              <a:gd name="connsiteY16" fmla="*/ 1508125 h 1781175"/>
              <a:gd name="connsiteX17" fmla="*/ 279400 w 917575"/>
              <a:gd name="connsiteY17" fmla="*/ 1485900 h 1781175"/>
              <a:gd name="connsiteX18" fmla="*/ 244475 w 917575"/>
              <a:gd name="connsiteY18" fmla="*/ 1489075 h 1781175"/>
              <a:gd name="connsiteX19" fmla="*/ 228600 w 917575"/>
              <a:gd name="connsiteY19" fmla="*/ 1466850 h 1781175"/>
              <a:gd name="connsiteX20" fmla="*/ 184150 w 917575"/>
              <a:gd name="connsiteY20" fmla="*/ 1454150 h 1781175"/>
              <a:gd name="connsiteX21" fmla="*/ 158750 w 917575"/>
              <a:gd name="connsiteY21" fmla="*/ 1460500 h 1781175"/>
              <a:gd name="connsiteX22" fmla="*/ 111125 w 917575"/>
              <a:gd name="connsiteY22" fmla="*/ 1454150 h 1781175"/>
              <a:gd name="connsiteX23" fmla="*/ 66675 w 917575"/>
              <a:gd name="connsiteY23" fmla="*/ 1470025 h 1781175"/>
              <a:gd name="connsiteX24" fmla="*/ 0 w 917575"/>
              <a:gd name="connsiteY24" fmla="*/ 1463675 h 1781175"/>
              <a:gd name="connsiteX25" fmla="*/ 0 w 917575"/>
              <a:gd name="connsiteY25" fmla="*/ 1463675 h 1781175"/>
              <a:gd name="connsiteX26" fmla="*/ 9525 w 917575"/>
              <a:gd name="connsiteY26" fmla="*/ 387350 h 1781175"/>
              <a:gd name="connsiteX27" fmla="*/ 22225 w 917575"/>
              <a:gd name="connsiteY27" fmla="*/ 323850 h 1781175"/>
              <a:gd name="connsiteX28" fmla="*/ 3175 w 917575"/>
              <a:gd name="connsiteY28" fmla="*/ 282575 h 1781175"/>
              <a:gd name="connsiteX29" fmla="*/ 28575 w 917575"/>
              <a:gd name="connsiteY29" fmla="*/ 257175 h 1781175"/>
              <a:gd name="connsiteX30" fmla="*/ 57150 w 917575"/>
              <a:gd name="connsiteY30" fmla="*/ 209550 h 1781175"/>
              <a:gd name="connsiteX31" fmla="*/ 85725 w 917575"/>
              <a:gd name="connsiteY31" fmla="*/ 219075 h 1781175"/>
              <a:gd name="connsiteX32" fmla="*/ 158750 w 917575"/>
              <a:gd name="connsiteY32" fmla="*/ 177800 h 1781175"/>
              <a:gd name="connsiteX33" fmla="*/ 174625 w 917575"/>
              <a:gd name="connsiteY33" fmla="*/ 120650 h 1781175"/>
              <a:gd name="connsiteX34" fmla="*/ 222250 w 917575"/>
              <a:gd name="connsiteY34" fmla="*/ 0 h 1781175"/>
              <a:gd name="connsiteX0" fmla="*/ 917575 w 917575"/>
              <a:gd name="connsiteY0" fmla="*/ 1660525 h 1660525"/>
              <a:gd name="connsiteX1" fmla="*/ 901700 w 917575"/>
              <a:gd name="connsiteY1" fmla="*/ 1603375 h 1660525"/>
              <a:gd name="connsiteX2" fmla="*/ 869950 w 917575"/>
              <a:gd name="connsiteY2" fmla="*/ 1558925 h 1660525"/>
              <a:gd name="connsiteX3" fmla="*/ 831850 w 917575"/>
              <a:gd name="connsiteY3" fmla="*/ 1546225 h 1660525"/>
              <a:gd name="connsiteX4" fmla="*/ 777875 w 917575"/>
              <a:gd name="connsiteY4" fmla="*/ 1549400 h 1660525"/>
              <a:gd name="connsiteX5" fmla="*/ 736600 w 917575"/>
              <a:gd name="connsiteY5" fmla="*/ 1546225 h 1660525"/>
              <a:gd name="connsiteX6" fmla="*/ 701675 w 917575"/>
              <a:gd name="connsiteY6" fmla="*/ 1527175 h 1660525"/>
              <a:gd name="connsiteX7" fmla="*/ 673100 w 917575"/>
              <a:gd name="connsiteY7" fmla="*/ 1539875 h 1660525"/>
              <a:gd name="connsiteX8" fmla="*/ 622300 w 917575"/>
              <a:gd name="connsiteY8" fmla="*/ 1527175 h 1660525"/>
              <a:gd name="connsiteX9" fmla="*/ 587375 w 917575"/>
              <a:gd name="connsiteY9" fmla="*/ 1514475 h 1660525"/>
              <a:gd name="connsiteX10" fmla="*/ 571500 w 917575"/>
              <a:gd name="connsiteY10" fmla="*/ 1508125 h 1660525"/>
              <a:gd name="connsiteX11" fmla="*/ 511175 w 917575"/>
              <a:gd name="connsiteY11" fmla="*/ 1514475 h 1660525"/>
              <a:gd name="connsiteX12" fmla="*/ 457200 w 917575"/>
              <a:gd name="connsiteY12" fmla="*/ 1470025 h 1660525"/>
              <a:gd name="connsiteX13" fmla="*/ 425450 w 917575"/>
              <a:gd name="connsiteY13" fmla="*/ 1447800 h 1660525"/>
              <a:gd name="connsiteX14" fmla="*/ 390525 w 917575"/>
              <a:gd name="connsiteY14" fmla="*/ 1435100 h 1660525"/>
              <a:gd name="connsiteX15" fmla="*/ 365125 w 917575"/>
              <a:gd name="connsiteY15" fmla="*/ 1400175 h 1660525"/>
              <a:gd name="connsiteX16" fmla="*/ 317500 w 917575"/>
              <a:gd name="connsiteY16" fmla="*/ 1387475 h 1660525"/>
              <a:gd name="connsiteX17" fmla="*/ 279400 w 917575"/>
              <a:gd name="connsiteY17" fmla="*/ 1365250 h 1660525"/>
              <a:gd name="connsiteX18" fmla="*/ 244475 w 917575"/>
              <a:gd name="connsiteY18" fmla="*/ 1368425 h 1660525"/>
              <a:gd name="connsiteX19" fmla="*/ 228600 w 917575"/>
              <a:gd name="connsiteY19" fmla="*/ 1346200 h 1660525"/>
              <a:gd name="connsiteX20" fmla="*/ 184150 w 917575"/>
              <a:gd name="connsiteY20" fmla="*/ 1333500 h 1660525"/>
              <a:gd name="connsiteX21" fmla="*/ 158750 w 917575"/>
              <a:gd name="connsiteY21" fmla="*/ 1339850 h 1660525"/>
              <a:gd name="connsiteX22" fmla="*/ 111125 w 917575"/>
              <a:gd name="connsiteY22" fmla="*/ 1333500 h 1660525"/>
              <a:gd name="connsiteX23" fmla="*/ 66675 w 917575"/>
              <a:gd name="connsiteY23" fmla="*/ 1349375 h 1660525"/>
              <a:gd name="connsiteX24" fmla="*/ 0 w 917575"/>
              <a:gd name="connsiteY24" fmla="*/ 1343025 h 1660525"/>
              <a:gd name="connsiteX25" fmla="*/ 0 w 917575"/>
              <a:gd name="connsiteY25" fmla="*/ 1343025 h 1660525"/>
              <a:gd name="connsiteX26" fmla="*/ 9525 w 917575"/>
              <a:gd name="connsiteY26" fmla="*/ 266700 h 1660525"/>
              <a:gd name="connsiteX27" fmla="*/ 22225 w 917575"/>
              <a:gd name="connsiteY27" fmla="*/ 203200 h 1660525"/>
              <a:gd name="connsiteX28" fmla="*/ 3175 w 917575"/>
              <a:gd name="connsiteY28" fmla="*/ 161925 h 1660525"/>
              <a:gd name="connsiteX29" fmla="*/ 28575 w 917575"/>
              <a:gd name="connsiteY29" fmla="*/ 136525 h 1660525"/>
              <a:gd name="connsiteX30" fmla="*/ 57150 w 917575"/>
              <a:gd name="connsiteY30" fmla="*/ 88900 h 1660525"/>
              <a:gd name="connsiteX31" fmla="*/ 85725 w 917575"/>
              <a:gd name="connsiteY31" fmla="*/ 98425 h 1660525"/>
              <a:gd name="connsiteX32" fmla="*/ 158750 w 917575"/>
              <a:gd name="connsiteY32" fmla="*/ 57150 h 1660525"/>
              <a:gd name="connsiteX33" fmla="*/ 174625 w 917575"/>
              <a:gd name="connsiteY33" fmla="*/ 0 h 1660525"/>
              <a:gd name="connsiteX0" fmla="*/ 917575 w 917575"/>
              <a:gd name="connsiteY0" fmla="*/ 1603375 h 1603375"/>
              <a:gd name="connsiteX1" fmla="*/ 901700 w 917575"/>
              <a:gd name="connsiteY1" fmla="*/ 1546225 h 1603375"/>
              <a:gd name="connsiteX2" fmla="*/ 869950 w 917575"/>
              <a:gd name="connsiteY2" fmla="*/ 1501775 h 1603375"/>
              <a:gd name="connsiteX3" fmla="*/ 831850 w 917575"/>
              <a:gd name="connsiteY3" fmla="*/ 1489075 h 1603375"/>
              <a:gd name="connsiteX4" fmla="*/ 777875 w 917575"/>
              <a:gd name="connsiteY4" fmla="*/ 1492250 h 1603375"/>
              <a:gd name="connsiteX5" fmla="*/ 736600 w 917575"/>
              <a:gd name="connsiteY5" fmla="*/ 1489075 h 1603375"/>
              <a:gd name="connsiteX6" fmla="*/ 701675 w 917575"/>
              <a:gd name="connsiteY6" fmla="*/ 1470025 h 1603375"/>
              <a:gd name="connsiteX7" fmla="*/ 673100 w 917575"/>
              <a:gd name="connsiteY7" fmla="*/ 1482725 h 1603375"/>
              <a:gd name="connsiteX8" fmla="*/ 622300 w 917575"/>
              <a:gd name="connsiteY8" fmla="*/ 1470025 h 1603375"/>
              <a:gd name="connsiteX9" fmla="*/ 587375 w 917575"/>
              <a:gd name="connsiteY9" fmla="*/ 1457325 h 1603375"/>
              <a:gd name="connsiteX10" fmla="*/ 571500 w 917575"/>
              <a:gd name="connsiteY10" fmla="*/ 1450975 h 1603375"/>
              <a:gd name="connsiteX11" fmla="*/ 511175 w 917575"/>
              <a:gd name="connsiteY11" fmla="*/ 1457325 h 1603375"/>
              <a:gd name="connsiteX12" fmla="*/ 457200 w 917575"/>
              <a:gd name="connsiteY12" fmla="*/ 1412875 h 1603375"/>
              <a:gd name="connsiteX13" fmla="*/ 425450 w 917575"/>
              <a:gd name="connsiteY13" fmla="*/ 1390650 h 1603375"/>
              <a:gd name="connsiteX14" fmla="*/ 390525 w 917575"/>
              <a:gd name="connsiteY14" fmla="*/ 1377950 h 1603375"/>
              <a:gd name="connsiteX15" fmla="*/ 365125 w 917575"/>
              <a:gd name="connsiteY15" fmla="*/ 1343025 h 1603375"/>
              <a:gd name="connsiteX16" fmla="*/ 317500 w 917575"/>
              <a:gd name="connsiteY16" fmla="*/ 1330325 h 1603375"/>
              <a:gd name="connsiteX17" fmla="*/ 279400 w 917575"/>
              <a:gd name="connsiteY17" fmla="*/ 1308100 h 1603375"/>
              <a:gd name="connsiteX18" fmla="*/ 244475 w 917575"/>
              <a:gd name="connsiteY18" fmla="*/ 1311275 h 1603375"/>
              <a:gd name="connsiteX19" fmla="*/ 228600 w 917575"/>
              <a:gd name="connsiteY19" fmla="*/ 1289050 h 1603375"/>
              <a:gd name="connsiteX20" fmla="*/ 184150 w 917575"/>
              <a:gd name="connsiteY20" fmla="*/ 1276350 h 1603375"/>
              <a:gd name="connsiteX21" fmla="*/ 158750 w 917575"/>
              <a:gd name="connsiteY21" fmla="*/ 1282700 h 1603375"/>
              <a:gd name="connsiteX22" fmla="*/ 111125 w 917575"/>
              <a:gd name="connsiteY22" fmla="*/ 1276350 h 1603375"/>
              <a:gd name="connsiteX23" fmla="*/ 66675 w 917575"/>
              <a:gd name="connsiteY23" fmla="*/ 1292225 h 1603375"/>
              <a:gd name="connsiteX24" fmla="*/ 0 w 917575"/>
              <a:gd name="connsiteY24" fmla="*/ 1285875 h 1603375"/>
              <a:gd name="connsiteX25" fmla="*/ 0 w 917575"/>
              <a:gd name="connsiteY25" fmla="*/ 1285875 h 1603375"/>
              <a:gd name="connsiteX26" fmla="*/ 9525 w 917575"/>
              <a:gd name="connsiteY26" fmla="*/ 209550 h 1603375"/>
              <a:gd name="connsiteX27" fmla="*/ 22225 w 917575"/>
              <a:gd name="connsiteY27" fmla="*/ 146050 h 1603375"/>
              <a:gd name="connsiteX28" fmla="*/ 3175 w 917575"/>
              <a:gd name="connsiteY28" fmla="*/ 104775 h 1603375"/>
              <a:gd name="connsiteX29" fmla="*/ 28575 w 917575"/>
              <a:gd name="connsiteY29" fmla="*/ 79375 h 1603375"/>
              <a:gd name="connsiteX30" fmla="*/ 57150 w 917575"/>
              <a:gd name="connsiteY30" fmla="*/ 31750 h 1603375"/>
              <a:gd name="connsiteX31" fmla="*/ 85725 w 917575"/>
              <a:gd name="connsiteY31" fmla="*/ 41275 h 1603375"/>
              <a:gd name="connsiteX32" fmla="*/ 158750 w 917575"/>
              <a:gd name="connsiteY32" fmla="*/ 0 h 1603375"/>
              <a:gd name="connsiteX0" fmla="*/ 917575 w 917575"/>
              <a:gd name="connsiteY0" fmla="*/ 1571625 h 1571625"/>
              <a:gd name="connsiteX1" fmla="*/ 901700 w 917575"/>
              <a:gd name="connsiteY1" fmla="*/ 1514475 h 1571625"/>
              <a:gd name="connsiteX2" fmla="*/ 869950 w 917575"/>
              <a:gd name="connsiteY2" fmla="*/ 1470025 h 1571625"/>
              <a:gd name="connsiteX3" fmla="*/ 831850 w 917575"/>
              <a:gd name="connsiteY3" fmla="*/ 1457325 h 1571625"/>
              <a:gd name="connsiteX4" fmla="*/ 777875 w 917575"/>
              <a:gd name="connsiteY4" fmla="*/ 1460500 h 1571625"/>
              <a:gd name="connsiteX5" fmla="*/ 736600 w 917575"/>
              <a:gd name="connsiteY5" fmla="*/ 1457325 h 1571625"/>
              <a:gd name="connsiteX6" fmla="*/ 701675 w 917575"/>
              <a:gd name="connsiteY6" fmla="*/ 1438275 h 1571625"/>
              <a:gd name="connsiteX7" fmla="*/ 673100 w 917575"/>
              <a:gd name="connsiteY7" fmla="*/ 1450975 h 1571625"/>
              <a:gd name="connsiteX8" fmla="*/ 622300 w 917575"/>
              <a:gd name="connsiteY8" fmla="*/ 1438275 h 1571625"/>
              <a:gd name="connsiteX9" fmla="*/ 587375 w 917575"/>
              <a:gd name="connsiteY9" fmla="*/ 1425575 h 1571625"/>
              <a:gd name="connsiteX10" fmla="*/ 571500 w 917575"/>
              <a:gd name="connsiteY10" fmla="*/ 1419225 h 1571625"/>
              <a:gd name="connsiteX11" fmla="*/ 511175 w 917575"/>
              <a:gd name="connsiteY11" fmla="*/ 1425575 h 1571625"/>
              <a:gd name="connsiteX12" fmla="*/ 457200 w 917575"/>
              <a:gd name="connsiteY12" fmla="*/ 1381125 h 1571625"/>
              <a:gd name="connsiteX13" fmla="*/ 425450 w 917575"/>
              <a:gd name="connsiteY13" fmla="*/ 1358900 h 1571625"/>
              <a:gd name="connsiteX14" fmla="*/ 390525 w 917575"/>
              <a:gd name="connsiteY14" fmla="*/ 1346200 h 1571625"/>
              <a:gd name="connsiteX15" fmla="*/ 365125 w 917575"/>
              <a:gd name="connsiteY15" fmla="*/ 1311275 h 1571625"/>
              <a:gd name="connsiteX16" fmla="*/ 317500 w 917575"/>
              <a:gd name="connsiteY16" fmla="*/ 1298575 h 1571625"/>
              <a:gd name="connsiteX17" fmla="*/ 279400 w 917575"/>
              <a:gd name="connsiteY17" fmla="*/ 1276350 h 1571625"/>
              <a:gd name="connsiteX18" fmla="*/ 244475 w 917575"/>
              <a:gd name="connsiteY18" fmla="*/ 1279525 h 1571625"/>
              <a:gd name="connsiteX19" fmla="*/ 228600 w 917575"/>
              <a:gd name="connsiteY19" fmla="*/ 1257300 h 1571625"/>
              <a:gd name="connsiteX20" fmla="*/ 184150 w 917575"/>
              <a:gd name="connsiteY20" fmla="*/ 1244600 h 1571625"/>
              <a:gd name="connsiteX21" fmla="*/ 158750 w 917575"/>
              <a:gd name="connsiteY21" fmla="*/ 1250950 h 1571625"/>
              <a:gd name="connsiteX22" fmla="*/ 111125 w 917575"/>
              <a:gd name="connsiteY22" fmla="*/ 1244600 h 1571625"/>
              <a:gd name="connsiteX23" fmla="*/ 66675 w 917575"/>
              <a:gd name="connsiteY23" fmla="*/ 1260475 h 1571625"/>
              <a:gd name="connsiteX24" fmla="*/ 0 w 917575"/>
              <a:gd name="connsiteY24" fmla="*/ 1254125 h 1571625"/>
              <a:gd name="connsiteX25" fmla="*/ 0 w 917575"/>
              <a:gd name="connsiteY25" fmla="*/ 1254125 h 1571625"/>
              <a:gd name="connsiteX26" fmla="*/ 9525 w 917575"/>
              <a:gd name="connsiteY26" fmla="*/ 177800 h 1571625"/>
              <a:gd name="connsiteX27" fmla="*/ 22225 w 917575"/>
              <a:gd name="connsiteY27" fmla="*/ 114300 h 1571625"/>
              <a:gd name="connsiteX28" fmla="*/ 3175 w 917575"/>
              <a:gd name="connsiteY28" fmla="*/ 73025 h 1571625"/>
              <a:gd name="connsiteX29" fmla="*/ 28575 w 917575"/>
              <a:gd name="connsiteY29" fmla="*/ 47625 h 1571625"/>
              <a:gd name="connsiteX30" fmla="*/ 57150 w 917575"/>
              <a:gd name="connsiteY30" fmla="*/ 0 h 1571625"/>
              <a:gd name="connsiteX31" fmla="*/ 85725 w 917575"/>
              <a:gd name="connsiteY31" fmla="*/ 9525 h 1571625"/>
              <a:gd name="connsiteX0" fmla="*/ 917575 w 917575"/>
              <a:gd name="connsiteY0" fmla="*/ 1571625 h 1571625"/>
              <a:gd name="connsiteX1" fmla="*/ 901700 w 917575"/>
              <a:gd name="connsiteY1" fmla="*/ 1514475 h 1571625"/>
              <a:gd name="connsiteX2" fmla="*/ 869950 w 917575"/>
              <a:gd name="connsiteY2" fmla="*/ 1470025 h 1571625"/>
              <a:gd name="connsiteX3" fmla="*/ 831850 w 917575"/>
              <a:gd name="connsiteY3" fmla="*/ 1457325 h 1571625"/>
              <a:gd name="connsiteX4" fmla="*/ 777875 w 917575"/>
              <a:gd name="connsiteY4" fmla="*/ 1460500 h 1571625"/>
              <a:gd name="connsiteX5" fmla="*/ 736600 w 917575"/>
              <a:gd name="connsiteY5" fmla="*/ 1457325 h 1571625"/>
              <a:gd name="connsiteX6" fmla="*/ 701675 w 917575"/>
              <a:gd name="connsiteY6" fmla="*/ 1438275 h 1571625"/>
              <a:gd name="connsiteX7" fmla="*/ 673100 w 917575"/>
              <a:gd name="connsiteY7" fmla="*/ 1450975 h 1571625"/>
              <a:gd name="connsiteX8" fmla="*/ 622300 w 917575"/>
              <a:gd name="connsiteY8" fmla="*/ 1438275 h 1571625"/>
              <a:gd name="connsiteX9" fmla="*/ 587375 w 917575"/>
              <a:gd name="connsiteY9" fmla="*/ 1425575 h 1571625"/>
              <a:gd name="connsiteX10" fmla="*/ 571500 w 917575"/>
              <a:gd name="connsiteY10" fmla="*/ 1419225 h 1571625"/>
              <a:gd name="connsiteX11" fmla="*/ 511175 w 917575"/>
              <a:gd name="connsiteY11" fmla="*/ 1425575 h 1571625"/>
              <a:gd name="connsiteX12" fmla="*/ 457200 w 917575"/>
              <a:gd name="connsiteY12" fmla="*/ 1381125 h 1571625"/>
              <a:gd name="connsiteX13" fmla="*/ 425450 w 917575"/>
              <a:gd name="connsiteY13" fmla="*/ 1358900 h 1571625"/>
              <a:gd name="connsiteX14" fmla="*/ 390525 w 917575"/>
              <a:gd name="connsiteY14" fmla="*/ 1346200 h 1571625"/>
              <a:gd name="connsiteX15" fmla="*/ 365125 w 917575"/>
              <a:gd name="connsiteY15" fmla="*/ 1311275 h 1571625"/>
              <a:gd name="connsiteX16" fmla="*/ 317500 w 917575"/>
              <a:gd name="connsiteY16" fmla="*/ 1298575 h 1571625"/>
              <a:gd name="connsiteX17" fmla="*/ 279400 w 917575"/>
              <a:gd name="connsiteY17" fmla="*/ 1276350 h 1571625"/>
              <a:gd name="connsiteX18" fmla="*/ 244475 w 917575"/>
              <a:gd name="connsiteY18" fmla="*/ 1279525 h 1571625"/>
              <a:gd name="connsiteX19" fmla="*/ 228600 w 917575"/>
              <a:gd name="connsiteY19" fmla="*/ 1257300 h 1571625"/>
              <a:gd name="connsiteX20" fmla="*/ 184150 w 917575"/>
              <a:gd name="connsiteY20" fmla="*/ 1244600 h 1571625"/>
              <a:gd name="connsiteX21" fmla="*/ 158750 w 917575"/>
              <a:gd name="connsiteY21" fmla="*/ 1250950 h 1571625"/>
              <a:gd name="connsiteX22" fmla="*/ 111125 w 917575"/>
              <a:gd name="connsiteY22" fmla="*/ 1244600 h 1571625"/>
              <a:gd name="connsiteX23" fmla="*/ 66675 w 917575"/>
              <a:gd name="connsiteY23" fmla="*/ 1260475 h 1571625"/>
              <a:gd name="connsiteX24" fmla="*/ 0 w 917575"/>
              <a:gd name="connsiteY24" fmla="*/ 1254125 h 1571625"/>
              <a:gd name="connsiteX25" fmla="*/ 0 w 917575"/>
              <a:gd name="connsiteY25" fmla="*/ 1254125 h 1571625"/>
              <a:gd name="connsiteX26" fmla="*/ 9525 w 917575"/>
              <a:gd name="connsiteY26" fmla="*/ 177800 h 1571625"/>
              <a:gd name="connsiteX27" fmla="*/ 22225 w 917575"/>
              <a:gd name="connsiteY27" fmla="*/ 114300 h 1571625"/>
              <a:gd name="connsiteX28" fmla="*/ 3175 w 917575"/>
              <a:gd name="connsiteY28" fmla="*/ 73025 h 1571625"/>
              <a:gd name="connsiteX29" fmla="*/ 28575 w 917575"/>
              <a:gd name="connsiteY29" fmla="*/ 47625 h 1571625"/>
              <a:gd name="connsiteX30" fmla="*/ 57150 w 917575"/>
              <a:gd name="connsiteY30" fmla="*/ 0 h 1571625"/>
              <a:gd name="connsiteX0" fmla="*/ 917575 w 917575"/>
              <a:gd name="connsiteY0" fmla="*/ 1524000 h 1524000"/>
              <a:gd name="connsiteX1" fmla="*/ 901700 w 917575"/>
              <a:gd name="connsiteY1" fmla="*/ 1466850 h 1524000"/>
              <a:gd name="connsiteX2" fmla="*/ 869950 w 917575"/>
              <a:gd name="connsiteY2" fmla="*/ 1422400 h 1524000"/>
              <a:gd name="connsiteX3" fmla="*/ 831850 w 917575"/>
              <a:gd name="connsiteY3" fmla="*/ 1409700 h 1524000"/>
              <a:gd name="connsiteX4" fmla="*/ 777875 w 917575"/>
              <a:gd name="connsiteY4" fmla="*/ 1412875 h 1524000"/>
              <a:gd name="connsiteX5" fmla="*/ 736600 w 917575"/>
              <a:gd name="connsiteY5" fmla="*/ 1409700 h 1524000"/>
              <a:gd name="connsiteX6" fmla="*/ 701675 w 917575"/>
              <a:gd name="connsiteY6" fmla="*/ 1390650 h 1524000"/>
              <a:gd name="connsiteX7" fmla="*/ 673100 w 917575"/>
              <a:gd name="connsiteY7" fmla="*/ 1403350 h 1524000"/>
              <a:gd name="connsiteX8" fmla="*/ 622300 w 917575"/>
              <a:gd name="connsiteY8" fmla="*/ 1390650 h 1524000"/>
              <a:gd name="connsiteX9" fmla="*/ 587375 w 917575"/>
              <a:gd name="connsiteY9" fmla="*/ 1377950 h 1524000"/>
              <a:gd name="connsiteX10" fmla="*/ 571500 w 917575"/>
              <a:gd name="connsiteY10" fmla="*/ 1371600 h 1524000"/>
              <a:gd name="connsiteX11" fmla="*/ 511175 w 917575"/>
              <a:gd name="connsiteY11" fmla="*/ 1377950 h 1524000"/>
              <a:gd name="connsiteX12" fmla="*/ 457200 w 917575"/>
              <a:gd name="connsiteY12" fmla="*/ 1333500 h 1524000"/>
              <a:gd name="connsiteX13" fmla="*/ 425450 w 917575"/>
              <a:gd name="connsiteY13" fmla="*/ 1311275 h 1524000"/>
              <a:gd name="connsiteX14" fmla="*/ 390525 w 917575"/>
              <a:gd name="connsiteY14" fmla="*/ 1298575 h 1524000"/>
              <a:gd name="connsiteX15" fmla="*/ 365125 w 917575"/>
              <a:gd name="connsiteY15" fmla="*/ 1263650 h 1524000"/>
              <a:gd name="connsiteX16" fmla="*/ 317500 w 917575"/>
              <a:gd name="connsiteY16" fmla="*/ 1250950 h 1524000"/>
              <a:gd name="connsiteX17" fmla="*/ 279400 w 917575"/>
              <a:gd name="connsiteY17" fmla="*/ 1228725 h 1524000"/>
              <a:gd name="connsiteX18" fmla="*/ 244475 w 917575"/>
              <a:gd name="connsiteY18" fmla="*/ 1231900 h 1524000"/>
              <a:gd name="connsiteX19" fmla="*/ 228600 w 917575"/>
              <a:gd name="connsiteY19" fmla="*/ 1209675 h 1524000"/>
              <a:gd name="connsiteX20" fmla="*/ 184150 w 917575"/>
              <a:gd name="connsiteY20" fmla="*/ 1196975 h 1524000"/>
              <a:gd name="connsiteX21" fmla="*/ 158750 w 917575"/>
              <a:gd name="connsiteY21" fmla="*/ 1203325 h 1524000"/>
              <a:gd name="connsiteX22" fmla="*/ 111125 w 917575"/>
              <a:gd name="connsiteY22" fmla="*/ 1196975 h 1524000"/>
              <a:gd name="connsiteX23" fmla="*/ 66675 w 917575"/>
              <a:gd name="connsiteY23" fmla="*/ 1212850 h 1524000"/>
              <a:gd name="connsiteX24" fmla="*/ 0 w 917575"/>
              <a:gd name="connsiteY24" fmla="*/ 1206500 h 1524000"/>
              <a:gd name="connsiteX25" fmla="*/ 0 w 917575"/>
              <a:gd name="connsiteY25" fmla="*/ 1206500 h 1524000"/>
              <a:gd name="connsiteX26" fmla="*/ 9525 w 917575"/>
              <a:gd name="connsiteY26" fmla="*/ 130175 h 1524000"/>
              <a:gd name="connsiteX27" fmla="*/ 22225 w 917575"/>
              <a:gd name="connsiteY27" fmla="*/ 66675 h 1524000"/>
              <a:gd name="connsiteX28" fmla="*/ 3175 w 917575"/>
              <a:gd name="connsiteY28" fmla="*/ 25400 h 1524000"/>
              <a:gd name="connsiteX29" fmla="*/ 28575 w 917575"/>
              <a:gd name="connsiteY29" fmla="*/ 0 h 1524000"/>
              <a:gd name="connsiteX0" fmla="*/ 917575 w 917575"/>
              <a:gd name="connsiteY0" fmla="*/ 1498600 h 1498600"/>
              <a:gd name="connsiteX1" fmla="*/ 901700 w 917575"/>
              <a:gd name="connsiteY1" fmla="*/ 1441450 h 1498600"/>
              <a:gd name="connsiteX2" fmla="*/ 869950 w 917575"/>
              <a:gd name="connsiteY2" fmla="*/ 1397000 h 1498600"/>
              <a:gd name="connsiteX3" fmla="*/ 831850 w 917575"/>
              <a:gd name="connsiteY3" fmla="*/ 1384300 h 1498600"/>
              <a:gd name="connsiteX4" fmla="*/ 777875 w 917575"/>
              <a:gd name="connsiteY4" fmla="*/ 1387475 h 1498600"/>
              <a:gd name="connsiteX5" fmla="*/ 736600 w 917575"/>
              <a:gd name="connsiteY5" fmla="*/ 1384300 h 1498600"/>
              <a:gd name="connsiteX6" fmla="*/ 701675 w 917575"/>
              <a:gd name="connsiteY6" fmla="*/ 1365250 h 1498600"/>
              <a:gd name="connsiteX7" fmla="*/ 673100 w 917575"/>
              <a:gd name="connsiteY7" fmla="*/ 1377950 h 1498600"/>
              <a:gd name="connsiteX8" fmla="*/ 622300 w 917575"/>
              <a:gd name="connsiteY8" fmla="*/ 1365250 h 1498600"/>
              <a:gd name="connsiteX9" fmla="*/ 587375 w 917575"/>
              <a:gd name="connsiteY9" fmla="*/ 1352550 h 1498600"/>
              <a:gd name="connsiteX10" fmla="*/ 571500 w 917575"/>
              <a:gd name="connsiteY10" fmla="*/ 1346200 h 1498600"/>
              <a:gd name="connsiteX11" fmla="*/ 511175 w 917575"/>
              <a:gd name="connsiteY11" fmla="*/ 1352550 h 1498600"/>
              <a:gd name="connsiteX12" fmla="*/ 457200 w 917575"/>
              <a:gd name="connsiteY12" fmla="*/ 1308100 h 1498600"/>
              <a:gd name="connsiteX13" fmla="*/ 425450 w 917575"/>
              <a:gd name="connsiteY13" fmla="*/ 1285875 h 1498600"/>
              <a:gd name="connsiteX14" fmla="*/ 390525 w 917575"/>
              <a:gd name="connsiteY14" fmla="*/ 1273175 h 1498600"/>
              <a:gd name="connsiteX15" fmla="*/ 365125 w 917575"/>
              <a:gd name="connsiteY15" fmla="*/ 1238250 h 1498600"/>
              <a:gd name="connsiteX16" fmla="*/ 317500 w 917575"/>
              <a:gd name="connsiteY16" fmla="*/ 1225550 h 1498600"/>
              <a:gd name="connsiteX17" fmla="*/ 279400 w 917575"/>
              <a:gd name="connsiteY17" fmla="*/ 1203325 h 1498600"/>
              <a:gd name="connsiteX18" fmla="*/ 244475 w 917575"/>
              <a:gd name="connsiteY18" fmla="*/ 1206500 h 1498600"/>
              <a:gd name="connsiteX19" fmla="*/ 228600 w 917575"/>
              <a:gd name="connsiteY19" fmla="*/ 1184275 h 1498600"/>
              <a:gd name="connsiteX20" fmla="*/ 184150 w 917575"/>
              <a:gd name="connsiteY20" fmla="*/ 1171575 h 1498600"/>
              <a:gd name="connsiteX21" fmla="*/ 158750 w 917575"/>
              <a:gd name="connsiteY21" fmla="*/ 1177925 h 1498600"/>
              <a:gd name="connsiteX22" fmla="*/ 111125 w 917575"/>
              <a:gd name="connsiteY22" fmla="*/ 1171575 h 1498600"/>
              <a:gd name="connsiteX23" fmla="*/ 66675 w 917575"/>
              <a:gd name="connsiteY23" fmla="*/ 1187450 h 1498600"/>
              <a:gd name="connsiteX24" fmla="*/ 0 w 917575"/>
              <a:gd name="connsiteY24" fmla="*/ 1181100 h 1498600"/>
              <a:gd name="connsiteX25" fmla="*/ 0 w 917575"/>
              <a:gd name="connsiteY25" fmla="*/ 1181100 h 1498600"/>
              <a:gd name="connsiteX26" fmla="*/ 9525 w 917575"/>
              <a:gd name="connsiteY26" fmla="*/ 104775 h 1498600"/>
              <a:gd name="connsiteX27" fmla="*/ 22225 w 917575"/>
              <a:gd name="connsiteY27" fmla="*/ 41275 h 1498600"/>
              <a:gd name="connsiteX28" fmla="*/ 3175 w 917575"/>
              <a:gd name="connsiteY28" fmla="*/ 0 h 1498600"/>
              <a:gd name="connsiteX0" fmla="*/ 917575 w 917575"/>
              <a:gd name="connsiteY0" fmla="*/ 1457325 h 1457325"/>
              <a:gd name="connsiteX1" fmla="*/ 901700 w 917575"/>
              <a:gd name="connsiteY1" fmla="*/ 1400175 h 1457325"/>
              <a:gd name="connsiteX2" fmla="*/ 869950 w 917575"/>
              <a:gd name="connsiteY2" fmla="*/ 1355725 h 1457325"/>
              <a:gd name="connsiteX3" fmla="*/ 831850 w 917575"/>
              <a:gd name="connsiteY3" fmla="*/ 1343025 h 1457325"/>
              <a:gd name="connsiteX4" fmla="*/ 777875 w 917575"/>
              <a:gd name="connsiteY4" fmla="*/ 1346200 h 1457325"/>
              <a:gd name="connsiteX5" fmla="*/ 736600 w 917575"/>
              <a:gd name="connsiteY5" fmla="*/ 1343025 h 1457325"/>
              <a:gd name="connsiteX6" fmla="*/ 701675 w 917575"/>
              <a:gd name="connsiteY6" fmla="*/ 1323975 h 1457325"/>
              <a:gd name="connsiteX7" fmla="*/ 673100 w 917575"/>
              <a:gd name="connsiteY7" fmla="*/ 1336675 h 1457325"/>
              <a:gd name="connsiteX8" fmla="*/ 622300 w 917575"/>
              <a:gd name="connsiteY8" fmla="*/ 1323975 h 1457325"/>
              <a:gd name="connsiteX9" fmla="*/ 587375 w 917575"/>
              <a:gd name="connsiteY9" fmla="*/ 1311275 h 1457325"/>
              <a:gd name="connsiteX10" fmla="*/ 571500 w 917575"/>
              <a:gd name="connsiteY10" fmla="*/ 1304925 h 1457325"/>
              <a:gd name="connsiteX11" fmla="*/ 511175 w 917575"/>
              <a:gd name="connsiteY11" fmla="*/ 1311275 h 1457325"/>
              <a:gd name="connsiteX12" fmla="*/ 457200 w 917575"/>
              <a:gd name="connsiteY12" fmla="*/ 1266825 h 1457325"/>
              <a:gd name="connsiteX13" fmla="*/ 425450 w 917575"/>
              <a:gd name="connsiteY13" fmla="*/ 1244600 h 1457325"/>
              <a:gd name="connsiteX14" fmla="*/ 390525 w 917575"/>
              <a:gd name="connsiteY14" fmla="*/ 1231900 h 1457325"/>
              <a:gd name="connsiteX15" fmla="*/ 365125 w 917575"/>
              <a:gd name="connsiteY15" fmla="*/ 1196975 h 1457325"/>
              <a:gd name="connsiteX16" fmla="*/ 317500 w 917575"/>
              <a:gd name="connsiteY16" fmla="*/ 1184275 h 1457325"/>
              <a:gd name="connsiteX17" fmla="*/ 279400 w 917575"/>
              <a:gd name="connsiteY17" fmla="*/ 1162050 h 1457325"/>
              <a:gd name="connsiteX18" fmla="*/ 244475 w 917575"/>
              <a:gd name="connsiteY18" fmla="*/ 1165225 h 1457325"/>
              <a:gd name="connsiteX19" fmla="*/ 228600 w 917575"/>
              <a:gd name="connsiteY19" fmla="*/ 1143000 h 1457325"/>
              <a:gd name="connsiteX20" fmla="*/ 184150 w 917575"/>
              <a:gd name="connsiteY20" fmla="*/ 1130300 h 1457325"/>
              <a:gd name="connsiteX21" fmla="*/ 158750 w 917575"/>
              <a:gd name="connsiteY21" fmla="*/ 1136650 h 1457325"/>
              <a:gd name="connsiteX22" fmla="*/ 111125 w 917575"/>
              <a:gd name="connsiteY22" fmla="*/ 1130300 h 1457325"/>
              <a:gd name="connsiteX23" fmla="*/ 66675 w 917575"/>
              <a:gd name="connsiteY23" fmla="*/ 1146175 h 1457325"/>
              <a:gd name="connsiteX24" fmla="*/ 0 w 917575"/>
              <a:gd name="connsiteY24" fmla="*/ 1139825 h 1457325"/>
              <a:gd name="connsiteX25" fmla="*/ 0 w 917575"/>
              <a:gd name="connsiteY25" fmla="*/ 1139825 h 1457325"/>
              <a:gd name="connsiteX26" fmla="*/ 9525 w 917575"/>
              <a:gd name="connsiteY26" fmla="*/ 63500 h 1457325"/>
              <a:gd name="connsiteX27" fmla="*/ 22225 w 917575"/>
              <a:gd name="connsiteY27" fmla="*/ 0 h 1457325"/>
              <a:gd name="connsiteX0" fmla="*/ 917575 w 917575"/>
              <a:gd name="connsiteY0" fmla="*/ 1393825 h 1393825"/>
              <a:gd name="connsiteX1" fmla="*/ 901700 w 917575"/>
              <a:gd name="connsiteY1" fmla="*/ 1336675 h 1393825"/>
              <a:gd name="connsiteX2" fmla="*/ 869950 w 917575"/>
              <a:gd name="connsiteY2" fmla="*/ 1292225 h 1393825"/>
              <a:gd name="connsiteX3" fmla="*/ 831850 w 917575"/>
              <a:gd name="connsiteY3" fmla="*/ 1279525 h 1393825"/>
              <a:gd name="connsiteX4" fmla="*/ 777875 w 917575"/>
              <a:gd name="connsiteY4" fmla="*/ 1282700 h 1393825"/>
              <a:gd name="connsiteX5" fmla="*/ 736600 w 917575"/>
              <a:gd name="connsiteY5" fmla="*/ 1279525 h 1393825"/>
              <a:gd name="connsiteX6" fmla="*/ 701675 w 917575"/>
              <a:gd name="connsiteY6" fmla="*/ 1260475 h 1393825"/>
              <a:gd name="connsiteX7" fmla="*/ 673100 w 917575"/>
              <a:gd name="connsiteY7" fmla="*/ 1273175 h 1393825"/>
              <a:gd name="connsiteX8" fmla="*/ 622300 w 917575"/>
              <a:gd name="connsiteY8" fmla="*/ 1260475 h 1393825"/>
              <a:gd name="connsiteX9" fmla="*/ 587375 w 917575"/>
              <a:gd name="connsiteY9" fmla="*/ 1247775 h 1393825"/>
              <a:gd name="connsiteX10" fmla="*/ 571500 w 917575"/>
              <a:gd name="connsiteY10" fmla="*/ 1241425 h 1393825"/>
              <a:gd name="connsiteX11" fmla="*/ 511175 w 917575"/>
              <a:gd name="connsiteY11" fmla="*/ 1247775 h 1393825"/>
              <a:gd name="connsiteX12" fmla="*/ 457200 w 917575"/>
              <a:gd name="connsiteY12" fmla="*/ 1203325 h 1393825"/>
              <a:gd name="connsiteX13" fmla="*/ 425450 w 917575"/>
              <a:gd name="connsiteY13" fmla="*/ 1181100 h 1393825"/>
              <a:gd name="connsiteX14" fmla="*/ 390525 w 917575"/>
              <a:gd name="connsiteY14" fmla="*/ 1168400 h 1393825"/>
              <a:gd name="connsiteX15" fmla="*/ 365125 w 917575"/>
              <a:gd name="connsiteY15" fmla="*/ 1133475 h 1393825"/>
              <a:gd name="connsiteX16" fmla="*/ 317500 w 917575"/>
              <a:gd name="connsiteY16" fmla="*/ 1120775 h 1393825"/>
              <a:gd name="connsiteX17" fmla="*/ 279400 w 917575"/>
              <a:gd name="connsiteY17" fmla="*/ 1098550 h 1393825"/>
              <a:gd name="connsiteX18" fmla="*/ 244475 w 917575"/>
              <a:gd name="connsiteY18" fmla="*/ 1101725 h 1393825"/>
              <a:gd name="connsiteX19" fmla="*/ 228600 w 917575"/>
              <a:gd name="connsiteY19" fmla="*/ 1079500 h 1393825"/>
              <a:gd name="connsiteX20" fmla="*/ 184150 w 917575"/>
              <a:gd name="connsiteY20" fmla="*/ 1066800 h 1393825"/>
              <a:gd name="connsiteX21" fmla="*/ 158750 w 917575"/>
              <a:gd name="connsiteY21" fmla="*/ 1073150 h 1393825"/>
              <a:gd name="connsiteX22" fmla="*/ 111125 w 917575"/>
              <a:gd name="connsiteY22" fmla="*/ 1066800 h 1393825"/>
              <a:gd name="connsiteX23" fmla="*/ 66675 w 917575"/>
              <a:gd name="connsiteY23" fmla="*/ 1082675 h 1393825"/>
              <a:gd name="connsiteX24" fmla="*/ 0 w 917575"/>
              <a:gd name="connsiteY24" fmla="*/ 1076325 h 1393825"/>
              <a:gd name="connsiteX25" fmla="*/ 0 w 917575"/>
              <a:gd name="connsiteY25" fmla="*/ 1076325 h 1393825"/>
              <a:gd name="connsiteX26" fmla="*/ 9525 w 917575"/>
              <a:gd name="connsiteY26" fmla="*/ 0 h 1393825"/>
              <a:gd name="connsiteX0" fmla="*/ 917575 w 917575"/>
              <a:gd name="connsiteY0" fmla="*/ 327025 h 327025"/>
              <a:gd name="connsiteX1" fmla="*/ 901700 w 917575"/>
              <a:gd name="connsiteY1" fmla="*/ 269875 h 327025"/>
              <a:gd name="connsiteX2" fmla="*/ 869950 w 917575"/>
              <a:gd name="connsiteY2" fmla="*/ 225425 h 327025"/>
              <a:gd name="connsiteX3" fmla="*/ 831850 w 917575"/>
              <a:gd name="connsiteY3" fmla="*/ 212725 h 327025"/>
              <a:gd name="connsiteX4" fmla="*/ 777875 w 917575"/>
              <a:gd name="connsiteY4" fmla="*/ 215900 h 327025"/>
              <a:gd name="connsiteX5" fmla="*/ 736600 w 917575"/>
              <a:gd name="connsiteY5" fmla="*/ 212725 h 327025"/>
              <a:gd name="connsiteX6" fmla="*/ 701675 w 917575"/>
              <a:gd name="connsiteY6" fmla="*/ 193675 h 327025"/>
              <a:gd name="connsiteX7" fmla="*/ 673100 w 917575"/>
              <a:gd name="connsiteY7" fmla="*/ 206375 h 327025"/>
              <a:gd name="connsiteX8" fmla="*/ 622300 w 917575"/>
              <a:gd name="connsiteY8" fmla="*/ 193675 h 327025"/>
              <a:gd name="connsiteX9" fmla="*/ 587375 w 917575"/>
              <a:gd name="connsiteY9" fmla="*/ 180975 h 327025"/>
              <a:gd name="connsiteX10" fmla="*/ 571500 w 917575"/>
              <a:gd name="connsiteY10" fmla="*/ 174625 h 327025"/>
              <a:gd name="connsiteX11" fmla="*/ 511175 w 917575"/>
              <a:gd name="connsiteY11" fmla="*/ 180975 h 327025"/>
              <a:gd name="connsiteX12" fmla="*/ 457200 w 917575"/>
              <a:gd name="connsiteY12" fmla="*/ 136525 h 327025"/>
              <a:gd name="connsiteX13" fmla="*/ 425450 w 917575"/>
              <a:gd name="connsiteY13" fmla="*/ 114300 h 327025"/>
              <a:gd name="connsiteX14" fmla="*/ 390525 w 917575"/>
              <a:gd name="connsiteY14" fmla="*/ 101600 h 327025"/>
              <a:gd name="connsiteX15" fmla="*/ 365125 w 917575"/>
              <a:gd name="connsiteY15" fmla="*/ 66675 h 327025"/>
              <a:gd name="connsiteX16" fmla="*/ 317500 w 917575"/>
              <a:gd name="connsiteY16" fmla="*/ 53975 h 327025"/>
              <a:gd name="connsiteX17" fmla="*/ 279400 w 917575"/>
              <a:gd name="connsiteY17" fmla="*/ 31750 h 327025"/>
              <a:gd name="connsiteX18" fmla="*/ 244475 w 917575"/>
              <a:gd name="connsiteY18" fmla="*/ 34925 h 327025"/>
              <a:gd name="connsiteX19" fmla="*/ 228600 w 917575"/>
              <a:gd name="connsiteY19" fmla="*/ 12700 h 327025"/>
              <a:gd name="connsiteX20" fmla="*/ 184150 w 917575"/>
              <a:gd name="connsiteY20" fmla="*/ 0 h 327025"/>
              <a:gd name="connsiteX21" fmla="*/ 158750 w 917575"/>
              <a:gd name="connsiteY21" fmla="*/ 6350 h 327025"/>
              <a:gd name="connsiteX22" fmla="*/ 111125 w 917575"/>
              <a:gd name="connsiteY22" fmla="*/ 0 h 327025"/>
              <a:gd name="connsiteX23" fmla="*/ 66675 w 917575"/>
              <a:gd name="connsiteY23" fmla="*/ 15875 h 327025"/>
              <a:gd name="connsiteX24" fmla="*/ 0 w 917575"/>
              <a:gd name="connsiteY24" fmla="*/ 9525 h 327025"/>
              <a:gd name="connsiteX25" fmla="*/ 0 w 917575"/>
              <a:gd name="connsiteY25" fmla="*/ 9525 h 327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917575" h="327025">
                <a:moveTo>
                  <a:pt x="917575" y="327025"/>
                </a:moveTo>
                <a:lnTo>
                  <a:pt x="901700" y="269875"/>
                </a:lnTo>
                <a:lnTo>
                  <a:pt x="869950" y="225425"/>
                </a:lnTo>
                <a:lnTo>
                  <a:pt x="831850" y="212725"/>
                </a:lnTo>
                <a:lnTo>
                  <a:pt x="777875" y="215900"/>
                </a:lnTo>
                <a:lnTo>
                  <a:pt x="736600" y="212725"/>
                </a:lnTo>
                <a:lnTo>
                  <a:pt x="701675" y="193675"/>
                </a:lnTo>
                <a:lnTo>
                  <a:pt x="673100" y="206375"/>
                </a:lnTo>
                <a:lnTo>
                  <a:pt x="622300" y="193675"/>
                </a:lnTo>
                <a:lnTo>
                  <a:pt x="587375" y="180975"/>
                </a:lnTo>
                <a:lnTo>
                  <a:pt x="571500" y="174625"/>
                </a:lnTo>
                <a:lnTo>
                  <a:pt x="511175" y="180975"/>
                </a:lnTo>
                <a:lnTo>
                  <a:pt x="457200" y="136525"/>
                </a:lnTo>
                <a:lnTo>
                  <a:pt x="425450" y="114300"/>
                </a:lnTo>
                <a:lnTo>
                  <a:pt x="390525" y="101600"/>
                </a:lnTo>
                <a:lnTo>
                  <a:pt x="365125" y="66675"/>
                </a:lnTo>
                <a:lnTo>
                  <a:pt x="317500" y="53975"/>
                </a:lnTo>
                <a:lnTo>
                  <a:pt x="279400" y="31750"/>
                </a:lnTo>
                <a:lnTo>
                  <a:pt x="244475" y="34925"/>
                </a:lnTo>
                <a:lnTo>
                  <a:pt x="228600" y="12700"/>
                </a:lnTo>
                <a:lnTo>
                  <a:pt x="184150" y="0"/>
                </a:lnTo>
                <a:lnTo>
                  <a:pt x="158750" y="6350"/>
                </a:lnTo>
                <a:lnTo>
                  <a:pt x="111125" y="0"/>
                </a:lnTo>
                <a:lnTo>
                  <a:pt x="66675" y="15875"/>
                </a:lnTo>
                <a:lnTo>
                  <a:pt x="0" y="9525"/>
                </a:lnTo>
                <a:lnTo>
                  <a:pt x="0" y="9525"/>
                </a:lnTo>
              </a:path>
            </a:pathLst>
          </a:custGeom>
          <a:noFill/>
          <a:ln w="19050">
            <a:solidFill>
              <a:srgbClr val="0084A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7" name="Freeform 33"/>
          <p:cNvSpPr/>
          <p:nvPr/>
        </p:nvSpPr>
        <p:spPr bwMode="auto">
          <a:xfrm>
            <a:off x="-5500" y="33283"/>
            <a:ext cx="833363" cy="1332579"/>
          </a:xfrm>
          <a:custGeom>
            <a:avLst/>
            <a:gdLst>
              <a:gd name="connsiteX0" fmla="*/ 1768475 w 1768475"/>
              <a:gd name="connsiteY0" fmla="*/ 2879725 h 2879725"/>
              <a:gd name="connsiteX1" fmla="*/ 1752600 w 1768475"/>
              <a:gd name="connsiteY1" fmla="*/ 2822575 h 2879725"/>
              <a:gd name="connsiteX2" fmla="*/ 1720850 w 1768475"/>
              <a:gd name="connsiteY2" fmla="*/ 2778125 h 2879725"/>
              <a:gd name="connsiteX3" fmla="*/ 1682750 w 1768475"/>
              <a:gd name="connsiteY3" fmla="*/ 2765425 h 2879725"/>
              <a:gd name="connsiteX4" fmla="*/ 1628775 w 1768475"/>
              <a:gd name="connsiteY4" fmla="*/ 2768600 h 2879725"/>
              <a:gd name="connsiteX5" fmla="*/ 1587500 w 1768475"/>
              <a:gd name="connsiteY5" fmla="*/ 2765425 h 2879725"/>
              <a:gd name="connsiteX6" fmla="*/ 1552575 w 1768475"/>
              <a:gd name="connsiteY6" fmla="*/ 2746375 h 2879725"/>
              <a:gd name="connsiteX7" fmla="*/ 1524000 w 1768475"/>
              <a:gd name="connsiteY7" fmla="*/ 2759075 h 2879725"/>
              <a:gd name="connsiteX8" fmla="*/ 1473200 w 1768475"/>
              <a:gd name="connsiteY8" fmla="*/ 2746375 h 2879725"/>
              <a:gd name="connsiteX9" fmla="*/ 1438275 w 1768475"/>
              <a:gd name="connsiteY9" fmla="*/ 2733675 h 2879725"/>
              <a:gd name="connsiteX10" fmla="*/ 1422400 w 1768475"/>
              <a:gd name="connsiteY10" fmla="*/ 2727325 h 2879725"/>
              <a:gd name="connsiteX11" fmla="*/ 1362075 w 1768475"/>
              <a:gd name="connsiteY11" fmla="*/ 2733675 h 2879725"/>
              <a:gd name="connsiteX12" fmla="*/ 1308100 w 1768475"/>
              <a:gd name="connsiteY12" fmla="*/ 2689225 h 2879725"/>
              <a:gd name="connsiteX13" fmla="*/ 1276350 w 1768475"/>
              <a:gd name="connsiteY13" fmla="*/ 2667000 h 2879725"/>
              <a:gd name="connsiteX14" fmla="*/ 1241425 w 1768475"/>
              <a:gd name="connsiteY14" fmla="*/ 2654300 h 2879725"/>
              <a:gd name="connsiteX15" fmla="*/ 1216025 w 1768475"/>
              <a:gd name="connsiteY15" fmla="*/ 2619375 h 2879725"/>
              <a:gd name="connsiteX16" fmla="*/ 1168400 w 1768475"/>
              <a:gd name="connsiteY16" fmla="*/ 2606675 h 2879725"/>
              <a:gd name="connsiteX17" fmla="*/ 1130300 w 1768475"/>
              <a:gd name="connsiteY17" fmla="*/ 2584450 h 2879725"/>
              <a:gd name="connsiteX18" fmla="*/ 1095375 w 1768475"/>
              <a:gd name="connsiteY18" fmla="*/ 2587625 h 2879725"/>
              <a:gd name="connsiteX19" fmla="*/ 1079500 w 1768475"/>
              <a:gd name="connsiteY19" fmla="*/ 2565400 h 2879725"/>
              <a:gd name="connsiteX20" fmla="*/ 1035050 w 1768475"/>
              <a:gd name="connsiteY20" fmla="*/ 2552700 h 2879725"/>
              <a:gd name="connsiteX21" fmla="*/ 1009650 w 1768475"/>
              <a:gd name="connsiteY21" fmla="*/ 2559050 h 2879725"/>
              <a:gd name="connsiteX22" fmla="*/ 962025 w 1768475"/>
              <a:gd name="connsiteY22" fmla="*/ 2552700 h 2879725"/>
              <a:gd name="connsiteX23" fmla="*/ 917575 w 1768475"/>
              <a:gd name="connsiteY23" fmla="*/ 2568575 h 2879725"/>
              <a:gd name="connsiteX24" fmla="*/ 850900 w 1768475"/>
              <a:gd name="connsiteY24" fmla="*/ 2562225 h 2879725"/>
              <a:gd name="connsiteX25" fmla="*/ 850900 w 1768475"/>
              <a:gd name="connsiteY25" fmla="*/ 2562225 h 2879725"/>
              <a:gd name="connsiteX26" fmla="*/ 796925 w 1768475"/>
              <a:gd name="connsiteY26" fmla="*/ 2568575 h 2879725"/>
              <a:gd name="connsiteX27" fmla="*/ 809625 w 1768475"/>
              <a:gd name="connsiteY27" fmla="*/ 2543175 h 2879725"/>
              <a:gd name="connsiteX28" fmla="*/ 787400 w 1768475"/>
              <a:gd name="connsiteY28" fmla="*/ 2533650 h 2879725"/>
              <a:gd name="connsiteX29" fmla="*/ 806450 w 1768475"/>
              <a:gd name="connsiteY29" fmla="*/ 2473325 h 2879725"/>
              <a:gd name="connsiteX30" fmla="*/ 781050 w 1768475"/>
              <a:gd name="connsiteY30" fmla="*/ 2419350 h 2879725"/>
              <a:gd name="connsiteX31" fmla="*/ 736600 w 1768475"/>
              <a:gd name="connsiteY31" fmla="*/ 2378075 h 2879725"/>
              <a:gd name="connsiteX32" fmla="*/ 692150 w 1768475"/>
              <a:gd name="connsiteY32" fmla="*/ 2355850 h 2879725"/>
              <a:gd name="connsiteX33" fmla="*/ 647700 w 1768475"/>
              <a:gd name="connsiteY33" fmla="*/ 2419350 h 2879725"/>
              <a:gd name="connsiteX34" fmla="*/ 590550 w 1768475"/>
              <a:gd name="connsiteY34" fmla="*/ 2476500 h 2879725"/>
              <a:gd name="connsiteX35" fmla="*/ 552450 w 1768475"/>
              <a:gd name="connsiteY35" fmla="*/ 2486025 h 2879725"/>
              <a:gd name="connsiteX36" fmla="*/ 508000 w 1768475"/>
              <a:gd name="connsiteY36" fmla="*/ 2463800 h 2879725"/>
              <a:gd name="connsiteX37" fmla="*/ 463550 w 1768475"/>
              <a:gd name="connsiteY37" fmla="*/ 2466975 h 2879725"/>
              <a:gd name="connsiteX38" fmla="*/ 406400 w 1768475"/>
              <a:gd name="connsiteY38" fmla="*/ 2444750 h 2879725"/>
              <a:gd name="connsiteX39" fmla="*/ 365125 w 1768475"/>
              <a:gd name="connsiteY39" fmla="*/ 2451100 h 2879725"/>
              <a:gd name="connsiteX40" fmla="*/ 323850 w 1768475"/>
              <a:gd name="connsiteY40" fmla="*/ 2422525 h 2879725"/>
              <a:gd name="connsiteX41" fmla="*/ 301625 w 1768475"/>
              <a:gd name="connsiteY41" fmla="*/ 2381250 h 2879725"/>
              <a:gd name="connsiteX42" fmla="*/ 250825 w 1768475"/>
              <a:gd name="connsiteY42" fmla="*/ 2352675 h 2879725"/>
              <a:gd name="connsiteX43" fmla="*/ 212725 w 1768475"/>
              <a:gd name="connsiteY43" fmla="*/ 2320925 h 2879725"/>
              <a:gd name="connsiteX44" fmla="*/ 190500 w 1768475"/>
              <a:gd name="connsiteY44" fmla="*/ 2324100 h 2879725"/>
              <a:gd name="connsiteX45" fmla="*/ 171450 w 1768475"/>
              <a:gd name="connsiteY45" fmla="*/ 2295525 h 2879725"/>
              <a:gd name="connsiteX46" fmla="*/ 114300 w 1768475"/>
              <a:gd name="connsiteY46" fmla="*/ 2276475 h 2879725"/>
              <a:gd name="connsiteX47" fmla="*/ 66675 w 1768475"/>
              <a:gd name="connsiteY47" fmla="*/ 2289175 h 2879725"/>
              <a:gd name="connsiteX48" fmla="*/ 0 w 1768475"/>
              <a:gd name="connsiteY48" fmla="*/ 2254250 h 2879725"/>
              <a:gd name="connsiteX49" fmla="*/ 19050 w 1768475"/>
              <a:gd name="connsiteY49" fmla="*/ 2212975 h 2879725"/>
              <a:gd name="connsiteX50" fmla="*/ 19050 w 1768475"/>
              <a:gd name="connsiteY50" fmla="*/ 2174875 h 2879725"/>
              <a:gd name="connsiteX51" fmla="*/ 57150 w 1768475"/>
              <a:gd name="connsiteY51" fmla="*/ 2139950 h 2879725"/>
              <a:gd name="connsiteX52" fmla="*/ 47625 w 1768475"/>
              <a:gd name="connsiteY52" fmla="*/ 2073275 h 2879725"/>
              <a:gd name="connsiteX53" fmla="*/ 82550 w 1768475"/>
              <a:gd name="connsiteY53" fmla="*/ 2054225 h 2879725"/>
              <a:gd name="connsiteX54" fmla="*/ 155575 w 1768475"/>
              <a:gd name="connsiteY54" fmla="*/ 2038350 h 2879725"/>
              <a:gd name="connsiteX55" fmla="*/ 209550 w 1768475"/>
              <a:gd name="connsiteY55" fmla="*/ 2006600 h 2879725"/>
              <a:gd name="connsiteX56" fmla="*/ 247650 w 1768475"/>
              <a:gd name="connsiteY56" fmla="*/ 2022475 h 2879725"/>
              <a:gd name="connsiteX57" fmla="*/ 269875 w 1768475"/>
              <a:gd name="connsiteY57" fmla="*/ 1993900 h 2879725"/>
              <a:gd name="connsiteX58" fmla="*/ 349250 w 1768475"/>
              <a:gd name="connsiteY58" fmla="*/ 1997075 h 2879725"/>
              <a:gd name="connsiteX59" fmla="*/ 330200 w 1768475"/>
              <a:gd name="connsiteY59" fmla="*/ 1955800 h 2879725"/>
              <a:gd name="connsiteX60" fmla="*/ 361950 w 1768475"/>
              <a:gd name="connsiteY60" fmla="*/ 1927225 h 2879725"/>
              <a:gd name="connsiteX61" fmla="*/ 438150 w 1768475"/>
              <a:gd name="connsiteY61" fmla="*/ 1914525 h 2879725"/>
              <a:gd name="connsiteX62" fmla="*/ 466725 w 1768475"/>
              <a:gd name="connsiteY62" fmla="*/ 1851025 h 2879725"/>
              <a:gd name="connsiteX63" fmla="*/ 539750 w 1768475"/>
              <a:gd name="connsiteY63" fmla="*/ 1835150 h 2879725"/>
              <a:gd name="connsiteX64" fmla="*/ 596900 w 1768475"/>
              <a:gd name="connsiteY64" fmla="*/ 1778000 h 2879725"/>
              <a:gd name="connsiteX65" fmla="*/ 635000 w 1768475"/>
              <a:gd name="connsiteY65" fmla="*/ 1711325 h 2879725"/>
              <a:gd name="connsiteX66" fmla="*/ 660400 w 1768475"/>
              <a:gd name="connsiteY66" fmla="*/ 1657350 h 2879725"/>
              <a:gd name="connsiteX67" fmla="*/ 701675 w 1768475"/>
              <a:gd name="connsiteY67" fmla="*/ 1635125 h 2879725"/>
              <a:gd name="connsiteX68" fmla="*/ 717550 w 1768475"/>
              <a:gd name="connsiteY68" fmla="*/ 1590675 h 2879725"/>
              <a:gd name="connsiteX69" fmla="*/ 762000 w 1768475"/>
              <a:gd name="connsiteY69" fmla="*/ 1558925 h 2879725"/>
              <a:gd name="connsiteX70" fmla="*/ 825500 w 1768475"/>
              <a:gd name="connsiteY70" fmla="*/ 1501775 h 2879725"/>
              <a:gd name="connsiteX71" fmla="*/ 860425 w 1768475"/>
              <a:gd name="connsiteY71" fmla="*/ 1485900 h 2879725"/>
              <a:gd name="connsiteX72" fmla="*/ 873125 w 1768475"/>
              <a:gd name="connsiteY72" fmla="*/ 1422400 h 2879725"/>
              <a:gd name="connsiteX73" fmla="*/ 854075 w 1768475"/>
              <a:gd name="connsiteY73" fmla="*/ 1381125 h 2879725"/>
              <a:gd name="connsiteX74" fmla="*/ 879475 w 1768475"/>
              <a:gd name="connsiteY74" fmla="*/ 1355725 h 2879725"/>
              <a:gd name="connsiteX75" fmla="*/ 908050 w 1768475"/>
              <a:gd name="connsiteY75" fmla="*/ 1308100 h 2879725"/>
              <a:gd name="connsiteX76" fmla="*/ 936625 w 1768475"/>
              <a:gd name="connsiteY76" fmla="*/ 1317625 h 2879725"/>
              <a:gd name="connsiteX77" fmla="*/ 1009650 w 1768475"/>
              <a:gd name="connsiteY77" fmla="*/ 1276350 h 2879725"/>
              <a:gd name="connsiteX78" fmla="*/ 1025525 w 1768475"/>
              <a:gd name="connsiteY78" fmla="*/ 1219200 h 2879725"/>
              <a:gd name="connsiteX79" fmla="*/ 1038225 w 1768475"/>
              <a:gd name="connsiteY79" fmla="*/ 1162050 h 2879725"/>
              <a:gd name="connsiteX80" fmla="*/ 1073150 w 1768475"/>
              <a:gd name="connsiteY80" fmla="*/ 1098550 h 2879725"/>
              <a:gd name="connsiteX81" fmla="*/ 1139825 w 1768475"/>
              <a:gd name="connsiteY81" fmla="*/ 1060450 h 2879725"/>
              <a:gd name="connsiteX82" fmla="*/ 1177925 w 1768475"/>
              <a:gd name="connsiteY82" fmla="*/ 1044575 h 2879725"/>
              <a:gd name="connsiteX83" fmla="*/ 1193800 w 1768475"/>
              <a:gd name="connsiteY83" fmla="*/ 1006475 h 2879725"/>
              <a:gd name="connsiteX84" fmla="*/ 1203325 w 1768475"/>
              <a:gd name="connsiteY84" fmla="*/ 968375 h 2879725"/>
              <a:gd name="connsiteX85" fmla="*/ 1254125 w 1768475"/>
              <a:gd name="connsiteY85" fmla="*/ 936625 h 2879725"/>
              <a:gd name="connsiteX86" fmla="*/ 1250950 w 1768475"/>
              <a:gd name="connsiteY86" fmla="*/ 892175 h 2879725"/>
              <a:gd name="connsiteX87" fmla="*/ 1292225 w 1768475"/>
              <a:gd name="connsiteY87" fmla="*/ 838200 h 2879725"/>
              <a:gd name="connsiteX88" fmla="*/ 1320800 w 1768475"/>
              <a:gd name="connsiteY88" fmla="*/ 787400 h 2879725"/>
              <a:gd name="connsiteX89" fmla="*/ 1292225 w 1768475"/>
              <a:gd name="connsiteY89" fmla="*/ 720725 h 2879725"/>
              <a:gd name="connsiteX90" fmla="*/ 1270000 w 1768475"/>
              <a:gd name="connsiteY90" fmla="*/ 673100 h 2879725"/>
              <a:gd name="connsiteX91" fmla="*/ 1295400 w 1768475"/>
              <a:gd name="connsiteY91" fmla="*/ 615950 h 2879725"/>
              <a:gd name="connsiteX92" fmla="*/ 1285875 w 1768475"/>
              <a:gd name="connsiteY92" fmla="*/ 558800 h 2879725"/>
              <a:gd name="connsiteX93" fmla="*/ 1298575 w 1768475"/>
              <a:gd name="connsiteY93" fmla="*/ 492125 h 2879725"/>
              <a:gd name="connsiteX94" fmla="*/ 1330325 w 1768475"/>
              <a:gd name="connsiteY94" fmla="*/ 415925 h 2879725"/>
              <a:gd name="connsiteX95" fmla="*/ 1371600 w 1768475"/>
              <a:gd name="connsiteY95" fmla="*/ 377825 h 2879725"/>
              <a:gd name="connsiteX96" fmla="*/ 1473200 w 1768475"/>
              <a:gd name="connsiteY96" fmla="*/ 342900 h 2879725"/>
              <a:gd name="connsiteX97" fmla="*/ 1504950 w 1768475"/>
              <a:gd name="connsiteY97" fmla="*/ 273050 h 2879725"/>
              <a:gd name="connsiteX98" fmla="*/ 1546225 w 1768475"/>
              <a:gd name="connsiteY98" fmla="*/ 231775 h 2879725"/>
              <a:gd name="connsiteX99" fmla="*/ 1565275 w 1768475"/>
              <a:gd name="connsiteY99" fmla="*/ 174625 h 2879725"/>
              <a:gd name="connsiteX100" fmla="*/ 1612900 w 1768475"/>
              <a:gd name="connsiteY100" fmla="*/ 95250 h 2879725"/>
              <a:gd name="connsiteX101" fmla="*/ 1651000 w 1768475"/>
              <a:gd name="connsiteY101" fmla="*/ 95250 h 2879725"/>
              <a:gd name="connsiteX102" fmla="*/ 1666875 w 1768475"/>
              <a:gd name="connsiteY102" fmla="*/ 47625 h 2879725"/>
              <a:gd name="connsiteX103" fmla="*/ 1685925 w 1768475"/>
              <a:gd name="connsiteY103" fmla="*/ 0 h 2879725"/>
              <a:gd name="connsiteX0" fmla="*/ 1768475 w 1768475"/>
              <a:gd name="connsiteY0" fmla="*/ 2832100 h 2832100"/>
              <a:gd name="connsiteX1" fmla="*/ 1752600 w 1768475"/>
              <a:gd name="connsiteY1" fmla="*/ 2774950 h 2832100"/>
              <a:gd name="connsiteX2" fmla="*/ 1720850 w 1768475"/>
              <a:gd name="connsiteY2" fmla="*/ 2730500 h 2832100"/>
              <a:gd name="connsiteX3" fmla="*/ 1682750 w 1768475"/>
              <a:gd name="connsiteY3" fmla="*/ 2717800 h 2832100"/>
              <a:gd name="connsiteX4" fmla="*/ 1628775 w 1768475"/>
              <a:gd name="connsiteY4" fmla="*/ 2720975 h 2832100"/>
              <a:gd name="connsiteX5" fmla="*/ 1587500 w 1768475"/>
              <a:gd name="connsiteY5" fmla="*/ 2717800 h 2832100"/>
              <a:gd name="connsiteX6" fmla="*/ 1552575 w 1768475"/>
              <a:gd name="connsiteY6" fmla="*/ 2698750 h 2832100"/>
              <a:gd name="connsiteX7" fmla="*/ 1524000 w 1768475"/>
              <a:gd name="connsiteY7" fmla="*/ 2711450 h 2832100"/>
              <a:gd name="connsiteX8" fmla="*/ 1473200 w 1768475"/>
              <a:gd name="connsiteY8" fmla="*/ 2698750 h 2832100"/>
              <a:gd name="connsiteX9" fmla="*/ 1438275 w 1768475"/>
              <a:gd name="connsiteY9" fmla="*/ 2686050 h 2832100"/>
              <a:gd name="connsiteX10" fmla="*/ 1422400 w 1768475"/>
              <a:gd name="connsiteY10" fmla="*/ 2679700 h 2832100"/>
              <a:gd name="connsiteX11" fmla="*/ 1362075 w 1768475"/>
              <a:gd name="connsiteY11" fmla="*/ 2686050 h 2832100"/>
              <a:gd name="connsiteX12" fmla="*/ 1308100 w 1768475"/>
              <a:gd name="connsiteY12" fmla="*/ 2641600 h 2832100"/>
              <a:gd name="connsiteX13" fmla="*/ 1276350 w 1768475"/>
              <a:gd name="connsiteY13" fmla="*/ 2619375 h 2832100"/>
              <a:gd name="connsiteX14" fmla="*/ 1241425 w 1768475"/>
              <a:gd name="connsiteY14" fmla="*/ 2606675 h 2832100"/>
              <a:gd name="connsiteX15" fmla="*/ 1216025 w 1768475"/>
              <a:gd name="connsiteY15" fmla="*/ 2571750 h 2832100"/>
              <a:gd name="connsiteX16" fmla="*/ 1168400 w 1768475"/>
              <a:gd name="connsiteY16" fmla="*/ 2559050 h 2832100"/>
              <a:gd name="connsiteX17" fmla="*/ 1130300 w 1768475"/>
              <a:gd name="connsiteY17" fmla="*/ 2536825 h 2832100"/>
              <a:gd name="connsiteX18" fmla="*/ 1095375 w 1768475"/>
              <a:gd name="connsiteY18" fmla="*/ 2540000 h 2832100"/>
              <a:gd name="connsiteX19" fmla="*/ 1079500 w 1768475"/>
              <a:gd name="connsiteY19" fmla="*/ 2517775 h 2832100"/>
              <a:gd name="connsiteX20" fmla="*/ 1035050 w 1768475"/>
              <a:gd name="connsiteY20" fmla="*/ 2505075 h 2832100"/>
              <a:gd name="connsiteX21" fmla="*/ 1009650 w 1768475"/>
              <a:gd name="connsiteY21" fmla="*/ 2511425 h 2832100"/>
              <a:gd name="connsiteX22" fmla="*/ 962025 w 1768475"/>
              <a:gd name="connsiteY22" fmla="*/ 2505075 h 2832100"/>
              <a:gd name="connsiteX23" fmla="*/ 917575 w 1768475"/>
              <a:gd name="connsiteY23" fmla="*/ 2520950 h 2832100"/>
              <a:gd name="connsiteX24" fmla="*/ 850900 w 1768475"/>
              <a:gd name="connsiteY24" fmla="*/ 2514600 h 2832100"/>
              <a:gd name="connsiteX25" fmla="*/ 850900 w 1768475"/>
              <a:gd name="connsiteY25" fmla="*/ 2514600 h 2832100"/>
              <a:gd name="connsiteX26" fmla="*/ 796925 w 1768475"/>
              <a:gd name="connsiteY26" fmla="*/ 2520950 h 2832100"/>
              <a:gd name="connsiteX27" fmla="*/ 809625 w 1768475"/>
              <a:gd name="connsiteY27" fmla="*/ 2495550 h 2832100"/>
              <a:gd name="connsiteX28" fmla="*/ 787400 w 1768475"/>
              <a:gd name="connsiteY28" fmla="*/ 2486025 h 2832100"/>
              <a:gd name="connsiteX29" fmla="*/ 806450 w 1768475"/>
              <a:gd name="connsiteY29" fmla="*/ 2425700 h 2832100"/>
              <a:gd name="connsiteX30" fmla="*/ 781050 w 1768475"/>
              <a:gd name="connsiteY30" fmla="*/ 2371725 h 2832100"/>
              <a:gd name="connsiteX31" fmla="*/ 736600 w 1768475"/>
              <a:gd name="connsiteY31" fmla="*/ 2330450 h 2832100"/>
              <a:gd name="connsiteX32" fmla="*/ 692150 w 1768475"/>
              <a:gd name="connsiteY32" fmla="*/ 2308225 h 2832100"/>
              <a:gd name="connsiteX33" fmla="*/ 647700 w 1768475"/>
              <a:gd name="connsiteY33" fmla="*/ 2371725 h 2832100"/>
              <a:gd name="connsiteX34" fmla="*/ 590550 w 1768475"/>
              <a:gd name="connsiteY34" fmla="*/ 2428875 h 2832100"/>
              <a:gd name="connsiteX35" fmla="*/ 552450 w 1768475"/>
              <a:gd name="connsiteY35" fmla="*/ 2438400 h 2832100"/>
              <a:gd name="connsiteX36" fmla="*/ 508000 w 1768475"/>
              <a:gd name="connsiteY36" fmla="*/ 2416175 h 2832100"/>
              <a:gd name="connsiteX37" fmla="*/ 463550 w 1768475"/>
              <a:gd name="connsiteY37" fmla="*/ 2419350 h 2832100"/>
              <a:gd name="connsiteX38" fmla="*/ 406400 w 1768475"/>
              <a:gd name="connsiteY38" fmla="*/ 2397125 h 2832100"/>
              <a:gd name="connsiteX39" fmla="*/ 365125 w 1768475"/>
              <a:gd name="connsiteY39" fmla="*/ 2403475 h 2832100"/>
              <a:gd name="connsiteX40" fmla="*/ 323850 w 1768475"/>
              <a:gd name="connsiteY40" fmla="*/ 2374900 h 2832100"/>
              <a:gd name="connsiteX41" fmla="*/ 301625 w 1768475"/>
              <a:gd name="connsiteY41" fmla="*/ 2333625 h 2832100"/>
              <a:gd name="connsiteX42" fmla="*/ 250825 w 1768475"/>
              <a:gd name="connsiteY42" fmla="*/ 2305050 h 2832100"/>
              <a:gd name="connsiteX43" fmla="*/ 212725 w 1768475"/>
              <a:gd name="connsiteY43" fmla="*/ 2273300 h 2832100"/>
              <a:gd name="connsiteX44" fmla="*/ 190500 w 1768475"/>
              <a:gd name="connsiteY44" fmla="*/ 2276475 h 2832100"/>
              <a:gd name="connsiteX45" fmla="*/ 171450 w 1768475"/>
              <a:gd name="connsiteY45" fmla="*/ 2247900 h 2832100"/>
              <a:gd name="connsiteX46" fmla="*/ 114300 w 1768475"/>
              <a:gd name="connsiteY46" fmla="*/ 2228850 h 2832100"/>
              <a:gd name="connsiteX47" fmla="*/ 66675 w 1768475"/>
              <a:gd name="connsiteY47" fmla="*/ 2241550 h 2832100"/>
              <a:gd name="connsiteX48" fmla="*/ 0 w 1768475"/>
              <a:gd name="connsiteY48" fmla="*/ 2206625 h 2832100"/>
              <a:gd name="connsiteX49" fmla="*/ 19050 w 1768475"/>
              <a:gd name="connsiteY49" fmla="*/ 2165350 h 2832100"/>
              <a:gd name="connsiteX50" fmla="*/ 19050 w 1768475"/>
              <a:gd name="connsiteY50" fmla="*/ 2127250 h 2832100"/>
              <a:gd name="connsiteX51" fmla="*/ 57150 w 1768475"/>
              <a:gd name="connsiteY51" fmla="*/ 2092325 h 2832100"/>
              <a:gd name="connsiteX52" fmla="*/ 47625 w 1768475"/>
              <a:gd name="connsiteY52" fmla="*/ 2025650 h 2832100"/>
              <a:gd name="connsiteX53" fmla="*/ 82550 w 1768475"/>
              <a:gd name="connsiteY53" fmla="*/ 2006600 h 2832100"/>
              <a:gd name="connsiteX54" fmla="*/ 155575 w 1768475"/>
              <a:gd name="connsiteY54" fmla="*/ 1990725 h 2832100"/>
              <a:gd name="connsiteX55" fmla="*/ 209550 w 1768475"/>
              <a:gd name="connsiteY55" fmla="*/ 1958975 h 2832100"/>
              <a:gd name="connsiteX56" fmla="*/ 247650 w 1768475"/>
              <a:gd name="connsiteY56" fmla="*/ 1974850 h 2832100"/>
              <a:gd name="connsiteX57" fmla="*/ 269875 w 1768475"/>
              <a:gd name="connsiteY57" fmla="*/ 1946275 h 2832100"/>
              <a:gd name="connsiteX58" fmla="*/ 349250 w 1768475"/>
              <a:gd name="connsiteY58" fmla="*/ 1949450 h 2832100"/>
              <a:gd name="connsiteX59" fmla="*/ 330200 w 1768475"/>
              <a:gd name="connsiteY59" fmla="*/ 1908175 h 2832100"/>
              <a:gd name="connsiteX60" fmla="*/ 361950 w 1768475"/>
              <a:gd name="connsiteY60" fmla="*/ 1879600 h 2832100"/>
              <a:gd name="connsiteX61" fmla="*/ 438150 w 1768475"/>
              <a:gd name="connsiteY61" fmla="*/ 1866900 h 2832100"/>
              <a:gd name="connsiteX62" fmla="*/ 466725 w 1768475"/>
              <a:gd name="connsiteY62" fmla="*/ 1803400 h 2832100"/>
              <a:gd name="connsiteX63" fmla="*/ 539750 w 1768475"/>
              <a:gd name="connsiteY63" fmla="*/ 1787525 h 2832100"/>
              <a:gd name="connsiteX64" fmla="*/ 596900 w 1768475"/>
              <a:gd name="connsiteY64" fmla="*/ 1730375 h 2832100"/>
              <a:gd name="connsiteX65" fmla="*/ 635000 w 1768475"/>
              <a:gd name="connsiteY65" fmla="*/ 1663700 h 2832100"/>
              <a:gd name="connsiteX66" fmla="*/ 660400 w 1768475"/>
              <a:gd name="connsiteY66" fmla="*/ 1609725 h 2832100"/>
              <a:gd name="connsiteX67" fmla="*/ 701675 w 1768475"/>
              <a:gd name="connsiteY67" fmla="*/ 1587500 h 2832100"/>
              <a:gd name="connsiteX68" fmla="*/ 717550 w 1768475"/>
              <a:gd name="connsiteY68" fmla="*/ 1543050 h 2832100"/>
              <a:gd name="connsiteX69" fmla="*/ 762000 w 1768475"/>
              <a:gd name="connsiteY69" fmla="*/ 1511300 h 2832100"/>
              <a:gd name="connsiteX70" fmla="*/ 825500 w 1768475"/>
              <a:gd name="connsiteY70" fmla="*/ 1454150 h 2832100"/>
              <a:gd name="connsiteX71" fmla="*/ 860425 w 1768475"/>
              <a:gd name="connsiteY71" fmla="*/ 1438275 h 2832100"/>
              <a:gd name="connsiteX72" fmla="*/ 873125 w 1768475"/>
              <a:gd name="connsiteY72" fmla="*/ 1374775 h 2832100"/>
              <a:gd name="connsiteX73" fmla="*/ 854075 w 1768475"/>
              <a:gd name="connsiteY73" fmla="*/ 1333500 h 2832100"/>
              <a:gd name="connsiteX74" fmla="*/ 879475 w 1768475"/>
              <a:gd name="connsiteY74" fmla="*/ 1308100 h 2832100"/>
              <a:gd name="connsiteX75" fmla="*/ 908050 w 1768475"/>
              <a:gd name="connsiteY75" fmla="*/ 1260475 h 2832100"/>
              <a:gd name="connsiteX76" fmla="*/ 936625 w 1768475"/>
              <a:gd name="connsiteY76" fmla="*/ 1270000 h 2832100"/>
              <a:gd name="connsiteX77" fmla="*/ 1009650 w 1768475"/>
              <a:gd name="connsiteY77" fmla="*/ 1228725 h 2832100"/>
              <a:gd name="connsiteX78" fmla="*/ 1025525 w 1768475"/>
              <a:gd name="connsiteY78" fmla="*/ 1171575 h 2832100"/>
              <a:gd name="connsiteX79" fmla="*/ 1038225 w 1768475"/>
              <a:gd name="connsiteY79" fmla="*/ 1114425 h 2832100"/>
              <a:gd name="connsiteX80" fmla="*/ 1073150 w 1768475"/>
              <a:gd name="connsiteY80" fmla="*/ 1050925 h 2832100"/>
              <a:gd name="connsiteX81" fmla="*/ 1139825 w 1768475"/>
              <a:gd name="connsiteY81" fmla="*/ 1012825 h 2832100"/>
              <a:gd name="connsiteX82" fmla="*/ 1177925 w 1768475"/>
              <a:gd name="connsiteY82" fmla="*/ 996950 h 2832100"/>
              <a:gd name="connsiteX83" fmla="*/ 1193800 w 1768475"/>
              <a:gd name="connsiteY83" fmla="*/ 958850 h 2832100"/>
              <a:gd name="connsiteX84" fmla="*/ 1203325 w 1768475"/>
              <a:gd name="connsiteY84" fmla="*/ 920750 h 2832100"/>
              <a:gd name="connsiteX85" fmla="*/ 1254125 w 1768475"/>
              <a:gd name="connsiteY85" fmla="*/ 889000 h 2832100"/>
              <a:gd name="connsiteX86" fmla="*/ 1250950 w 1768475"/>
              <a:gd name="connsiteY86" fmla="*/ 844550 h 2832100"/>
              <a:gd name="connsiteX87" fmla="*/ 1292225 w 1768475"/>
              <a:gd name="connsiteY87" fmla="*/ 790575 h 2832100"/>
              <a:gd name="connsiteX88" fmla="*/ 1320800 w 1768475"/>
              <a:gd name="connsiteY88" fmla="*/ 739775 h 2832100"/>
              <a:gd name="connsiteX89" fmla="*/ 1292225 w 1768475"/>
              <a:gd name="connsiteY89" fmla="*/ 673100 h 2832100"/>
              <a:gd name="connsiteX90" fmla="*/ 1270000 w 1768475"/>
              <a:gd name="connsiteY90" fmla="*/ 625475 h 2832100"/>
              <a:gd name="connsiteX91" fmla="*/ 1295400 w 1768475"/>
              <a:gd name="connsiteY91" fmla="*/ 568325 h 2832100"/>
              <a:gd name="connsiteX92" fmla="*/ 1285875 w 1768475"/>
              <a:gd name="connsiteY92" fmla="*/ 511175 h 2832100"/>
              <a:gd name="connsiteX93" fmla="*/ 1298575 w 1768475"/>
              <a:gd name="connsiteY93" fmla="*/ 444500 h 2832100"/>
              <a:gd name="connsiteX94" fmla="*/ 1330325 w 1768475"/>
              <a:gd name="connsiteY94" fmla="*/ 368300 h 2832100"/>
              <a:gd name="connsiteX95" fmla="*/ 1371600 w 1768475"/>
              <a:gd name="connsiteY95" fmla="*/ 330200 h 2832100"/>
              <a:gd name="connsiteX96" fmla="*/ 1473200 w 1768475"/>
              <a:gd name="connsiteY96" fmla="*/ 295275 h 2832100"/>
              <a:gd name="connsiteX97" fmla="*/ 1504950 w 1768475"/>
              <a:gd name="connsiteY97" fmla="*/ 225425 h 2832100"/>
              <a:gd name="connsiteX98" fmla="*/ 1546225 w 1768475"/>
              <a:gd name="connsiteY98" fmla="*/ 184150 h 2832100"/>
              <a:gd name="connsiteX99" fmla="*/ 1565275 w 1768475"/>
              <a:gd name="connsiteY99" fmla="*/ 127000 h 2832100"/>
              <a:gd name="connsiteX100" fmla="*/ 1612900 w 1768475"/>
              <a:gd name="connsiteY100" fmla="*/ 47625 h 2832100"/>
              <a:gd name="connsiteX101" fmla="*/ 1651000 w 1768475"/>
              <a:gd name="connsiteY101" fmla="*/ 47625 h 2832100"/>
              <a:gd name="connsiteX102" fmla="*/ 1666875 w 1768475"/>
              <a:gd name="connsiteY102" fmla="*/ 0 h 2832100"/>
              <a:gd name="connsiteX0" fmla="*/ 1768475 w 1768475"/>
              <a:gd name="connsiteY0" fmla="*/ 2784475 h 2784475"/>
              <a:gd name="connsiteX1" fmla="*/ 1752600 w 1768475"/>
              <a:gd name="connsiteY1" fmla="*/ 2727325 h 2784475"/>
              <a:gd name="connsiteX2" fmla="*/ 1720850 w 1768475"/>
              <a:gd name="connsiteY2" fmla="*/ 2682875 h 2784475"/>
              <a:gd name="connsiteX3" fmla="*/ 1682750 w 1768475"/>
              <a:gd name="connsiteY3" fmla="*/ 2670175 h 2784475"/>
              <a:gd name="connsiteX4" fmla="*/ 1628775 w 1768475"/>
              <a:gd name="connsiteY4" fmla="*/ 2673350 h 2784475"/>
              <a:gd name="connsiteX5" fmla="*/ 1587500 w 1768475"/>
              <a:gd name="connsiteY5" fmla="*/ 2670175 h 2784475"/>
              <a:gd name="connsiteX6" fmla="*/ 1552575 w 1768475"/>
              <a:gd name="connsiteY6" fmla="*/ 2651125 h 2784475"/>
              <a:gd name="connsiteX7" fmla="*/ 1524000 w 1768475"/>
              <a:gd name="connsiteY7" fmla="*/ 2663825 h 2784475"/>
              <a:gd name="connsiteX8" fmla="*/ 1473200 w 1768475"/>
              <a:gd name="connsiteY8" fmla="*/ 2651125 h 2784475"/>
              <a:gd name="connsiteX9" fmla="*/ 1438275 w 1768475"/>
              <a:gd name="connsiteY9" fmla="*/ 2638425 h 2784475"/>
              <a:gd name="connsiteX10" fmla="*/ 1422400 w 1768475"/>
              <a:gd name="connsiteY10" fmla="*/ 2632075 h 2784475"/>
              <a:gd name="connsiteX11" fmla="*/ 1362075 w 1768475"/>
              <a:gd name="connsiteY11" fmla="*/ 2638425 h 2784475"/>
              <a:gd name="connsiteX12" fmla="*/ 1308100 w 1768475"/>
              <a:gd name="connsiteY12" fmla="*/ 2593975 h 2784475"/>
              <a:gd name="connsiteX13" fmla="*/ 1276350 w 1768475"/>
              <a:gd name="connsiteY13" fmla="*/ 2571750 h 2784475"/>
              <a:gd name="connsiteX14" fmla="*/ 1241425 w 1768475"/>
              <a:gd name="connsiteY14" fmla="*/ 2559050 h 2784475"/>
              <a:gd name="connsiteX15" fmla="*/ 1216025 w 1768475"/>
              <a:gd name="connsiteY15" fmla="*/ 2524125 h 2784475"/>
              <a:gd name="connsiteX16" fmla="*/ 1168400 w 1768475"/>
              <a:gd name="connsiteY16" fmla="*/ 2511425 h 2784475"/>
              <a:gd name="connsiteX17" fmla="*/ 1130300 w 1768475"/>
              <a:gd name="connsiteY17" fmla="*/ 2489200 h 2784475"/>
              <a:gd name="connsiteX18" fmla="*/ 1095375 w 1768475"/>
              <a:gd name="connsiteY18" fmla="*/ 2492375 h 2784475"/>
              <a:gd name="connsiteX19" fmla="*/ 1079500 w 1768475"/>
              <a:gd name="connsiteY19" fmla="*/ 2470150 h 2784475"/>
              <a:gd name="connsiteX20" fmla="*/ 1035050 w 1768475"/>
              <a:gd name="connsiteY20" fmla="*/ 2457450 h 2784475"/>
              <a:gd name="connsiteX21" fmla="*/ 1009650 w 1768475"/>
              <a:gd name="connsiteY21" fmla="*/ 2463800 h 2784475"/>
              <a:gd name="connsiteX22" fmla="*/ 962025 w 1768475"/>
              <a:gd name="connsiteY22" fmla="*/ 2457450 h 2784475"/>
              <a:gd name="connsiteX23" fmla="*/ 917575 w 1768475"/>
              <a:gd name="connsiteY23" fmla="*/ 2473325 h 2784475"/>
              <a:gd name="connsiteX24" fmla="*/ 850900 w 1768475"/>
              <a:gd name="connsiteY24" fmla="*/ 2466975 h 2784475"/>
              <a:gd name="connsiteX25" fmla="*/ 850900 w 1768475"/>
              <a:gd name="connsiteY25" fmla="*/ 2466975 h 2784475"/>
              <a:gd name="connsiteX26" fmla="*/ 796925 w 1768475"/>
              <a:gd name="connsiteY26" fmla="*/ 2473325 h 2784475"/>
              <a:gd name="connsiteX27" fmla="*/ 809625 w 1768475"/>
              <a:gd name="connsiteY27" fmla="*/ 2447925 h 2784475"/>
              <a:gd name="connsiteX28" fmla="*/ 787400 w 1768475"/>
              <a:gd name="connsiteY28" fmla="*/ 2438400 h 2784475"/>
              <a:gd name="connsiteX29" fmla="*/ 806450 w 1768475"/>
              <a:gd name="connsiteY29" fmla="*/ 2378075 h 2784475"/>
              <a:gd name="connsiteX30" fmla="*/ 781050 w 1768475"/>
              <a:gd name="connsiteY30" fmla="*/ 2324100 h 2784475"/>
              <a:gd name="connsiteX31" fmla="*/ 736600 w 1768475"/>
              <a:gd name="connsiteY31" fmla="*/ 2282825 h 2784475"/>
              <a:gd name="connsiteX32" fmla="*/ 692150 w 1768475"/>
              <a:gd name="connsiteY32" fmla="*/ 2260600 h 2784475"/>
              <a:gd name="connsiteX33" fmla="*/ 647700 w 1768475"/>
              <a:gd name="connsiteY33" fmla="*/ 2324100 h 2784475"/>
              <a:gd name="connsiteX34" fmla="*/ 590550 w 1768475"/>
              <a:gd name="connsiteY34" fmla="*/ 2381250 h 2784475"/>
              <a:gd name="connsiteX35" fmla="*/ 552450 w 1768475"/>
              <a:gd name="connsiteY35" fmla="*/ 2390775 h 2784475"/>
              <a:gd name="connsiteX36" fmla="*/ 508000 w 1768475"/>
              <a:gd name="connsiteY36" fmla="*/ 2368550 h 2784475"/>
              <a:gd name="connsiteX37" fmla="*/ 463550 w 1768475"/>
              <a:gd name="connsiteY37" fmla="*/ 2371725 h 2784475"/>
              <a:gd name="connsiteX38" fmla="*/ 406400 w 1768475"/>
              <a:gd name="connsiteY38" fmla="*/ 2349500 h 2784475"/>
              <a:gd name="connsiteX39" fmla="*/ 365125 w 1768475"/>
              <a:gd name="connsiteY39" fmla="*/ 2355850 h 2784475"/>
              <a:gd name="connsiteX40" fmla="*/ 323850 w 1768475"/>
              <a:gd name="connsiteY40" fmla="*/ 2327275 h 2784475"/>
              <a:gd name="connsiteX41" fmla="*/ 301625 w 1768475"/>
              <a:gd name="connsiteY41" fmla="*/ 2286000 h 2784475"/>
              <a:gd name="connsiteX42" fmla="*/ 250825 w 1768475"/>
              <a:gd name="connsiteY42" fmla="*/ 2257425 h 2784475"/>
              <a:gd name="connsiteX43" fmla="*/ 212725 w 1768475"/>
              <a:gd name="connsiteY43" fmla="*/ 2225675 h 2784475"/>
              <a:gd name="connsiteX44" fmla="*/ 190500 w 1768475"/>
              <a:gd name="connsiteY44" fmla="*/ 2228850 h 2784475"/>
              <a:gd name="connsiteX45" fmla="*/ 171450 w 1768475"/>
              <a:gd name="connsiteY45" fmla="*/ 2200275 h 2784475"/>
              <a:gd name="connsiteX46" fmla="*/ 114300 w 1768475"/>
              <a:gd name="connsiteY46" fmla="*/ 2181225 h 2784475"/>
              <a:gd name="connsiteX47" fmla="*/ 66675 w 1768475"/>
              <a:gd name="connsiteY47" fmla="*/ 2193925 h 2784475"/>
              <a:gd name="connsiteX48" fmla="*/ 0 w 1768475"/>
              <a:gd name="connsiteY48" fmla="*/ 2159000 h 2784475"/>
              <a:gd name="connsiteX49" fmla="*/ 19050 w 1768475"/>
              <a:gd name="connsiteY49" fmla="*/ 2117725 h 2784475"/>
              <a:gd name="connsiteX50" fmla="*/ 19050 w 1768475"/>
              <a:gd name="connsiteY50" fmla="*/ 2079625 h 2784475"/>
              <a:gd name="connsiteX51" fmla="*/ 57150 w 1768475"/>
              <a:gd name="connsiteY51" fmla="*/ 2044700 h 2784475"/>
              <a:gd name="connsiteX52" fmla="*/ 47625 w 1768475"/>
              <a:gd name="connsiteY52" fmla="*/ 1978025 h 2784475"/>
              <a:gd name="connsiteX53" fmla="*/ 82550 w 1768475"/>
              <a:gd name="connsiteY53" fmla="*/ 1958975 h 2784475"/>
              <a:gd name="connsiteX54" fmla="*/ 155575 w 1768475"/>
              <a:gd name="connsiteY54" fmla="*/ 1943100 h 2784475"/>
              <a:gd name="connsiteX55" fmla="*/ 209550 w 1768475"/>
              <a:gd name="connsiteY55" fmla="*/ 1911350 h 2784475"/>
              <a:gd name="connsiteX56" fmla="*/ 247650 w 1768475"/>
              <a:gd name="connsiteY56" fmla="*/ 1927225 h 2784475"/>
              <a:gd name="connsiteX57" fmla="*/ 269875 w 1768475"/>
              <a:gd name="connsiteY57" fmla="*/ 1898650 h 2784475"/>
              <a:gd name="connsiteX58" fmla="*/ 349250 w 1768475"/>
              <a:gd name="connsiteY58" fmla="*/ 1901825 h 2784475"/>
              <a:gd name="connsiteX59" fmla="*/ 330200 w 1768475"/>
              <a:gd name="connsiteY59" fmla="*/ 1860550 h 2784475"/>
              <a:gd name="connsiteX60" fmla="*/ 361950 w 1768475"/>
              <a:gd name="connsiteY60" fmla="*/ 1831975 h 2784475"/>
              <a:gd name="connsiteX61" fmla="*/ 438150 w 1768475"/>
              <a:gd name="connsiteY61" fmla="*/ 1819275 h 2784475"/>
              <a:gd name="connsiteX62" fmla="*/ 466725 w 1768475"/>
              <a:gd name="connsiteY62" fmla="*/ 1755775 h 2784475"/>
              <a:gd name="connsiteX63" fmla="*/ 539750 w 1768475"/>
              <a:gd name="connsiteY63" fmla="*/ 1739900 h 2784475"/>
              <a:gd name="connsiteX64" fmla="*/ 596900 w 1768475"/>
              <a:gd name="connsiteY64" fmla="*/ 1682750 h 2784475"/>
              <a:gd name="connsiteX65" fmla="*/ 635000 w 1768475"/>
              <a:gd name="connsiteY65" fmla="*/ 1616075 h 2784475"/>
              <a:gd name="connsiteX66" fmla="*/ 660400 w 1768475"/>
              <a:gd name="connsiteY66" fmla="*/ 1562100 h 2784475"/>
              <a:gd name="connsiteX67" fmla="*/ 701675 w 1768475"/>
              <a:gd name="connsiteY67" fmla="*/ 1539875 h 2784475"/>
              <a:gd name="connsiteX68" fmla="*/ 717550 w 1768475"/>
              <a:gd name="connsiteY68" fmla="*/ 1495425 h 2784475"/>
              <a:gd name="connsiteX69" fmla="*/ 762000 w 1768475"/>
              <a:gd name="connsiteY69" fmla="*/ 1463675 h 2784475"/>
              <a:gd name="connsiteX70" fmla="*/ 825500 w 1768475"/>
              <a:gd name="connsiteY70" fmla="*/ 1406525 h 2784475"/>
              <a:gd name="connsiteX71" fmla="*/ 860425 w 1768475"/>
              <a:gd name="connsiteY71" fmla="*/ 1390650 h 2784475"/>
              <a:gd name="connsiteX72" fmla="*/ 873125 w 1768475"/>
              <a:gd name="connsiteY72" fmla="*/ 1327150 h 2784475"/>
              <a:gd name="connsiteX73" fmla="*/ 854075 w 1768475"/>
              <a:gd name="connsiteY73" fmla="*/ 1285875 h 2784475"/>
              <a:gd name="connsiteX74" fmla="*/ 879475 w 1768475"/>
              <a:gd name="connsiteY74" fmla="*/ 1260475 h 2784475"/>
              <a:gd name="connsiteX75" fmla="*/ 908050 w 1768475"/>
              <a:gd name="connsiteY75" fmla="*/ 1212850 h 2784475"/>
              <a:gd name="connsiteX76" fmla="*/ 936625 w 1768475"/>
              <a:gd name="connsiteY76" fmla="*/ 1222375 h 2784475"/>
              <a:gd name="connsiteX77" fmla="*/ 1009650 w 1768475"/>
              <a:gd name="connsiteY77" fmla="*/ 1181100 h 2784475"/>
              <a:gd name="connsiteX78" fmla="*/ 1025525 w 1768475"/>
              <a:gd name="connsiteY78" fmla="*/ 1123950 h 2784475"/>
              <a:gd name="connsiteX79" fmla="*/ 1038225 w 1768475"/>
              <a:gd name="connsiteY79" fmla="*/ 1066800 h 2784475"/>
              <a:gd name="connsiteX80" fmla="*/ 1073150 w 1768475"/>
              <a:gd name="connsiteY80" fmla="*/ 1003300 h 2784475"/>
              <a:gd name="connsiteX81" fmla="*/ 1139825 w 1768475"/>
              <a:gd name="connsiteY81" fmla="*/ 965200 h 2784475"/>
              <a:gd name="connsiteX82" fmla="*/ 1177925 w 1768475"/>
              <a:gd name="connsiteY82" fmla="*/ 949325 h 2784475"/>
              <a:gd name="connsiteX83" fmla="*/ 1193800 w 1768475"/>
              <a:gd name="connsiteY83" fmla="*/ 911225 h 2784475"/>
              <a:gd name="connsiteX84" fmla="*/ 1203325 w 1768475"/>
              <a:gd name="connsiteY84" fmla="*/ 873125 h 2784475"/>
              <a:gd name="connsiteX85" fmla="*/ 1254125 w 1768475"/>
              <a:gd name="connsiteY85" fmla="*/ 841375 h 2784475"/>
              <a:gd name="connsiteX86" fmla="*/ 1250950 w 1768475"/>
              <a:gd name="connsiteY86" fmla="*/ 796925 h 2784475"/>
              <a:gd name="connsiteX87" fmla="*/ 1292225 w 1768475"/>
              <a:gd name="connsiteY87" fmla="*/ 742950 h 2784475"/>
              <a:gd name="connsiteX88" fmla="*/ 1320800 w 1768475"/>
              <a:gd name="connsiteY88" fmla="*/ 692150 h 2784475"/>
              <a:gd name="connsiteX89" fmla="*/ 1292225 w 1768475"/>
              <a:gd name="connsiteY89" fmla="*/ 625475 h 2784475"/>
              <a:gd name="connsiteX90" fmla="*/ 1270000 w 1768475"/>
              <a:gd name="connsiteY90" fmla="*/ 577850 h 2784475"/>
              <a:gd name="connsiteX91" fmla="*/ 1295400 w 1768475"/>
              <a:gd name="connsiteY91" fmla="*/ 520700 h 2784475"/>
              <a:gd name="connsiteX92" fmla="*/ 1285875 w 1768475"/>
              <a:gd name="connsiteY92" fmla="*/ 463550 h 2784475"/>
              <a:gd name="connsiteX93" fmla="*/ 1298575 w 1768475"/>
              <a:gd name="connsiteY93" fmla="*/ 396875 h 2784475"/>
              <a:gd name="connsiteX94" fmla="*/ 1330325 w 1768475"/>
              <a:gd name="connsiteY94" fmla="*/ 320675 h 2784475"/>
              <a:gd name="connsiteX95" fmla="*/ 1371600 w 1768475"/>
              <a:gd name="connsiteY95" fmla="*/ 282575 h 2784475"/>
              <a:gd name="connsiteX96" fmla="*/ 1473200 w 1768475"/>
              <a:gd name="connsiteY96" fmla="*/ 247650 h 2784475"/>
              <a:gd name="connsiteX97" fmla="*/ 1504950 w 1768475"/>
              <a:gd name="connsiteY97" fmla="*/ 177800 h 2784475"/>
              <a:gd name="connsiteX98" fmla="*/ 1546225 w 1768475"/>
              <a:gd name="connsiteY98" fmla="*/ 136525 h 2784475"/>
              <a:gd name="connsiteX99" fmla="*/ 1565275 w 1768475"/>
              <a:gd name="connsiteY99" fmla="*/ 79375 h 2784475"/>
              <a:gd name="connsiteX100" fmla="*/ 1612900 w 1768475"/>
              <a:gd name="connsiteY100" fmla="*/ 0 h 2784475"/>
              <a:gd name="connsiteX101" fmla="*/ 1651000 w 1768475"/>
              <a:gd name="connsiteY101" fmla="*/ 0 h 2784475"/>
              <a:gd name="connsiteX0" fmla="*/ 1768475 w 1768475"/>
              <a:gd name="connsiteY0" fmla="*/ 2787726 h 2787726"/>
              <a:gd name="connsiteX1" fmla="*/ 1752600 w 1768475"/>
              <a:gd name="connsiteY1" fmla="*/ 2730576 h 2787726"/>
              <a:gd name="connsiteX2" fmla="*/ 1720850 w 1768475"/>
              <a:gd name="connsiteY2" fmla="*/ 2686126 h 2787726"/>
              <a:gd name="connsiteX3" fmla="*/ 1682750 w 1768475"/>
              <a:gd name="connsiteY3" fmla="*/ 2673426 h 2787726"/>
              <a:gd name="connsiteX4" fmla="*/ 1628775 w 1768475"/>
              <a:gd name="connsiteY4" fmla="*/ 2676601 h 2787726"/>
              <a:gd name="connsiteX5" fmla="*/ 1587500 w 1768475"/>
              <a:gd name="connsiteY5" fmla="*/ 2673426 h 2787726"/>
              <a:gd name="connsiteX6" fmla="*/ 1552575 w 1768475"/>
              <a:gd name="connsiteY6" fmla="*/ 2654376 h 2787726"/>
              <a:gd name="connsiteX7" fmla="*/ 1524000 w 1768475"/>
              <a:gd name="connsiteY7" fmla="*/ 2667076 h 2787726"/>
              <a:gd name="connsiteX8" fmla="*/ 1473200 w 1768475"/>
              <a:gd name="connsiteY8" fmla="*/ 2654376 h 2787726"/>
              <a:gd name="connsiteX9" fmla="*/ 1438275 w 1768475"/>
              <a:gd name="connsiteY9" fmla="*/ 2641676 h 2787726"/>
              <a:gd name="connsiteX10" fmla="*/ 1422400 w 1768475"/>
              <a:gd name="connsiteY10" fmla="*/ 2635326 h 2787726"/>
              <a:gd name="connsiteX11" fmla="*/ 1362075 w 1768475"/>
              <a:gd name="connsiteY11" fmla="*/ 2641676 h 2787726"/>
              <a:gd name="connsiteX12" fmla="*/ 1308100 w 1768475"/>
              <a:gd name="connsiteY12" fmla="*/ 2597226 h 2787726"/>
              <a:gd name="connsiteX13" fmla="*/ 1276350 w 1768475"/>
              <a:gd name="connsiteY13" fmla="*/ 2575001 h 2787726"/>
              <a:gd name="connsiteX14" fmla="*/ 1241425 w 1768475"/>
              <a:gd name="connsiteY14" fmla="*/ 2562301 h 2787726"/>
              <a:gd name="connsiteX15" fmla="*/ 1216025 w 1768475"/>
              <a:gd name="connsiteY15" fmla="*/ 2527376 h 2787726"/>
              <a:gd name="connsiteX16" fmla="*/ 1168400 w 1768475"/>
              <a:gd name="connsiteY16" fmla="*/ 2514676 h 2787726"/>
              <a:gd name="connsiteX17" fmla="*/ 1130300 w 1768475"/>
              <a:gd name="connsiteY17" fmla="*/ 2492451 h 2787726"/>
              <a:gd name="connsiteX18" fmla="*/ 1095375 w 1768475"/>
              <a:gd name="connsiteY18" fmla="*/ 2495626 h 2787726"/>
              <a:gd name="connsiteX19" fmla="*/ 1079500 w 1768475"/>
              <a:gd name="connsiteY19" fmla="*/ 2473401 h 2787726"/>
              <a:gd name="connsiteX20" fmla="*/ 1035050 w 1768475"/>
              <a:gd name="connsiteY20" fmla="*/ 2460701 h 2787726"/>
              <a:gd name="connsiteX21" fmla="*/ 1009650 w 1768475"/>
              <a:gd name="connsiteY21" fmla="*/ 2467051 h 2787726"/>
              <a:gd name="connsiteX22" fmla="*/ 962025 w 1768475"/>
              <a:gd name="connsiteY22" fmla="*/ 2460701 h 2787726"/>
              <a:gd name="connsiteX23" fmla="*/ 917575 w 1768475"/>
              <a:gd name="connsiteY23" fmla="*/ 2476576 h 2787726"/>
              <a:gd name="connsiteX24" fmla="*/ 850900 w 1768475"/>
              <a:gd name="connsiteY24" fmla="*/ 2470226 h 2787726"/>
              <a:gd name="connsiteX25" fmla="*/ 850900 w 1768475"/>
              <a:gd name="connsiteY25" fmla="*/ 2470226 h 2787726"/>
              <a:gd name="connsiteX26" fmla="*/ 796925 w 1768475"/>
              <a:gd name="connsiteY26" fmla="*/ 2476576 h 2787726"/>
              <a:gd name="connsiteX27" fmla="*/ 809625 w 1768475"/>
              <a:gd name="connsiteY27" fmla="*/ 2451176 h 2787726"/>
              <a:gd name="connsiteX28" fmla="*/ 787400 w 1768475"/>
              <a:gd name="connsiteY28" fmla="*/ 2441651 h 2787726"/>
              <a:gd name="connsiteX29" fmla="*/ 806450 w 1768475"/>
              <a:gd name="connsiteY29" fmla="*/ 2381326 h 2787726"/>
              <a:gd name="connsiteX30" fmla="*/ 781050 w 1768475"/>
              <a:gd name="connsiteY30" fmla="*/ 2327351 h 2787726"/>
              <a:gd name="connsiteX31" fmla="*/ 736600 w 1768475"/>
              <a:gd name="connsiteY31" fmla="*/ 2286076 h 2787726"/>
              <a:gd name="connsiteX32" fmla="*/ 692150 w 1768475"/>
              <a:gd name="connsiteY32" fmla="*/ 2263851 h 2787726"/>
              <a:gd name="connsiteX33" fmla="*/ 647700 w 1768475"/>
              <a:gd name="connsiteY33" fmla="*/ 2327351 h 2787726"/>
              <a:gd name="connsiteX34" fmla="*/ 590550 w 1768475"/>
              <a:gd name="connsiteY34" fmla="*/ 2384501 h 2787726"/>
              <a:gd name="connsiteX35" fmla="*/ 552450 w 1768475"/>
              <a:gd name="connsiteY35" fmla="*/ 2394026 h 2787726"/>
              <a:gd name="connsiteX36" fmla="*/ 508000 w 1768475"/>
              <a:gd name="connsiteY36" fmla="*/ 2371801 h 2787726"/>
              <a:gd name="connsiteX37" fmla="*/ 463550 w 1768475"/>
              <a:gd name="connsiteY37" fmla="*/ 2374976 h 2787726"/>
              <a:gd name="connsiteX38" fmla="*/ 406400 w 1768475"/>
              <a:gd name="connsiteY38" fmla="*/ 2352751 h 2787726"/>
              <a:gd name="connsiteX39" fmla="*/ 365125 w 1768475"/>
              <a:gd name="connsiteY39" fmla="*/ 2359101 h 2787726"/>
              <a:gd name="connsiteX40" fmla="*/ 323850 w 1768475"/>
              <a:gd name="connsiteY40" fmla="*/ 2330526 h 2787726"/>
              <a:gd name="connsiteX41" fmla="*/ 301625 w 1768475"/>
              <a:gd name="connsiteY41" fmla="*/ 2289251 h 2787726"/>
              <a:gd name="connsiteX42" fmla="*/ 250825 w 1768475"/>
              <a:gd name="connsiteY42" fmla="*/ 2260676 h 2787726"/>
              <a:gd name="connsiteX43" fmla="*/ 212725 w 1768475"/>
              <a:gd name="connsiteY43" fmla="*/ 2228926 h 2787726"/>
              <a:gd name="connsiteX44" fmla="*/ 190500 w 1768475"/>
              <a:gd name="connsiteY44" fmla="*/ 2232101 h 2787726"/>
              <a:gd name="connsiteX45" fmla="*/ 171450 w 1768475"/>
              <a:gd name="connsiteY45" fmla="*/ 2203526 h 2787726"/>
              <a:gd name="connsiteX46" fmla="*/ 114300 w 1768475"/>
              <a:gd name="connsiteY46" fmla="*/ 2184476 h 2787726"/>
              <a:gd name="connsiteX47" fmla="*/ 66675 w 1768475"/>
              <a:gd name="connsiteY47" fmla="*/ 2197176 h 2787726"/>
              <a:gd name="connsiteX48" fmla="*/ 0 w 1768475"/>
              <a:gd name="connsiteY48" fmla="*/ 2162251 h 2787726"/>
              <a:gd name="connsiteX49" fmla="*/ 19050 w 1768475"/>
              <a:gd name="connsiteY49" fmla="*/ 2120976 h 2787726"/>
              <a:gd name="connsiteX50" fmla="*/ 19050 w 1768475"/>
              <a:gd name="connsiteY50" fmla="*/ 2082876 h 2787726"/>
              <a:gd name="connsiteX51" fmla="*/ 57150 w 1768475"/>
              <a:gd name="connsiteY51" fmla="*/ 2047951 h 2787726"/>
              <a:gd name="connsiteX52" fmla="*/ 47625 w 1768475"/>
              <a:gd name="connsiteY52" fmla="*/ 1981276 h 2787726"/>
              <a:gd name="connsiteX53" fmla="*/ 82550 w 1768475"/>
              <a:gd name="connsiteY53" fmla="*/ 1962226 h 2787726"/>
              <a:gd name="connsiteX54" fmla="*/ 155575 w 1768475"/>
              <a:gd name="connsiteY54" fmla="*/ 1946351 h 2787726"/>
              <a:gd name="connsiteX55" fmla="*/ 209550 w 1768475"/>
              <a:gd name="connsiteY55" fmla="*/ 1914601 h 2787726"/>
              <a:gd name="connsiteX56" fmla="*/ 247650 w 1768475"/>
              <a:gd name="connsiteY56" fmla="*/ 1930476 h 2787726"/>
              <a:gd name="connsiteX57" fmla="*/ 269875 w 1768475"/>
              <a:gd name="connsiteY57" fmla="*/ 1901901 h 2787726"/>
              <a:gd name="connsiteX58" fmla="*/ 349250 w 1768475"/>
              <a:gd name="connsiteY58" fmla="*/ 1905076 h 2787726"/>
              <a:gd name="connsiteX59" fmla="*/ 330200 w 1768475"/>
              <a:gd name="connsiteY59" fmla="*/ 1863801 h 2787726"/>
              <a:gd name="connsiteX60" fmla="*/ 361950 w 1768475"/>
              <a:gd name="connsiteY60" fmla="*/ 1835226 h 2787726"/>
              <a:gd name="connsiteX61" fmla="*/ 438150 w 1768475"/>
              <a:gd name="connsiteY61" fmla="*/ 1822526 h 2787726"/>
              <a:gd name="connsiteX62" fmla="*/ 466725 w 1768475"/>
              <a:gd name="connsiteY62" fmla="*/ 1759026 h 2787726"/>
              <a:gd name="connsiteX63" fmla="*/ 539750 w 1768475"/>
              <a:gd name="connsiteY63" fmla="*/ 1743151 h 2787726"/>
              <a:gd name="connsiteX64" fmla="*/ 596900 w 1768475"/>
              <a:gd name="connsiteY64" fmla="*/ 1686001 h 2787726"/>
              <a:gd name="connsiteX65" fmla="*/ 635000 w 1768475"/>
              <a:gd name="connsiteY65" fmla="*/ 1619326 h 2787726"/>
              <a:gd name="connsiteX66" fmla="*/ 660400 w 1768475"/>
              <a:gd name="connsiteY66" fmla="*/ 1565351 h 2787726"/>
              <a:gd name="connsiteX67" fmla="*/ 701675 w 1768475"/>
              <a:gd name="connsiteY67" fmla="*/ 1543126 h 2787726"/>
              <a:gd name="connsiteX68" fmla="*/ 717550 w 1768475"/>
              <a:gd name="connsiteY68" fmla="*/ 1498676 h 2787726"/>
              <a:gd name="connsiteX69" fmla="*/ 762000 w 1768475"/>
              <a:gd name="connsiteY69" fmla="*/ 1466926 h 2787726"/>
              <a:gd name="connsiteX70" fmla="*/ 825500 w 1768475"/>
              <a:gd name="connsiteY70" fmla="*/ 1409776 h 2787726"/>
              <a:gd name="connsiteX71" fmla="*/ 860425 w 1768475"/>
              <a:gd name="connsiteY71" fmla="*/ 1393901 h 2787726"/>
              <a:gd name="connsiteX72" fmla="*/ 873125 w 1768475"/>
              <a:gd name="connsiteY72" fmla="*/ 1330401 h 2787726"/>
              <a:gd name="connsiteX73" fmla="*/ 854075 w 1768475"/>
              <a:gd name="connsiteY73" fmla="*/ 1289126 h 2787726"/>
              <a:gd name="connsiteX74" fmla="*/ 879475 w 1768475"/>
              <a:gd name="connsiteY74" fmla="*/ 1263726 h 2787726"/>
              <a:gd name="connsiteX75" fmla="*/ 908050 w 1768475"/>
              <a:gd name="connsiteY75" fmla="*/ 1216101 h 2787726"/>
              <a:gd name="connsiteX76" fmla="*/ 936625 w 1768475"/>
              <a:gd name="connsiteY76" fmla="*/ 1225626 h 2787726"/>
              <a:gd name="connsiteX77" fmla="*/ 1009650 w 1768475"/>
              <a:gd name="connsiteY77" fmla="*/ 1184351 h 2787726"/>
              <a:gd name="connsiteX78" fmla="*/ 1025525 w 1768475"/>
              <a:gd name="connsiteY78" fmla="*/ 1127201 h 2787726"/>
              <a:gd name="connsiteX79" fmla="*/ 1038225 w 1768475"/>
              <a:gd name="connsiteY79" fmla="*/ 1070051 h 2787726"/>
              <a:gd name="connsiteX80" fmla="*/ 1073150 w 1768475"/>
              <a:gd name="connsiteY80" fmla="*/ 1006551 h 2787726"/>
              <a:gd name="connsiteX81" fmla="*/ 1139825 w 1768475"/>
              <a:gd name="connsiteY81" fmla="*/ 968451 h 2787726"/>
              <a:gd name="connsiteX82" fmla="*/ 1177925 w 1768475"/>
              <a:gd name="connsiteY82" fmla="*/ 952576 h 2787726"/>
              <a:gd name="connsiteX83" fmla="*/ 1193800 w 1768475"/>
              <a:gd name="connsiteY83" fmla="*/ 914476 h 2787726"/>
              <a:gd name="connsiteX84" fmla="*/ 1203325 w 1768475"/>
              <a:gd name="connsiteY84" fmla="*/ 876376 h 2787726"/>
              <a:gd name="connsiteX85" fmla="*/ 1254125 w 1768475"/>
              <a:gd name="connsiteY85" fmla="*/ 844626 h 2787726"/>
              <a:gd name="connsiteX86" fmla="*/ 1250950 w 1768475"/>
              <a:gd name="connsiteY86" fmla="*/ 800176 h 2787726"/>
              <a:gd name="connsiteX87" fmla="*/ 1292225 w 1768475"/>
              <a:gd name="connsiteY87" fmla="*/ 746201 h 2787726"/>
              <a:gd name="connsiteX88" fmla="*/ 1320800 w 1768475"/>
              <a:gd name="connsiteY88" fmla="*/ 695401 h 2787726"/>
              <a:gd name="connsiteX89" fmla="*/ 1292225 w 1768475"/>
              <a:gd name="connsiteY89" fmla="*/ 628726 h 2787726"/>
              <a:gd name="connsiteX90" fmla="*/ 1270000 w 1768475"/>
              <a:gd name="connsiteY90" fmla="*/ 581101 h 2787726"/>
              <a:gd name="connsiteX91" fmla="*/ 1295400 w 1768475"/>
              <a:gd name="connsiteY91" fmla="*/ 523951 h 2787726"/>
              <a:gd name="connsiteX92" fmla="*/ 1285875 w 1768475"/>
              <a:gd name="connsiteY92" fmla="*/ 466801 h 2787726"/>
              <a:gd name="connsiteX93" fmla="*/ 1298575 w 1768475"/>
              <a:gd name="connsiteY93" fmla="*/ 400126 h 2787726"/>
              <a:gd name="connsiteX94" fmla="*/ 1330325 w 1768475"/>
              <a:gd name="connsiteY94" fmla="*/ 323926 h 2787726"/>
              <a:gd name="connsiteX95" fmla="*/ 1371600 w 1768475"/>
              <a:gd name="connsiteY95" fmla="*/ 285826 h 2787726"/>
              <a:gd name="connsiteX96" fmla="*/ 1473200 w 1768475"/>
              <a:gd name="connsiteY96" fmla="*/ 250901 h 2787726"/>
              <a:gd name="connsiteX97" fmla="*/ 1504950 w 1768475"/>
              <a:gd name="connsiteY97" fmla="*/ 181051 h 2787726"/>
              <a:gd name="connsiteX98" fmla="*/ 1546225 w 1768475"/>
              <a:gd name="connsiteY98" fmla="*/ 139776 h 2787726"/>
              <a:gd name="connsiteX99" fmla="*/ 1565275 w 1768475"/>
              <a:gd name="connsiteY99" fmla="*/ 82626 h 2787726"/>
              <a:gd name="connsiteX100" fmla="*/ 1612900 w 1768475"/>
              <a:gd name="connsiteY100" fmla="*/ 3251 h 2787726"/>
              <a:gd name="connsiteX101" fmla="*/ 1651000 w 1768475"/>
              <a:gd name="connsiteY101" fmla="*/ 3251 h 2787726"/>
              <a:gd name="connsiteX102" fmla="*/ 1650427 w 1768475"/>
              <a:gd name="connsiteY102" fmla="*/ 0 h 2787726"/>
              <a:gd name="connsiteX0" fmla="*/ 1768475 w 1768475"/>
              <a:gd name="connsiteY0" fmla="*/ 2784475 h 2784475"/>
              <a:gd name="connsiteX1" fmla="*/ 1752600 w 1768475"/>
              <a:gd name="connsiteY1" fmla="*/ 2727325 h 2784475"/>
              <a:gd name="connsiteX2" fmla="*/ 1720850 w 1768475"/>
              <a:gd name="connsiteY2" fmla="*/ 2682875 h 2784475"/>
              <a:gd name="connsiteX3" fmla="*/ 1682750 w 1768475"/>
              <a:gd name="connsiteY3" fmla="*/ 2670175 h 2784475"/>
              <a:gd name="connsiteX4" fmla="*/ 1628775 w 1768475"/>
              <a:gd name="connsiteY4" fmla="*/ 2673350 h 2784475"/>
              <a:gd name="connsiteX5" fmla="*/ 1587500 w 1768475"/>
              <a:gd name="connsiteY5" fmla="*/ 2670175 h 2784475"/>
              <a:gd name="connsiteX6" fmla="*/ 1552575 w 1768475"/>
              <a:gd name="connsiteY6" fmla="*/ 2651125 h 2784475"/>
              <a:gd name="connsiteX7" fmla="*/ 1524000 w 1768475"/>
              <a:gd name="connsiteY7" fmla="*/ 2663825 h 2784475"/>
              <a:gd name="connsiteX8" fmla="*/ 1473200 w 1768475"/>
              <a:gd name="connsiteY8" fmla="*/ 2651125 h 2784475"/>
              <a:gd name="connsiteX9" fmla="*/ 1438275 w 1768475"/>
              <a:gd name="connsiteY9" fmla="*/ 2638425 h 2784475"/>
              <a:gd name="connsiteX10" fmla="*/ 1422400 w 1768475"/>
              <a:gd name="connsiteY10" fmla="*/ 2632075 h 2784475"/>
              <a:gd name="connsiteX11" fmla="*/ 1362075 w 1768475"/>
              <a:gd name="connsiteY11" fmla="*/ 2638425 h 2784475"/>
              <a:gd name="connsiteX12" fmla="*/ 1308100 w 1768475"/>
              <a:gd name="connsiteY12" fmla="*/ 2593975 h 2784475"/>
              <a:gd name="connsiteX13" fmla="*/ 1276350 w 1768475"/>
              <a:gd name="connsiteY13" fmla="*/ 2571750 h 2784475"/>
              <a:gd name="connsiteX14" fmla="*/ 1241425 w 1768475"/>
              <a:gd name="connsiteY14" fmla="*/ 2559050 h 2784475"/>
              <a:gd name="connsiteX15" fmla="*/ 1216025 w 1768475"/>
              <a:gd name="connsiteY15" fmla="*/ 2524125 h 2784475"/>
              <a:gd name="connsiteX16" fmla="*/ 1168400 w 1768475"/>
              <a:gd name="connsiteY16" fmla="*/ 2511425 h 2784475"/>
              <a:gd name="connsiteX17" fmla="*/ 1130300 w 1768475"/>
              <a:gd name="connsiteY17" fmla="*/ 2489200 h 2784475"/>
              <a:gd name="connsiteX18" fmla="*/ 1095375 w 1768475"/>
              <a:gd name="connsiteY18" fmla="*/ 2492375 h 2784475"/>
              <a:gd name="connsiteX19" fmla="*/ 1079500 w 1768475"/>
              <a:gd name="connsiteY19" fmla="*/ 2470150 h 2784475"/>
              <a:gd name="connsiteX20" fmla="*/ 1035050 w 1768475"/>
              <a:gd name="connsiteY20" fmla="*/ 2457450 h 2784475"/>
              <a:gd name="connsiteX21" fmla="*/ 1009650 w 1768475"/>
              <a:gd name="connsiteY21" fmla="*/ 2463800 h 2784475"/>
              <a:gd name="connsiteX22" fmla="*/ 962025 w 1768475"/>
              <a:gd name="connsiteY22" fmla="*/ 2457450 h 2784475"/>
              <a:gd name="connsiteX23" fmla="*/ 917575 w 1768475"/>
              <a:gd name="connsiteY23" fmla="*/ 2473325 h 2784475"/>
              <a:gd name="connsiteX24" fmla="*/ 850900 w 1768475"/>
              <a:gd name="connsiteY24" fmla="*/ 2466975 h 2784475"/>
              <a:gd name="connsiteX25" fmla="*/ 850900 w 1768475"/>
              <a:gd name="connsiteY25" fmla="*/ 2466975 h 2784475"/>
              <a:gd name="connsiteX26" fmla="*/ 796925 w 1768475"/>
              <a:gd name="connsiteY26" fmla="*/ 2473325 h 2784475"/>
              <a:gd name="connsiteX27" fmla="*/ 809625 w 1768475"/>
              <a:gd name="connsiteY27" fmla="*/ 2447925 h 2784475"/>
              <a:gd name="connsiteX28" fmla="*/ 787400 w 1768475"/>
              <a:gd name="connsiteY28" fmla="*/ 2438400 h 2784475"/>
              <a:gd name="connsiteX29" fmla="*/ 806450 w 1768475"/>
              <a:gd name="connsiteY29" fmla="*/ 2378075 h 2784475"/>
              <a:gd name="connsiteX30" fmla="*/ 781050 w 1768475"/>
              <a:gd name="connsiteY30" fmla="*/ 2324100 h 2784475"/>
              <a:gd name="connsiteX31" fmla="*/ 736600 w 1768475"/>
              <a:gd name="connsiteY31" fmla="*/ 2282825 h 2784475"/>
              <a:gd name="connsiteX32" fmla="*/ 692150 w 1768475"/>
              <a:gd name="connsiteY32" fmla="*/ 2260600 h 2784475"/>
              <a:gd name="connsiteX33" fmla="*/ 647700 w 1768475"/>
              <a:gd name="connsiteY33" fmla="*/ 2324100 h 2784475"/>
              <a:gd name="connsiteX34" fmla="*/ 590550 w 1768475"/>
              <a:gd name="connsiteY34" fmla="*/ 2381250 h 2784475"/>
              <a:gd name="connsiteX35" fmla="*/ 552450 w 1768475"/>
              <a:gd name="connsiteY35" fmla="*/ 2390775 h 2784475"/>
              <a:gd name="connsiteX36" fmla="*/ 508000 w 1768475"/>
              <a:gd name="connsiteY36" fmla="*/ 2368550 h 2784475"/>
              <a:gd name="connsiteX37" fmla="*/ 463550 w 1768475"/>
              <a:gd name="connsiteY37" fmla="*/ 2371725 h 2784475"/>
              <a:gd name="connsiteX38" fmla="*/ 406400 w 1768475"/>
              <a:gd name="connsiteY38" fmla="*/ 2349500 h 2784475"/>
              <a:gd name="connsiteX39" fmla="*/ 365125 w 1768475"/>
              <a:gd name="connsiteY39" fmla="*/ 2355850 h 2784475"/>
              <a:gd name="connsiteX40" fmla="*/ 323850 w 1768475"/>
              <a:gd name="connsiteY40" fmla="*/ 2327275 h 2784475"/>
              <a:gd name="connsiteX41" fmla="*/ 301625 w 1768475"/>
              <a:gd name="connsiteY41" fmla="*/ 2286000 h 2784475"/>
              <a:gd name="connsiteX42" fmla="*/ 250825 w 1768475"/>
              <a:gd name="connsiteY42" fmla="*/ 2257425 h 2784475"/>
              <a:gd name="connsiteX43" fmla="*/ 212725 w 1768475"/>
              <a:gd name="connsiteY43" fmla="*/ 2225675 h 2784475"/>
              <a:gd name="connsiteX44" fmla="*/ 190500 w 1768475"/>
              <a:gd name="connsiteY44" fmla="*/ 2228850 h 2784475"/>
              <a:gd name="connsiteX45" fmla="*/ 171450 w 1768475"/>
              <a:gd name="connsiteY45" fmla="*/ 2200275 h 2784475"/>
              <a:gd name="connsiteX46" fmla="*/ 114300 w 1768475"/>
              <a:gd name="connsiteY46" fmla="*/ 2181225 h 2784475"/>
              <a:gd name="connsiteX47" fmla="*/ 66675 w 1768475"/>
              <a:gd name="connsiteY47" fmla="*/ 2193925 h 2784475"/>
              <a:gd name="connsiteX48" fmla="*/ 0 w 1768475"/>
              <a:gd name="connsiteY48" fmla="*/ 2159000 h 2784475"/>
              <a:gd name="connsiteX49" fmla="*/ 19050 w 1768475"/>
              <a:gd name="connsiteY49" fmla="*/ 2117725 h 2784475"/>
              <a:gd name="connsiteX50" fmla="*/ 19050 w 1768475"/>
              <a:gd name="connsiteY50" fmla="*/ 2079625 h 2784475"/>
              <a:gd name="connsiteX51" fmla="*/ 57150 w 1768475"/>
              <a:gd name="connsiteY51" fmla="*/ 2044700 h 2784475"/>
              <a:gd name="connsiteX52" fmla="*/ 47625 w 1768475"/>
              <a:gd name="connsiteY52" fmla="*/ 1978025 h 2784475"/>
              <a:gd name="connsiteX53" fmla="*/ 82550 w 1768475"/>
              <a:gd name="connsiteY53" fmla="*/ 1958975 h 2784475"/>
              <a:gd name="connsiteX54" fmla="*/ 155575 w 1768475"/>
              <a:gd name="connsiteY54" fmla="*/ 1943100 h 2784475"/>
              <a:gd name="connsiteX55" fmla="*/ 209550 w 1768475"/>
              <a:gd name="connsiteY55" fmla="*/ 1911350 h 2784475"/>
              <a:gd name="connsiteX56" fmla="*/ 247650 w 1768475"/>
              <a:gd name="connsiteY56" fmla="*/ 1927225 h 2784475"/>
              <a:gd name="connsiteX57" fmla="*/ 269875 w 1768475"/>
              <a:gd name="connsiteY57" fmla="*/ 1898650 h 2784475"/>
              <a:gd name="connsiteX58" fmla="*/ 349250 w 1768475"/>
              <a:gd name="connsiteY58" fmla="*/ 1901825 h 2784475"/>
              <a:gd name="connsiteX59" fmla="*/ 330200 w 1768475"/>
              <a:gd name="connsiteY59" fmla="*/ 1860550 h 2784475"/>
              <a:gd name="connsiteX60" fmla="*/ 361950 w 1768475"/>
              <a:gd name="connsiteY60" fmla="*/ 1831975 h 2784475"/>
              <a:gd name="connsiteX61" fmla="*/ 438150 w 1768475"/>
              <a:gd name="connsiteY61" fmla="*/ 1819275 h 2784475"/>
              <a:gd name="connsiteX62" fmla="*/ 466725 w 1768475"/>
              <a:gd name="connsiteY62" fmla="*/ 1755775 h 2784475"/>
              <a:gd name="connsiteX63" fmla="*/ 539750 w 1768475"/>
              <a:gd name="connsiteY63" fmla="*/ 1739900 h 2784475"/>
              <a:gd name="connsiteX64" fmla="*/ 596900 w 1768475"/>
              <a:gd name="connsiteY64" fmla="*/ 1682750 h 2784475"/>
              <a:gd name="connsiteX65" fmla="*/ 635000 w 1768475"/>
              <a:gd name="connsiteY65" fmla="*/ 1616075 h 2784475"/>
              <a:gd name="connsiteX66" fmla="*/ 660400 w 1768475"/>
              <a:gd name="connsiteY66" fmla="*/ 1562100 h 2784475"/>
              <a:gd name="connsiteX67" fmla="*/ 701675 w 1768475"/>
              <a:gd name="connsiteY67" fmla="*/ 1539875 h 2784475"/>
              <a:gd name="connsiteX68" fmla="*/ 717550 w 1768475"/>
              <a:gd name="connsiteY68" fmla="*/ 1495425 h 2784475"/>
              <a:gd name="connsiteX69" fmla="*/ 762000 w 1768475"/>
              <a:gd name="connsiteY69" fmla="*/ 1463675 h 2784475"/>
              <a:gd name="connsiteX70" fmla="*/ 825500 w 1768475"/>
              <a:gd name="connsiteY70" fmla="*/ 1406525 h 2784475"/>
              <a:gd name="connsiteX71" fmla="*/ 860425 w 1768475"/>
              <a:gd name="connsiteY71" fmla="*/ 1390650 h 2784475"/>
              <a:gd name="connsiteX72" fmla="*/ 873125 w 1768475"/>
              <a:gd name="connsiteY72" fmla="*/ 1327150 h 2784475"/>
              <a:gd name="connsiteX73" fmla="*/ 854075 w 1768475"/>
              <a:gd name="connsiteY73" fmla="*/ 1285875 h 2784475"/>
              <a:gd name="connsiteX74" fmla="*/ 879475 w 1768475"/>
              <a:gd name="connsiteY74" fmla="*/ 1260475 h 2784475"/>
              <a:gd name="connsiteX75" fmla="*/ 908050 w 1768475"/>
              <a:gd name="connsiteY75" fmla="*/ 1212850 h 2784475"/>
              <a:gd name="connsiteX76" fmla="*/ 936625 w 1768475"/>
              <a:gd name="connsiteY76" fmla="*/ 1222375 h 2784475"/>
              <a:gd name="connsiteX77" fmla="*/ 1009650 w 1768475"/>
              <a:gd name="connsiteY77" fmla="*/ 1181100 h 2784475"/>
              <a:gd name="connsiteX78" fmla="*/ 1025525 w 1768475"/>
              <a:gd name="connsiteY78" fmla="*/ 1123950 h 2784475"/>
              <a:gd name="connsiteX79" fmla="*/ 1038225 w 1768475"/>
              <a:gd name="connsiteY79" fmla="*/ 1066800 h 2784475"/>
              <a:gd name="connsiteX80" fmla="*/ 1073150 w 1768475"/>
              <a:gd name="connsiteY80" fmla="*/ 1003300 h 2784475"/>
              <a:gd name="connsiteX81" fmla="*/ 1139825 w 1768475"/>
              <a:gd name="connsiteY81" fmla="*/ 965200 h 2784475"/>
              <a:gd name="connsiteX82" fmla="*/ 1177925 w 1768475"/>
              <a:gd name="connsiteY82" fmla="*/ 949325 h 2784475"/>
              <a:gd name="connsiteX83" fmla="*/ 1193800 w 1768475"/>
              <a:gd name="connsiteY83" fmla="*/ 911225 h 2784475"/>
              <a:gd name="connsiteX84" fmla="*/ 1203325 w 1768475"/>
              <a:gd name="connsiteY84" fmla="*/ 873125 h 2784475"/>
              <a:gd name="connsiteX85" fmla="*/ 1254125 w 1768475"/>
              <a:gd name="connsiteY85" fmla="*/ 841375 h 2784475"/>
              <a:gd name="connsiteX86" fmla="*/ 1250950 w 1768475"/>
              <a:gd name="connsiteY86" fmla="*/ 796925 h 2784475"/>
              <a:gd name="connsiteX87" fmla="*/ 1292225 w 1768475"/>
              <a:gd name="connsiteY87" fmla="*/ 742950 h 2784475"/>
              <a:gd name="connsiteX88" fmla="*/ 1320800 w 1768475"/>
              <a:gd name="connsiteY88" fmla="*/ 692150 h 2784475"/>
              <a:gd name="connsiteX89" fmla="*/ 1292225 w 1768475"/>
              <a:gd name="connsiteY89" fmla="*/ 625475 h 2784475"/>
              <a:gd name="connsiteX90" fmla="*/ 1270000 w 1768475"/>
              <a:gd name="connsiteY90" fmla="*/ 577850 h 2784475"/>
              <a:gd name="connsiteX91" fmla="*/ 1295400 w 1768475"/>
              <a:gd name="connsiteY91" fmla="*/ 520700 h 2784475"/>
              <a:gd name="connsiteX92" fmla="*/ 1285875 w 1768475"/>
              <a:gd name="connsiteY92" fmla="*/ 463550 h 2784475"/>
              <a:gd name="connsiteX93" fmla="*/ 1298575 w 1768475"/>
              <a:gd name="connsiteY93" fmla="*/ 396875 h 2784475"/>
              <a:gd name="connsiteX94" fmla="*/ 1330325 w 1768475"/>
              <a:gd name="connsiteY94" fmla="*/ 320675 h 2784475"/>
              <a:gd name="connsiteX95" fmla="*/ 1371600 w 1768475"/>
              <a:gd name="connsiteY95" fmla="*/ 282575 h 2784475"/>
              <a:gd name="connsiteX96" fmla="*/ 1473200 w 1768475"/>
              <a:gd name="connsiteY96" fmla="*/ 247650 h 2784475"/>
              <a:gd name="connsiteX97" fmla="*/ 1504950 w 1768475"/>
              <a:gd name="connsiteY97" fmla="*/ 177800 h 2784475"/>
              <a:gd name="connsiteX98" fmla="*/ 1546225 w 1768475"/>
              <a:gd name="connsiteY98" fmla="*/ 136525 h 2784475"/>
              <a:gd name="connsiteX99" fmla="*/ 1565275 w 1768475"/>
              <a:gd name="connsiteY99" fmla="*/ 79375 h 2784475"/>
              <a:gd name="connsiteX100" fmla="*/ 1612900 w 1768475"/>
              <a:gd name="connsiteY100" fmla="*/ 0 h 2784475"/>
              <a:gd name="connsiteX101" fmla="*/ 1651000 w 1768475"/>
              <a:gd name="connsiteY101" fmla="*/ 0 h 2784475"/>
              <a:gd name="connsiteX0" fmla="*/ 1768475 w 1768475"/>
              <a:gd name="connsiteY0" fmla="*/ 2784475 h 2784475"/>
              <a:gd name="connsiteX1" fmla="*/ 1752600 w 1768475"/>
              <a:gd name="connsiteY1" fmla="*/ 2727325 h 2784475"/>
              <a:gd name="connsiteX2" fmla="*/ 1720850 w 1768475"/>
              <a:gd name="connsiteY2" fmla="*/ 2682875 h 2784475"/>
              <a:gd name="connsiteX3" fmla="*/ 1682750 w 1768475"/>
              <a:gd name="connsiteY3" fmla="*/ 2670175 h 2784475"/>
              <a:gd name="connsiteX4" fmla="*/ 1628775 w 1768475"/>
              <a:gd name="connsiteY4" fmla="*/ 2673350 h 2784475"/>
              <a:gd name="connsiteX5" fmla="*/ 1587500 w 1768475"/>
              <a:gd name="connsiteY5" fmla="*/ 2670175 h 2784475"/>
              <a:gd name="connsiteX6" fmla="*/ 1552575 w 1768475"/>
              <a:gd name="connsiteY6" fmla="*/ 2651125 h 2784475"/>
              <a:gd name="connsiteX7" fmla="*/ 1524000 w 1768475"/>
              <a:gd name="connsiteY7" fmla="*/ 2663825 h 2784475"/>
              <a:gd name="connsiteX8" fmla="*/ 1473200 w 1768475"/>
              <a:gd name="connsiteY8" fmla="*/ 2651125 h 2784475"/>
              <a:gd name="connsiteX9" fmla="*/ 1438275 w 1768475"/>
              <a:gd name="connsiteY9" fmla="*/ 2638425 h 2784475"/>
              <a:gd name="connsiteX10" fmla="*/ 1422400 w 1768475"/>
              <a:gd name="connsiteY10" fmla="*/ 2632075 h 2784475"/>
              <a:gd name="connsiteX11" fmla="*/ 1362075 w 1768475"/>
              <a:gd name="connsiteY11" fmla="*/ 2638425 h 2784475"/>
              <a:gd name="connsiteX12" fmla="*/ 1308100 w 1768475"/>
              <a:gd name="connsiteY12" fmla="*/ 2593975 h 2784475"/>
              <a:gd name="connsiteX13" fmla="*/ 1276350 w 1768475"/>
              <a:gd name="connsiteY13" fmla="*/ 2571750 h 2784475"/>
              <a:gd name="connsiteX14" fmla="*/ 1241425 w 1768475"/>
              <a:gd name="connsiteY14" fmla="*/ 2559050 h 2784475"/>
              <a:gd name="connsiteX15" fmla="*/ 1216025 w 1768475"/>
              <a:gd name="connsiteY15" fmla="*/ 2524125 h 2784475"/>
              <a:gd name="connsiteX16" fmla="*/ 1168400 w 1768475"/>
              <a:gd name="connsiteY16" fmla="*/ 2511425 h 2784475"/>
              <a:gd name="connsiteX17" fmla="*/ 1130300 w 1768475"/>
              <a:gd name="connsiteY17" fmla="*/ 2489200 h 2784475"/>
              <a:gd name="connsiteX18" fmla="*/ 1095375 w 1768475"/>
              <a:gd name="connsiteY18" fmla="*/ 2492375 h 2784475"/>
              <a:gd name="connsiteX19" fmla="*/ 1079500 w 1768475"/>
              <a:gd name="connsiteY19" fmla="*/ 2470150 h 2784475"/>
              <a:gd name="connsiteX20" fmla="*/ 1035050 w 1768475"/>
              <a:gd name="connsiteY20" fmla="*/ 2457450 h 2784475"/>
              <a:gd name="connsiteX21" fmla="*/ 1009650 w 1768475"/>
              <a:gd name="connsiteY21" fmla="*/ 2463800 h 2784475"/>
              <a:gd name="connsiteX22" fmla="*/ 962025 w 1768475"/>
              <a:gd name="connsiteY22" fmla="*/ 2457450 h 2784475"/>
              <a:gd name="connsiteX23" fmla="*/ 917575 w 1768475"/>
              <a:gd name="connsiteY23" fmla="*/ 2473325 h 2784475"/>
              <a:gd name="connsiteX24" fmla="*/ 850900 w 1768475"/>
              <a:gd name="connsiteY24" fmla="*/ 2466975 h 2784475"/>
              <a:gd name="connsiteX25" fmla="*/ 850900 w 1768475"/>
              <a:gd name="connsiteY25" fmla="*/ 2466975 h 2784475"/>
              <a:gd name="connsiteX26" fmla="*/ 796925 w 1768475"/>
              <a:gd name="connsiteY26" fmla="*/ 2473325 h 2784475"/>
              <a:gd name="connsiteX27" fmla="*/ 809625 w 1768475"/>
              <a:gd name="connsiteY27" fmla="*/ 2447925 h 2784475"/>
              <a:gd name="connsiteX28" fmla="*/ 787400 w 1768475"/>
              <a:gd name="connsiteY28" fmla="*/ 2438400 h 2784475"/>
              <a:gd name="connsiteX29" fmla="*/ 806450 w 1768475"/>
              <a:gd name="connsiteY29" fmla="*/ 2378075 h 2784475"/>
              <a:gd name="connsiteX30" fmla="*/ 781050 w 1768475"/>
              <a:gd name="connsiteY30" fmla="*/ 2324100 h 2784475"/>
              <a:gd name="connsiteX31" fmla="*/ 736600 w 1768475"/>
              <a:gd name="connsiteY31" fmla="*/ 2282825 h 2784475"/>
              <a:gd name="connsiteX32" fmla="*/ 692150 w 1768475"/>
              <a:gd name="connsiteY32" fmla="*/ 2260600 h 2784475"/>
              <a:gd name="connsiteX33" fmla="*/ 647700 w 1768475"/>
              <a:gd name="connsiteY33" fmla="*/ 2324100 h 2784475"/>
              <a:gd name="connsiteX34" fmla="*/ 590550 w 1768475"/>
              <a:gd name="connsiteY34" fmla="*/ 2381250 h 2784475"/>
              <a:gd name="connsiteX35" fmla="*/ 552450 w 1768475"/>
              <a:gd name="connsiteY35" fmla="*/ 2390775 h 2784475"/>
              <a:gd name="connsiteX36" fmla="*/ 508000 w 1768475"/>
              <a:gd name="connsiteY36" fmla="*/ 2368550 h 2784475"/>
              <a:gd name="connsiteX37" fmla="*/ 463550 w 1768475"/>
              <a:gd name="connsiteY37" fmla="*/ 2371725 h 2784475"/>
              <a:gd name="connsiteX38" fmla="*/ 406400 w 1768475"/>
              <a:gd name="connsiteY38" fmla="*/ 2349500 h 2784475"/>
              <a:gd name="connsiteX39" fmla="*/ 365125 w 1768475"/>
              <a:gd name="connsiteY39" fmla="*/ 2355850 h 2784475"/>
              <a:gd name="connsiteX40" fmla="*/ 323850 w 1768475"/>
              <a:gd name="connsiteY40" fmla="*/ 2327275 h 2784475"/>
              <a:gd name="connsiteX41" fmla="*/ 301625 w 1768475"/>
              <a:gd name="connsiteY41" fmla="*/ 2286000 h 2784475"/>
              <a:gd name="connsiteX42" fmla="*/ 250825 w 1768475"/>
              <a:gd name="connsiteY42" fmla="*/ 2257425 h 2784475"/>
              <a:gd name="connsiteX43" fmla="*/ 212725 w 1768475"/>
              <a:gd name="connsiteY43" fmla="*/ 2225675 h 2784475"/>
              <a:gd name="connsiteX44" fmla="*/ 190500 w 1768475"/>
              <a:gd name="connsiteY44" fmla="*/ 2228850 h 2784475"/>
              <a:gd name="connsiteX45" fmla="*/ 171450 w 1768475"/>
              <a:gd name="connsiteY45" fmla="*/ 2200275 h 2784475"/>
              <a:gd name="connsiteX46" fmla="*/ 114300 w 1768475"/>
              <a:gd name="connsiteY46" fmla="*/ 2181225 h 2784475"/>
              <a:gd name="connsiteX47" fmla="*/ 66675 w 1768475"/>
              <a:gd name="connsiteY47" fmla="*/ 2193925 h 2784475"/>
              <a:gd name="connsiteX48" fmla="*/ 0 w 1768475"/>
              <a:gd name="connsiteY48" fmla="*/ 2159000 h 2784475"/>
              <a:gd name="connsiteX49" fmla="*/ 19050 w 1768475"/>
              <a:gd name="connsiteY49" fmla="*/ 2117725 h 2784475"/>
              <a:gd name="connsiteX50" fmla="*/ 19050 w 1768475"/>
              <a:gd name="connsiteY50" fmla="*/ 2079625 h 2784475"/>
              <a:gd name="connsiteX51" fmla="*/ 57150 w 1768475"/>
              <a:gd name="connsiteY51" fmla="*/ 2044700 h 2784475"/>
              <a:gd name="connsiteX52" fmla="*/ 47625 w 1768475"/>
              <a:gd name="connsiteY52" fmla="*/ 1978025 h 2784475"/>
              <a:gd name="connsiteX53" fmla="*/ 82550 w 1768475"/>
              <a:gd name="connsiteY53" fmla="*/ 1958975 h 2784475"/>
              <a:gd name="connsiteX54" fmla="*/ 155575 w 1768475"/>
              <a:gd name="connsiteY54" fmla="*/ 1943100 h 2784475"/>
              <a:gd name="connsiteX55" fmla="*/ 209550 w 1768475"/>
              <a:gd name="connsiteY55" fmla="*/ 1911350 h 2784475"/>
              <a:gd name="connsiteX56" fmla="*/ 247650 w 1768475"/>
              <a:gd name="connsiteY56" fmla="*/ 1927225 h 2784475"/>
              <a:gd name="connsiteX57" fmla="*/ 269875 w 1768475"/>
              <a:gd name="connsiteY57" fmla="*/ 1898650 h 2784475"/>
              <a:gd name="connsiteX58" fmla="*/ 349250 w 1768475"/>
              <a:gd name="connsiteY58" fmla="*/ 1901825 h 2784475"/>
              <a:gd name="connsiteX59" fmla="*/ 330200 w 1768475"/>
              <a:gd name="connsiteY59" fmla="*/ 1860550 h 2784475"/>
              <a:gd name="connsiteX60" fmla="*/ 361950 w 1768475"/>
              <a:gd name="connsiteY60" fmla="*/ 1831975 h 2784475"/>
              <a:gd name="connsiteX61" fmla="*/ 438150 w 1768475"/>
              <a:gd name="connsiteY61" fmla="*/ 1819275 h 2784475"/>
              <a:gd name="connsiteX62" fmla="*/ 466725 w 1768475"/>
              <a:gd name="connsiteY62" fmla="*/ 1755775 h 2784475"/>
              <a:gd name="connsiteX63" fmla="*/ 539750 w 1768475"/>
              <a:gd name="connsiteY63" fmla="*/ 1739900 h 2784475"/>
              <a:gd name="connsiteX64" fmla="*/ 596900 w 1768475"/>
              <a:gd name="connsiteY64" fmla="*/ 1682750 h 2784475"/>
              <a:gd name="connsiteX65" fmla="*/ 635000 w 1768475"/>
              <a:gd name="connsiteY65" fmla="*/ 1616075 h 2784475"/>
              <a:gd name="connsiteX66" fmla="*/ 660400 w 1768475"/>
              <a:gd name="connsiteY66" fmla="*/ 1562100 h 2784475"/>
              <a:gd name="connsiteX67" fmla="*/ 701675 w 1768475"/>
              <a:gd name="connsiteY67" fmla="*/ 1539875 h 2784475"/>
              <a:gd name="connsiteX68" fmla="*/ 717550 w 1768475"/>
              <a:gd name="connsiteY68" fmla="*/ 1495425 h 2784475"/>
              <a:gd name="connsiteX69" fmla="*/ 762000 w 1768475"/>
              <a:gd name="connsiteY69" fmla="*/ 1463675 h 2784475"/>
              <a:gd name="connsiteX70" fmla="*/ 825500 w 1768475"/>
              <a:gd name="connsiteY70" fmla="*/ 1406525 h 2784475"/>
              <a:gd name="connsiteX71" fmla="*/ 860425 w 1768475"/>
              <a:gd name="connsiteY71" fmla="*/ 1390650 h 2784475"/>
              <a:gd name="connsiteX72" fmla="*/ 873125 w 1768475"/>
              <a:gd name="connsiteY72" fmla="*/ 1327150 h 2784475"/>
              <a:gd name="connsiteX73" fmla="*/ 854075 w 1768475"/>
              <a:gd name="connsiteY73" fmla="*/ 1285875 h 2784475"/>
              <a:gd name="connsiteX74" fmla="*/ 879475 w 1768475"/>
              <a:gd name="connsiteY74" fmla="*/ 1260475 h 2784475"/>
              <a:gd name="connsiteX75" fmla="*/ 908050 w 1768475"/>
              <a:gd name="connsiteY75" fmla="*/ 1212850 h 2784475"/>
              <a:gd name="connsiteX76" fmla="*/ 936625 w 1768475"/>
              <a:gd name="connsiteY76" fmla="*/ 1222375 h 2784475"/>
              <a:gd name="connsiteX77" fmla="*/ 1009650 w 1768475"/>
              <a:gd name="connsiteY77" fmla="*/ 1181100 h 2784475"/>
              <a:gd name="connsiteX78" fmla="*/ 1025525 w 1768475"/>
              <a:gd name="connsiteY78" fmla="*/ 1123950 h 2784475"/>
              <a:gd name="connsiteX79" fmla="*/ 1038225 w 1768475"/>
              <a:gd name="connsiteY79" fmla="*/ 1066800 h 2784475"/>
              <a:gd name="connsiteX80" fmla="*/ 1073150 w 1768475"/>
              <a:gd name="connsiteY80" fmla="*/ 1003300 h 2784475"/>
              <a:gd name="connsiteX81" fmla="*/ 1139825 w 1768475"/>
              <a:gd name="connsiteY81" fmla="*/ 965200 h 2784475"/>
              <a:gd name="connsiteX82" fmla="*/ 1177925 w 1768475"/>
              <a:gd name="connsiteY82" fmla="*/ 949325 h 2784475"/>
              <a:gd name="connsiteX83" fmla="*/ 1193800 w 1768475"/>
              <a:gd name="connsiteY83" fmla="*/ 911225 h 2784475"/>
              <a:gd name="connsiteX84" fmla="*/ 1203325 w 1768475"/>
              <a:gd name="connsiteY84" fmla="*/ 873125 h 2784475"/>
              <a:gd name="connsiteX85" fmla="*/ 1254125 w 1768475"/>
              <a:gd name="connsiteY85" fmla="*/ 841375 h 2784475"/>
              <a:gd name="connsiteX86" fmla="*/ 1250950 w 1768475"/>
              <a:gd name="connsiteY86" fmla="*/ 796925 h 2784475"/>
              <a:gd name="connsiteX87" fmla="*/ 1292225 w 1768475"/>
              <a:gd name="connsiteY87" fmla="*/ 742950 h 2784475"/>
              <a:gd name="connsiteX88" fmla="*/ 1320800 w 1768475"/>
              <a:gd name="connsiteY88" fmla="*/ 692150 h 2784475"/>
              <a:gd name="connsiteX89" fmla="*/ 1292225 w 1768475"/>
              <a:gd name="connsiteY89" fmla="*/ 625475 h 2784475"/>
              <a:gd name="connsiteX90" fmla="*/ 1270000 w 1768475"/>
              <a:gd name="connsiteY90" fmla="*/ 577850 h 2784475"/>
              <a:gd name="connsiteX91" fmla="*/ 1295400 w 1768475"/>
              <a:gd name="connsiteY91" fmla="*/ 520700 h 2784475"/>
              <a:gd name="connsiteX92" fmla="*/ 1285875 w 1768475"/>
              <a:gd name="connsiteY92" fmla="*/ 463550 h 2784475"/>
              <a:gd name="connsiteX93" fmla="*/ 1298575 w 1768475"/>
              <a:gd name="connsiteY93" fmla="*/ 396875 h 2784475"/>
              <a:gd name="connsiteX94" fmla="*/ 1330325 w 1768475"/>
              <a:gd name="connsiteY94" fmla="*/ 320675 h 2784475"/>
              <a:gd name="connsiteX95" fmla="*/ 1371600 w 1768475"/>
              <a:gd name="connsiteY95" fmla="*/ 282575 h 2784475"/>
              <a:gd name="connsiteX96" fmla="*/ 1473200 w 1768475"/>
              <a:gd name="connsiteY96" fmla="*/ 247650 h 2784475"/>
              <a:gd name="connsiteX97" fmla="*/ 1504950 w 1768475"/>
              <a:gd name="connsiteY97" fmla="*/ 177800 h 2784475"/>
              <a:gd name="connsiteX98" fmla="*/ 1546225 w 1768475"/>
              <a:gd name="connsiteY98" fmla="*/ 136525 h 2784475"/>
              <a:gd name="connsiteX99" fmla="*/ 1565275 w 1768475"/>
              <a:gd name="connsiteY99" fmla="*/ 79375 h 2784475"/>
              <a:gd name="connsiteX100" fmla="*/ 1612900 w 1768475"/>
              <a:gd name="connsiteY100" fmla="*/ 0 h 2784475"/>
              <a:gd name="connsiteX0" fmla="*/ 1768475 w 1768475"/>
              <a:gd name="connsiteY0" fmla="*/ 2784475 h 2784475"/>
              <a:gd name="connsiteX1" fmla="*/ 1752600 w 1768475"/>
              <a:gd name="connsiteY1" fmla="*/ 2727325 h 2784475"/>
              <a:gd name="connsiteX2" fmla="*/ 1720850 w 1768475"/>
              <a:gd name="connsiteY2" fmla="*/ 2682875 h 2784475"/>
              <a:gd name="connsiteX3" fmla="*/ 1682750 w 1768475"/>
              <a:gd name="connsiteY3" fmla="*/ 2670175 h 2784475"/>
              <a:gd name="connsiteX4" fmla="*/ 1628775 w 1768475"/>
              <a:gd name="connsiteY4" fmla="*/ 2673350 h 2784475"/>
              <a:gd name="connsiteX5" fmla="*/ 1587500 w 1768475"/>
              <a:gd name="connsiteY5" fmla="*/ 2670175 h 2784475"/>
              <a:gd name="connsiteX6" fmla="*/ 1552575 w 1768475"/>
              <a:gd name="connsiteY6" fmla="*/ 2651125 h 2784475"/>
              <a:gd name="connsiteX7" fmla="*/ 1524000 w 1768475"/>
              <a:gd name="connsiteY7" fmla="*/ 2663825 h 2784475"/>
              <a:gd name="connsiteX8" fmla="*/ 1473200 w 1768475"/>
              <a:gd name="connsiteY8" fmla="*/ 2651125 h 2784475"/>
              <a:gd name="connsiteX9" fmla="*/ 1438275 w 1768475"/>
              <a:gd name="connsiteY9" fmla="*/ 2638425 h 2784475"/>
              <a:gd name="connsiteX10" fmla="*/ 1422400 w 1768475"/>
              <a:gd name="connsiteY10" fmla="*/ 2632075 h 2784475"/>
              <a:gd name="connsiteX11" fmla="*/ 1362075 w 1768475"/>
              <a:gd name="connsiteY11" fmla="*/ 2638425 h 2784475"/>
              <a:gd name="connsiteX12" fmla="*/ 1308100 w 1768475"/>
              <a:gd name="connsiteY12" fmla="*/ 2593975 h 2784475"/>
              <a:gd name="connsiteX13" fmla="*/ 1276350 w 1768475"/>
              <a:gd name="connsiteY13" fmla="*/ 2571750 h 2784475"/>
              <a:gd name="connsiteX14" fmla="*/ 1241425 w 1768475"/>
              <a:gd name="connsiteY14" fmla="*/ 2559050 h 2784475"/>
              <a:gd name="connsiteX15" fmla="*/ 1216025 w 1768475"/>
              <a:gd name="connsiteY15" fmla="*/ 2524125 h 2784475"/>
              <a:gd name="connsiteX16" fmla="*/ 1168400 w 1768475"/>
              <a:gd name="connsiteY16" fmla="*/ 2511425 h 2784475"/>
              <a:gd name="connsiteX17" fmla="*/ 1130300 w 1768475"/>
              <a:gd name="connsiteY17" fmla="*/ 2489200 h 2784475"/>
              <a:gd name="connsiteX18" fmla="*/ 1095375 w 1768475"/>
              <a:gd name="connsiteY18" fmla="*/ 2492375 h 2784475"/>
              <a:gd name="connsiteX19" fmla="*/ 1079500 w 1768475"/>
              <a:gd name="connsiteY19" fmla="*/ 2470150 h 2784475"/>
              <a:gd name="connsiteX20" fmla="*/ 1035050 w 1768475"/>
              <a:gd name="connsiteY20" fmla="*/ 2457450 h 2784475"/>
              <a:gd name="connsiteX21" fmla="*/ 1009650 w 1768475"/>
              <a:gd name="connsiteY21" fmla="*/ 2463800 h 2784475"/>
              <a:gd name="connsiteX22" fmla="*/ 962025 w 1768475"/>
              <a:gd name="connsiteY22" fmla="*/ 2457450 h 2784475"/>
              <a:gd name="connsiteX23" fmla="*/ 917575 w 1768475"/>
              <a:gd name="connsiteY23" fmla="*/ 2473325 h 2784475"/>
              <a:gd name="connsiteX24" fmla="*/ 850900 w 1768475"/>
              <a:gd name="connsiteY24" fmla="*/ 2466975 h 2784475"/>
              <a:gd name="connsiteX25" fmla="*/ 850900 w 1768475"/>
              <a:gd name="connsiteY25" fmla="*/ 2466975 h 2784475"/>
              <a:gd name="connsiteX26" fmla="*/ 796925 w 1768475"/>
              <a:gd name="connsiteY26" fmla="*/ 2473325 h 2784475"/>
              <a:gd name="connsiteX27" fmla="*/ 809625 w 1768475"/>
              <a:gd name="connsiteY27" fmla="*/ 2447925 h 2784475"/>
              <a:gd name="connsiteX28" fmla="*/ 787400 w 1768475"/>
              <a:gd name="connsiteY28" fmla="*/ 2438400 h 2784475"/>
              <a:gd name="connsiteX29" fmla="*/ 806450 w 1768475"/>
              <a:gd name="connsiteY29" fmla="*/ 2378075 h 2784475"/>
              <a:gd name="connsiteX30" fmla="*/ 781050 w 1768475"/>
              <a:gd name="connsiteY30" fmla="*/ 2324100 h 2784475"/>
              <a:gd name="connsiteX31" fmla="*/ 736600 w 1768475"/>
              <a:gd name="connsiteY31" fmla="*/ 2282825 h 2784475"/>
              <a:gd name="connsiteX32" fmla="*/ 692150 w 1768475"/>
              <a:gd name="connsiteY32" fmla="*/ 2260600 h 2784475"/>
              <a:gd name="connsiteX33" fmla="*/ 647700 w 1768475"/>
              <a:gd name="connsiteY33" fmla="*/ 2324100 h 2784475"/>
              <a:gd name="connsiteX34" fmla="*/ 590550 w 1768475"/>
              <a:gd name="connsiteY34" fmla="*/ 2381250 h 2784475"/>
              <a:gd name="connsiteX35" fmla="*/ 552450 w 1768475"/>
              <a:gd name="connsiteY35" fmla="*/ 2390775 h 2784475"/>
              <a:gd name="connsiteX36" fmla="*/ 508000 w 1768475"/>
              <a:gd name="connsiteY36" fmla="*/ 2368550 h 2784475"/>
              <a:gd name="connsiteX37" fmla="*/ 463550 w 1768475"/>
              <a:gd name="connsiteY37" fmla="*/ 2371725 h 2784475"/>
              <a:gd name="connsiteX38" fmla="*/ 406400 w 1768475"/>
              <a:gd name="connsiteY38" fmla="*/ 2349500 h 2784475"/>
              <a:gd name="connsiteX39" fmla="*/ 365125 w 1768475"/>
              <a:gd name="connsiteY39" fmla="*/ 2355850 h 2784475"/>
              <a:gd name="connsiteX40" fmla="*/ 323850 w 1768475"/>
              <a:gd name="connsiteY40" fmla="*/ 2327275 h 2784475"/>
              <a:gd name="connsiteX41" fmla="*/ 301625 w 1768475"/>
              <a:gd name="connsiteY41" fmla="*/ 2286000 h 2784475"/>
              <a:gd name="connsiteX42" fmla="*/ 250825 w 1768475"/>
              <a:gd name="connsiteY42" fmla="*/ 2257425 h 2784475"/>
              <a:gd name="connsiteX43" fmla="*/ 212725 w 1768475"/>
              <a:gd name="connsiteY43" fmla="*/ 2225675 h 2784475"/>
              <a:gd name="connsiteX44" fmla="*/ 190500 w 1768475"/>
              <a:gd name="connsiteY44" fmla="*/ 2228850 h 2784475"/>
              <a:gd name="connsiteX45" fmla="*/ 171450 w 1768475"/>
              <a:gd name="connsiteY45" fmla="*/ 2200275 h 2784475"/>
              <a:gd name="connsiteX46" fmla="*/ 114300 w 1768475"/>
              <a:gd name="connsiteY46" fmla="*/ 2181225 h 2784475"/>
              <a:gd name="connsiteX47" fmla="*/ 66675 w 1768475"/>
              <a:gd name="connsiteY47" fmla="*/ 2193925 h 2784475"/>
              <a:gd name="connsiteX48" fmla="*/ 0 w 1768475"/>
              <a:gd name="connsiteY48" fmla="*/ 2159000 h 2784475"/>
              <a:gd name="connsiteX49" fmla="*/ 19050 w 1768475"/>
              <a:gd name="connsiteY49" fmla="*/ 2117725 h 2784475"/>
              <a:gd name="connsiteX50" fmla="*/ 19050 w 1768475"/>
              <a:gd name="connsiteY50" fmla="*/ 2079625 h 2784475"/>
              <a:gd name="connsiteX51" fmla="*/ 57150 w 1768475"/>
              <a:gd name="connsiteY51" fmla="*/ 2044700 h 2784475"/>
              <a:gd name="connsiteX52" fmla="*/ 47625 w 1768475"/>
              <a:gd name="connsiteY52" fmla="*/ 1978025 h 2784475"/>
              <a:gd name="connsiteX53" fmla="*/ 82550 w 1768475"/>
              <a:gd name="connsiteY53" fmla="*/ 1958975 h 2784475"/>
              <a:gd name="connsiteX54" fmla="*/ 155575 w 1768475"/>
              <a:gd name="connsiteY54" fmla="*/ 1943100 h 2784475"/>
              <a:gd name="connsiteX55" fmla="*/ 209550 w 1768475"/>
              <a:gd name="connsiteY55" fmla="*/ 1911350 h 2784475"/>
              <a:gd name="connsiteX56" fmla="*/ 247650 w 1768475"/>
              <a:gd name="connsiteY56" fmla="*/ 1927225 h 2784475"/>
              <a:gd name="connsiteX57" fmla="*/ 269875 w 1768475"/>
              <a:gd name="connsiteY57" fmla="*/ 1898650 h 2784475"/>
              <a:gd name="connsiteX58" fmla="*/ 349250 w 1768475"/>
              <a:gd name="connsiteY58" fmla="*/ 1901825 h 2784475"/>
              <a:gd name="connsiteX59" fmla="*/ 330200 w 1768475"/>
              <a:gd name="connsiteY59" fmla="*/ 1860550 h 2784475"/>
              <a:gd name="connsiteX60" fmla="*/ 361950 w 1768475"/>
              <a:gd name="connsiteY60" fmla="*/ 1831975 h 2784475"/>
              <a:gd name="connsiteX61" fmla="*/ 438150 w 1768475"/>
              <a:gd name="connsiteY61" fmla="*/ 1819275 h 2784475"/>
              <a:gd name="connsiteX62" fmla="*/ 466725 w 1768475"/>
              <a:gd name="connsiteY62" fmla="*/ 1755775 h 2784475"/>
              <a:gd name="connsiteX63" fmla="*/ 539750 w 1768475"/>
              <a:gd name="connsiteY63" fmla="*/ 1739900 h 2784475"/>
              <a:gd name="connsiteX64" fmla="*/ 596900 w 1768475"/>
              <a:gd name="connsiteY64" fmla="*/ 1682750 h 2784475"/>
              <a:gd name="connsiteX65" fmla="*/ 635000 w 1768475"/>
              <a:gd name="connsiteY65" fmla="*/ 1616075 h 2784475"/>
              <a:gd name="connsiteX66" fmla="*/ 660400 w 1768475"/>
              <a:gd name="connsiteY66" fmla="*/ 1562100 h 2784475"/>
              <a:gd name="connsiteX67" fmla="*/ 701675 w 1768475"/>
              <a:gd name="connsiteY67" fmla="*/ 1539875 h 2784475"/>
              <a:gd name="connsiteX68" fmla="*/ 717550 w 1768475"/>
              <a:gd name="connsiteY68" fmla="*/ 1495425 h 2784475"/>
              <a:gd name="connsiteX69" fmla="*/ 762000 w 1768475"/>
              <a:gd name="connsiteY69" fmla="*/ 1463675 h 2784475"/>
              <a:gd name="connsiteX70" fmla="*/ 825500 w 1768475"/>
              <a:gd name="connsiteY70" fmla="*/ 1406525 h 2784475"/>
              <a:gd name="connsiteX71" fmla="*/ 860425 w 1768475"/>
              <a:gd name="connsiteY71" fmla="*/ 1390650 h 2784475"/>
              <a:gd name="connsiteX72" fmla="*/ 873125 w 1768475"/>
              <a:gd name="connsiteY72" fmla="*/ 1327150 h 2784475"/>
              <a:gd name="connsiteX73" fmla="*/ 854075 w 1768475"/>
              <a:gd name="connsiteY73" fmla="*/ 1285875 h 2784475"/>
              <a:gd name="connsiteX74" fmla="*/ 879475 w 1768475"/>
              <a:gd name="connsiteY74" fmla="*/ 1260475 h 2784475"/>
              <a:gd name="connsiteX75" fmla="*/ 908050 w 1768475"/>
              <a:gd name="connsiteY75" fmla="*/ 1212850 h 2784475"/>
              <a:gd name="connsiteX76" fmla="*/ 936625 w 1768475"/>
              <a:gd name="connsiteY76" fmla="*/ 1222375 h 2784475"/>
              <a:gd name="connsiteX77" fmla="*/ 1009650 w 1768475"/>
              <a:gd name="connsiteY77" fmla="*/ 1181100 h 2784475"/>
              <a:gd name="connsiteX78" fmla="*/ 1025525 w 1768475"/>
              <a:gd name="connsiteY78" fmla="*/ 1123950 h 2784475"/>
              <a:gd name="connsiteX79" fmla="*/ 1038225 w 1768475"/>
              <a:gd name="connsiteY79" fmla="*/ 1066800 h 2784475"/>
              <a:gd name="connsiteX80" fmla="*/ 1073150 w 1768475"/>
              <a:gd name="connsiteY80" fmla="*/ 1003300 h 2784475"/>
              <a:gd name="connsiteX81" fmla="*/ 1139825 w 1768475"/>
              <a:gd name="connsiteY81" fmla="*/ 965200 h 2784475"/>
              <a:gd name="connsiteX82" fmla="*/ 1177925 w 1768475"/>
              <a:gd name="connsiteY82" fmla="*/ 949325 h 2784475"/>
              <a:gd name="connsiteX83" fmla="*/ 1193800 w 1768475"/>
              <a:gd name="connsiteY83" fmla="*/ 911225 h 2784475"/>
              <a:gd name="connsiteX84" fmla="*/ 1203325 w 1768475"/>
              <a:gd name="connsiteY84" fmla="*/ 873125 h 2784475"/>
              <a:gd name="connsiteX85" fmla="*/ 1254125 w 1768475"/>
              <a:gd name="connsiteY85" fmla="*/ 841375 h 2784475"/>
              <a:gd name="connsiteX86" fmla="*/ 1250950 w 1768475"/>
              <a:gd name="connsiteY86" fmla="*/ 796925 h 2784475"/>
              <a:gd name="connsiteX87" fmla="*/ 1292225 w 1768475"/>
              <a:gd name="connsiteY87" fmla="*/ 742950 h 2784475"/>
              <a:gd name="connsiteX88" fmla="*/ 1320800 w 1768475"/>
              <a:gd name="connsiteY88" fmla="*/ 692150 h 2784475"/>
              <a:gd name="connsiteX89" fmla="*/ 1292225 w 1768475"/>
              <a:gd name="connsiteY89" fmla="*/ 625475 h 2784475"/>
              <a:gd name="connsiteX90" fmla="*/ 1270000 w 1768475"/>
              <a:gd name="connsiteY90" fmla="*/ 577850 h 2784475"/>
              <a:gd name="connsiteX91" fmla="*/ 1295400 w 1768475"/>
              <a:gd name="connsiteY91" fmla="*/ 520700 h 2784475"/>
              <a:gd name="connsiteX92" fmla="*/ 1285875 w 1768475"/>
              <a:gd name="connsiteY92" fmla="*/ 463550 h 2784475"/>
              <a:gd name="connsiteX93" fmla="*/ 1298575 w 1768475"/>
              <a:gd name="connsiteY93" fmla="*/ 396875 h 2784475"/>
              <a:gd name="connsiteX94" fmla="*/ 1330325 w 1768475"/>
              <a:gd name="connsiteY94" fmla="*/ 320675 h 2784475"/>
              <a:gd name="connsiteX95" fmla="*/ 1371600 w 1768475"/>
              <a:gd name="connsiteY95" fmla="*/ 282575 h 2784475"/>
              <a:gd name="connsiteX96" fmla="*/ 1473200 w 1768475"/>
              <a:gd name="connsiteY96" fmla="*/ 247650 h 2784475"/>
              <a:gd name="connsiteX97" fmla="*/ 1504950 w 1768475"/>
              <a:gd name="connsiteY97" fmla="*/ 177800 h 2784475"/>
              <a:gd name="connsiteX98" fmla="*/ 1546225 w 1768475"/>
              <a:gd name="connsiteY98" fmla="*/ 136525 h 2784475"/>
              <a:gd name="connsiteX99" fmla="*/ 1565275 w 1768475"/>
              <a:gd name="connsiteY99" fmla="*/ 79375 h 2784475"/>
              <a:gd name="connsiteX100" fmla="*/ 1612900 w 1768475"/>
              <a:gd name="connsiteY100" fmla="*/ 0 h 2784475"/>
              <a:gd name="connsiteX0" fmla="*/ 1768475 w 1768475"/>
              <a:gd name="connsiteY0" fmla="*/ 2705100 h 2705100"/>
              <a:gd name="connsiteX1" fmla="*/ 1752600 w 1768475"/>
              <a:gd name="connsiteY1" fmla="*/ 2647950 h 2705100"/>
              <a:gd name="connsiteX2" fmla="*/ 1720850 w 1768475"/>
              <a:gd name="connsiteY2" fmla="*/ 2603500 h 2705100"/>
              <a:gd name="connsiteX3" fmla="*/ 1682750 w 1768475"/>
              <a:gd name="connsiteY3" fmla="*/ 2590800 h 2705100"/>
              <a:gd name="connsiteX4" fmla="*/ 1628775 w 1768475"/>
              <a:gd name="connsiteY4" fmla="*/ 2593975 h 2705100"/>
              <a:gd name="connsiteX5" fmla="*/ 1587500 w 1768475"/>
              <a:gd name="connsiteY5" fmla="*/ 2590800 h 2705100"/>
              <a:gd name="connsiteX6" fmla="*/ 1552575 w 1768475"/>
              <a:gd name="connsiteY6" fmla="*/ 2571750 h 2705100"/>
              <a:gd name="connsiteX7" fmla="*/ 1524000 w 1768475"/>
              <a:gd name="connsiteY7" fmla="*/ 2584450 h 2705100"/>
              <a:gd name="connsiteX8" fmla="*/ 1473200 w 1768475"/>
              <a:gd name="connsiteY8" fmla="*/ 2571750 h 2705100"/>
              <a:gd name="connsiteX9" fmla="*/ 1438275 w 1768475"/>
              <a:gd name="connsiteY9" fmla="*/ 2559050 h 2705100"/>
              <a:gd name="connsiteX10" fmla="*/ 1422400 w 1768475"/>
              <a:gd name="connsiteY10" fmla="*/ 2552700 h 2705100"/>
              <a:gd name="connsiteX11" fmla="*/ 1362075 w 1768475"/>
              <a:gd name="connsiteY11" fmla="*/ 2559050 h 2705100"/>
              <a:gd name="connsiteX12" fmla="*/ 1308100 w 1768475"/>
              <a:gd name="connsiteY12" fmla="*/ 2514600 h 2705100"/>
              <a:gd name="connsiteX13" fmla="*/ 1276350 w 1768475"/>
              <a:gd name="connsiteY13" fmla="*/ 2492375 h 2705100"/>
              <a:gd name="connsiteX14" fmla="*/ 1241425 w 1768475"/>
              <a:gd name="connsiteY14" fmla="*/ 2479675 h 2705100"/>
              <a:gd name="connsiteX15" fmla="*/ 1216025 w 1768475"/>
              <a:gd name="connsiteY15" fmla="*/ 2444750 h 2705100"/>
              <a:gd name="connsiteX16" fmla="*/ 1168400 w 1768475"/>
              <a:gd name="connsiteY16" fmla="*/ 2432050 h 2705100"/>
              <a:gd name="connsiteX17" fmla="*/ 1130300 w 1768475"/>
              <a:gd name="connsiteY17" fmla="*/ 2409825 h 2705100"/>
              <a:gd name="connsiteX18" fmla="*/ 1095375 w 1768475"/>
              <a:gd name="connsiteY18" fmla="*/ 2413000 h 2705100"/>
              <a:gd name="connsiteX19" fmla="*/ 1079500 w 1768475"/>
              <a:gd name="connsiteY19" fmla="*/ 2390775 h 2705100"/>
              <a:gd name="connsiteX20" fmla="*/ 1035050 w 1768475"/>
              <a:gd name="connsiteY20" fmla="*/ 2378075 h 2705100"/>
              <a:gd name="connsiteX21" fmla="*/ 1009650 w 1768475"/>
              <a:gd name="connsiteY21" fmla="*/ 2384425 h 2705100"/>
              <a:gd name="connsiteX22" fmla="*/ 962025 w 1768475"/>
              <a:gd name="connsiteY22" fmla="*/ 2378075 h 2705100"/>
              <a:gd name="connsiteX23" fmla="*/ 917575 w 1768475"/>
              <a:gd name="connsiteY23" fmla="*/ 2393950 h 2705100"/>
              <a:gd name="connsiteX24" fmla="*/ 850900 w 1768475"/>
              <a:gd name="connsiteY24" fmla="*/ 2387600 h 2705100"/>
              <a:gd name="connsiteX25" fmla="*/ 850900 w 1768475"/>
              <a:gd name="connsiteY25" fmla="*/ 2387600 h 2705100"/>
              <a:gd name="connsiteX26" fmla="*/ 796925 w 1768475"/>
              <a:gd name="connsiteY26" fmla="*/ 2393950 h 2705100"/>
              <a:gd name="connsiteX27" fmla="*/ 809625 w 1768475"/>
              <a:gd name="connsiteY27" fmla="*/ 2368550 h 2705100"/>
              <a:gd name="connsiteX28" fmla="*/ 787400 w 1768475"/>
              <a:gd name="connsiteY28" fmla="*/ 2359025 h 2705100"/>
              <a:gd name="connsiteX29" fmla="*/ 806450 w 1768475"/>
              <a:gd name="connsiteY29" fmla="*/ 2298700 h 2705100"/>
              <a:gd name="connsiteX30" fmla="*/ 781050 w 1768475"/>
              <a:gd name="connsiteY30" fmla="*/ 2244725 h 2705100"/>
              <a:gd name="connsiteX31" fmla="*/ 736600 w 1768475"/>
              <a:gd name="connsiteY31" fmla="*/ 2203450 h 2705100"/>
              <a:gd name="connsiteX32" fmla="*/ 692150 w 1768475"/>
              <a:gd name="connsiteY32" fmla="*/ 2181225 h 2705100"/>
              <a:gd name="connsiteX33" fmla="*/ 647700 w 1768475"/>
              <a:gd name="connsiteY33" fmla="*/ 2244725 h 2705100"/>
              <a:gd name="connsiteX34" fmla="*/ 590550 w 1768475"/>
              <a:gd name="connsiteY34" fmla="*/ 2301875 h 2705100"/>
              <a:gd name="connsiteX35" fmla="*/ 552450 w 1768475"/>
              <a:gd name="connsiteY35" fmla="*/ 2311400 h 2705100"/>
              <a:gd name="connsiteX36" fmla="*/ 508000 w 1768475"/>
              <a:gd name="connsiteY36" fmla="*/ 2289175 h 2705100"/>
              <a:gd name="connsiteX37" fmla="*/ 463550 w 1768475"/>
              <a:gd name="connsiteY37" fmla="*/ 2292350 h 2705100"/>
              <a:gd name="connsiteX38" fmla="*/ 406400 w 1768475"/>
              <a:gd name="connsiteY38" fmla="*/ 2270125 h 2705100"/>
              <a:gd name="connsiteX39" fmla="*/ 365125 w 1768475"/>
              <a:gd name="connsiteY39" fmla="*/ 2276475 h 2705100"/>
              <a:gd name="connsiteX40" fmla="*/ 323850 w 1768475"/>
              <a:gd name="connsiteY40" fmla="*/ 2247900 h 2705100"/>
              <a:gd name="connsiteX41" fmla="*/ 301625 w 1768475"/>
              <a:gd name="connsiteY41" fmla="*/ 2206625 h 2705100"/>
              <a:gd name="connsiteX42" fmla="*/ 250825 w 1768475"/>
              <a:gd name="connsiteY42" fmla="*/ 2178050 h 2705100"/>
              <a:gd name="connsiteX43" fmla="*/ 212725 w 1768475"/>
              <a:gd name="connsiteY43" fmla="*/ 2146300 h 2705100"/>
              <a:gd name="connsiteX44" fmla="*/ 190500 w 1768475"/>
              <a:gd name="connsiteY44" fmla="*/ 2149475 h 2705100"/>
              <a:gd name="connsiteX45" fmla="*/ 171450 w 1768475"/>
              <a:gd name="connsiteY45" fmla="*/ 2120900 h 2705100"/>
              <a:gd name="connsiteX46" fmla="*/ 114300 w 1768475"/>
              <a:gd name="connsiteY46" fmla="*/ 2101850 h 2705100"/>
              <a:gd name="connsiteX47" fmla="*/ 66675 w 1768475"/>
              <a:gd name="connsiteY47" fmla="*/ 2114550 h 2705100"/>
              <a:gd name="connsiteX48" fmla="*/ 0 w 1768475"/>
              <a:gd name="connsiteY48" fmla="*/ 2079625 h 2705100"/>
              <a:gd name="connsiteX49" fmla="*/ 19050 w 1768475"/>
              <a:gd name="connsiteY49" fmla="*/ 2038350 h 2705100"/>
              <a:gd name="connsiteX50" fmla="*/ 19050 w 1768475"/>
              <a:gd name="connsiteY50" fmla="*/ 2000250 h 2705100"/>
              <a:gd name="connsiteX51" fmla="*/ 57150 w 1768475"/>
              <a:gd name="connsiteY51" fmla="*/ 1965325 h 2705100"/>
              <a:gd name="connsiteX52" fmla="*/ 47625 w 1768475"/>
              <a:gd name="connsiteY52" fmla="*/ 1898650 h 2705100"/>
              <a:gd name="connsiteX53" fmla="*/ 82550 w 1768475"/>
              <a:gd name="connsiteY53" fmla="*/ 1879600 h 2705100"/>
              <a:gd name="connsiteX54" fmla="*/ 155575 w 1768475"/>
              <a:gd name="connsiteY54" fmla="*/ 1863725 h 2705100"/>
              <a:gd name="connsiteX55" fmla="*/ 209550 w 1768475"/>
              <a:gd name="connsiteY55" fmla="*/ 1831975 h 2705100"/>
              <a:gd name="connsiteX56" fmla="*/ 247650 w 1768475"/>
              <a:gd name="connsiteY56" fmla="*/ 1847850 h 2705100"/>
              <a:gd name="connsiteX57" fmla="*/ 269875 w 1768475"/>
              <a:gd name="connsiteY57" fmla="*/ 1819275 h 2705100"/>
              <a:gd name="connsiteX58" fmla="*/ 349250 w 1768475"/>
              <a:gd name="connsiteY58" fmla="*/ 1822450 h 2705100"/>
              <a:gd name="connsiteX59" fmla="*/ 330200 w 1768475"/>
              <a:gd name="connsiteY59" fmla="*/ 1781175 h 2705100"/>
              <a:gd name="connsiteX60" fmla="*/ 361950 w 1768475"/>
              <a:gd name="connsiteY60" fmla="*/ 1752600 h 2705100"/>
              <a:gd name="connsiteX61" fmla="*/ 438150 w 1768475"/>
              <a:gd name="connsiteY61" fmla="*/ 1739900 h 2705100"/>
              <a:gd name="connsiteX62" fmla="*/ 466725 w 1768475"/>
              <a:gd name="connsiteY62" fmla="*/ 1676400 h 2705100"/>
              <a:gd name="connsiteX63" fmla="*/ 539750 w 1768475"/>
              <a:gd name="connsiteY63" fmla="*/ 1660525 h 2705100"/>
              <a:gd name="connsiteX64" fmla="*/ 596900 w 1768475"/>
              <a:gd name="connsiteY64" fmla="*/ 1603375 h 2705100"/>
              <a:gd name="connsiteX65" fmla="*/ 635000 w 1768475"/>
              <a:gd name="connsiteY65" fmla="*/ 1536700 h 2705100"/>
              <a:gd name="connsiteX66" fmla="*/ 660400 w 1768475"/>
              <a:gd name="connsiteY66" fmla="*/ 1482725 h 2705100"/>
              <a:gd name="connsiteX67" fmla="*/ 701675 w 1768475"/>
              <a:gd name="connsiteY67" fmla="*/ 1460500 h 2705100"/>
              <a:gd name="connsiteX68" fmla="*/ 717550 w 1768475"/>
              <a:gd name="connsiteY68" fmla="*/ 1416050 h 2705100"/>
              <a:gd name="connsiteX69" fmla="*/ 762000 w 1768475"/>
              <a:gd name="connsiteY69" fmla="*/ 1384300 h 2705100"/>
              <a:gd name="connsiteX70" fmla="*/ 825500 w 1768475"/>
              <a:gd name="connsiteY70" fmla="*/ 1327150 h 2705100"/>
              <a:gd name="connsiteX71" fmla="*/ 860425 w 1768475"/>
              <a:gd name="connsiteY71" fmla="*/ 1311275 h 2705100"/>
              <a:gd name="connsiteX72" fmla="*/ 873125 w 1768475"/>
              <a:gd name="connsiteY72" fmla="*/ 1247775 h 2705100"/>
              <a:gd name="connsiteX73" fmla="*/ 854075 w 1768475"/>
              <a:gd name="connsiteY73" fmla="*/ 1206500 h 2705100"/>
              <a:gd name="connsiteX74" fmla="*/ 879475 w 1768475"/>
              <a:gd name="connsiteY74" fmla="*/ 1181100 h 2705100"/>
              <a:gd name="connsiteX75" fmla="*/ 908050 w 1768475"/>
              <a:gd name="connsiteY75" fmla="*/ 1133475 h 2705100"/>
              <a:gd name="connsiteX76" fmla="*/ 936625 w 1768475"/>
              <a:gd name="connsiteY76" fmla="*/ 1143000 h 2705100"/>
              <a:gd name="connsiteX77" fmla="*/ 1009650 w 1768475"/>
              <a:gd name="connsiteY77" fmla="*/ 1101725 h 2705100"/>
              <a:gd name="connsiteX78" fmla="*/ 1025525 w 1768475"/>
              <a:gd name="connsiteY78" fmla="*/ 1044575 h 2705100"/>
              <a:gd name="connsiteX79" fmla="*/ 1038225 w 1768475"/>
              <a:gd name="connsiteY79" fmla="*/ 987425 h 2705100"/>
              <a:gd name="connsiteX80" fmla="*/ 1073150 w 1768475"/>
              <a:gd name="connsiteY80" fmla="*/ 923925 h 2705100"/>
              <a:gd name="connsiteX81" fmla="*/ 1139825 w 1768475"/>
              <a:gd name="connsiteY81" fmla="*/ 885825 h 2705100"/>
              <a:gd name="connsiteX82" fmla="*/ 1177925 w 1768475"/>
              <a:gd name="connsiteY82" fmla="*/ 869950 h 2705100"/>
              <a:gd name="connsiteX83" fmla="*/ 1193800 w 1768475"/>
              <a:gd name="connsiteY83" fmla="*/ 831850 h 2705100"/>
              <a:gd name="connsiteX84" fmla="*/ 1203325 w 1768475"/>
              <a:gd name="connsiteY84" fmla="*/ 793750 h 2705100"/>
              <a:gd name="connsiteX85" fmla="*/ 1254125 w 1768475"/>
              <a:gd name="connsiteY85" fmla="*/ 762000 h 2705100"/>
              <a:gd name="connsiteX86" fmla="*/ 1250950 w 1768475"/>
              <a:gd name="connsiteY86" fmla="*/ 717550 h 2705100"/>
              <a:gd name="connsiteX87" fmla="*/ 1292225 w 1768475"/>
              <a:gd name="connsiteY87" fmla="*/ 663575 h 2705100"/>
              <a:gd name="connsiteX88" fmla="*/ 1320800 w 1768475"/>
              <a:gd name="connsiteY88" fmla="*/ 612775 h 2705100"/>
              <a:gd name="connsiteX89" fmla="*/ 1292225 w 1768475"/>
              <a:gd name="connsiteY89" fmla="*/ 546100 h 2705100"/>
              <a:gd name="connsiteX90" fmla="*/ 1270000 w 1768475"/>
              <a:gd name="connsiteY90" fmla="*/ 498475 h 2705100"/>
              <a:gd name="connsiteX91" fmla="*/ 1295400 w 1768475"/>
              <a:gd name="connsiteY91" fmla="*/ 441325 h 2705100"/>
              <a:gd name="connsiteX92" fmla="*/ 1285875 w 1768475"/>
              <a:gd name="connsiteY92" fmla="*/ 384175 h 2705100"/>
              <a:gd name="connsiteX93" fmla="*/ 1298575 w 1768475"/>
              <a:gd name="connsiteY93" fmla="*/ 317500 h 2705100"/>
              <a:gd name="connsiteX94" fmla="*/ 1330325 w 1768475"/>
              <a:gd name="connsiteY94" fmla="*/ 241300 h 2705100"/>
              <a:gd name="connsiteX95" fmla="*/ 1371600 w 1768475"/>
              <a:gd name="connsiteY95" fmla="*/ 203200 h 2705100"/>
              <a:gd name="connsiteX96" fmla="*/ 1473200 w 1768475"/>
              <a:gd name="connsiteY96" fmla="*/ 168275 h 2705100"/>
              <a:gd name="connsiteX97" fmla="*/ 1504950 w 1768475"/>
              <a:gd name="connsiteY97" fmla="*/ 98425 h 2705100"/>
              <a:gd name="connsiteX98" fmla="*/ 1546225 w 1768475"/>
              <a:gd name="connsiteY98" fmla="*/ 57150 h 2705100"/>
              <a:gd name="connsiteX99" fmla="*/ 1565275 w 1768475"/>
              <a:gd name="connsiteY99" fmla="*/ 0 h 2705100"/>
              <a:gd name="connsiteX0" fmla="*/ 1768475 w 1768475"/>
              <a:gd name="connsiteY0" fmla="*/ 2647950 h 2647950"/>
              <a:gd name="connsiteX1" fmla="*/ 1752600 w 1768475"/>
              <a:gd name="connsiteY1" fmla="*/ 2590800 h 2647950"/>
              <a:gd name="connsiteX2" fmla="*/ 1720850 w 1768475"/>
              <a:gd name="connsiteY2" fmla="*/ 2546350 h 2647950"/>
              <a:gd name="connsiteX3" fmla="*/ 1682750 w 1768475"/>
              <a:gd name="connsiteY3" fmla="*/ 2533650 h 2647950"/>
              <a:gd name="connsiteX4" fmla="*/ 1628775 w 1768475"/>
              <a:gd name="connsiteY4" fmla="*/ 2536825 h 2647950"/>
              <a:gd name="connsiteX5" fmla="*/ 1587500 w 1768475"/>
              <a:gd name="connsiteY5" fmla="*/ 2533650 h 2647950"/>
              <a:gd name="connsiteX6" fmla="*/ 1552575 w 1768475"/>
              <a:gd name="connsiteY6" fmla="*/ 2514600 h 2647950"/>
              <a:gd name="connsiteX7" fmla="*/ 1524000 w 1768475"/>
              <a:gd name="connsiteY7" fmla="*/ 2527300 h 2647950"/>
              <a:gd name="connsiteX8" fmla="*/ 1473200 w 1768475"/>
              <a:gd name="connsiteY8" fmla="*/ 2514600 h 2647950"/>
              <a:gd name="connsiteX9" fmla="*/ 1438275 w 1768475"/>
              <a:gd name="connsiteY9" fmla="*/ 2501900 h 2647950"/>
              <a:gd name="connsiteX10" fmla="*/ 1422400 w 1768475"/>
              <a:gd name="connsiteY10" fmla="*/ 2495550 h 2647950"/>
              <a:gd name="connsiteX11" fmla="*/ 1362075 w 1768475"/>
              <a:gd name="connsiteY11" fmla="*/ 2501900 h 2647950"/>
              <a:gd name="connsiteX12" fmla="*/ 1308100 w 1768475"/>
              <a:gd name="connsiteY12" fmla="*/ 2457450 h 2647950"/>
              <a:gd name="connsiteX13" fmla="*/ 1276350 w 1768475"/>
              <a:gd name="connsiteY13" fmla="*/ 2435225 h 2647950"/>
              <a:gd name="connsiteX14" fmla="*/ 1241425 w 1768475"/>
              <a:gd name="connsiteY14" fmla="*/ 2422525 h 2647950"/>
              <a:gd name="connsiteX15" fmla="*/ 1216025 w 1768475"/>
              <a:gd name="connsiteY15" fmla="*/ 2387600 h 2647950"/>
              <a:gd name="connsiteX16" fmla="*/ 1168400 w 1768475"/>
              <a:gd name="connsiteY16" fmla="*/ 2374900 h 2647950"/>
              <a:gd name="connsiteX17" fmla="*/ 1130300 w 1768475"/>
              <a:gd name="connsiteY17" fmla="*/ 2352675 h 2647950"/>
              <a:gd name="connsiteX18" fmla="*/ 1095375 w 1768475"/>
              <a:gd name="connsiteY18" fmla="*/ 2355850 h 2647950"/>
              <a:gd name="connsiteX19" fmla="*/ 1079500 w 1768475"/>
              <a:gd name="connsiteY19" fmla="*/ 2333625 h 2647950"/>
              <a:gd name="connsiteX20" fmla="*/ 1035050 w 1768475"/>
              <a:gd name="connsiteY20" fmla="*/ 2320925 h 2647950"/>
              <a:gd name="connsiteX21" fmla="*/ 1009650 w 1768475"/>
              <a:gd name="connsiteY21" fmla="*/ 2327275 h 2647950"/>
              <a:gd name="connsiteX22" fmla="*/ 962025 w 1768475"/>
              <a:gd name="connsiteY22" fmla="*/ 2320925 h 2647950"/>
              <a:gd name="connsiteX23" fmla="*/ 917575 w 1768475"/>
              <a:gd name="connsiteY23" fmla="*/ 2336800 h 2647950"/>
              <a:gd name="connsiteX24" fmla="*/ 850900 w 1768475"/>
              <a:gd name="connsiteY24" fmla="*/ 2330450 h 2647950"/>
              <a:gd name="connsiteX25" fmla="*/ 850900 w 1768475"/>
              <a:gd name="connsiteY25" fmla="*/ 2330450 h 2647950"/>
              <a:gd name="connsiteX26" fmla="*/ 796925 w 1768475"/>
              <a:gd name="connsiteY26" fmla="*/ 2336800 h 2647950"/>
              <a:gd name="connsiteX27" fmla="*/ 809625 w 1768475"/>
              <a:gd name="connsiteY27" fmla="*/ 2311400 h 2647950"/>
              <a:gd name="connsiteX28" fmla="*/ 787400 w 1768475"/>
              <a:gd name="connsiteY28" fmla="*/ 2301875 h 2647950"/>
              <a:gd name="connsiteX29" fmla="*/ 806450 w 1768475"/>
              <a:gd name="connsiteY29" fmla="*/ 2241550 h 2647950"/>
              <a:gd name="connsiteX30" fmla="*/ 781050 w 1768475"/>
              <a:gd name="connsiteY30" fmla="*/ 2187575 h 2647950"/>
              <a:gd name="connsiteX31" fmla="*/ 736600 w 1768475"/>
              <a:gd name="connsiteY31" fmla="*/ 2146300 h 2647950"/>
              <a:gd name="connsiteX32" fmla="*/ 692150 w 1768475"/>
              <a:gd name="connsiteY32" fmla="*/ 2124075 h 2647950"/>
              <a:gd name="connsiteX33" fmla="*/ 647700 w 1768475"/>
              <a:gd name="connsiteY33" fmla="*/ 2187575 h 2647950"/>
              <a:gd name="connsiteX34" fmla="*/ 590550 w 1768475"/>
              <a:gd name="connsiteY34" fmla="*/ 2244725 h 2647950"/>
              <a:gd name="connsiteX35" fmla="*/ 552450 w 1768475"/>
              <a:gd name="connsiteY35" fmla="*/ 2254250 h 2647950"/>
              <a:gd name="connsiteX36" fmla="*/ 508000 w 1768475"/>
              <a:gd name="connsiteY36" fmla="*/ 2232025 h 2647950"/>
              <a:gd name="connsiteX37" fmla="*/ 463550 w 1768475"/>
              <a:gd name="connsiteY37" fmla="*/ 2235200 h 2647950"/>
              <a:gd name="connsiteX38" fmla="*/ 406400 w 1768475"/>
              <a:gd name="connsiteY38" fmla="*/ 2212975 h 2647950"/>
              <a:gd name="connsiteX39" fmla="*/ 365125 w 1768475"/>
              <a:gd name="connsiteY39" fmla="*/ 2219325 h 2647950"/>
              <a:gd name="connsiteX40" fmla="*/ 323850 w 1768475"/>
              <a:gd name="connsiteY40" fmla="*/ 2190750 h 2647950"/>
              <a:gd name="connsiteX41" fmla="*/ 301625 w 1768475"/>
              <a:gd name="connsiteY41" fmla="*/ 2149475 h 2647950"/>
              <a:gd name="connsiteX42" fmla="*/ 250825 w 1768475"/>
              <a:gd name="connsiteY42" fmla="*/ 2120900 h 2647950"/>
              <a:gd name="connsiteX43" fmla="*/ 212725 w 1768475"/>
              <a:gd name="connsiteY43" fmla="*/ 2089150 h 2647950"/>
              <a:gd name="connsiteX44" fmla="*/ 190500 w 1768475"/>
              <a:gd name="connsiteY44" fmla="*/ 2092325 h 2647950"/>
              <a:gd name="connsiteX45" fmla="*/ 171450 w 1768475"/>
              <a:gd name="connsiteY45" fmla="*/ 2063750 h 2647950"/>
              <a:gd name="connsiteX46" fmla="*/ 114300 w 1768475"/>
              <a:gd name="connsiteY46" fmla="*/ 2044700 h 2647950"/>
              <a:gd name="connsiteX47" fmla="*/ 66675 w 1768475"/>
              <a:gd name="connsiteY47" fmla="*/ 2057400 h 2647950"/>
              <a:gd name="connsiteX48" fmla="*/ 0 w 1768475"/>
              <a:gd name="connsiteY48" fmla="*/ 2022475 h 2647950"/>
              <a:gd name="connsiteX49" fmla="*/ 19050 w 1768475"/>
              <a:gd name="connsiteY49" fmla="*/ 1981200 h 2647950"/>
              <a:gd name="connsiteX50" fmla="*/ 19050 w 1768475"/>
              <a:gd name="connsiteY50" fmla="*/ 1943100 h 2647950"/>
              <a:gd name="connsiteX51" fmla="*/ 57150 w 1768475"/>
              <a:gd name="connsiteY51" fmla="*/ 1908175 h 2647950"/>
              <a:gd name="connsiteX52" fmla="*/ 47625 w 1768475"/>
              <a:gd name="connsiteY52" fmla="*/ 1841500 h 2647950"/>
              <a:gd name="connsiteX53" fmla="*/ 82550 w 1768475"/>
              <a:gd name="connsiteY53" fmla="*/ 1822450 h 2647950"/>
              <a:gd name="connsiteX54" fmla="*/ 155575 w 1768475"/>
              <a:gd name="connsiteY54" fmla="*/ 1806575 h 2647950"/>
              <a:gd name="connsiteX55" fmla="*/ 209550 w 1768475"/>
              <a:gd name="connsiteY55" fmla="*/ 1774825 h 2647950"/>
              <a:gd name="connsiteX56" fmla="*/ 247650 w 1768475"/>
              <a:gd name="connsiteY56" fmla="*/ 1790700 h 2647950"/>
              <a:gd name="connsiteX57" fmla="*/ 269875 w 1768475"/>
              <a:gd name="connsiteY57" fmla="*/ 1762125 h 2647950"/>
              <a:gd name="connsiteX58" fmla="*/ 349250 w 1768475"/>
              <a:gd name="connsiteY58" fmla="*/ 1765300 h 2647950"/>
              <a:gd name="connsiteX59" fmla="*/ 330200 w 1768475"/>
              <a:gd name="connsiteY59" fmla="*/ 1724025 h 2647950"/>
              <a:gd name="connsiteX60" fmla="*/ 361950 w 1768475"/>
              <a:gd name="connsiteY60" fmla="*/ 1695450 h 2647950"/>
              <a:gd name="connsiteX61" fmla="*/ 438150 w 1768475"/>
              <a:gd name="connsiteY61" fmla="*/ 1682750 h 2647950"/>
              <a:gd name="connsiteX62" fmla="*/ 466725 w 1768475"/>
              <a:gd name="connsiteY62" fmla="*/ 1619250 h 2647950"/>
              <a:gd name="connsiteX63" fmla="*/ 539750 w 1768475"/>
              <a:gd name="connsiteY63" fmla="*/ 1603375 h 2647950"/>
              <a:gd name="connsiteX64" fmla="*/ 596900 w 1768475"/>
              <a:gd name="connsiteY64" fmla="*/ 1546225 h 2647950"/>
              <a:gd name="connsiteX65" fmla="*/ 635000 w 1768475"/>
              <a:gd name="connsiteY65" fmla="*/ 1479550 h 2647950"/>
              <a:gd name="connsiteX66" fmla="*/ 660400 w 1768475"/>
              <a:gd name="connsiteY66" fmla="*/ 1425575 h 2647950"/>
              <a:gd name="connsiteX67" fmla="*/ 701675 w 1768475"/>
              <a:gd name="connsiteY67" fmla="*/ 1403350 h 2647950"/>
              <a:gd name="connsiteX68" fmla="*/ 717550 w 1768475"/>
              <a:gd name="connsiteY68" fmla="*/ 1358900 h 2647950"/>
              <a:gd name="connsiteX69" fmla="*/ 762000 w 1768475"/>
              <a:gd name="connsiteY69" fmla="*/ 1327150 h 2647950"/>
              <a:gd name="connsiteX70" fmla="*/ 825500 w 1768475"/>
              <a:gd name="connsiteY70" fmla="*/ 1270000 h 2647950"/>
              <a:gd name="connsiteX71" fmla="*/ 860425 w 1768475"/>
              <a:gd name="connsiteY71" fmla="*/ 1254125 h 2647950"/>
              <a:gd name="connsiteX72" fmla="*/ 873125 w 1768475"/>
              <a:gd name="connsiteY72" fmla="*/ 1190625 h 2647950"/>
              <a:gd name="connsiteX73" fmla="*/ 854075 w 1768475"/>
              <a:gd name="connsiteY73" fmla="*/ 1149350 h 2647950"/>
              <a:gd name="connsiteX74" fmla="*/ 879475 w 1768475"/>
              <a:gd name="connsiteY74" fmla="*/ 1123950 h 2647950"/>
              <a:gd name="connsiteX75" fmla="*/ 908050 w 1768475"/>
              <a:gd name="connsiteY75" fmla="*/ 1076325 h 2647950"/>
              <a:gd name="connsiteX76" fmla="*/ 936625 w 1768475"/>
              <a:gd name="connsiteY76" fmla="*/ 1085850 h 2647950"/>
              <a:gd name="connsiteX77" fmla="*/ 1009650 w 1768475"/>
              <a:gd name="connsiteY77" fmla="*/ 1044575 h 2647950"/>
              <a:gd name="connsiteX78" fmla="*/ 1025525 w 1768475"/>
              <a:gd name="connsiteY78" fmla="*/ 987425 h 2647950"/>
              <a:gd name="connsiteX79" fmla="*/ 1038225 w 1768475"/>
              <a:gd name="connsiteY79" fmla="*/ 930275 h 2647950"/>
              <a:gd name="connsiteX80" fmla="*/ 1073150 w 1768475"/>
              <a:gd name="connsiteY80" fmla="*/ 866775 h 2647950"/>
              <a:gd name="connsiteX81" fmla="*/ 1139825 w 1768475"/>
              <a:gd name="connsiteY81" fmla="*/ 828675 h 2647950"/>
              <a:gd name="connsiteX82" fmla="*/ 1177925 w 1768475"/>
              <a:gd name="connsiteY82" fmla="*/ 812800 h 2647950"/>
              <a:gd name="connsiteX83" fmla="*/ 1193800 w 1768475"/>
              <a:gd name="connsiteY83" fmla="*/ 774700 h 2647950"/>
              <a:gd name="connsiteX84" fmla="*/ 1203325 w 1768475"/>
              <a:gd name="connsiteY84" fmla="*/ 736600 h 2647950"/>
              <a:gd name="connsiteX85" fmla="*/ 1254125 w 1768475"/>
              <a:gd name="connsiteY85" fmla="*/ 704850 h 2647950"/>
              <a:gd name="connsiteX86" fmla="*/ 1250950 w 1768475"/>
              <a:gd name="connsiteY86" fmla="*/ 660400 h 2647950"/>
              <a:gd name="connsiteX87" fmla="*/ 1292225 w 1768475"/>
              <a:gd name="connsiteY87" fmla="*/ 606425 h 2647950"/>
              <a:gd name="connsiteX88" fmla="*/ 1320800 w 1768475"/>
              <a:gd name="connsiteY88" fmla="*/ 555625 h 2647950"/>
              <a:gd name="connsiteX89" fmla="*/ 1292225 w 1768475"/>
              <a:gd name="connsiteY89" fmla="*/ 488950 h 2647950"/>
              <a:gd name="connsiteX90" fmla="*/ 1270000 w 1768475"/>
              <a:gd name="connsiteY90" fmla="*/ 441325 h 2647950"/>
              <a:gd name="connsiteX91" fmla="*/ 1295400 w 1768475"/>
              <a:gd name="connsiteY91" fmla="*/ 384175 h 2647950"/>
              <a:gd name="connsiteX92" fmla="*/ 1285875 w 1768475"/>
              <a:gd name="connsiteY92" fmla="*/ 327025 h 2647950"/>
              <a:gd name="connsiteX93" fmla="*/ 1298575 w 1768475"/>
              <a:gd name="connsiteY93" fmla="*/ 260350 h 2647950"/>
              <a:gd name="connsiteX94" fmla="*/ 1330325 w 1768475"/>
              <a:gd name="connsiteY94" fmla="*/ 184150 h 2647950"/>
              <a:gd name="connsiteX95" fmla="*/ 1371600 w 1768475"/>
              <a:gd name="connsiteY95" fmla="*/ 146050 h 2647950"/>
              <a:gd name="connsiteX96" fmla="*/ 1473200 w 1768475"/>
              <a:gd name="connsiteY96" fmla="*/ 111125 h 2647950"/>
              <a:gd name="connsiteX97" fmla="*/ 1504950 w 1768475"/>
              <a:gd name="connsiteY97" fmla="*/ 41275 h 2647950"/>
              <a:gd name="connsiteX98" fmla="*/ 1546225 w 1768475"/>
              <a:gd name="connsiteY98" fmla="*/ 0 h 2647950"/>
              <a:gd name="connsiteX0" fmla="*/ 1768475 w 1768475"/>
              <a:gd name="connsiteY0" fmla="*/ 2647950 h 2647950"/>
              <a:gd name="connsiteX1" fmla="*/ 1752600 w 1768475"/>
              <a:gd name="connsiteY1" fmla="*/ 2590800 h 2647950"/>
              <a:gd name="connsiteX2" fmla="*/ 1720850 w 1768475"/>
              <a:gd name="connsiteY2" fmla="*/ 2546350 h 2647950"/>
              <a:gd name="connsiteX3" fmla="*/ 1682750 w 1768475"/>
              <a:gd name="connsiteY3" fmla="*/ 2533650 h 2647950"/>
              <a:gd name="connsiteX4" fmla="*/ 1628775 w 1768475"/>
              <a:gd name="connsiteY4" fmla="*/ 2536825 h 2647950"/>
              <a:gd name="connsiteX5" fmla="*/ 1587500 w 1768475"/>
              <a:gd name="connsiteY5" fmla="*/ 2533650 h 2647950"/>
              <a:gd name="connsiteX6" fmla="*/ 1552575 w 1768475"/>
              <a:gd name="connsiteY6" fmla="*/ 2514600 h 2647950"/>
              <a:gd name="connsiteX7" fmla="*/ 1524000 w 1768475"/>
              <a:gd name="connsiteY7" fmla="*/ 2527300 h 2647950"/>
              <a:gd name="connsiteX8" fmla="*/ 1473200 w 1768475"/>
              <a:gd name="connsiteY8" fmla="*/ 2514600 h 2647950"/>
              <a:gd name="connsiteX9" fmla="*/ 1438275 w 1768475"/>
              <a:gd name="connsiteY9" fmla="*/ 2501900 h 2647950"/>
              <a:gd name="connsiteX10" fmla="*/ 1422400 w 1768475"/>
              <a:gd name="connsiteY10" fmla="*/ 2495550 h 2647950"/>
              <a:gd name="connsiteX11" fmla="*/ 1362075 w 1768475"/>
              <a:gd name="connsiteY11" fmla="*/ 2501900 h 2647950"/>
              <a:gd name="connsiteX12" fmla="*/ 1308100 w 1768475"/>
              <a:gd name="connsiteY12" fmla="*/ 2457450 h 2647950"/>
              <a:gd name="connsiteX13" fmla="*/ 1276350 w 1768475"/>
              <a:gd name="connsiteY13" fmla="*/ 2435225 h 2647950"/>
              <a:gd name="connsiteX14" fmla="*/ 1241425 w 1768475"/>
              <a:gd name="connsiteY14" fmla="*/ 2422525 h 2647950"/>
              <a:gd name="connsiteX15" fmla="*/ 1216025 w 1768475"/>
              <a:gd name="connsiteY15" fmla="*/ 2387600 h 2647950"/>
              <a:gd name="connsiteX16" fmla="*/ 1168400 w 1768475"/>
              <a:gd name="connsiteY16" fmla="*/ 2374900 h 2647950"/>
              <a:gd name="connsiteX17" fmla="*/ 1130300 w 1768475"/>
              <a:gd name="connsiteY17" fmla="*/ 2352675 h 2647950"/>
              <a:gd name="connsiteX18" fmla="*/ 1095375 w 1768475"/>
              <a:gd name="connsiteY18" fmla="*/ 2355850 h 2647950"/>
              <a:gd name="connsiteX19" fmla="*/ 1079500 w 1768475"/>
              <a:gd name="connsiteY19" fmla="*/ 2333625 h 2647950"/>
              <a:gd name="connsiteX20" fmla="*/ 1035050 w 1768475"/>
              <a:gd name="connsiteY20" fmla="*/ 2320925 h 2647950"/>
              <a:gd name="connsiteX21" fmla="*/ 1009650 w 1768475"/>
              <a:gd name="connsiteY21" fmla="*/ 2327275 h 2647950"/>
              <a:gd name="connsiteX22" fmla="*/ 962025 w 1768475"/>
              <a:gd name="connsiteY22" fmla="*/ 2320925 h 2647950"/>
              <a:gd name="connsiteX23" fmla="*/ 917575 w 1768475"/>
              <a:gd name="connsiteY23" fmla="*/ 2336800 h 2647950"/>
              <a:gd name="connsiteX24" fmla="*/ 850900 w 1768475"/>
              <a:gd name="connsiteY24" fmla="*/ 2330450 h 2647950"/>
              <a:gd name="connsiteX25" fmla="*/ 850900 w 1768475"/>
              <a:gd name="connsiteY25" fmla="*/ 2330450 h 2647950"/>
              <a:gd name="connsiteX26" fmla="*/ 796925 w 1768475"/>
              <a:gd name="connsiteY26" fmla="*/ 2336800 h 2647950"/>
              <a:gd name="connsiteX27" fmla="*/ 809625 w 1768475"/>
              <a:gd name="connsiteY27" fmla="*/ 2311400 h 2647950"/>
              <a:gd name="connsiteX28" fmla="*/ 787400 w 1768475"/>
              <a:gd name="connsiteY28" fmla="*/ 2301875 h 2647950"/>
              <a:gd name="connsiteX29" fmla="*/ 806450 w 1768475"/>
              <a:gd name="connsiteY29" fmla="*/ 2241550 h 2647950"/>
              <a:gd name="connsiteX30" fmla="*/ 781050 w 1768475"/>
              <a:gd name="connsiteY30" fmla="*/ 2187575 h 2647950"/>
              <a:gd name="connsiteX31" fmla="*/ 736600 w 1768475"/>
              <a:gd name="connsiteY31" fmla="*/ 2146300 h 2647950"/>
              <a:gd name="connsiteX32" fmla="*/ 692150 w 1768475"/>
              <a:gd name="connsiteY32" fmla="*/ 2124075 h 2647950"/>
              <a:gd name="connsiteX33" fmla="*/ 647700 w 1768475"/>
              <a:gd name="connsiteY33" fmla="*/ 2187575 h 2647950"/>
              <a:gd name="connsiteX34" fmla="*/ 590550 w 1768475"/>
              <a:gd name="connsiteY34" fmla="*/ 2244725 h 2647950"/>
              <a:gd name="connsiteX35" fmla="*/ 552450 w 1768475"/>
              <a:gd name="connsiteY35" fmla="*/ 2254250 h 2647950"/>
              <a:gd name="connsiteX36" fmla="*/ 508000 w 1768475"/>
              <a:gd name="connsiteY36" fmla="*/ 2232025 h 2647950"/>
              <a:gd name="connsiteX37" fmla="*/ 463550 w 1768475"/>
              <a:gd name="connsiteY37" fmla="*/ 2235200 h 2647950"/>
              <a:gd name="connsiteX38" fmla="*/ 406400 w 1768475"/>
              <a:gd name="connsiteY38" fmla="*/ 2212975 h 2647950"/>
              <a:gd name="connsiteX39" fmla="*/ 365125 w 1768475"/>
              <a:gd name="connsiteY39" fmla="*/ 2219325 h 2647950"/>
              <a:gd name="connsiteX40" fmla="*/ 323850 w 1768475"/>
              <a:gd name="connsiteY40" fmla="*/ 2190750 h 2647950"/>
              <a:gd name="connsiteX41" fmla="*/ 301625 w 1768475"/>
              <a:gd name="connsiteY41" fmla="*/ 2149475 h 2647950"/>
              <a:gd name="connsiteX42" fmla="*/ 250825 w 1768475"/>
              <a:gd name="connsiteY42" fmla="*/ 2120900 h 2647950"/>
              <a:gd name="connsiteX43" fmla="*/ 212725 w 1768475"/>
              <a:gd name="connsiteY43" fmla="*/ 2089150 h 2647950"/>
              <a:gd name="connsiteX44" fmla="*/ 190500 w 1768475"/>
              <a:gd name="connsiteY44" fmla="*/ 2092325 h 2647950"/>
              <a:gd name="connsiteX45" fmla="*/ 171450 w 1768475"/>
              <a:gd name="connsiteY45" fmla="*/ 2063750 h 2647950"/>
              <a:gd name="connsiteX46" fmla="*/ 114300 w 1768475"/>
              <a:gd name="connsiteY46" fmla="*/ 2044700 h 2647950"/>
              <a:gd name="connsiteX47" fmla="*/ 66675 w 1768475"/>
              <a:gd name="connsiteY47" fmla="*/ 2057400 h 2647950"/>
              <a:gd name="connsiteX48" fmla="*/ 0 w 1768475"/>
              <a:gd name="connsiteY48" fmla="*/ 2022475 h 2647950"/>
              <a:gd name="connsiteX49" fmla="*/ 19050 w 1768475"/>
              <a:gd name="connsiteY49" fmla="*/ 1981200 h 2647950"/>
              <a:gd name="connsiteX50" fmla="*/ 19050 w 1768475"/>
              <a:gd name="connsiteY50" fmla="*/ 1943100 h 2647950"/>
              <a:gd name="connsiteX51" fmla="*/ 57150 w 1768475"/>
              <a:gd name="connsiteY51" fmla="*/ 1908175 h 2647950"/>
              <a:gd name="connsiteX52" fmla="*/ 47625 w 1768475"/>
              <a:gd name="connsiteY52" fmla="*/ 1841500 h 2647950"/>
              <a:gd name="connsiteX53" fmla="*/ 82550 w 1768475"/>
              <a:gd name="connsiteY53" fmla="*/ 1822450 h 2647950"/>
              <a:gd name="connsiteX54" fmla="*/ 155575 w 1768475"/>
              <a:gd name="connsiteY54" fmla="*/ 1806575 h 2647950"/>
              <a:gd name="connsiteX55" fmla="*/ 209550 w 1768475"/>
              <a:gd name="connsiteY55" fmla="*/ 1774825 h 2647950"/>
              <a:gd name="connsiteX56" fmla="*/ 247650 w 1768475"/>
              <a:gd name="connsiteY56" fmla="*/ 1790700 h 2647950"/>
              <a:gd name="connsiteX57" fmla="*/ 269875 w 1768475"/>
              <a:gd name="connsiteY57" fmla="*/ 1762125 h 2647950"/>
              <a:gd name="connsiteX58" fmla="*/ 349250 w 1768475"/>
              <a:gd name="connsiteY58" fmla="*/ 1765300 h 2647950"/>
              <a:gd name="connsiteX59" fmla="*/ 330200 w 1768475"/>
              <a:gd name="connsiteY59" fmla="*/ 1724025 h 2647950"/>
              <a:gd name="connsiteX60" fmla="*/ 361950 w 1768475"/>
              <a:gd name="connsiteY60" fmla="*/ 1695450 h 2647950"/>
              <a:gd name="connsiteX61" fmla="*/ 438150 w 1768475"/>
              <a:gd name="connsiteY61" fmla="*/ 1682750 h 2647950"/>
              <a:gd name="connsiteX62" fmla="*/ 466725 w 1768475"/>
              <a:gd name="connsiteY62" fmla="*/ 1619250 h 2647950"/>
              <a:gd name="connsiteX63" fmla="*/ 539750 w 1768475"/>
              <a:gd name="connsiteY63" fmla="*/ 1603375 h 2647950"/>
              <a:gd name="connsiteX64" fmla="*/ 596900 w 1768475"/>
              <a:gd name="connsiteY64" fmla="*/ 1546225 h 2647950"/>
              <a:gd name="connsiteX65" fmla="*/ 635000 w 1768475"/>
              <a:gd name="connsiteY65" fmla="*/ 1479550 h 2647950"/>
              <a:gd name="connsiteX66" fmla="*/ 660400 w 1768475"/>
              <a:gd name="connsiteY66" fmla="*/ 1425575 h 2647950"/>
              <a:gd name="connsiteX67" fmla="*/ 701675 w 1768475"/>
              <a:gd name="connsiteY67" fmla="*/ 1403350 h 2647950"/>
              <a:gd name="connsiteX68" fmla="*/ 717550 w 1768475"/>
              <a:gd name="connsiteY68" fmla="*/ 1358900 h 2647950"/>
              <a:gd name="connsiteX69" fmla="*/ 762000 w 1768475"/>
              <a:gd name="connsiteY69" fmla="*/ 1327150 h 2647950"/>
              <a:gd name="connsiteX70" fmla="*/ 825500 w 1768475"/>
              <a:gd name="connsiteY70" fmla="*/ 1270000 h 2647950"/>
              <a:gd name="connsiteX71" fmla="*/ 860425 w 1768475"/>
              <a:gd name="connsiteY71" fmla="*/ 1254125 h 2647950"/>
              <a:gd name="connsiteX72" fmla="*/ 873125 w 1768475"/>
              <a:gd name="connsiteY72" fmla="*/ 1190625 h 2647950"/>
              <a:gd name="connsiteX73" fmla="*/ 854075 w 1768475"/>
              <a:gd name="connsiteY73" fmla="*/ 1149350 h 2647950"/>
              <a:gd name="connsiteX74" fmla="*/ 879475 w 1768475"/>
              <a:gd name="connsiteY74" fmla="*/ 1123950 h 2647950"/>
              <a:gd name="connsiteX75" fmla="*/ 908050 w 1768475"/>
              <a:gd name="connsiteY75" fmla="*/ 1076325 h 2647950"/>
              <a:gd name="connsiteX76" fmla="*/ 936625 w 1768475"/>
              <a:gd name="connsiteY76" fmla="*/ 1085850 h 2647950"/>
              <a:gd name="connsiteX77" fmla="*/ 1009650 w 1768475"/>
              <a:gd name="connsiteY77" fmla="*/ 1044575 h 2647950"/>
              <a:gd name="connsiteX78" fmla="*/ 1025525 w 1768475"/>
              <a:gd name="connsiteY78" fmla="*/ 987425 h 2647950"/>
              <a:gd name="connsiteX79" fmla="*/ 1038225 w 1768475"/>
              <a:gd name="connsiteY79" fmla="*/ 930275 h 2647950"/>
              <a:gd name="connsiteX80" fmla="*/ 1073150 w 1768475"/>
              <a:gd name="connsiteY80" fmla="*/ 866775 h 2647950"/>
              <a:gd name="connsiteX81" fmla="*/ 1139825 w 1768475"/>
              <a:gd name="connsiteY81" fmla="*/ 828675 h 2647950"/>
              <a:gd name="connsiteX82" fmla="*/ 1177925 w 1768475"/>
              <a:gd name="connsiteY82" fmla="*/ 812800 h 2647950"/>
              <a:gd name="connsiteX83" fmla="*/ 1193800 w 1768475"/>
              <a:gd name="connsiteY83" fmla="*/ 774700 h 2647950"/>
              <a:gd name="connsiteX84" fmla="*/ 1203325 w 1768475"/>
              <a:gd name="connsiteY84" fmla="*/ 736600 h 2647950"/>
              <a:gd name="connsiteX85" fmla="*/ 1254125 w 1768475"/>
              <a:gd name="connsiteY85" fmla="*/ 704850 h 2647950"/>
              <a:gd name="connsiteX86" fmla="*/ 1250950 w 1768475"/>
              <a:gd name="connsiteY86" fmla="*/ 660400 h 2647950"/>
              <a:gd name="connsiteX87" fmla="*/ 1292225 w 1768475"/>
              <a:gd name="connsiteY87" fmla="*/ 606425 h 2647950"/>
              <a:gd name="connsiteX88" fmla="*/ 1320800 w 1768475"/>
              <a:gd name="connsiteY88" fmla="*/ 555625 h 2647950"/>
              <a:gd name="connsiteX89" fmla="*/ 1292225 w 1768475"/>
              <a:gd name="connsiteY89" fmla="*/ 488950 h 2647950"/>
              <a:gd name="connsiteX90" fmla="*/ 1270000 w 1768475"/>
              <a:gd name="connsiteY90" fmla="*/ 441325 h 2647950"/>
              <a:gd name="connsiteX91" fmla="*/ 1295400 w 1768475"/>
              <a:gd name="connsiteY91" fmla="*/ 384175 h 2647950"/>
              <a:gd name="connsiteX92" fmla="*/ 1285875 w 1768475"/>
              <a:gd name="connsiteY92" fmla="*/ 327025 h 2647950"/>
              <a:gd name="connsiteX93" fmla="*/ 1298575 w 1768475"/>
              <a:gd name="connsiteY93" fmla="*/ 260350 h 2647950"/>
              <a:gd name="connsiteX94" fmla="*/ 1330325 w 1768475"/>
              <a:gd name="connsiteY94" fmla="*/ 184150 h 2647950"/>
              <a:gd name="connsiteX95" fmla="*/ 1371600 w 1768475"/>
              <a:gd name="connsiteY95" fmla="*/ 146050 h 2647950"/>
              <a:gd name="connsiteX96" fmla="*/ 1473200 w 1768475"/>
              <a:gd name="connsiteY96" fmla="*/ 111125 h 2647950"/>
              <a:gd name="connsiteX97" fmla="*/ 1546225 w 1768475"/>
              <a:gd name="connsiteY97" fmla="*/ 0 h 2647950"/>
              <a:gd name="connsiteX0" fmla="*/ 1768475 w 1768475"/>
              <a:gd name="connsiteY0" fmla="*/ 2536825 h 2536825"/>
              <a:gd name="connsiteX1" fmla="*/ 1752600 w 1768475"/>
              <a:gd name="connsiteY1" fmla="*/ 2479675 h 2536825"/>
              <a:gd name="connsiteX2" fmla="*/ 1720850 w 1768475"/>
              <a:gd name="connsiteY2" fmla="*/ 2435225 h 2536825"/>
              <a:gd name="connsiteX3" fmla="*/ 1682750 w 1768475"/>
              <a:gd name="connsiteY3" fmla="*/ 2422525 h 2536825"/>
              <a:gd name="connsiteX4" fmla="*/ 1628775 w 1768475"/>
              <a:gd name="connsiteY4" fmla="*/ 2425700 h 2536825"/>
              <a:gd name="connsiteX5" fmla="*/ 1587500 w 1768475"/>
              <a:gd name="connsiteY5" fmla="*/ 2422525 h 2536825"/>
              <a:gd name="connsiteX6" fmla="*/ 1552575 w 1768475"/>
              <a:gd name="connsiteY6" fmla="*/ 2403475 h 2536825"/>
              <a:gd name="connsiteX7" fmla="*/ 1524000 w 1768475"/>
              <a:gd name="connsiteY7" fmla="*/ 2416175 h 2536825"/>
              <a:gd name="connsiteX8" fmla="*/ 1473200 w 1768475"/>
              <a:gd name="connsiteY8" fmla="*/ 2403475 h 2536825"/>
              <a:gd name="connsiteX9" fmla="*/ 1438275 w 1768475"/>
              <a:gd name="connsiteY9" fmla="*/ 2390775 h 2536825"/>
              <a:gd name="connsiteX10" fmla="*/ 1422400 w 1768475"/>
              <a:gd name="connsiteY10" fmla="*/ 2384425 h 2536825"/>
              <a:gd name="connsiteX11" fmla="*/ 1362075 w 1768475"/>
              <a:gd name="connsiteY11" fmla="*/ 2390775 h 2536825"/>
              <a:gd name="connsiteX12" fmla="*/ 1308100 w 1768475"/>
              <a:gd name="connsiteY12" fmla="*/ 2346325 h 2536825"/>
              <a:gd name="connsiteX13" fmla="*/ 1276350 w 1768475"/>
              <a:gd name="connsiteY13" fmla="*/ 2324100 h 2536825"/>
              <a:gd name="connsiteX14" fmla="*/ 1241425 w 1768475"/>
              <a:gd name="connsiteY14" fmla="*/ 2311400 h 2536825"/>
              <a:gd name="connsiteX15" fmla="*/ 1216025 w 1768475"/>
              <a:gd name="connsiteY15" fmla="*/ 2276475 h 2536825"/>
              <a:gd name="connsiteX16" fmla="*/ 1168400 w 1768475"/>
              <a:gd name="connsiteY16" fmla="*/ 2263775 h 2536825"/>
              <a:gd name="connsiteX17" fmla="*/ 1130300 w 1768475"/>
              <a:gd name="connsiteY17" fmla="*/ 2241550 h 2536825"/>
              <a:gd name="connsiteX18" fmla="*/ 1095375 w 1768475"/>
              <a:gd name="connsiteY18" fmla="*/ 2244725 h 2536825"/>
              <a:gd name="connsiteX19" fmla="*/ 1079500 w 1768475"/>
              <a:gd name="connsiteY19" fmla="*/ 2222500 h 2536825"/>
              <a:gd name="connsiteX20" fmla="*/ 1035050 w 1768475"/>
              <a:gd name="connsiteY20" fmla="*/ 2209800 h 2536825"/>
              <a:gd name="connsiteX21" fmla="*/ 1009650 w 1768475"/>
              <a:gd name="connsiteY21" fmla="*/ 2216150 h 2536825"/>
              <a:gd name="connsiteX22" fmla="*/ 962025 w 1768475"/>
              <a:gd name="connsiteY22" fmla="*/ 2209800 h 2536825"/>
              <a:gd name="connsiteX23" fmla="*/ 917575 w 1768475"/>
              <a:gd name="connsiteY23" fmla="*/ 2225675 h 2536825"/>
              <a:gd name="connsiteX24" fmla="*/ 850900 w 1768475"/>
              <a:gd name="connsiteY24" fmla="*/ 2219325 h 2536825"/>
              <a:gd name="connsiteX25" fmla="*/ 850900 w 1768475"/>
              <a:gd name="connsiteY25" fmla="*/ 2219325 h 2536825"/>
              <a:gd name="connsiteX26" fmla="*/ 796925 w 1768475"/>
              <a:gd name="connsiteY26" fmla="*/ 2225675 h 2536825"/>
              <a:gd name="connsiteX27" fmla="*/ 809625 w 1768475"/>
              <a:gd name="connsiteY27" fmla="*/ 2200275 h 2536825"/>
              <a:gd name="connsiteX28" fmla="*/ 787400 w 1768475"/>
              <a:gd name="connsiteY28" fmla="*/ 2190750 h 2536825"/>
              <a:gd name="connsiteX29" fmla="*/ 806450 w 1768475"/>
              <a:gd name="connsiteY29" fmla="*/ 2130425 h 2536825"/>
              <a:gd name="connsiteX30" fmla="*/ 781050 w 1768475"/>
              <a:gd name="connsiteY30" fmla="*/ 2076450 h 2536825"/>
              <a:gd name="connsiteX31" fmla="*/ 736600 w 1768475"/>
              <a:gd name="connsiteY31" fmla="*/ 2035175 h 2536825"/>
              <a:gd name="connsiteX32" fmla="*/ 692150 w 1768475"/>
              <a:gd name="connsiteY32" fmla="*/ 2012950 h 2536825"/>
              <a:gd name="connsiteX33" fmla="*/ 647700 w 1768475"/>
              <a:gd name="connsiteY33" fmla="*/ 2076450 h 2536825"/>
              <a:gd name="connsiteX34" fmla="*/ 590550 w 1768475"/>
              <a:gd name="connsiteY34" fmla="*/ 2133600 h 2536825"/>
              <a:gd name="connsiteX35" fmla="*/ 552450 w 1768475"/>
              <a:gd name="connsiteY35" fmla="*/ 2143125 h 2536825"/>
              <a:gd name="connsiteX36" fmla="*/ 508000 w 1768475"/>
              <a:gd name="connsiteY36" fmla="*/ 2120900 h 2536825"/>
              <a:gd name="connsiteX37" fmla="*/ 463550 w 1768475"/>
              <a:gd name="connsiteY37" fmla="*/ 2124075 h 2536825"/>
              <a:gd name="connsiteX38" fmla="*/ 406400 w 1768475"/>
              <a:gd name="connsiteY38" fmla="*/ 2101850 h 2536825"/>
              <a:gd name="connsiteX39" fmla="*/ 365125 w 1768475"/>
              <a:gd name="connsiteY39" fmla="*/ 2108200 h 2536825"/>
              <a:gd name="connsiteX40" fmla="*/ 323850 w 1768475"/>
              <a:gd name="connsiteY40" fmla="*/ 2079625 h 2536825"/>
              <a:gd name="connsiteX41" fmla="*/ 301625 w 1768475"/>
              <a:gd name="connsiteY41" fmla="*/ 2038350 h 2536825"/>
              <a:gd name="connsiteX42" fmla="*/ 250825 w 1768475"/>
              <a:gd name="connsiteY42" fmla="*/ 2009775 h 2536825"/>
              <a:gd name="connsiteX43" fmla="*/ 212725 w 1768475"/>
              <a:gd name="connsiteY43" fmla="*/ 1978025 h 2536825"/>
              <a:gd name="connsiteX44" fmla="*/ 190500 w 1768475"/>
              <a:gd name="connsiteY44" fmla="*/ 1981200 h 2536825"/>
              <a:gd name="connsiteX45" fmla="*/ 171450 w 1768475"/>
              <a:gd name="connsiteY45" fmla="*/ 1952625 h 2536825"/>
              <a:gd name="connsiteX46" fmla="*/ 114300 w 1768475"/>
              <a:gd name="connsiteY46" fmla="*/ 1933575 h 2536825"/>
              <a:gd name="connsiteX47" fmla="*/ 66675 w 1768475"/>
              <a:gd name="connsiteY47" fmla="*/ 1946275 h 2536825"/>
              <a:gd name="connsiteX48" fmla="*/ 0 w 1768475"/>
              <a:gd name="connsiteY48" fmla="*/ 1911350 h 2536825"/>
              <a:gd name="connsiteX49" fmla="*/ 19050 w 1768475"/>
              <a:gd name="connsiteY49" fmla="*/ 1870075 h 2536825"/>
              <a:gd name="connsiteX50" fmla="*/ 19050 w 1768475"/>
              <a:gd name="connsiteY50" fmla="*/ 1831975 h 2536825"/>
              <a:gd name="connsiteX51" fmla="*/ 57150 w 1768475"/>
              <a:gd name="connsiteY51" fmla="*/ 1797050 h 2536825"/>
              <a:gd name="connsiteX52" fmla="*/ 47625 w 1768475"/>
              <a:gd name="connsiteY52" fmla="*/ 1730375 h 2536825"/>
              <a:gd name="connsiteX53" fmla="*/ 82550 w 1768475"/>
              <a:gd name="connsiteY53" fmla="*/ 1711325 h 2536825"/>
              <a:gd name="connsiteX54" fmla="*/ 155575 w 1768475"/>
              <a:gd name="connsiteY54" fmla="*/ 1695450 h 2536825"/>
              <a:gd name="connsiteX55" fmla="*/ 209550 w 1768475"/>
              <a:gd name="connsiteY55" fmla="*/ 1663700 h 2536825"/>
              <a:gd name="connsiteX56" fmla="*/ 247650 w 1768475"/>
              <a:gd name="connsiteY56" fmla="*/ 1679575 h 2536825"/>
              <a:gd name="connsiteX57" fmla="*/ 269875 w 1768475"/>
              <a:gd name="connsiteY57" fmla="*/ 1651000 h 2536825"/>
              <a:gd name="connsiteX58" fmla="*/ 349250 w 1768475"/>
              <a:gd name="connsiteY58" fmla="*/ 1654175 h 2536825"/>
              <a:gd name="connsiteX59" fmla="*/ 330200 w 1768475"/>
              <a:gd name="connsiteY59" fmla="*/ 1612900 h 2536825"/>
              <a:gd name="connsiteX60" fmla="*/ 361950 w 1768475"/>
              <a:gd name="connsiteY60" fmla="*/ 1584325 h 2536825"/>
              <a:gd name="connsiteX61" fmla="*/ 438150 w 1768475"/>
              <a:gd name="connsiteY61" fmla="*/ 1571625 h 2536825"/>
              <a:gd name="connsiteX62" fmla="*/ 466725 w 1768475"/>
              <a:gd name="connsiteY62" fmla="*/ 1508125 h 2536825"/>
              <a:gd name="connsiteX63" fmla="*/ 539750 w 1768475"/>
              <a:gd name="connsiteY63" fmla="*/ 1492250 h 2536825"/>
              <a:gd name="connsiteX64" fmla="*/ 596900 w 1768475"/>
              <a:gd name="connsiteY64" fmla="*/ 1435100 h 2536825"/>
              <a:gd name="connsiteX65" fmla="*/ 635000 w 1768475"/>
              <a:gd name="connsiteY65" fmla="*/ 1368425 h 2536825"/>
              <a:gd name="connsiteX66" fmla="*/ 660400 w 1768475"/>
              <a:gd name="connsiteY66" fmla="*/ 1314450 h 2536825"/>
              <a:gd name="connsiteX67" fmla="*/ 701675 w 1768475"/>
              <a:gd name="connsiteY67" fmla="*/ 1292225 h 2536825"/>
              <a:gd name="connsiteX68" fmla="*/ 717550 w 1768475"/>
              <a:gd name="connsiteY68" fmla="*/ 1247775 h 2536825"/>
              <a:gd name="connsiteX69" fmla="*/ 762000 w 1768475"/>
              <a:gd name="connsiteY69" fmla="*/ 1216025 h 2536825"/>
              <a:gd name="connsiteX70" fmla="*/ 825500 w 1768475"/>
              <a:gd name="connsiteY70" fmla="*/ 1158875 h 2536825"/>
              <a:gd name="connsiteX71" fmla="*/ 860425 w 1768475"/>
              <a:gd name="connsiteY71" fmla="*/ 1143000 h 2536825"/>
              <a:gd name="connsiteX72" fmla="*/ 873125 w 1768475"/>
              <a:gd name="connsiteY72" fmla="*/ 1079500 h 2536825"/>
              <a:gd name="connsiteX73" fmla="*/ 854075 w 1768475"/>
              <a:gd name="connsiteY73" fmla="*/ 1038225 h 2536825"/>
              <a:gd name="connsiteX74" fmla="*/ 879475 w 1768475"/>
              <a:gd name="connsiteY74" fmla="*/ 1012825 h 2536825"/>
              <a:gd name="connsiteX75" fmla="*/ 908050 w 1768475"/>
              <a:gd name="connsiteY75" fmla="*/ 965200 h 2536825"/>
              <a:gd name="connsiteX76" fmla="*/ 936625 w 1768475"/>
              <a:gd name="connsiteY76" fmla="*/ 974725 h 2536825"/>
              <a:gd name="connsiteX77" fmla="*/ 1009650 w 1768475"/>
              <a:gd name="connsiteY77" fmla="*/ 933450 h 2536825"/>
              <a:gd name="connsiteX78" fmla="*/ 1025525 w 1768475"/>
              <a:gd name="connsiteY78" fmla="*/ 876300 h 2536825"/>
              <a:gd name="connsiteX79" fmla="*/ 1038225 w 1768475"/>
              <a:gd name="connsiteY79" fmla="*/ 819150 h 2536825"/>
              <a:gd name="connsiteX80" fmla="*/ 1073150 w 1768475"/>
              <a:gd name="connsiteY80" fmla="*/ 755650 h 2536825"/>
              <a:gd name="connsiteX81" fmla="*/ 1139825 w 1768475"/>
              <a:gd name="connsiteY81" fmla="*/ 717550 h 2536825"/>
              <a:gd name="connsiteX82" fmla="*/ 1177925 w 1768475"/>
              <a:gd name="connsiteY82" fmla="*/ 701675 h 2536825"/>
              <a:gd name="connsiteX83" fmla="*/ 1193800 w 1768475"/>
              <a:gd name="connsiteY83" fmla="*/ 663575 h 2536825"/>
              <a:gd name="connsiteX84" fmla="*/ 1203325 w 1768475"/>
              <a:gd name="connsiteY84" fmla="*/ 625475 h 2536825"/>
              <a:gd name="connsiteX85" fmla="*/ 1254125 w 1768475"/>
              <a:gd name="connsiteY85" fmla="*/ 593725 h 2536825"/>
              <a:gd name="connsiteX86" fmla="*/ 1250950 w 1768475"/>
              <a:gd name="connsiteY86" fmla="*/ 549275 h 2536825"/>
              <a:gd name="connsiteX87" fmla="*/ 1292225 w 1768475"/>
              <a:gd name="connsiteY87" fmla="*/ 495300 h 2536825"/>
              <a:gd name="connsiteX88" fmla="*/ 1320800 w 1768475"/>
              <a:gd name="connsiteY88" fmla="*/ 444500 h 2536825"/>
              <a:gd name="connsiteX89" fmla="*/ 1292225 w 1768475"/>
              <a:gd name="connsiteY89" fmla="*/ 377825 h 2536825"/>
              <a:gd name="connsiteX90" fmla="*/ 1270000 w 1768475"/>
              <a:gd name="connsiteY90" fmla="*/ 330200 h 2536825"/>
              <a:gd name="connsiteX91" fmla="*/ 1295400 w 1768475"/>
              <a:gd name="connsiteY91" fmla="*/ 273050 h 2536825"/>
              <a:gd name="connsiteX92" fmla="*/ 1285875 w 1768475"/>
              <a:gd name="connsiteY92" fmla="*/ 215900 h 2536825"/>
              <a:gd name="connsiteX93" fmla="*/ 1298575 w 1768475"/>
              <a:gd name="connsiteY93" fmla="*/ 149225 h 2536825"/>
              <a:gd name="connsiteX94" fmla="*/ 1330325 w 1768475"/>
              <a:gd name="connsiteY94" fmla="*/ 73025 h 2536825"/>
              <a:gd name="connsiteX95" fmla="*/ 1371600 w 1768475"/>
              <a:gd name="connsiteY95" fmla="*/ 34925 h 2536825"/>
              <a:gd name="connsiteX96" fmla="*/ 1473200 w 1768475"/>
              <a:gd name="connsiteY96" fmla="*/ 0 h 2536825"/>
              <a:gd name="connsiteX0" fmla="*/ 1768475 w 1768475"/>
              <a:gd name="connsiteY0" fmla="*/ 2501900 h 2501900"/>
              <a:gd name="connsiteX1" fmla="*/ 1752600 w 1768475"/>
              <a:gd name="connsiteY1" fmla="*/ 2444750 h 2501900"/>
              <a:gd name="connsiteX2" fmla="*/ 1720850 w 1768475"/>
              <a:gd name="connsiteY2" fmla="*/ 2400300 h 2501900"/>
              <a:gd name="connsiteX3" fmla="*/ 1682750 w 1768475"/>
              <a:gd name="connsiteY3" fmla="*/ 2387600 h 2501900"/>
              <a:gd name="connsiteX4" fmla="*/ 1628775 w 1768475"/>
              <a:gd name="connsiteY4" fmla="*/ 2390775 h 2501900"/>
              <a:gd name="connsiteX5" fmla="*/ 1587500 w 1768475"/>
              <a:gd name="connsiteY5" fmla="*/ 2387600 h 2501900"/>
              <a:gd name="connsiteX6" fmla="*/ 1552575 w 1768475"/>
              <a:gd name="connsiteY6" fmla="*/ 2368550 h 2501900"/>
              <a:gd name="connsiteX7" fmla="*/ 1524000 w 1768475"/>
              <a:gd name="connsiteY7" fmla="*/ 2381250 h 2501900"/>
              <a:gd name="connsiteX8" fmla="*/ 1473200 w 1768475"/>
              <a:gd name="connsiteY8" fmla="*/ 2368550 h 2501900"/>
              <a:gd name="connsiteX9" fmla="*/ 1438275 w 1768475"/>
              <a:gd name="connsiteY9" fmla="*/ 2355850 h 2501900"/>
              <a:gd name="connsiteX10" fmla="*/ 1422400 w 1768475"/>
              <a:gd name="connsiteY10" fmla="*/ 2349500 h 2501900"/>
              <a:gd name="connsiteX11" fmla="*/ 1362075 w 1768475"/>
              <a:gd name="connsiteY11" fmla="*/ 2355850 h 2501900"/>
              <a:gd name="connsiteX12" fmla="*/ 1308100 w 1768475"/>
              <a:gd name="connsiteY12" fmla="*/ 2311400 h 2501900"/>
              <a:gd name="connsiteX13" fmla="*/ 1276350 w 1768475"/>
              <a:gd name="connsiteY13" fmla="*/ 2289175 h 2501900"/>
              <a:gd name="connsiteX14" fmla="*/ 1241425 w 1768475"/>
              <a:gd name="connsiteY14" fmla="*/ 2276475 h 2501900"/>
              <a:gd name="connsiteX15" fmla="*/ 1216025 w 1768475"/>
              <a:gd name="connsiteY15" fmla="*/ 2241550 h 2501900"/>
              <a:gd name="connsiteX16" fmla="*/ 1168400 w 1768475"/>
              <a:gd name="connsiteY16" fmla="*/ 2228850 h 2501900"/>
              <a:gd name="connsiteX17" fmla="*/ 1130300 w 1768475"/>
              <a:gd name="connsiteY17" fmla="*/ 2206625 h 2501900"/>
              <a:gd name="connsiteX18" fmla="*/ 1095375 w 1768475"/>
              <a:gd name="connsiteY18" fmla="*/ 2209800 h 2501900"/>
              <a:gd name="connsiteX19" fmla="*/ 1079500 w 1768475"/>
              <a:gd name="connsiteY19" fmla="*/ 2187575 h 2501900"/>
              <a:gd name="connsiteX20" fmla="*/ 1035050 w 1768475"/>
              <a:gd name="connsiteY20" fmla="*/ 2174875 h 2501900"/>
              <a:gd name="connsiteX21" fmla="*/ 1009650 w 1768475"/>
              <a:gd name="connsiteY21" fmla="*/ 2181225 h 2501900"/>
              <a:gd name="connsiteX22" fmla="*/ 962025 w 1768475"/>
              <a:gd name="connsiteY22" fmla="*/ 2174875 h 2501900"/>
              <a:gd name="connsiteX23" fmla="*/ 917575 w 1768475"/>
              <a:gd name="connsiteY23" fmla="*/ 2190750 h 2501900"/>
              <a:gd name="connsiteX24" fmla="*/ 850900 w 1768475"/>
              <a:gd name="connsiteY24" fmla="*/ 2184400 h 2501900"/>
              <a:gd name="connsiteX25" fmla="*/ 850900 w 1768475"/>
              <a:gd name="connsiteY25" fmla="*/ 2184400 h 2501900"/>
              <a:gd name="connsiteX26" fmla="*/ 796925 w 1768475"/>
              <a:gd name="connsiteY26" fmla="*/ 2190750 h 2501900"/>
              <a:gd name="connsiteX27" fmla="*/ 809625 w 1768475"/>
              <a:gd name="connsiteY27" fmla="*/ 2165350 h 2501900"/>
              <a:gd name="connsiteX28" fmla="*/ 787400 w 1768475"/>
              <a:gd name="connsiteY28" fmla="*/ 2155825 h 2501900"/>
              <a:gd name="connsiteX29" fmla="*/ 806450 w 1768475"/>
              <a:gd name="connsiteY29" fmla="*/ 2095500 h 2501900"/>
              <a:gd name="connsiteX30" fmla="*/ 781050 w 1768475"/>
              <a:gd name="connsiteY30" fmla="*/ 2041525 h 2501900"/>
              <a:gd name="connsiteX31" fmla="*/ 736600 w 1768475"/>
              <a:gd name="connsiteY31" fmla="*/ 2000250 h 2501900"/>
              <a:gd name="connsiteX32" fmla="*/ 692150 w 1768475"/>
              <a:gd name="connsiteY32" fmla="*/ 1978025 h 2501900"/>
              <a:gd name="connsiteX33" fmla="*/ 647700 w 1768475"/>
              <a:gd name="connsiteY33" fmla="*/ 2041525 h 2501900"/>
              <a:gd name="connsiteX34" fmla="*/ 590550 w 1768475"/>
              <a:gd name="connsiteY34" fmla="*/ 2098675 h 2501900"/>
              <a:gd name="connsiteX35" fmla="*/ 552450 w 1768475"/>
              <a:gd name="connsiteY35" fmla="*/ 2108200 h 2501900"/>
              <a:gd name="connsiteX36" fmla="*/ 508000 w 1768475"/>
              <a:gd name="connsiteY36" fmla="*/ 2085975 h 2501900"/>
              <a:gd name="connsiteX37" fmla="*/ 463550 w 1768475"/>
              <a:gd name="connsiteY37" fmla="*/ 2089150 h 2501900"/>
              <a:gd name="connsiteX38" fmla="*/ 406400 w 1768475"/>
              <a:gd name="connsiteY38" fmla="*/ 2066925 h 2501900"/>
              <a:gd name="connsiteX39" fmla="*/ 365125 w 1768475"/>
              <a:gd name="connsiteY39" fmla="*/ 2073275 h 2501900"/>
              <a:gd name="connsiteX40" fmla="*/ 323850 w 1768475"/>
              <a:gd name="connsiteY40" fmla="*/ 2044700 h 2501900"/>
              <a:gd name="connsiteX41" fmla="*/ 301625 w 1768475"/>
              <a:gd name="connsiteY41" fmla="*/ 2003425 h 2501900"/>
              <a:gd name="connsiteX42" fmla="*/ 250825 w 1768475"/>
              <a:gd name="connsiteY42" fmla="*/ 1974850 h 2501900"/>
              <a:gd name="connsiteX43" fmla="*/ 212725 w 1768475"/>
              <a:gd name="connsiteY43" fmla="*/ 1943100 h 2501900"/>
              <a:gd name="connsiteX44" fmla="*/ 190500 w 1768475"/>
              <a:gd name="connsiteY44" fmla="*/ 1946275 h 2501900"/>
              <a:gd name="connsiteX45" fmla="*/ 171450 w 1768475"/>
              <a:gd name="connsiteY45" fmla="*/ 1917700 h 2501900"/>
              <a:gd name="connsiteX46" fmla="*/ 114300 w 1768475"/>
              <a:gd name="connsiteY46" fmla="*/ 1898650 h 2501900"/>
              <a:gd name="connsiteX47" fmla="*/ 66675 w 1768475"/>
              <a:gd name="connsiteY47" fmla="*/ 1911350 h 2501900"/>
              <a:gd name="connsiteX48" fmla="*/ 0 w 1768475"/>
              <a:gd name="connsiteY48" fmla="*/ 1876425 h 2501900"/>
              <a:gd name="connsiteX49" fmla="*/ 19050 w 1768475"/>
              <a:gd name="connsiteY49" fmla="*/ 1835150 h 2501900"/>
              <a:gd name="connsiteX50" fmla="*/ 19050 w 1768475"/>
              <a:gd name="connsiteY50" fmla="*/ 1797050 h 2501900"/>
              <a:gd name="connsiteX51" fmla="*/ 57150 w 1768475"/>
              <a:gd name="connsiteY51" fmla="*/ 1762125 h 2501900"/>
              <a:gd name="connsiteX52" fmla="*/ 47625 w 1768475"/>
              <a:gd name="connsiteY52" fmla="*/ 1695450 h 2501900"/>
              <a:gd name="connsiteX53" fmla="*/ 82550 w 1768475"/>
              <a:gd name="connsiteY53" fmla="*/ 1676400 h 2501900"/>
              <a:gd name="connsiteX54" fmla="*/ 155575 w 1768475"/>
              <a:gd name="connsiteY54" fmla="*/ 1660525 h 2501900"/>
              <a:gd name="connsiteX55" fmla="*/ 209550 w 1768475"/>
              <a:gd name="connsiteY55" fmla="*/ 1628775 h 2501900"/>
              <a:gd name="connsiteX56" fmla="*/ 247650 w 1768475"/>
              <a:gd name="connsiteY56" fmla="*/ 1644650 h 2501900"/>
              <a:gd name="connsiteX57" fmla="*/ 269875 w 1768475"/>
              <a:gd name="connsiteY57" fmla="*/ 1616075 h 2501900"/>
              <a:gd name="connsiteX58" fmla="*/ 349250 w 1768475"/>
              <a:gd name="connsiteY58" fmla="*/ 1619250 h 2501900"/>
              <a:gd name="connsiteX59" fmla="*/ 330200 w 1768475"/>
              <a:gd name="connsiteY59" fmla="*/ 1577975 h 2501900"/>
              <a:gd name="connsiteX60" fmla="*/ 361950 w 1768475"/>
              <a:gd name="connsiteY60" fmla="*/ 1549400 h 2501900"/>
              <a:gd name="connsiteX61" fmla="*/ 438150 w 1768475"/>
              <a:gd name="connsiteY61" fmla="*/ 1536700 h 2501900"/>
              <a:gd name="connsiteX62" fmla="*/ 466725 w 1768475"/>
              <a:gd name="connsiteY62" fmla="*/ 1473200 h 2501900"/>
              <a:gd name="connsiteX63" fmla="*/ 539750 w 1768475"/>
              <a:gd name="connsiteY63" fmla="*/ 1457325 h 2501900"/>
              <a:gd name="connsiteX64" fmla="*/ 596900 w 1768475"/>
              <a:gd name="connsiteY64" fmla="*/ 1400175 h 2501900"/>
              <a:gd name="connsiteX65" fmla="*/ 635000 w 1768475"/>
              <a:gd name="connsiteY65" fmla="*/ 1333500 h 2501900"/>
              <a:gd name="connsiteX66" fmla="*/ 660400 w 1768475"/>
              <a:gd name="connsiteY66" fmla="*/ 1279525 h 2501900"/>
              <a:gd name="connsiteX67" fmla="*/ 701675 w 1768475"/>
              <a:gd name="connsiteY67" fmla="*/ 1257300 h 2501900"/>
              <a:gd name="connsiteX68" fmla="*/ 717550 w 1768475"/>
              <a:gd name="connsiteY68" fmla="*/ 1212850 h 2501900"/>
              <a:gd name="connsiteX69" fmla="*/ 762000 w 1768475"/>
              <a:gd name="connsiteY69" fmla="*/ 1181100 h 2501900"/>
              <a:gd name="connsiteX70" fmla="*/ 825500 w 1768475"/>
              <a:gd name="connsiteY70" fmla="*/ 1123950 h 2501900"/>
              <a:gd name="connsiteX71" fmla="*/ 860425 w 1768475"/>
              <a:gd name="connsiteY71" fmla="*/ 1108075 h 2501900"/>
              <a:gd name="connsiteX72" fmla="*/ 873125 w 1768475"/>
              <a:gd name="connsiteY72" fmla="*/ 1044575 h 2501900"/>
              <a:gd name="connsiteX73" fmla="*/ 854075 w 1768475"/>
              <a:gd name="connsiteY73" fmla="*/ 1003300 h 2501900"/>
              <a:gd name="connsiteX74" fmla="*/ 879475 w 1768475"/>
              <a:gd name="connsiteY74" fmla="*/ 977900 h 2501900"/>
              <a:gd name="connsiteX75" fmla="*/ 908050 w 1768475"/>
              <a:gd name="connsiteY75" fmla="*/ 930275 h 2501900"/>
              <a:gd name="connsiteX76" fmla="*/ 936625 w 1768475"/>
              <a:gd name="connsiteY76" fmla="*/ 939800 h 2501900"/>
              <a:gd name="connsiteX77" fmla="*/ 1009650 w 1768475"/>
              <a:gd name="connsiteY77" fmla="*/ 898525 h 2501900"/>
              <a:gd name="connsiteX78" fmla="*/ 1025525 w 1768475"/>
              <a:gd name="connsiteY78" fmla="*/ 841375 h 2501900"/>
              <a:gd name="connsiteX79" fmla="*/ 1038225 w 1768475"/>
              <a:gd name="connsiteY79" fmla="*/ 784225 h 2501900"/>
              <a:gd name="connsiteX80" fmla="*/ 1073150 w 1768475"/>
              <a:gd name="connsiteY80" fmla="*/ 720725 h 2501900"/>
              <a:gd name="connsiteX81" fmla="*/ 1139825 w 1768475"/>
              <a:gd name="connsiteY81" fmla="*/ 682625 h 2501900"/>
              <a:gd name="connsiteX82" fmla="*/ 1177925 w 1768475"/>
              <a:gd name="connsiteY82" fmla="*/ 666750 h 2501900"/>
              <a:gd name="connsiteX83" fmla="*/ 1193800 w 1768475"/>
              <a:gd name="connsiteY83" fmla="*/ 628650 h 2501900"/>
              <a:gd name="connsiteX84" fmla="*/ 1203325 w 1768475"/>
              <a:gd name="connsiteY84" fmla="*/ 590550 h 2501900"/>
              <a:gd name="connsiteX85" fmla="*/ 1254125 w 1768475"/>
              <a:gd name="connsiteY85" fmla="*/ 558800 h 2501900"/>
              <a:gd name="connsiteX86" fmla="*/ 1250950 w 1768475"/>
              <a:gd name="connsiteY86" fmla="*/ 514350 h 2501900"/>
              <a:gd name="connsiteX87" fmla="*/ 1292225 w 1768475"/>
              <a:gd name="connsiteY87" fmla="*/ 460375 h 2501900"/>
              <a:gd name="connsiteX88" fmla="*/ 1320800 w 1768475"/>
              <a:gd name="connsiteY88" fmla="*/ 409575 h 2501900"/>
              <a:gd name="connsiteX89" fmla="*/ 1292225 w 1768475"/>
              <a:gd name="connsiteY89" fmla="*/ 342900 h 2501900"/>
              <a:gd name="connsiteX90" fmla="*/ 1270000 w 1768475"/>
              <a:gd name="connsiteY90" fmla="*/ 295275 h 2501900"/>
              <a:gd name="connsiteX91" fmla="*/ 1295400 w 1768475"/>
              <a:gd name="connsiteY91" fmla="*/ 238125 h 2501900"/>
              <a:gd name="connsiteX92" fmla="*/ 1285875 w 1768475"/>
              <a:gd name="connsiteY92" fmla="*/ 180975 h 2501900"/>
              <a:gd name="connsiteX93" fmla="*/ 1298575 w 1768475"/>
              <a:gd name="connsiteY93" fmla="*/ 114300 h 2501900"/>
              <a:gd name="connsiteX94" fmla="*/ 1330325 w 1768475"/>
              <a:gd name="connsiteY94" fmla="*/ 38100 h 2501900"/>
              <a:gd name="connsiteX95" fmla="*/ 1371600 w 1768475"/>
              <a:gd name="connsiteY95" fmla="*/ 0 h 2501900"/>
              <a:gd name="connsiteX0" fmla="*/ 1768475 w 1768475"/>
              <a:gd name="connsiteY0" fmla="*/ 2463800 h 2463800"/>
              <a:gd name="connsiteX1" fmla="*/ 1752600 w 1768475"/>
              <a:gd name="connsiteY1" fmla="*/ 2406650 h 2463800"/>
              <a:gd name="connsiteX2" fmla="*/ 1720850 w 1768475"/>
              <a:gd name="connsiteY2" fmla="*/ 2362200 h 2463800"/>
              <a:gd name="connsiteX3" fmla="*/ 1682750 w 1768475"/>
              <a:gd name="connsiteY3" fmla="*/ 2349500 h 2463800"/>
              <a:gd name="connsiteX4" fmla="*/ 1628775 w 1768475"/>
              <a:gd name="connsiteY4" fmla="*/ 2352675 h 2463800"/>
              <a:gd name="connsiteX5" fmla="*/ 1587500 w 1768475"/>
              <a:gd name="connsiteY5" fmla="*/ 2349500 h 2463800"/>
              <a:gd name="connsiteX6" fmla="*/ 1552575 w 1768475"/>
              <a:gd name="connsiteY6" fmla="*/ 2330450 h 2463800"/>
              <a:gd name="connsiteX7" fmla="*/ 1524000 w 1768475"/>
              <a:gd name="connsiteY7" fmla="*/ 2343150 h 2463800"/>
              <a:gd name="connsiteX8" fmla="*/ 1473200 w 1768475"/>
              <a:gd name="connsiteY8" fmla="*/ 2330450 h 2463800"/>
              <a:gd name="connsiteX9" fmla="*/ 1438275 w 1768475"/>
              <a:gd name="connsiteY9" fmla="*/ 2317750 h 2463800"/>
              <a:gd name="connsiteX10" fmla="*/ 1422400 w 1768475"/>
              <a:gd name="connsiteY10" fmla="*/ 2311400 h 2463800"/>
              <a:gd name="connsiteX11" fmla="*/ 1362075 w 1768475"/>
              <a:gd name="connsiteY11" fmla="*/ 2317750 h 2463800"/>
              <a:gd name="connsiteX12" fmla="*/ 1308100 w 1768475"/>
              <a:gd name="connsiteY12" fmla="*/ 2273300 h 2463800"/>
              <a:gd name="connsiteX13" fmla="*/ 1276350 w 1768475"/>
              <a:gd name="connsiteY13" fmla="*/ 2251075 h 2463800"/>
              <a:gd name="connsiteX14" fmla="*/ 1241425 w 1768475"/>
              <a:gd name="connsiteY14" fmla="*/ 2238375 h 2463800"/>
              <a:gd name="connsiteX15" fmla="*/ 1216025 w 1768475"/>
              <a:gd name="connsiteY15" fmla="*/ 2203450 h 2463800"/>
              <a:gd name="connsiteX16" fmla="*/ 1168400 w 1768475"/>
              <a:gd name="connsiteY16" fmla="*/ 2190750 h 2463800"/>
              <a:gd name="connsiteX17" fmla="*/ 1130300 w 1768475"/>
              <a:gd name="connsiteY17" fmla="*/ 2168525 h 2463800"/>
              <a:gd name="connsiteX18" fmla="*/ 1095375 w 1768475"/>
              <a:gd name="connsiteY18" fmla="*/ 2171700 h 2463800"/>
              <a:gd name="connsiteX19" fmla="*/ 1079500 w 1768475"/>
              <a:gd name="connsiteY19" fmla="*/ 2149475 h 2463800"/>
              <a:gd name="connsiteX20" fmla="*/ 1035050 w 1768475"/>
              <a:gd name="connsiteY20" fmla="*/ 2136775 h 2463800"/>
              <a:gd name="connsiteX21" fmla="*/ 1009650 w 1768475"/>
              <a:gd name="connsiteY21" fmla="*/ 2143125 h 2463800"/>
              <a:gd name="connsiteX22" fmla="*/ 962025 w 1768475"/>
              <a:gd name="connsiteY22" fmla="*/ 2136775 h 2463800"/>
              <a:gd name="connsiteX23" fmla="*/ 917575 w 1768475"/>
              <a:gd name="connsiteY23" fmla="*/ 2152650 h 2463800"/>
              <a:gd name="connsiteX24" fmla="*/ 850900 w 1768475"/>
              <a:gd name="connsiteY24" fmla="*/ 2146300 h 2463800"/>
              <a:gd name="connsiteX25" fmla="*/ 850900 w 1768475"/>
              <a:gd name="connsiteY25" fmla="*/ 2146300 h 2463800"/>
              <a:gd name="connsiteX26" fmla="*/ 796925 w 1768475"/>
              <a:gd name="connsiteY26" fmla="*/ 2152650 h 2463800"/>
              <a:gd name="connsiteX27" fmla="*/ 809625 w 1768475"/>
              <a:gd name="connsiteY27" fmla="*/ 2127250 h 2463800"/>
              <a:gd name="connsiteX28" fmla="*/ 787400 w 1768475"/>
              <a:gd name="connsiteY28" fmla="*/ 2117725 h 2463800"/>
              <a:gd name="connsiteX29" fmla="*/ 806450 w 1768475"/>
              <a:gd name="connsiteY29" fmla="*/ 2057400 h 2463800"/>
              <a:gd name="connsiteX30" fmla="*/ 781050 w 1768475"/>
              <a:gd name="connsiteY30" fmla="*/ 2003425 h 2463800"/>
              <a:gd name="connsiteX31" fmla="*/ 736600 w 1768475"/>
              <a:gd name="connsiteY31" fmla="*/ 1962150 h 2463800"/>
              <a:gd name="connsiteX32" fmla="*/ 692150 w 1768475"/>
              <a:gd name="connsiteY32" fmla="*/ 1939925 h 2463800"/>
              <a:gd name="connsiteX33" fmla="*/ 647700 w 1768475"/>
              <a:gd name="connsiteY33" fmla="*/ 2003425 h 2463800"/>
              <a:gd name="connsiteX34" fmla="*/ 590550 w 1768475"/>
              <a:gd name="connsiteY34" fmla="*/ 2060575 h 2463800"/>
              <a:gd name="connsiteX35" fmla="*/ 552450 w 1768475"/>
              <a:gd name="connsiteY35" fmla="*/ 2070100 h 2463800"/>
              <a:gd name="connsiteX36" fmla="*/ 508000 w 1768475"/>
              <a:gd name="connsiteY36" fmla="*/ 2047875 h 2463800"/>
              <a:gd name="connsiteX37" fmla="*/ 463550 w 1768475"/>
              <a:gd name="connsiteY37" fmla="*/ 2051050 h 2463800"/>
              <a:gd name="connsiteX38" fmla="*/ 406400 w 1768475"/>
              <a:gd name="connsiteY38" fmla="*/ 2028825 h 2463800"/>
              <a:gd name="connsiteX39" fmla="*/ 365125 w 1768475"/>
              <a:gd name="connsiteY39" fmla="*/ 2035175 h 2463800"/>
              <a:gd name="connsiteX40" fmla="*/ 323850 w 1768475"/>
              <a:gd name="connsiteY40" fmla="*/ 2006600 h 2463800"/>
              <a:gd name="connsiteX41" fmla="*/ 301625 w 1768475"/>
              <a:gd name="connsiteY41" fmla="*/ 1965325 h 2463800"/>
              <a:gd name="connsiteX42" fmla="*/ 250825 w 1768475"/>
              <a:gd name="connsiteY42" fmla="*/ 1936750 h 2463800"/>
              <a:gd name="connsiteX43" fmla="*/ 212725 w 1768475"/>
              <a:gd name="connsiteY43" fmla="*/ 1905000 h 2463800"/>
              <a:gd name="connsiteX44" fmla="*/ 190500 w 1768475"/>
              <a:gd name="connsiteY44" fmla="*/ 1908175 h 2463800"/>
              <a:gd name="connsiteX45" fmla="*/ 171450 w 1768475"/>
              <a:gd name="connsiteY45" fmla="*/ 1879600 h 2463800"/>
              <a:gd name="connsiteX46" fmla="*/ 114300 w 1768475"/>
              <a:gd name="connsiteY46" fmla="*/ 1860550 h 2463800"/>
              <a:gd name="connsiteX47" fmla="*/ 66675 w 1768475"/>
              <a:gd name="connsiteY47" fmla="*/ 1873250 h 2463800"/>
              <a:gd name="connsiteX48" fmla="*/ 0 w 1768475"/>
              <a:gd name="connsiteY48" fmla="*/ 1838325 h 2463800"/>
              <a:gd name="connsiteX49" fmla="*/ 19050 w 1768475"/>
              <a:gd name="connsiteY49" fmla="*/ 1797050 h 2463800"/>
              <a:gd name="connsiteX50" fmla="*/ 19050 w 1768475"/>
              <a:gd name="connsiteY50" fmla="*/ 1758950 h 2463800"/>
              <a:gd name="connsiteX51" fmla="*/ 57150 w 1768475"/>
              <a:gd name="connsiteY51" fmla="*/ 1724025 h 2463800"/>
              <a:gd name="connsiteX52" fmla="*/ 47625 w 1768475"/>
              <a:gd name="connsiteY52" fmla="*/ 1657350 h 2463800"/>
              <a:gd name="connsiteX53" fmla="*/ 82550 w 1768475"/>
              <a:gd name="connsiteY53" fmla="*/ 1638300 h 2463800"/>
              <a:gd name="connsiteX54" fmla="*/ 155575 w 1768475"/>
              <a:gd name="connsiteY54" fmla="*/ 1622425 h 2463800"/>
              <a:gd name="connsiteX55" fmla="*/ 209550 w 1768475"/>
              <a:gd name="connsiteY55" fmla="*/ 1590675 h 2463800"/>
              <a:gd name="connsiteX56" fmla="*/ 247650 w 1768475"/>
              <a:gd name="connsiteY56" fmla="*/ 1606550 h 2463800"/>
              <a:gd name="connsiteX57" fmla="*/ 269875 w 1768475"/>
              <a:gd name="connsiteY57" fmla="*/ 1577975 h 2463800"/>
              <a:gd name="connsiteX58" fmla="*/ 349250 w 1768475"/>
              <a:gd name="connsiteY58" fmla="*/ 1581150 h 2463800"/>
              <a:gd name="connsiteX59" fmla="*/ 330200 w 1768475"/>
              <a:gd name="connsiteY59" fmla="*/ 1539875 h 2463800"/>
              <a:gd name="connsiteX60" fmla="*/ 361950 w 1768475"/>
              <a:gd name="connsiteY60" fmla="*/ 1511300 h 2463800"/>
              <a:gd name="connsiteX61" fmla="*/ 438150 w 1768475"/>
              <a:gd name="connsiteY61" fmla="*/ 1498600 h 2463800"/>
              <a:gd name="connsiteX62" fmla="*/ 466725 w 1768475"/>
              <a:gd name="connsiteY62" fmla="*/ 1435100 h 2463800"/>
              <a:gd name="connsiteX63" fmla="*/ 539750 w 1768475"/>
              <a:gd name="connsiteY63" fmla="*/ 1419225 h 2463800"/>
              <a:gd name="connsiteX64" fmla="*/ 596900 w 1768475"/>
              <a:gd name="connsiteY64" fmla="*/ 1362075 h 2463800"/>
              <a:gd name="connsiteX65" fmla="*/ 635000 w 1768475"/>
              <a:gd name="connsiteY65" fmla="*/ 1295400 h 2463800"/>
              <a:gd name="connsiteX66" fmla="*/ 660400 w 1768475"/>
              <a:gd name="connsiteY66" fmla="*/ 1241425 h 2463800"/>
              <a:gd name="connsiteX67" fmla="*/ 701675 w 1768475"/>
              <a:gd name="connsiteY67" fmla="*/ 1219200 h 2463800"/>
              <a:gd name="connsiteX68" fmla="*/ 717550 w 1768475"/>
              <a:gd name="connsiteY68" fmla="*/ 1174750 h 2463800"/>
              <a:gd name="connsiteX69" fmla="*/ 762000 w 1768475"/>
              <a:gd name="connsiteY69" fmla="*/ 1143000 h 2463800"/>
              <a:gd name="connsiteX70" fmla="*/ 825500 w 1768475"/>
              <a:gd name="connsiteY70" fmla="*/ 1085850 h 2463800"/>
              <a:gd name="connsiteX71" fmla="*/ 860425 w 1768475"/>
              <a:gd name="connsiteY71" fmla="*/ 1069975 h 2463800"/>
              <a:gd name="connsiteX72" fmla="*/ 873125 w 1768475"/>
              <a:gd name="connsiteY72" fmla="*/ 1006475 h 2463800"/>
              <a:gd name="connsiteX73" fmla="*/ 854075 w 1768475"/>
              <a:gd name="connsiteY73" fmla="*/ 965200 h 2463800"/>
              <a:gd name="connsiteX74" fmla="*/ 879475 w 1768475"/>
              <a:gd name="connsiteY74" fmla="*/ 939800 h 2463800"/>
              <a:gd name="connsiteX75" fmla="*/ 908050 w 1768475"/>
              <a:gd name="connsiteY75" fmla="*/ 892175 h 2463800"/>
              <a:gd name="connsiteX76" fmla="*/ 936625 w 1768475"/>
              <a:gd name="connsiteY76" fmla="*/ 901700 h 2463800"/>
              <a:gd name="connsiteX77" fmla="*/ 1009650 w 1768475"/>
              <a:gd name="connsiteY77" fmla="*/ 860425 h 2463800"/>
              <a:gd name="connsiteX78" fmla="*/ 1025525 w 1768475"/>
              <a:gd name="connsiteY78" fmla="*/ 803275 h 2463800"/>
              <a:gd name="connsiteX79" fmla="*/ 1038225 w 1768475"/>
              <a:gd name="connsiteY79" fmla="*/ 746125 h 2463800"/>
              <a:gd name="connsiteX80" fmla="*/ 1073150 w 1768475"/>
              <a:gd name="connsiteY80" fmla="*/ 682625 h 2463800"/>
              <a:gd name="connsiteX81" fmla="*/ 1139825 w 1768475"/>
              <a:gd name="connsiteY81" fmla="*/ 644525 h 2463800"/>
              <a:gd name="connsiteX82" fmla="*/ 1177925 w 1768475"/>
              <a:gd name="connsiteY82" fmla="*/ 628650 h 2463800"/>
              <a:gd name="connsiteX83" fmla="*/ 1193800 w 1768475"/>
              <a:gd name="connsiteY83" fmla="*/ 590550 h 2463800"/>
              <a:gd name="connsiteX84" fmla="*/ 1203325 w 1768475"/>
              <a:gd name="connsiteY84" fmla="*/ 552450 h 2463800"/>
              <a:gd name="connsiteX85" fmla="*/ 1254125 w 1768475"/>
              <a:gd name="connsiteY85" fmla="*/ 520700 h 2463800"/>
              <a:gd name="connsiteX86" fmla="*/ 1250950 w 1768475"/>
              <a:gd name="connsiteY86" fmla="*/ 476250 h 2463800"/>
              <a:gd name="connsiteX87" fmla="*/ 1292225 w 1768475"/>
              <a:gd name="connsiteY87" fmla="*/ 422275 h 2463800"/>
              <a:gd name="connsiteX88" fmla="*/ 1320800 w 1768475"/>
              <a:gd name="connsiteY88" fmla="*/ 371475 h 2463800"/>
              <a:gd name="connsiteX89" fmla="*/ 1292225 w 1768475"/>
              <a:gd name="connsiteY89" fmla="*/ 304800 h 2463800"/>
              <a:gd name="connsiteX90" fmla="*/ 1270000 w 1768475"/>
              <a:gd name="connsiteY90" fmla="*/ 257175 h 2463800"/>
              <a:gd name="connsiteX91" fmla="*/ 1295400 w 1768475"/>
              <a:gd name="connsiteY91" fmla="*/ 200025 h 2463800"/>
              <a:gd name="connsiteX92" fmla="*/ 1285875 w 1768475"/>
              <a:gd name="connsiteY92" fmla="*/ 142875 h 2463800"/>
              <a:gd name="connsiteX93" fmla="*/ 1298575 w 1768475"/>
              <a:gd name="connsiteY93" fmla="*/ 76200 h 2463800"/>
              <a:gd name="connsiteX94" fmla="*/ 1330325 w 1768475"/>
              <a:gd name="connsiteY94" fmla="*/ 0 h 2463800"/>
              <a:gd name="connsiteX0" fmla="*/ 1768475 w 1768475"/>
              <a:gd name="connsiteY0" fmla="*/ 2387600 h 2387600"/>
              <a:gd name="connsiteX1" fmla="*/ 1752600 w 1768475"/>
              <a:gd name="connsiteY1" fmla="*/ 2330450 h 2387600"/>
              <a:gd name="connsiteX2" fmla="*/ 1720850 w 1768475"/>
              <a:gd name="connsiteY2" fmla="*/ 2286000 h 2387600"/>
              <a:gd name="connsiteX3" fmla="*/ 1682750 w 1768475"/>
              <a:gd name="connsiteY3" fmla="*/ 2273300 h 2387600"/>
              <a:gd name="connsiteX4" fmla="*/ 1628775 w 1768475"/>
              <a:gd name="connsiteY4" fmla="*/ 2276475 h 2387600"/>
              <a:gd name="connsiteX5" fmla="*/ 1587500 w 1768475"/>
              <a:gd name="connsiteY5" fmla="*/ 2273300 h 2387600"/>
              <a:gd name="connsiteX6" fmla="*/ 1552575 w 1768475"/>
              <a:gd name="connsiteY6" fmla="*/ 2254250 h 2387600"/>
              <a:gd name="connsiteX7" fmla="*/ 1524000 w 1768475"/>
              <a:gd name="connsiteY7" fmla="*/ 2266950 h 2387600"/>
              <a:gd name="connsiteX8" fmla="*/ 1473200 w 1768475"/>
              <a:gd name="connsiteY8" fmla="*/ 2254250 h 2387600"/>
              <a:gd name="connsiteX9" fmla="*/ 1438275 w 1768475"/>
              <a:gd name="connsiteY9" fmla="*/ 2241550 h 2387600"/>
              <a:gd name="connsiteX10" fmla="*/ 1422400 w 1768475"/>
              <a:gd name="connsiteY10" fmla="*/ 2235200 h 2387600"/>
              <a:gd name="connsiteX11" fmla="*/ 1362075 w 1768475"/>
              <a:gd name="connsiteY11" fmla="*/ 2241550 h 2387600"/>
              <a:gd name="connsiteX12" fmla="*/ 1308100 w 1768475"/>
              <a:gd name="connsiteY12" fmla="*/ 2197100 h 2387600"/>
              <a:gd name="connsiteX13" fmla="*/ 1276350 w 1768475"/>
              <a:gd name="connsiteY13" fmla="*/ 2174875 h 2387600"/>
              <a:gd name="connsiteX14" fmla="*/ 1241425 w 1768475"/>
              <a:gd name="connsiteY14" fmla="*/ 2162175 h 2387600"/>
              <a:gd name="connsiteX15" fmla="*/ 1216025 w 1768475"/>
              <a:gd name="connsiteY15" fmla="*/ 2127250 h 2387600"/>
              <a:gd name="connsiteX16" fmla="*/ 1168400 w 1768475"/>
              <a:gd name="connsiteY16" fmla="*/ 2114550 h 2387600"/>
              <a:gd name="connsiteX17" fmla="*/ 1130300 w 1768475"/>
              <a:gd name="connsiteY17" fmla="*/ 2092325 h 2387600"/>
              <a:gd name="connsiteX18" fmla="*/ 1095375 w 1768475"/>
              <a:gd name="connsiteY18" fmla="*/ 2095500 h 2387600"/>
              <a:gd name="connsiteX19" fmla="*/ 1079500 w 1768475"/>
              <a:gd name="connsiteY19" fmla="*/ 2073275 h 2387600"/>
              <a:gd name="connsiteX20" fmla="*/ 1035050 w 1768475"/>
              <a:gd name="connsiteY20" fmla="*/ 2060575 h 2387600"/>
              <a:gd name="connsiteX21" fmla="*/ 1009650 w 1768475"/>
              <a:gd name="connsiteY21" fmla="*/ 2066925 h 2387600"/>
              <a:gd name="connsiteX22" fmla="*/ 962025 w 1768475"/>
              <a:gd name="connsiteY22" fmla="*/ 2060575 h 2387600"/>
              <a:gd name="connsiteX23" fmla="*/ 917575 w 1768475"/>
              <a:gd name="connsiteY23" fmla="*/ 2076450 h 2387600"/>
              <a:gd name="connsiteX24" fmla="*/ 850900 w 1768475"/>
              <a:gd name="connsiteY24" fmla="*/ 2070100 h 2387600"/>
              <a:gd name="connsiteX25" fmla="*/ 850900 w 1768475"/>
              <a:gd name="connsiteY25" fmla="*/ 2070100 h 2387600"/>
              <a:gd name="connsiteX26" fmla="*/ 796925 w 1768475"/>
              <a:gd name="connsiteY26" fmla="*/ 2076450 h 2387600"/>
              <a:gd name="connsiteX27" fmla="*/ 809625 w 1768475"/>
              <a:gd name="connsiteY27" fmla="*/ 2051050 h 2387600"/>
              <a:gd name="connsiteX28" fmla="*/ 787400 w 1768475"/>
              <a:gd name="connsiteY28" fmla="*/ 2041525 h 2387600"/>
              <a:gd name="connsiteX29" fmla="*/ 806450 w 1768475"/>
              <a:gd name="connsiteY29" fmla="*/ 1981200 h 2387600"/>
              <a:gd name="connsiteX30" fmla="*/ 781050 w 1768475"/>
              <a:gd name="connsiteY30" fmla="*/ 1927225 h 2387600"/>
              <a:gd name="connsiteX31" fmla="*/ 736600 w 1768475"/>
              <a:gd name="connsiteY31" fmla="*/ 1885950 h 2387600"/>
              <a:gd name="connsiteX32" fmla="*/ 692150 w 1768475"/>
              <a:gd name="connsiteY32" fmla="*/ 1863725 h 2387600"/>
              <a:gd name="connsiteX33" fmla="*/ 647700 w 1768475"/>
              <a:gd name="connsiteY33" fmla="*/ 1927225 h 2387600"/>
              <a:gd name="connsiteX34" fmla="*/ 590550 w 1768475"/>
              <a:gd name="connsiteY34" fmla="*/ 1984375 h 2387600"/>
              <a:gd name="connsiteX35" fmla="*/ 552450 w 1768475"/>
              <a:gd name="connsiteY35" fmla="*/ 1993900 h 2387600"/>
              <a:gd name="connsiteX36" fmla="*/ 508000 w 1768475"/>
              <a:gd name="connsiteY36" fmla="*/ 1971675 h 2387600"/>
              <a:gd name="connsiteX37" fmla="*/ 463550 w 1768475"/>
              <a:gd name="connsiteY37" fmla="*/ 1974850 h 2387600"/>
              <a:gd name="connsiteX38" fmla="*/ 406400 w 1768475"/>
              <a:gd name="connsiteY38" fmla="*/ 1952625 h 2387600"/>
              <a:gd name="connsiteX39" fmla="*/ 365125 w 1768475"/>
              <a:gd name="connsiteY39" fmla="*/ 1958975 h 2387600"/>
              <a:gd name="connsiteX40" fmla="*/ 323850 w 1768475"/>
              <a:gd name="connsiteY40" fmla="*/ 1930400 h 2387600"/>
              <a:gd name="connsiteX41" fmla="*/ 301625 w 1768475"/>
              <a:gd name="connsiteY41" fmla="*/ 1889125 h 2387600"/>
              <a:gd name="connsiteX42" fmla="*/ 250825 w 1768475"/>
              <a:gd name="connsiteY42" fmla="*/ 1860550 h 2387600"/>
              <a:gd name="connsiteX43" fmla="*/ 212725 w 1768475"/>
              <a:gd name="connsiteY43" fmla="*/ 1828800 h 2387600"/>
              <a:gd name="connsiteX44" fmla="*/ 190500 w 1768475"/>
              <a:gd name="connsiteY44" fmla="*/ 1831975 h 2387600"/>
              <a:gd name="connsiteX45" fmla="*/ 171450 w 1768475"/>
              <a:gd name="connsiteY45" fmla="*/ 1803400 h 2387600"/>
              <a:gd name="connsiteX46" fmla="*/ 114300 w 1768475"/>
              <a:gd name="connsiteY46" fmla="*/ 1784350 h 2387600"/>
              <a:gd name="connsiteX47" fmla="*/ 66675 w 1768475"/>
              <a:gd name="connsiteY47" fmla="*/ 1797050 h 2387600"/>
              <a:gd name="connsiteX48" fmla="*/ 0 w 1768475"/>
              <a:gd name="connsiteY48" fmla="*/ 1762125 h 2387600"/>
              <a:gd name="connsiteX49" fmla="*/ 19050 w 1768475"/>
              <a:gd name="connsiteY49" fmla="*/ 1720850 h 2387600"/>
              <a:gd name="connsiteX50" fmla="*/ 19050 w 1768475"/>
              <a:gd name="connsiteY50" fmla="*/ 1682750 h 2387600"/>
              <a:gd name="connsiteX51" fmla="*/ 57150 w 1768475"/>
              <a:gd name="connsiteY51" fmla="*/ 1647825 h 2387600"/>
              <a:gd name="connsiteX52" fmla="*/ 47625 w 1768475"/>
              <a:gd name="connsiteY52" fmla="*/ 1581150 h 2387600"/>
              <a:gd name="connsiteX53" fmla="*/ 82550 w 1768475"/>
              <a:gd name="connsiteY53" fmla="*/ 1562100 h 2387600"/>
              <a:gd name="connsiteX54" fmla="*/ 155575 w 1768475"/>
              <a:gd name="connsiteY54" fmla="*/ 1546225 h 2387600"/>
              <a:gd name="connsiteX55" fmla="*/ 209550 w 1768475"/>
              <a:gd name="connsiteY55" fmla="*/ 1514475 h 2387600"/>
              <a:gd name="connsiteX56" fmla="*/ 247650 w 1768475"/>
              <a:gd name="connsiteY56" fmla="*/ 1530350 h 2387600"/>
              <a:gd name="connsiteX57" fmla="*/ 269875 w 1768475"/>
              <a:gd name="connsiteY57" fmla="*/ 1501775 h 2387600"/>
              <a:gd name="connsiteX58" fmla="*/ 349250 w 1768475"/>
              <a:gd name="connsiteY58" fmla="*/ 1504950 h 2387600"/>
              <a:gd name="connsiteX59" fmla="*/ 330200 w 1768475"/>
              <a:gd name="connsiteY59" fmla="*/ 1463675 h 2387600"/>
              <a:gd name="connsiteX60" fmla="*/ 361950 w 1768475"/>
              <a:gd name="connsiteY60" fmla="*/ 1435100 h 2387600"/>
              <a:gd name="connsiteX61" fmla="*/ 438150 w 1768475"/>
              <a:gd name="connsiteY61" fmla="*/ 1422400 h 2387600"/>
              <a:gd name="connsiteX62" fmla="*/ 466725 w 1768475"/>
              <a:gd name="connsiteY62" fmla="*/ 1358900 h 2387600"/>
              <a:gd name="connsiteX63" fmla="*/ 539750 w 1768475"/>
              <a:gd name="connsiteY63" fmla="*/ 1343025 h 2387600"/>
              <a:gd name="connsiteX64" fmla="*/ 596900 w 1768475"/>
              <a:gd name="connsiteY64" fmla="*/ 1285875 h 2387600"/>
              <a:gd name="connsiteX65" fmla="*/ 635000 w 1768475"/>
              <a:gd name="connsiteY65" fmla="*/ 1219200 h 2387600"/>
              <a:gd name="connsiteX66" fmla="*/ 660400 w 1768475"/>
              <a:gd name="connsiteY66" fmla="*/ 1165225 h 2387600"/>
              <a:gd name="connsiteX67" fmla="*/ 701675 w 1768475"/>
              <a:gd name="connsiteY67" fmla="*/ 1143000 h 2387600"/>
              <a:gd name="connsiteX68" fmla="*/ 717550 w 1768475"/>
              <a:gd name="connsiteY68" fmla="*/ 1098550 h 2387600"/>
              <a:gd name="connsiteX69" fmla="*/ 762000 w 1768475"/>
              <a:gd name="connsiteY69" fmla="*/ 1066800 h 2387600"/>
              <a:gd name="connsiteX70" fmla="*/ 825500 w 1768475"/>
              <a:gd name="connsiteY70" fmla="*/ 1009650 h 2387600"/>
              <a:gd name="connsiteX71" fmla="*/ 860425 w 1768475"/>
              <a:gd name="connsiteY71" fmla="*/ 993775 h 2387600"/>
              <a:gd name="connsiteX72" fmla="*/ 873125 w 1768475"/>
              <a:gd name="connsiteY72" fmla="*/ 930275 h 2387600"/>
              <a:gd name="connsiteX73" fmla="*/ 854075 w 1768475"/>
              <a:gd name="connsiteY73" fmla="*/ 889000 h 2387600"/>
              <a:gd name="connsiteX74" fmla="*/ 879475 w 1768475"/>
              <a:gd name="connsiteY74" fmla="*/ 863600 h 2387600"/>
              <a:gd name="connsiteX75" fmla="*/ 908050 w 1768475"/>
              <a:gd name="connsiteY75" fmla="*/ 815975 h 2387600"/>
              <a:gd name="connsiteX76" fmla="*/ 936625 w 1768475"/>
              <a:gd name="connsiteY76" fmla="*/ 825500 h 2387600"/>
              <a:gd name="connsiteX77" fmla="*/ 1009650 w 1768475"/>
              <a:gd name="connsiteY77" fmla="*/ 784225 h 2387600"/>
              <a:gd name="connsiteX78" fmla="*/ 1025525 w 1768475"/>
              <a:gd name="connsiteY78" fmla="*/ 727075 h 2387600"/>
              <a:gd name="connsiteX79" fmla="*/ 1038225 w 1768475"/>
              <a:gd name="connsiteY79" fmla="*/ 669925 h 2387600"/>
              <a:gd name="connsiteX80" fmla="*/ 1073150 w 1768475"/>
              <a:gd name="connsiteY80" fmla="*/ 606425 h 2387600"/>
              <a:gd name="connsiteX81" fmla="*/ 1139825 w 1768475"/>
              <a:gd name="connsiteY81" fmla="*/ 568325 h 2387600"/>
              <a:gd name="connsiteX82" fmla="*/ 1177925 w 1768475"/>
              <a:gd name="connsiteY82" fmla="*/ 552450 h 2387600"/>
              <a:gd name="connsiteX83" fmla="*/ 1193800 w 1768475"/>
              <a:gd name="connsiteY83" fmla="*/ 514350 h 2387600"/>
              <a:gd name="connsiteX84" fmla="*/ 1203325 w 1768475"/>
              <a:gd name="connsiteY84" fmla="*/ 476250 h 2387600"/>
              <a:gd name="connsiteX85" fmla="*/ 1254125 w 1768475"/>
              <a:gd name="connsiteY85" fmla="*/ 444500 h 2387600"/>
              <a:gd name="connsiteX86" fmla="*/ 1250950 w 1768475"/>
              <a:gd name="connsiteY86" fmla="*/ 400050 h 2387600"/>
              <a:gd name="connsiteX87" fmla="*/ 1292225 w 1768475"/>
              <a:gd name="connsiteY87" fmla="*/ 346075 h 2387600"/>
              <a:gd name="connsiteX88" fmla="*/ 1320800 w 1768475"/>
              <a:gd name="connsiteY88" fmla="*/ 295275 h 2387600"/>
              <a:gd name="connsiteX89" fmla="*/ 1292225 w 1768475"/>
              <a:gd name="connsiteY89" fmla="*/ 228600 h 2387600"/>
              <a:gd name="connsiteX90" fmla="*/ 1270000 w 1768475"/>
              <a:gd name="connsiteY90" fmla="*/ 180975 h 2387600"/>
              <a:gd name="connsiteX91" fmla="*/ 1295400 w 1768475"/>
              <a:gd name="connsiteY91" fmla="*/ 123825 h 2387600"/>
              <a:gd name="connsiteX92" fmla="*/ 1285875 w 1768475"/>
              <a:gd name="connsiteY92" fmla="*/ 66675 h 2387600"/>
              <a:gd name="connsiteX93" fmla="*/ 1298575 w 1768475"/>
              <a:gd name="connsiteY93" fmla="*/ 0 h 2387600"/>
              <a:gd name="connsiteX0" fmla="*/ 1768475 w 1768475"/>
              <a:gd name="connsiteY0" fmla="*/ 2320925 h 2320925"/>
              <a:gd name="connsiteX1" fmla="*/ 1752600 w 1768475"/>
              <a:gd name="connsiteY1" fmla="*/ 2263775 h 2320925"/>
              <a:gd name="connsiteX2" fmla="*/ 1720850 w 1768475"/>
              <a:gd name="connsiteY2" fmla="*/ 2219325 h 2320925"/>
              <a:gd name="connsiteX3" fmla="*/ 1682750 w 1768475"/>
              <a:gd name="connsiteY3" fmla="*/ 2206625 h 2320925"/>
              <a:gd name="connsiteX4" fmla="*/ 1628775 w 1768475"/>
              <a:gd name="connsiteY4" fmla="*/ 2209800 h 2320925"/>
              <a:gd name="connsiteX5" fmla="*/ 1587500 w 1768475"/>
              <a:gd name="connsiteY5" fmla="*/ 2206625 h 2320925"/>
              <a:gd name="connsiteX6" fmla="*/ 1552575 w 1768475"/>
              <a:gd name="connsiteY6" fmla="*/ 2187575 h 2320925"/>
              <a:gd name="connsiteX7" fmla="*/ 1524000 w 1768475"/>
              <a:gd name="connsiteY7" fmla="*/ 2200275 h 2320925"/>
              <a:gd name="connsiteX8" fmla="*/ 1473200 w 1768475"/>
              <a:gd name="connsiteY8" fmla="*/ 2187575 h 2320925"/>
              <a:gd name="connsiteX9" fmla="*/ 1438275 w 1768475"/>
              <a:gd name="connsiteY9" fmla="*/ 2174875 h 2320925"/>
              <a:gd name="connsiteX10" fmla="*/ 1422400 w 1768475"/>
              <a:gd name="connsiteY10" fmla="*/ 2168525 h 2320925"/>
              <a:gd name="connsiteX11" fmla="*/ 1362075 w 1768475"/>
              <a:gd name="connsiteY11" fmla="*/ 2174875 h 2320925"/>
              <a:gd name="connsiteX12" fmla="*/ 1308100 w 1768475"/>
              <a:gd name="connsiteY12" fmla="*/ 2130425 h 2320925"/>
              <a:gd name="connsiteX13" fmla="*/ 1276350 w 1768475"/>
              <a:gd name="connsiteY13" fmla="*/ 2108200 h 2320925"/>
              <a:gd name="connsiteX14" fmla="*/ 1241425 w 1768475"/>
              <a:gd name="connsiteY14" fmla="*/ 2095500 h 2320925"/>
              <a:gd name="connsiteX15" fmla="*/ 1216025 w 1768475"/>
              <a:gd name="connsiteY15" fmla="*/ 2060575 h 2320925"/>
              <a:gd name="connsiteX16" fmla="*/ 1168400 w 1768475"/>
              <a:gd name="connsiteY16" fmla="*/ 2047875 h 2320925"/>
              <a:gd name="connsiteX17" fmla="*/ 1130300 w 1768475"/>
              <a:gd name="connsiteY17" fmla="*/ 2025650 h 2320925"/>
              <a:gd name="connsiteX18" fmla="*/ 1095375 w 1768475"/>
              <a:gd name="connsiteY18" fmla="*/ 2028825 h 2320925"/>
              <a:gd name="connsiteX19" fmla="*/ 1079500 w 1768475"/>
              <a:gd name="connsiteY19" fmla="*/ 2006600 h 2320925"/>
              <a:gd name="connsiteX20" fmla="*/ 1035050 w 1768475"/>
              <a:gd name="connsiteY20" fmla="*/ 1993900 h 2320925"/>
              <a:gd name="connsiteX21" fmla="*/ 1009650 w 1768475"/>
              <a:gd name="connsiteY21" fmla="*/ 2000250 h 2320925"/>
              <a:gd name="connsiteX22" fmla="*/ 962025 w 1768475"/>
              <a:gd name="connsiteY22" fmla="*/ 1993900 h 2320925"/>
              <a:gd name="connsiteX23" fmla="*/ 917575 w 1768475"/>
              <a:gd name="connsiteY23" fmla="*/ 2009775 h 2320925"/>
              <a:gd name="connsiteX24" fmla="*/ 850900 w 1768475"/>
              <a:gd name="connsiteY24" fmla="*/ 2003425 h 2320925"/>
              <a:gd name="connsiteX25" fmla="*/ 850900 w 1768475"/>
              <a:gd name="connsiteY25" fmla="*/ 2003425 h 2320925"/>
              <a:gd name="connsiteX26" fmla="*/ 796925 w 1768475"/>
              <a:gd name="connsiteY26" fmla="*/ 2009775 h 2320925"/>
              <a:gd name="connsiteX27" fmla="*/ 809625 w 1768475"/>
              <a:gd name="connsiteY27" fmla="*/ 1984375 h 2320925"/>
              <a:gd name="connsiteX28" fmla="*/ 787400 w 1768475"/>
              <a:gd name="connsiteY28" fmla="*/ 1974850 h 2320925"/>
              <a:gd name="connsiteX29" fmla="*/ 806450 w 1768475"/>
              <a:gd name="connsiteY29" fmla="*/ 1914525 h 2320925"/>
              <a:gd name="connsiteX30" fmla="*/ 781050 w 1768475"/>
              <a:gd name="connsiteY30" fmla="*/ 1860550 h 2320925"/>
              <a:gd name="connsiteX31" fmla="*/ 736600 w 1768475"/>
              <a:gd name="connsiteY31" fmla="*/ 1819275 h 2320925"/>
              <a:gd name="connsiteX32" fmla="*/ 692150 w 1768475"/>
              <a:gd name="connsiteY32" fmla="*/ 1797050 h 2320925"/>
              <a:gd name="connsiteX33" fmla="*/ 647700 w 1768475"/>
              <a:gd name="connsiteY33" fmla="*/ 1860550 h 2320925"/>
              <a:gd name="connsiteX34" fmla="*/ 590550 w 1768475"/>
              <a:gd name="connsiteY34" fmla="*/ 1917700 h 2320925"/>
              <a:gd name="connsiteX35" fmla="*/ 552450 w 1768475"/>
              <a:gd name="connsiteY35" fmla="*/ 1927225 h 2320925"/>
              <a:gd name="connsiteX36" fmla="*/ 508000 w 1768475"/>
              <a:gd name="connsiteY36" fmla="*/ 1905000 h 2320925"/>
              <a:gd name="connsiteX37" fmla="*/ 463550 w 1768475"/>
              <a:gd name="connsiteY37" fmla="*/ 1908175 h 2320925"/>
              <a:gd name="connsiteX38" fmla="*/ 406400 w 1768475"/>
              <a:gd name="connsiteY38" fmla="*/ 1885950 h 2320925"/>
              <a:gd name="connsiteX39" fmla="*/ 365125 w 1768475"/>
              <a:gd name="connsiteY39" fmla="*/ 1892300 h 2320925"/>
              <a:gd name="connsiteX40" fmla="*/ 323850 w 1768475"/>
              <a:gd name="connsiteY40" fmla="*/ 1863725 h 2320925"/>
              <a:gd name="connsiteX41" fmla="*/ 301625 w 1768475"/>
              <a:gd name="connsiteY41" fmla="*/ 1822450 h 2320925"/>
              <a:gd name="connsiteX42" fmla="*/ 250825 w 1768475"/>
              <a:gd name="connsiteY42" fmla="*/ 1793875 h 2320925"/>
              <a:gd name="connsiteX43" fmla="*/ 212725 w 1768475"/>
              <a:gd name="connsiteY43" fmla="*/ 1762125 h 2320925"/>
              <a:gd name="connsiteX44" fmla="*/ 190500 w 1768475"/>
              <a:gd name="connsiteY44" fmla="*/ 1765300 h 2320925"/>
              <a:gd name="connsiteX45" fmla="*/ 171450 w 1768475"/>
              <a:gd name="connsiteY45" fmla="*/ 1736725 h 2320925"/>
              <a:gd name="connsiteX46" fmla="*/ 114300 w 1768475"/>
              <a:gd name="connsiteY46" fmla="*/ 1717675 h 2320925"/>
              <a:gd name="connsiteX47" fmla="*/ 66675 w 1768475"/>
              <a:gd name="connsiteY47" fmla="*/ 1730375 h 2320925"/>
              <a:gd name="connsiteX48" fmla="*/ 0 w 1768475"/>
              <a:gd name="connsiteY48" fmla="*/ 1695450 h 2320925"/>
              <a:gd name="connsiteX49" fmla="*/ 19050 w 1768475"/>
              <a:gd name="connsiteY49" fmla="*/ 1654175 h 2320925"/>
              <a:gd name="connsiteX50" fmla="*/ 19050 w 1768475"/>
              <a:gd name="connsiteY50" fmla="*/ 1616075 h 2320925"/>
              <a:gd name="connsiteX51" fmla="*/ 57150 w 1768475"/>
              <a:gd name="connsiteY51" fmla="*/ 1581150 h 2320925"/>
              <a:gd name="connsiteX52" fmla="*/ 47625 w 1768475"/>
              <a:gd name="connsiteY52" fmla="*/ 1514475 h 2320925"/>
              <a:gd name="connsiteX53" fmla="*/ 82550 w 1768475"/>
              <a:gd name="connsiteY53" fmla="*/ 1495425 h 2320925"/>
              <a:gd name="connsiteX54" fmla="*/ 155575 w 1768475"/>
              <a:gd name="connsiteY54" fmla="*/ 1479550 h 2320925"/>
              <a:gd name="connsiteX55" fmla="*/ 209550 w 1768475"/>
              <a:gd name="connsiteY55" fmla="*/ 1447800 h 2320925"/>
              <a:gd name="connsiteX56" fmla="*/ 247650 w 1768475"/>
              <a:gd name="connsiteY56" fmla="*/ 1463675 h 2320925"/>
              <a:gd name="connsiteX57" fmla="*/ 269875 w 1768475"/>
              <a:gd name="connsiteY57" fmla="*/ 1435100 h 2320925"/>
              <a:gd name="connsiteX58" fmla="*/ 349250 w 1768475"/>
              <a:gd name="connsiteY58" fmla="*/ 1438275 h 2320925"/>
              <a:gd name="connsiteX59" fmla="*/ 330200 w 1768475"/>
              <a:gd name="connsiteY59" fmla="*/ 1397000 h 2320925"/>
              <a:gd name="connsiteX60" fmla="*/ 361950 w 1768475"/>
              <a:gd name="connsiteY60" fmla="*/ 1368425 h 2320925"/>
              <a:gd name="connsiteX61" fmla="*/ 438150 w 1768475"/>
              <a:gd name="connsiteY61" fmla="*/ 1355725 h 2320925"/>
              <a:gd name="connsiteX62" fmla="*/ 466725 w 1768475"/>
              <a:gd name="connsiteY62" fmla="*/ 1292225 h 2320925"/>
              <a:gd name="connsiteX63" fmla="*/ 539750 w 1768475"/>
              <a:gd name="connsiteY63" fmla="*/ 1276350 h 2320925"/>
              <a:gd name="connsiteX64" fmla="*/ 596900 w 1768475"/>
              <a:gd name="connsiteY64" fmla="*/ 1219200 h 2320925"/>
              <a:gd name="connsiteX65" fmla="*/ 635000 w 1768475"/>
              <a:gd name="connsiteY65" fmla="*/ 1152525 h 2320925"/>
              <a:gd name="connsiteX66" fmla="*/ 660400 w 1768475"/>
              <a:gd name="connsiteY66" fmla="*/ 1098550 h 2320925"/>
              <a:gd name="connsiteX67" fmla="*/ 701675 w 1768475"/>
              <a:gd name="connsiteY67" fmla="*/ 1076325 h 2320925"/>
              <a:gd name="connsiteX68" fmla="*/ 717550 w 1768475"/>
              <a:gd name="connsiteY68" fmla="*/ 1031875 h 2320925"/>
              <a:gd name="connsiteX69" fmla="*/ 762000 w 1768475"/>
              <a:gd name="connsiteY69" fmla="*/ 1000125 h 2320925"/>
              <a:gd name="connsiteX70" fmla="*/ 825500 w 1768475"/>
              <a:gd name="connsiteY70" fmla="*/ 942975 h 2320925"/>
              <a:gd name="connsiteX71" fmla="*/ 860425 w 1768475"/>
              <a:gd name="connsiteY71" fmla="*/ 927100 h 2320925"/>
              <a:gd name="connsiteX72" fmla="*/ 873125 w 1768475"/>
              <a:gd name="connsiteY72" fmla="*/ 863600 h 2320925"/>
              <a:gd name="connsiteX73" fmla="*/ 854075 w 1768475"/>
              <a:gd name="connsiteY73" fmla="*/ 822325 h 2320925"/>
              <a:gd name="connsiteX74" fmla="*/ 879475 w 1768475"/>
              <a:gd name="connsiteY74" fmla="*/ 796925 h 2320925"/>
              <a:gd name="connsiteX75" fmla="*/ 908050 w 1768475"/>
              <a:gd name="connsiteY75" fmla="*/ 749300 h 2320925"/>
              <a:gd name="connsiteX76" fmla="*/ 936625 w 1768475"/>
              <a:gd name="connsiteY76" fmla="*/ 758825 h 2320925"/>
              <a:gd name="connsiteX77" fmla="*/ 1009650 w 1768475"/>
              <a:gd name="connsiteY77" fmla="*/ 717550 h 2320925"/>
              <a:gd name="connsiteX78" fmla="*/ 1025525 w 1768475"/>
              <a:gd name="connsiteY78" fmla="*/ 660400 h 2320925"/>
              <a:gd name="connsiteX79" fmla="*/ 1038225 w 1768475"/>
              <a:gd name="connsiteY79" fmla="*/ 603250 h 2320925"/>
              <a:gd name="connsiteX80" fmla="*/ 1073150 w 1768475"/>
              <a:gd name="connsiteY80" fmla="*/ 539750 h 2320925"/>
              <a:gd name="connsiteX81" fmla="*/ 1139825 w 1768475"/>
              <a:gd name="connsiteY81" fmla="*/ 501650 h 2320925"/>
              <a:gd name="connsiteX82" fmla="*/ 1177925 w 1768475"/>
              <a:gd name="connsiteY82" fmla="*/ 485775 h 2320925"/>
              <a:gd name="connsiteX83" fmla="*/ 1193800 w 1768475"/>
              <a:gd name="connsiteY83" fmla="*/ 447675 h 2320925"/>
              <a:gd name="connsiteX84" fmla="*/ 1203325 w 1768475"/>
              <a:gd name="connsiteY84" fmla="*/ 409575 h 2320925"/>
              <a:gd name="connsiteX85" fmla="*/ 1254125 w 1768475"/>
              <a:gd name="connsiteY85" fmla="*/ 377825 h 2320925"/>
              <a:gd name="connsiteX86" fmla="*/ 1250950 w 1768475"/>
              <a:gd name="connsiteY86" fmla="*/ 333375 h 2320925"/>
              <a:gd name="connsiteX87" fmla="*/ 1292225 w 1768475"/>
              <a:gd name="connsiteY87" fmla="*/ 279400 h 2320925"/>
              <a:gd name="connsiteX88" fmla="*/ 1320800 w 1768475"/>
              <a:gd name="connsiteY88" fmla="*/ 228600 h 2320925"/>
              <a:gd name="connsiteX89" fmla="*/ 1292225 w 1768475"/>
              <a:gd name="connsiteY89" fmla="*/ 161925 h 2320925"/>
              <a:gd name="connsiteX90" fmla="*/ 1270000 w 1768475"/>
              <a:gd name="connsiteY90" fmla="*/ 114300 h 2320925"/>
              <a:gd name="connsiteX91" fmla="*/ 1295400 w 1768475"/>
              <a:gd name="connsiteY91" fmla="*/ 57150 h 2320925"/>
              <a:gd name="connsiteX92" fmla="*/ 1285875 w 1768475"/>
              <a:gd name="connsiteY92" fmla="*/ 0 h 2320925"/>
              <a:gd name="connsiteX0" fmla="*/ 1768475 w 1768475"/>
              <a:gd name="connsiteY0" fmla="*/ 2263775 h 2263775"/>
              <a:gd name="connsiteX1" fmla="*/ 1752600 w 1768475"/>
              <a:gd name="connsiteY1" fmla="*/ 2206625 h 2263775"/>
              <a:gd name="connsiteX2" fmla="*/ 1720850 w 1768475"/>
              <a:gd name="connsiteY2" fmla="*/ 2162175 h 2263775"/>
              <a:gd name="connsiteX3" fmla="*/ 1682750 w 1768475"/>
              <a:gd name="connsiteY3" fmla="*/ 2149475 h 2263775"/>
              <a:gd name="connsiteX4" fmla="*/ 1628775 w 1768475"/>
              <a:gd name="connsiteY4" fmla="*/ 2152650 h 2263775"/>
              <a:gd name="connsiteX5" fmla="*/ 1587500 w 1768475"/>
              <a:gd name="connsiteY5" fmla="*/ 2149475 h 2263775"/>
              <a:gd name="connsiteX6" fmla="*/ 1552575 w 1768475"/>
              <a:gd name="connsiteY6" fmla="*/ 2130425 h 2263775"/>
              <a:gd name="connsiteX7" fmla="*/ 1524000 w 1768475"/>
              <a:gd name="connsiteY7" fmla="*/ 2143125 h 2263775"/>
              <a:gd name="connsiteX8" fmla="*/ 1473200 w 1768475"/>
              <a:gd name="connsiteY8" fmla="*/ 2130425 h 2263775"/>
              <a:gd name="connsiteX9" fmla="*/ 1438275 w 1768475"/>
              <a:gd name="connsiteY9" fmla="*/ 2117725 h 2263775"/>
              <a:gd name="connsiteX10" fmla="*/ 1422400 w 1768475"/>
              <a:gd name="connsiteY10" fmla="*/ 2111375 h 2263775"/>
              <a:gd name="connsiteX11" fmla="*/ 1362075 w 1768475"/>
              <a:gd name="connsiteY11" fmla="*/ 2117725 h 2263775"/>
              <a:gd name="connsiteX12" fmla="*/ 1308100 w 1768475"/>
              <a:gd name="connsiteY12" fmla="*/ 2073275 h 2263775"/>
              <a:gd name="connsiteX13" fmla="*/ 1276350 w 1768475"/>
              <a:gd name="connsiteY13" fmla="*/ 2051050 h 2263775"/>
              <a:gd name="connsiteX14" fmla="*/ 1241425 w 1768475"/>
              <a:gd name="connsiteY14" fmla="*/ 2038350 h 2263775"/>
              <a:gd name="connsiteX15" fmla="*/ 1216025 w 1768475"/>
              <a:gd name="connsiteY15" fmla="*/ 2003425 h 2263775"/>
              <a:gd name="connsiteX16" fmla="*/ 1168400 w 1768475"/>
              <a:gd name="connsiteY16" fmla="*/ 1990725 h 2263775"/>
              <a:gd name="connsiteX17" fmla="*/ 1130300 w 1768475"/>
              <a:gd name="connsiteY17" fmla="*/ 1968500 h 2263775"/>
              <a:gd name="connsiteX18" fmla="*/ 1095375 w 1768475"/>
              <a:gd name="connsiteY18" fmla="*/ 1971675 h 2263775"/>
              <a:gd name="connsiteX19" fmla="*/ 1079500 w 1768475"/>
              <a:gd name="connsiteY19" fmla="*/ 1949450 h 2263775"/>
              <a:gd name="connsiteX20" fmla="*/ 1035050 w 1768475"/>
              <a:gd name="connsiteY20" fmla="*/ 1936750 h 2263775"/>
              <a:gd name="connsiteX21" fmla="*/ 1009650 w 1768475"/>
              <a:gd name="connsiteY21" fmla="*/ 1943100 h 2263775"/>
              <a:gd name="connsiteX22" fmla="*/ 962025 w 1768475"/>
              <a:gd name="connsiteY22" fmla="*/ 1936750 h 2263775"/>
              <a:gd name="connsiteX23" fmla="*/ 917575 w 1768475"/>
              <a:gd name="connsiteY23" fmla="*/ 1952625 h 2263775"/>
              <a:gd name="connsiteX24" fmla="*/ 850900 w 1768475"/>
              <a:gd name="connsiteY24" fmla="*/ 1946275 h 2263775"/>
              <a:gd name="connsiteX25" fmla="*/ 850900 w 1768475"/>
              <a:gd name="connsiteY25" fmla="*/ 1946275 h 2263775"/>
              <a:gd name="connsiteX26" fmla="*/ 796925 w 1768475"/>
              <a:gd name="connsiteY26" fmla="*/ 1952625 h 2263775"/>
              <a:gd name="connsiteX27" fmla="*/ 809625 w 1768475"/>
              <a:gd name="connsiteY27" fmla="*/ 1927225 h 2263775"/>
              <a:gd name="connsiteX28" fmla="*/ 787400 w 1768475"/>
              <a:gd name="connsiteY28" fmla="*/ 1917700 h 2263775"/>
              <a:gd name="connsiteX29" fmla="*/ 806450 w 1768475"/>
              <a:gd name="connsiteY29" fmla="*/ 1857375 h 2263775"/>
              <a:gd name="connsiteX30" fmla="*/ 781050 w 1768475"/>
              <a:gd name="connsiteY30" fmla="*/ 1803400 h 2263775"/>
              <a:gd name="connsiteX31" fmla="*/ 736600 w 1768475"/>
              <a:gd name="connsiteY31" fmla="*/ 1762125 h 2263775"/>
              <a:gd name="connsiteX32" fmla="*/ 692150 w 1768475"/>
              <a:gd name="connsiteY32" fmla="*/ 1739900 h 2263775"/>
              <a:gd name="connsiteX33" fmla="*/ 647700 w 1768475"/>
              <a:gd name="connsiteY33" fmla="*/ 1803400 h 2263775"/>
              <a:gd name="connsiteX34" fmla="*/ 590550 w 1768475"/>
              <a:gd name="connsiteY34" fmla="*/ 1860550 h 2263775"/>
              <a:gd name="connsiteX35" fmla="*/ 552450 w 1768475"/>
              <a:gd name="connsiteY35" fmla="*/ 1870075 h 2263775"/>
              <a:gd name="connsiteX36" fmla="*/ 508000 w 1768475"/>
              <a:gd name="connsiteY36" fmla="*/ 1847850 h 2263775"/>
              <a:gd name="connsiteX37" fmla="*/ 463550 w 1768475"/>
              <a:gd name="connsiteY37" fmla="*/ 1851025 h 2263775"/>
              <a:gd name="connsiteX38" fmla="*/ 406400 w 1768475"/>
              <a:gd name="connsiteY38" fmla="*/ 1828800 h 2263775"/>
              <a:gd name="connsiteX39" fmla="*/ 365125 w 1768475"/>
              <a:gd name="connsiteY39" fmla="*/ 1835150 h 2263775"/>
              <a:gd name="connsiteX40" fmla="*/ 323850 w 1768475"/>
              <a:gd name="connsiteY40" fmla="*/ 1806575 h 2263775"/>
              <a:gd name="connsiteX41" fmla="*/ 301625 w 1768475"/>
              <a:gd name="connsiteY41" fmla="*/ 1765300 h 2263775"/>
              <a:gd name="connsiteX42" fmla="*/ 250825 w 1768475"/>
              <a:gd name="connsiteY42" fmla="*/ 1736725 h 2263775"/>
              <a:gd name="connsiteX43" fmla="*/ 212725 w 1768475"/>
              <a:gd name="connsiteY43" fmla="*/ 1704975 h 2263775"/>
              <a:gd name="connsiteX44" fmla="*/ 190500 w 1768475"/>
              <a:gd name="connsiteY44" fmla="*/ 1708150 h 2263775"/>
              <a:gd name="connsiteX45" fmla="*/ 171450 w 1768475"/>
              <a:gd name="connsiteY45" fmla="*/ 1679575 h 2263775"/>
              <a:gd name="connsiteX46" fmla="*/ 114300 w 1768475"/>
              <a:gd name="connsiteY46" fmla="*/ 1660525 h 2263775"/>
              <a:gd name="connsiteX47" fmla="*/ 66675 w 1768475"/>
              <a:gd name="connsiteY47" fmla="*/ 1673225 h 2263775"/>
              <a:gd name="connsiteX48" fmla="*/ 0 w 1768475"/>
              <a:gd name="connsiteY48" fmla="*/ 1638300 h 2263775"/>
              <a:gd name="connsiteX49" fmla="*/ 19050 w 1768475"/>
              <a:gd name="connsiteY49" fmla="*/ 1597025 h 2263775"/>
              <a:gd name="connsiteX50" fmla="*/ 19050 w 1768475"/>
              <a:gd name="connsiteY50" fmla="*/ 1558925 h 2263775"/>
              <a:gd name="connsiteX51" fmla="*/ 57150 w 1768475"/>
              <a:gd name="connsiteY51" fmla="*/ 1524000 h 2263775"/>
              <a:gd name="connsiteX52" fmla="*/ 47625 w 1768475"/>
              <a:gd name="connsiteY52" fmla="*/ 1457325 h 2263775"/>
              <a:gd name="connsiteX53" fmla="*/ 82550 w 1768475"/>
              <a:gd name="connsiteY53" fmla="*/ 1438275 h 2263775"/>
              <a:gd name="connsiteX54" fmla="*/ 155575 w 1768475"/>
              <a:gd name="connsiteY54" fmla="*/ 1422400 h 2263775"/>
              <a:gd name="connsiteX55" fmla="*/ 209550 w 1768475"/>
              <a:gd name="connsiteY55" fmla="*/ 1390650 h 2263775"/>
              <a:gd name="connsiteX56" fmla="*/ 247650 w 1768475"/>
              <a:gd name="connsiteY56" fmla="*/ 1406525 h 2263775"/>
              <a:gd name="connsiteX57" fmla="*/ 269875 w 1768475"/>
              <a:gd name="connsiteY57" fmla="*/ 1377950 h 2263775"/>
              <a:gd name="connsiteX58" fmla="*/ 349250 w 1768475"/>
              <a:gd name="connsiteY58" fmla="*/ 1381125 h 2263775"/>
              <a:gd name="connsiteX59" fmla="*/ 330200 w 1768475"/>
              <a:gd name="connsiteY59" fmla="*/ 1339850 h 2263775"/>
              <a:gd name="connsiteX60" fmla="*/ 361950 w 1768475"/>
              <a:gd name="connsiteY60" fmla="*/ 1311275 h 2263775"/>
              <a:gd name="connsiteX61" fmla="*/ 438150 w 1768475"/>
              <a:gd name="connsiteY61" fmla="*/ 1298575 h 2263775"/>
              <a:gd name="connsiteX62" fmla="*/ 466725 w 1768475"/>
              <a:gd name="connsiteY62" fmla="*/ 1235075 h 2263775"/>
              <a:gd name="connsiteX63" fmla="*/ 539750 w 1768475"/>
              <a:gd name="connsiteY63" fmla="*/ 1219200 h 2263775"/>
              <a:gd name="connsiteX64" fmla="*/ 596900 w 1768475"/>
              <a:gd name="connsiteY64" fmla="*/ 1162050 h 2263775"/>
              <a:gd name="connsiteX65" fmla="*/ 635000 w 1768475"/>
              <a:gd name="connsiteY65" fmla="*/ 1095375 h 2263775"/>
              <a:gd name="connsiteX66" fmla="*/ 660400 w 1768475"/>
              <a:gd name="connsiteY66" fmla="*/ 1041400 h 2263775"/>
              <a:gd name="connsiteX67" fmla="*/ 701675 w 1768475"/>
              <a:gd name="connsiteY67" fmla="*/ 1019175 h 2263775"/>
              <a:gd name="connsiteX68" fmla="*/ 717550 w 1768475"/>
              <a:gd name="connsiteY68" fmla="*/ 974725 h 2263775"/>
              <a:gd name="connsiteX69" fmla="*/ 762000 w 1768475"/>
              <a:gd name="connsiteY69" fmla="*/ 942975 h 2263775"/>
              <a:gd name="connsiteX70" fmla="*/ 825500 w 1768475"/>
              <a:gd name="connsiteY70" fmla="*/ 885825 h 2263775"/>
              <a:gd name="connsiteX71" fmla="*/ 860425 w 1768475"/>
              <a:gd name="connsiteY71" fmla="*/ 869950 h 2263775"/>
              <a:gd name="connsiteX72" fmla="*/ 873125 w 1768475"/>
              <a:gd name="connsiteY72" fmla="*/ 806450 h 2263775"/>
              <a:gd name="connsiteX73" fmla="*/ 854075 w 1768475"/>
              <a:gd name="connsiteY73" fmla="*/ 765175 h 2263775"/>
              <a:gd name="connsiteX74" fmla="*/ 879475 w 1768475"/>
              <a:gd name="connsiteY74" fmla="*/ 739775 h 2263775"/>
              <a:gd name="connsiteX75" fmla="*/ 908050 w 1768475"/>
              <a:gd name="connsiteY75" fmla="*/ 692150 h 2263775"/>
              <a:gd name="connsiteX76" fmla="*/ 936625 w 1768475"/>
              <a:gd name="connsiteY76" fmla="*/ 701675 h 2263775"/>
              <a:gd name="connsiteX77" fmla="*/ 1009650 w 1768475"/>
              <a:gd name="connsiteY77" fmla="*/ 660400 h 2263775"/>
              <a:gd name="connsiteX78" fmla="*/ 1025525 w 1768475"/>
              <a:gd name="connsiteY78" fmla="*/ 603250 h 2263775"/>
              <a:gd name="connsiteX79" fmla="*/ 1038225 w 1768475"/>
              <a:gd name="connsiteY79" fmla="*/ 546100 h 2263775"/>
              <a:gd name="connsiteX80" fmla="*/ 1073150 w 1768475"/>
              <a:gd name="connsiteY80" fmla="*/ 482600 h 2263775"/>
              <a:gd name="connsiteX81" fmla="*/ 1139825 w 1768475"/>
              <a:gd name="connsiteY81" fmla="*/ 444500 h 2263775"/>
              <a:gd name="connsiteX82" fmla="*/ 1177925 w 1768475"/>
              <a:gd name="connsiteY82" fmla="*/ 428625 h 2263775"/>
              <a:gd name="connsiteX83" fmla="*/ 1193800 w 1768475"/>
              <a:gd name="connsiteY83" fmla="*/ 390525 h 2263775"/>
              <a:gd name="connsiteX84" fmla="*/ 1203325 w 1768475"/>
              <a:gd name="connsiteY84" fmla="*/ 352425 h 2263775"/>
              <a:gd name="connsiteX85" fmla="*/ 1254125 w 1768475"/>
              <a:gd name="connsiteY85" fmla="*/ 320675 h 2263775"/>
              <a:gd name="connsiteX86" fmla="*/ 1250950 w 1768475"/>
              <a:gd name="connsiteY86" fmla="*/ 276225 h 2263775"/>
              <a:gd name="connsiteX87" fmla="*/ 1292225 w 1768475"/>
              <a:gd name="connsiteY87" fmla="*/ 222250 h 2263775"/>
              <a:gd name="connsiteX88" fmla="*/ 1320800 w 1768475"/>
              <a:gd name="connsiteY88" fmla="*/ 171450 h 2263775"/>
              <a:gd name="connsiteX89" fmla="*/ 1292225 w 1768475"/>
              <a:gd name="connsiteY89" fmla="*/ 104775 h 2263775"/>
              <a:gd name="connsiteX90" fmla="*/ 1270000 w 1768475"/>
              <a:gd name="connsiteY90" fmla="*/ 57150 h 2263775"/>
              <a:gd name="connsiteX91" fmla="*/ 1295400 w 1768475"/>
              <a:gd name="connsiteY91" fmla="*/ 0 h 2263775"/>
              <a:gd name="connsiteX0" fmla="*/ 1768475 w 1768475"/>
              <a:gd name="connsiteY0" fmla="*/ 2263775 h 2263775"/>
              <a:gd name="connsiteX1" fmla="*/ 1752600 w 1768475"/>
              <a:gd name="connsiteY1" fmla="*/ 2206625 h 2263775"/>
              <a:gd name="connsiteX2" fmla="*/ 1720850 w 1768475"/>
              <a:gd name="connsiteY2" fmla="*/ 2162175 h 2263775"/>
              <a:gd name="connsiteX3" fmla="*/ 1682750 w 1768475"/>
              <a:gd name="connsiteY3" fmla="*/ 2149475 h 2263775"/>
              <a:gd name="connsiteX4" fmla="*/ 1628775 w 1768475"/>
              <a:gd name="connsiteY4" fmla="*/ 2152650 h 2263775"/>
              <a:gd name="connsiteX5" fmla="*/ 1587500 w 1768475"/>
              <a:gd name="connsiteY5" fmla="*/ 2149475 h 2263775"/>
              <a:gd name="connsiteX6" fmla="*/ 1552575 w 1768475"/>
              <a:gd name="connsiteY6" fmla="*/ 2130425 h 2263775"/>
              <a:gd name="connsiteX7" fmla="*/ 1524000 w 1768475"/>
              <a:gd name="connsiteY7" fmla="*/ 2143125 h 2263775"/>
              <a:gd name="connsiteX8" fmla="*/ 1473200 w 1768475"/>
              <a:gd name="connsiteY8" fmla="*/ 2130425 h 2263775"/>
              <a:gd name="connsiteX9" fmla="*/ 1438275 w 1768475"/>
              <a:gd name="connsiteY9" fmla="*/ 2117725 h 2263775"/>
              <a:gd name="connsiteX10" fmla="*/ 1422400 w 1768475"/>
              <a:gd name="connsiteY10" fmla="*/ 2111375 h 2263775"/>
              <a:gd name="connsiteX11" fmla="*/ 1362075 w 1768475"/>
              <a:gd name="connsiteY11" fmla="*/ 2117725 h 2263775"/>
              <a:gd name="connsiteX12" fmla="*/ 1308100 w 1768475"/>
              <a:gd name="connsiteY12" fmla="*/ 2073275 h 2263775"/>
              <a:gd name="connsiteX13" fmla="*/ 1276350 w 1768475"/>
              <a:gd name="connsiteY13" fmla="*/ 2051050 h 2263775"/>
              <a:gd name="connsiteX14" fmla="*/ 1241425 w 1768475"/>
              <a:gd name="connsiteY14" fmla="*/ 2038350 h 2263775"/>
              <a:gd name="connsiteX15" fmla="*/ 1216025 w 1768475"/>
              <a:gd name="connsiteY15" fmla="*/ 2003425 h 2263775"/>
              <a:gd name="connsiteX16" fmla="*/ 1168400 w 1768475"/>
              <a:gd name="connsiteY16" fmla="*/ 1990725 h 2263775"/>
              <a:gd name="connsiteX17" fmla="*/ 1130300 w 1768475"/>
              <a:gd name="connsiteY17" fmla="*/ 1968500 h 2263775"/>
              <a:gd name="connsiteX18" fmla="*/ 1095375 w 1768475"/>
              <a:gd name="connsiteY18" fmla="*/ 1971675 h 2263775"/>
              <a:gd name="connsiteX19" fmla="*/ 1079500 w 1768475"/>
              <a:gd name="connsiteY19" fmla="*/ 1949450 h 2263775"/>
              <a:gd name="connsiteX20" fmla="*/ 1035050 w 1768475"/>
              <a:gd name="connsiteY20" fmla="*/ 1936750 h 2263775"/>
              <a:gd name="connsiteX21" fmla="*/ 1009650 w 1768475"/>
              <a:gd name="connsiteY21" fmla="*/ 1943100 h 2263775"/>
              <a:gd name="connsiteX22" fmla="*/ 962025 w 1768475"/>
              <a:gd name="connsiteY22" fmla="*/ 1936750 h 2263775"/>
              <a:gd name="connsiteX23" fmla="*/ 917575 w 1768475"/>
              <a:gd name="connsiteY23" fmla="*/ 1952625 h 2263775"/>
              <a:gd name="connsiteX24" fmla="*/ 850900 w 1768475"/>
              <a:gd name="connsiteY24" fmla="*/ 1946275 h 2263775"/>
              <a:gd name="connsiteX25" fmla="*/ 850900 w 1768475"/>
              <a:gd name="connsiteY25" fmla="*/ 1946275 h 2263775"/>
              <a:gd name="connsiteX26" fmla="*/ 796925 w 1768475"/>
              <a:gd name="connsiteY26" fmla="*/ 1952625 h 2263775"/>
              <a:gd name="connsiteX27" fmla="*/ 809625 w 1768475"/>
              <a:gd name="connsiteY27" fmla="*/ 1927225 h 2263775"/>
              <a:gd name="connsiteX28" fmla="*/ 787400 w 1768475"/>
              <a:gd name="connsiteY28" fmla="*/ 1917700 h 2263775"/>
              <a:gd name="connsiteX29" fmla="*/ 806450 w 1768475"/>
              <a:gd name="connsiteY29" fmla="*/ 1857375 h 2263775"/>
              <a:gd name="connsiteX30" fmla="*/ 781050 w 1768475"/>
              <a:gd name="connsiteY30" fmla="*/ 1803400 h 2263775"/>
              <a:gd name="connsiteX31" fmla="*/ 736600 w 1768475"/>
              <a:gd name="connsiteY31" fmla="*/ 1762125 h 2263775"/>
              <a:gd name="connsiteX32" fmla="*/ 692150 w 1768475"/>
              <a:gd name="connsiteY32" fmla="*/ 1739900 h 2263775"/>
              <a:gd name="connsiteX33" fmla="*/ 647700 w 1768475"/>
              <a:gd name="connsiteY33" fmla="*/ 1803400 h 2263775"/>
              <a:gd name="connsiteX34" fmla="*/ 590550 w 1768475"/>
              <a:gd name="connsiteY34" fmla="*/ 1860550 h 2263775"/>
              <a:gd name="connsiteX35" fmla="*/ 552450 w 1768475"/>
              <a:gd name="connsiteY35" fmla="*/ 1870075 h 2263775"/>
              <a:gd name="connsiteX36" fmla="*/ 508000 w 1768475"/>
              <a:gd name="connsiteY36" fmla="*/ 1847850 h 2263775"/>
              <a:gd name="connsiteX37" fmla="*/ 463550 w 1768475"/>
              <a:gd name="connsiteY37" fmla="*/ 1851025 h 2263775"/>
              <a:gd name="connsiteX38" fmla="*/ 406400 w 1768475"/>
              <a:gd name="connsiteY38" fmla="*/ 1828800 h 2263775"/>
              <a:gd name="connsiteX39" fmla="*/ 365125 w 1768475"/>
              <a:gd name="connsiteY39" fmla="*/ 1835150 h 2263775"/>
              <a:gd name="connsiteX40" fmla="*/ 323850 w 1768475"/>
              <a:gd name="connsiteY40" fmla="*/ 1806575 h 2263775"/>
              <a:gd name="connsiteX41" fmla="*/ 301625 w 1768475"/>
              <a:gd name="connsiteY41" fmla="*/ 1765300 h 2263775"/>
              <a:gd name="connsiteX42" fmla="*/ 250825 w 1768475"/>
              <a:gd name="connsiteY42" fmla="*/ 1736725 h 2263775"/>
              <a:gd name="connsiteX43" fmla="*/ 212725 w 1768475"/>
              <a:gd name="connsiteY43" fmla="*/ 1704975 h 2263775"/>
              <a:gd name="connsiteX44" fmla="*/ 190500 w 1768475"/>
              <a:gd name="connsiteY44" fmla="*/ 1708150 h 2263775"/>
              <a:gd name="connsiteX45" fmla="*/ 171450 w 1768475"/>
              <a:gd name="connsiteY45" fmla="*/ 1679575 h 2263775"/>
              <a:gd name="connsiteX46" fmla="*/ 114300 w 1768475"/>
              <a:gd name="connsiteY46" fmla="*/ 1660525 h 2263775"/>
              <a:gd name="connsiteX47" fmla="*/ 66675 w 1768475"/>
              <a:gd name="connsiteY47" fmla="*/ 1673225 h 2263775"/>
              <a:gd name="connsiteX48" fmla="*/ 0 w 1768475"/>
              <a:gd name="connsiteY48" fmla="*/ 1638300 h 2263775"/>
              <a:gd name="connsiteX49" fmla="*/ 19050 w 1768475"/>
              <a:gd name="connsiteY49" fmla="*/ 1597025 h 2263775"/>
              <a:gd name="connsiteX50" fmla="*/ 19050 w 1768475"/>
              <a:gd name="connsiteY50" fmla="*/ 1558925 h 2263775"/>
              <a:gd name="connsiteX51" fmla="*/ 47625 w 1768475"/>
              <a:gd name="connsiteY51" fmla="*/ 1457325 h 2263775"/>
              <a:gd name="connsiteX52" fmla="*/ 82550 w 1768475"/>
              <a:gd name="connsiteY52" fmla="*/ 1438275 h 2263775"/>
              <a:gd name="connsiteX53" fmla="*/ 155575 w 1768475"/>
              <a:gd name="connsiteY53" fmla="*/ 1422400 h 2263775"/>
              <a:gd name="connsiteX54" fmla="*/ 209550 w 1768475"/>
              <a:gd name="connsiteY54" fmla="*/ 1390650 h 2263775"/>
              <a:gd name="connsiteX55" fmla="*/ 247650 w 1768475"/>
              <a:gd name="connsiteY55" fmla="*/ 1406525 h 2263775"/>
              <a:gd name="connsiteX56" fmla="*/ 269875 w 1768475"/>
              <a:gd name="connsiteY56" fmla="*/ 1377950 h 2263775"/>
              <a:gd name="connsiteX57" fmla="*/ 349250 w 1768475"/>
              <a:gd name="connsiteY57" fmla="*/ 1381125 h 2263775"/>
              <a:gd name="connsiteX58" fmla="*/ 330200 w 1768475"/>
              <a:gd name="connsiteY58" fmla="*/ 1339850 h 2263775"/>
              <a:gd name="connsiteX59" fmla="*/ 361950 w 1768475"/>
              <a:gd name="connsiteY59" fmla="*/ 1311275 h 2263775"/>
              <a:gd name="connsiteX60" fmla="*/ 438150 w 1768475"/>
              <a:gd name="connsiteY60" fmla="*/ 1298575 h 2263775"/>
              <a:gd name="connsiteX61" fmla="*/ 466725 w 1768475"/>
              <a:gd name="connsiteY61" fmla="*/ 1235075 h 2263775"/>
              <a:gd name="connsiteX62" fmla="*/ 539750 w 1768475"/>
              <a:gd name="connsiteY62" fmla="*/ 1219200 h 2263775"/>
              <a:gd name="connsiteX63" fmla="*/ 596900 w 1768475"/>
              <a:gd name="connsiteY63" fmla="*/ 1162050 h 2263775"/>
              <a:gd name="connsiteX64" fmla="*/ 635000 w 1768475"/>
              <a:gd name="connsiteY64" fmla="*/ 1095375 h 2263775"/>
              <a:gd name="connsiteX65" fmla="*/ 660400 w 1768475"/>
              <a:gd name="connsiteY65" fmla="*/ 1041400 h 2263775"/>
              <a:gd name="connsiteX66" fmla="*/ 701675 w 1768475"/>
              <a:gd name="connsiteY66" fmla="*/ 1019175 h 2263775"/>
              <a:gd name="connsiteX67" fmla="*/ 717550 w 1768475"/>
              <a:gd name="connsiteY67" fmla="*/ 974725 h 2263775"/>
              <a:gd name="connsiteX68" fmla="*/ 762000 w 1768475"/>
              <a:gd name="connsiteY68" fmla="*/ 942975 h 2263775"/>
              <a:gd name="connsiteX69" fmla="*/ 825500 w 1768475"/>
              <a:gd name="connsiteY69" fmla="*/ 885825 h 2263775"/>
              <a:gd name="connsiteX70" fmla="*/ 860425 w 1768475"/>
              <a:gd name="connsiteY70" fmla="*/ 869950 h 2263775"/>
              <a:gd name="connsiteX71" fmla="*/ 873125 w 1768475"/>
              <a:gd name="connsiteY71" fmla="*/ 806450 h 2263775"/>
              <a:gd name="connsiteX72" fmla="*/ 854075 w 1768475"/>
              <a:gd name="connsiteY72" fmla="*/ 765175 h 2263775"/>
              <a:gd name="connsiteX73" fmla="*/ 879475 w 1768475"/>
              <a:gd name="connsiteY73" fmla="*/ 739775 h 2263775"/>
              <a:gd name="connsiteX74" fmla="*/ 908050 w 1768475"/>
              <a:gd name="connsiteY74" fmla="*/ 692150 h 2263775"/>
              <a:gd name="connsiteX75" fmla="*/ 936625 w 1768475"/>
              <a:gd name="connsiteY75" fmla="*/ 701675 h 2263775"/>
              <a:gd name="connsiteX76" fmla="*/ 1009650 w 1768475"/>
              <a:gd name="connsiteY76" fmla="*/ 660400 h 2263775"/>
              <a:gd name="connsiteX77" fmla="*/ 1025525 w 1768475"/>
              <a:gd name="connsiteY77" fmla="*/ 603250 h 2263775"/>
              <a:gd name="connsiteX78" fmla="*/ 1038225 w 1768475"/>
              <a:gd name="connsiteY78" fmla="*/ 546100 h 2263775"/>
              <a:gd name="connsiteX79" fmla="*/ 1073150 w 1768475"/>
              <a:gd name="connsiteY79" fmla="*/ 482600 h 2263775"/>
              <a:gd name="connsiteX80" fmla="*/ 1139825 w 1768475"/>
              <a:gd name="connsiteY80" fmla="*/ 444500 h 2263775"/>
              <a:gd name="connsiteX81" fmla="*/ 1177925 w 1768475"/>
              <a:gd name="connsiteY81" fmla="*/ 428625 h 2263775"/>
              <a:gd name="connsiteX82" fmla="*/ 1193800 w 1768475"/>
              <a:gd name="connsiteY82" fmla="*/ 390525 h 2263775"/>
              <a:gd name="connsiteX83" fmla="*/ 1203325 w 1768475"/>
              <a:gd name="connsiteY83" fmla="*/ 352425 h 2263775"/>
              <a:gd name="connsiteX84" fmla="*/ 1254125 w 1768475"/>
              <a:gd name="connsiteY84" fmla="*/ 320675 h 2263775"/>
              <a:gd name="connsiteX85" fmla="*/ 1250950 w 1768475"/>
              <a:gd name="connsiteY85" fmla="*/ 276225 h 2263775"/>
              <a:gd name="connsiteX86" fmla="*/ 1292225 w 1768475"/>
              <a:gd name="connsiteY86" fmla="*/ 222250 h 2263775"/>
              <a:gd name="connsiteX87" fmla="*/ 1320800 w 1768475"/>
              <a:gd name="connsiteY87" fmla="*/ 171450 h 2263775"/>
              <a:gd name="connsiteX88" fmla="*/ 1292225 w 1768475"/>
              <a:gd name="connsiteY88" fmla="*/ 104775 h 2263775"/>
              <a:gd name="connsiteX89" fmla="*/ 1270000 w 1768475"/>
              <a:gd name="connsiteY89" fmla="*/ 57150 h 2263775"/>
              <a:gd name="connsiteX90" fmla="*/ 1295400 w 1768475"/>
              <a:gd name="connsiteY90" fmla="*/ 0 h 2263775"/>
              <a:gd name="connsiteX0" fmla="*/ 1768475 w 1768475"/>
              <a:gd name="connsiteY0" fmla="*/ 2263775 h 2263775"/>
              <a:gd name="connsiteX1" fmla="*/ 1752600 w 1768475"/>
              <a:gd name="connsiteY1" fmla="*/ 2206625 h 2263775"/>
              <a:gd name="connsiteX2" fmla="*/ 1720850 w 1768475"/>
              <a:gd name="connsiteY2" fmla="*/ 2162175 h 2263775"/>
              <a:gd name="connsiteX3" fmla="*/ 1682750 w 1768475"/>
              <a:gd name="connsiteY3" fmla="*/ 2149475 h 2263775"/>
              <a:gd name="connsiteX4" fmla="*/ 1628775 w 1768475"/>
              <a:gd name="connsiteY4" fmla="*/ 2152650 h 2263775"/>
              <a:gd name="connsiteX5" fmla="*/ 1587500 w 1768475"/>
              <a:gd name="connsiteY5" fmla="*/ 2149475 h 2263775"/>
              <a:gd name="connsiteX6" fmla="*/ 1552575 w 1768475"/>
              <a:gd name="connsiteY6" fmla="*/ 2130425 h 2263775"/>
              <a:gd name="connsiteX7" fmla="*/ 1524000 w 1768475"/>
              <a:gd name="connsiteY7" fmla="*/ 2143125 h 2263775"/>
              <a:gd name="connsiteX8" fmla="*/ 1473200 w 1768475"/>
              <a:gd name="connsiteY8" fmla="*/ 2130425 h 2263775"/>
              <a:gd name="connsiteX9" fmla="*/ 1438275 w 1768475"/>
              <a:gd name="connsiteY9" fmla="*/ 2117725 h 2263775"/>
              <a:gd name="connsiteX10" fmla="*/ 1422400 w 1768475"/>
              <a:gd name="connsiteY10" fmla="*/ 2111375 h 2263775"/>
              <a:gd name="connsiteX11" fmla="*/ 1362075 w 1768475"/>
              <a:gd name="connsiteY11" fmla="*/ 2117725 h 2263775"/>
              <a:gd name="connsiteX12" fmla="*/ 1308100 w 1768475"/>
              <a:gd name="connsiteY12" fmla="*/ 2073275 h 2263775"/>
              <a:gd name="connsiteX13" fmla="*/ 1276350 w 1768475"/>
              <a:gd name="connsiteY13" fmla="*/ 2051050 h 2263775"/>
              <a:gd name="connsiteX14" fmla="*/ 1241425 w 1768475"/>
              <a:gd name="connsiteY14" fmla="*/ 2038350 h 2263775"/>
              <a:gd name="connsiteX15" fmla="*/ 1216025 w 1768475"/>
              <a:gd name="connsiteY15" fmla="*/ 2003425 h 2263775"/>
              <a:gd name="connsiteX16" fmla="*/ 1168400 w 1768475"/>
              <a:gd name="connsiteY16" fmla="*/ 1990725 h 2263775"/>
              <a:gd name="connsiteX17" fmla="*/ 1130300 w 1768475"/>
              <a:gd name="connsiteY17" fmla="*/ 1968500 h 2263775"/>
              <a:gd name="connsiteX18" fmla="*/ 1095375 w 1768475"/>
              <a:gd name="connsiteY18" fmla="*/ 1971675 h 2263775"/>
              <a:gd name="connsiteX19" fmla="*/ 1079500 w 1768475"/>
              <a:gd name="connsiteY19" fmla="*/ 1949450 h 2263775"/>
              <a:gd name="connsiteX20" fmla="*/ 1035050 w 1768475"/>
              <a:gd name="connsiteY20" fmla="*/ 1936750 h 2263775"/>
              <a:gd name="connsiteX21" fmla="*/ 1009650 w 1768475"/>
              <a:gd name="connsiteY21" fmla="*/ 1943100 h 2263775"/>
              <a:gd name="connsiteX22" fmla="*/ 962025 w 1768475"/>
              <a:gd name="connsiteY22" fmla="*/ 1936750 h 2263775"/>
              <a:gd name="connsiteX23" fmla="*/ 917575 w 1768475"/>
              <a:gd name="connsiteY23" fmla="*/ 1952625 h 2263775"/>
              <a:gd name="connsiteX24" fmla="*/ 850900 w 1768475"/>
              <a:gd name="connsiteY24" fmla="*/ 1946275 h 2263775"/>
              <a:gd name="connsiteX25" fmla="*/ 850900 w 1768475"/>
              <a:gd name="connsiteY25" fmla="*/ 1946275 h 2263775"/>
              <a:gd name="connsiteX26" fmla="*/ 796925 w 1768475"/>
              <a:gd name="connsiteY26" fmla="*/ 1952625 h 2263775"/>
              <a:gd name="connsiteX27" fmla="*/ 809625 w 1768475"/>
              <a:gd name="connsiteY27" fmla="*/ 1927225 h 2263775"/>
              <a:gd name="connsiteX28" fmla="*/ 787400 w 1768475"/>
              <a:gd name="connsiteY28" fmla="*/ 1917700 h 2263775"/>
              <a:gd name="connsiteX29" fmla="*/ 806450 w 1768475"/>
              <a:gd name="connsiteY29" fmla="*/ 1857375 h 2263775"/>
              <a:gd name="connsiteX30" fmla="*/ 781050 w 1768475"/>
              <a:gd name="connsiteY30" fmla="*/ 1803400 h 2263775"/>
              <a:gd name="connsiteX31" fmla="*/ 736600 w 1768475"/>
              <a:gd name="connsiteY31" fmla="*/ 1762125 h 2263775"/>
              <a:gd name="connsiteX32" fmla="*/ 692150 w 1768475"/>
              <a:gd name="connsiteY32" fmla="*/ 1739900 h 2263775"/>
              <a:gd name="connsiteX33" fmla="*/ 647700 w 1768475"/>
              <a:gd name="connsiteY33" fmla="*/ 1803400 h 2263775"/>
              <a:gd name="connsiteX34" fmla="*/ 590550 w 1768475"/>
              <a:gd name="connsiteY34" fmla="*/ 1860550 h 2263775"/>
              <a:gd name="connsiteX35" fmla="*/ 552450 w 1768475"/>
              <a:gd name="connsiteY35" fmla="*/ 1870075 h 2263775"/>
              <a:gd name="connsiteX36" fmla="*/ 508000 w 1768475"/>
              <a:gd name="connsiteY36" fmla="*/ 1847850 h 2263775"/>
              <a:gd name="connsiteX37" fmla="*/ 463550 w 1768475"/>
              <a:gd name="connsiteY37" fmla="*/ 1851025 h 2263775"/>
              <a:gd name="connsiteX38" fmla="*/ 406400 w 1768475"/>
              <a:gd name="connsiteY38" fmla="*/ 1828800 h 2263775"/>
              <a:gd name="connsiteX39" fmla="*/ 365125 w 1768475"/>
              <a:gd name="connsiteY39" fmla="*/ 1835150 h 2263775"/>
              <a:gd name="connsiteX40" fmla="*/ 323850 w 1768475"/>
              <a:gd name="connsiteY40" fmla="*/ 1806575 h 2263775"/>
              <a:gd name="connsiteX41" fmla="*/ 301625 w 1768475"/>
              <a:gd name="connsiteY41" fmla="*/ 1765300 h 2263775"/>
              <a:gd name="connsiteX42" fmla="*/ 250825 w 1768475"/>
              <a:gd name="connsiteY42" fmla="*/ 1736725 h 2263775"/>
              <a:gd name="connsiteX43" fmla="*/ 212725 w 1768475"/>
              <a:gd name="connsiteY43" fmla="*/ 1704975 h 2263775"/>
              <a:gd name="connsiteX44" fmla="*/ 190500 w 1768475"/>
              <a:gd name="connsiteY44" fmla="*/ 1708150 h 2263775"/>
              <a:gd name="connsiteX45" fmla="*/ 171450 w 1768475"/>
              <a:gd name="connsiteY45" fmla="*/ 1679575 h 2263775"/>
              <a:gd name="connsiteX46" fmla="*/ 114300 w 1768475"/>
              <a:gd name="connsiteY46" fmla="*/ 1660525 h 2263775"/>
              <a:gd name="connsiteX47" fmla="*/ 66675 w 1768475"/>
              <a:gd name="connsiteY47" fmla="*/ 1673225 h 2263775"/>
              <a:gd name="connsiteX48" fmla="*/ 0 w 1768475"/>
              <a:gd name="connsiteY48" fmla="*/ 1638300 h 2263775"/>
              <a:gd name="connsiteX49" fmla="*/ 19050 w 1768475"/>
              <a:gd name="connsiteY49" fmla="*/ 1597025 h 2263775"/>
              <a:gd name="connsiteX50" fmla="*/ 47625 w 1768475"/>
              <a:gd name="connsiteY50" fmla="*/ 1457325 h 2263775"/>
              <a:gd name="connsiteX51" fmla="*/ 82550 w 1768475"/>
              <a:gd name="connsiteY51" fmla="*/ 1438275 h 2263775"/>
              <a:gd name="connsiteX52" fmla="*/ 155575 w 1768475"/>
              <a:gd name="connsiteY52" fmla="*/ 1422400 h 2263775"/>
              <a:gd name="connsiteX53" fmla="*/ 209550 w 1768475"/>
              <a:gd name="connsiteY53" fmla="*/ 1390650 h 2263775"/>
              <a:gd name="connsiteX54" fmla="*/ 247650 w 1768475"/>
              <a:gd name="connsiteY54" fmla="*/ 1406525 h 2263775"/>
              <a:gd name="connsiteX55" fmla="*/ 269875 w 1768475"/>
              <a:gd name="connsiteY55" fmla="*/ 1377950 h 2263775"/>
              <a:gd name="connsiteX56" fmla="*/ 349250 w 1768475"/>
              <a:gd name="connsiteY56" fmla="*/ 1381125 h 2263775"/>
              <a:gd name="connsiteX57" fmla="*/ 330200 w 1768475"/>
              <a:gd name="connsiteY57" fmla="*/ 1339850 h 2263775"/>
              <a:gd name="connsiteX58" fmla="*/ 361950 w 1768475"/>
              <a:gd name="connsiteY58" fmla="*/ 1311275 h 2263775"/>
              <a:gd name="connsiteX59" fmla="*/ 438150 w 1768475"/>
              <a:gd name="connsiteY59" fmla="*/ 1298575 h 2263775"/>
              <a:gd name="connsiteX60" fmla="*/ 466725 w 1768475"/>
              <a:gd name="connsiteY60" fmla="*/ 1235075 h 2263775"/>
              <a:gd name="connsiteX61" fmla="*/ 539750 w 1768475"/>
              <a:gd name="connsiteY61" fmla="*/ 1219200 h 2263775"/>
              <a:gd name="connsiteX62" fmla="*/ 596900 w 1768475"/>
              <a:gd name="connsiteY62" fmla="*/ 1162050 h 2263775"/>
              <a:gd name="connsiteX63" fmla="*/ 635000 w 1768475"/>
              <a:gd name="connsiteY63" fmla="*/ 1095375 h 2263775"/>
              <a:gd name="connsiteX64" fmla="*/ 660400 w 1768475"/>
              <a:gd name="connsiteY64" fmla="*/ 1041400 h 2263775"/>
              <a:gd name="connsiteX65" fmla="*/ 701675 w 1768475"/>
              <a:gd name="connsiteY65" fmla="*/ 1019175 h 2263775"/>
              <a:gd name="connsiteX66" fmla="*/ 717550 w 1768475"/>
              <a:gd name="connsiteY66" fmla="*/ 974725 h 2263775"/>
              <a:gd name="connsiteX67" fmla="*/ 762000 w 1768475"/>
              <a:gd name="connsiteY67" fmla="*/ 942975 h 2263775"/>
              <a:gd name="connsiteX68" fmla="*/ 825500 w 1768475"/>
              <a:gd name="connsiteY68" fmla="*/ 885825 h 2263775"/>
              <a:gd name="connsiteX69" fmla="*/ 860425 w 1768475"/>
              <a:gd name="connsiteY69" fmla="*/ 869950 h 2263775"/>
              <a:gd name="connsiteX70" fmla="*/ 873125 w 1768475"/>
              <a:gd name="connsiteY70" fmla="*/ 806450 h 2263775"/>
              <a:gd name="connsiteX71" fmla="*/ 854075 w 1768475"/>
              <a:gd name="connsiteY71" fmla="*/ 765175 h 2263775"/>
              <a:gd name="connsiteX72" fmla="*/ 879475 w 1768475"/>
              <a:gd name="connsiteY72" fmla="*/ 739775 h 2263775"/>
              <a:gd name="connsiteX73" fmla="*/ 908050 w 1768475"/>
              <a:gd name="connsiteY73" fmla="*/ 692150 h 2263775"/>
              <a:gd name="connsiteX74" fmla="*/ 936625 w 1768475"/>
              <a:gd name="connsiteY74" fmla="*/ 701675 h 2263775"/>
              <a:gd name="connsiteX75" fmla="*/ 1009650 w 1768475"/>
              <a:gd name="connsiteY75" fmla="*/ 660400 h 2263775"/>
              <a:gd name="connsiteX76" fmla="*/ 1025525 w 1768475"/>
              <a:gd name="connsiteY76" fmla="*/ 603250 h 2263775"/>
              <a:gd name="connsiteX77" fmla="*/ 1038225 w 1768475"/>
              <a:gd name="connsiteY77" fmla="*/ 546100 h 2263775"/>
              <a:gd name="connsiteX78" fmla="*/ 1073150 w 1768475"/>
              <a:gd name="connsiteY78" fmla="*/ 482600 h 2263775"/>
              <a:gd name="connsiteX79" fmla="*/ 1139825 w 1768475"/>
              <a:gd name="connsiteY79" fmla="*/ 444500 h 2263775"/>
              <a:gd name="connsiteX80" fmla="*/ 1177925 w 1768475"/>
              <a:gd name="connsiteY80" fmla="*/ 428625 h 2263775"/>
              <a:gd name="connsiteX81" fmla="*/ 1193800 w 1768475"/>
              <a:gd name="connsiteY81" fmla="*/ 390525 h 2263775"/>
              <a:gd name="connsiteX82" fmla="*/ 1203325 w 1768475"/>
              <a:gd name="connsiteY82" fmla="*/ 352425 h 2263775"/>
              <a:gd name="connsiteX83" fmla="*/ 1254125 w 1768475"/>
              <a:gd name="connsiteY83" fmla="*/ 320675 h 2263775"/>
              <a:gd name="connsiteX84" fmla="*/ 1250950 w 1768475"/>
              <a:gd name="connsiteY84" fmla="*/ 276225 h 2263775"/>
              <a:gd name="connsiteX85" fmla="*/ 1292225 w 1768475"/>
              <a:gd name="connsiteY85" fmla="*/ 222250 h 2263775"/>
              <a:gd name="connsiteX86" fmla="*/ 1320800 w 1768475"/>
              <a:gd name="connsiteY86" fmla="*/ 171450 h 2263775"/>
              <a:gd name="connsiteX87" fmla="*/ 1292225 w 1768475"/>
              <a:gd name="connsiteY87" fmla="*/ 104775 h 2263775"/>
              <a:gd name="connsiteX88" fmla="*/ 1270000 w 1768475"/>
              <a:gd name="connsiteY88" fmla="*/ 57150 h 2263775"/>
              <a:gd name="connsiteX89" fmla="*/ 1295400 w 1768475"/>
              <a:gd name="connsiteY89" fmla="*/ 0 h 2263775"/>
              <a:gd name="connsiteX0" fmla="*/ 1768475 w 1768475"/>
              <a:gd name="connsiteY0" fmla="*/ 2263775 h 2263775"/>
              <a:gd name="connsiteX1" fmla="*/ 1752600 w 1768475"/>
              <a:gd name="connsiteY1" fmla="*/ 2206625 h 2263775"/>
              <a:gd name="connsiteX2" fmla="*/ 1720850 w 1768475"/>
              <a:gd name="connsiteY2" fmla="*/ 2162175 h 2263775"/>
              <a:gd name="connsiteX3" fmla="*/ 1682750 w 1768475"/>
              <a:gd name="connsiteY3" fmla="*/ 2149475 h 2263775"/>
              <a:gd name="connsiteX4" fmla="*/ 1628775 w 1768475"/>
              <a:gd name="connsiteY4" fmla="*/ 2152650 h 2263775"/>
              <a:gd name="connsiteX5" fmla="*/ 1587500 w 1768475"/>
              <a:gd name="connsiteY5" fmla="*/ 2149475 h 2263775"/>
              <a:gd name="connsiteX6" fmla="*/ 1552575 w 1768475"/>
              <a:gd name="connsiteY6" fmla="*/ 2130425 h 2263775"/>
              <a:gd name="connsiteX7" fmla="*/ 1524000 w 1768475"/>
              <a:gd name="connsiteY7" fmla="*/ 2143125 h 2263775"/>
              <a:gd name="connsiteX8" fmla="*/ 1473200 w 1768475"/>
              <a:gd name="connsiteY8" fmla="*/ 2130425 h 2263775"/>
              <a:gd name="connsiteX9" fmla="*/ 1438275 w 1768475"/>
              <a:gd name="connsiteY9" fmla="*/ 2117725 h 2263775"/>
              <a:gd name="connsiteX10" fmla="*/ 1422400 w 1768475"/>
              <a:gd name="connsiteY10" fmla="*/ 2111375 h 2263775"/>
              <a:gd name="connsiteX11" fmla="*/ 1362075 w 1768475"/>
              <a:gd name="connsiteY11" fmla="*/ 2117725 h 2263775"/>
              <a:gd name="connsiteX12" fmla="*/ 1308100 w 1768475"/>
              <a:gd name="connsiteY12" fmla="*/ 2073275 h 2263775"/>
              <a:gd name="connsiteX13" fmla="*/ 1276350 w 1768475"/>
              <a:gd name="connsiteY13" fmla="*/ 2051050 h 2263775"/>
              <a:gd name="connsiteX14" fmla="*/ 1241425 w 1768475"/>
              <a:gd name="connsiteY14" fmla="*/ 2038350 h 2263775"/>
              <a:gd name="connsiteX15" fmla="*/ 1216025 w 1768475"/>
              <a:gd name="connsiteY15" fmla="*/ 2003425 h 2263775"/>
              <a:gd name="connsiteX16" fmla="*/ 1168400 w 1768475"/>
              <a:gd name="connsiteY16" fmla="*/ 1990725 h 2263775"/>
              <a:gd name="connsiteX17" fmla="*/ 1130300 w 1768475"/>
              <a:gd name="connsiteY17" fmla="*/ 1968500 h 2263775"/>
              <a:gd name="connsiteX18" fmla="*/ 1095375 w 1768475"/>
              <a:gd name="connsiteY18" fmla="*/ 1971675 h 2263775"/>
              <a:gd name="connsiteX19" fmla="*/ 1079500 w 1768475"/>
              <a:gd name="connsiteY19" fmla="*/ 1949450 h 2263775"/>
              <a:gd name="connsiteX20" fmla="*/ 1035050 w 1768475"/>
              <a:gd name="connsiteY20" fmla="*/ 1936750 h 2263775"/>
              <a:gd name="connsiteX21" fmla="*/ 1009650 w 1768475"/>
              <a:gd name="connsiteY21" fmla="*/ 1943100 h 2263775"/>
              <a:gd name="connsiteX22" fmla="*/ 962025 w 1768475"/>
              <a:gd name="connsiteY22" fmla="*/ 1936750 h 2263775"/>
              <a:gd name="connsiteX23" fmla="*/ 917575 w 1768475"/>
              <a:gd name="connsiteY23" fmla="*/ 1952625 h 2263775"/>
              <a:gd name="connsiteX24" fmla="*/ 850900 w 1768475"/>
              <a:gd name="connsiteY24" fmla="*/ 1946275 h 2263775"/>
              <a:gd name="connsiteX25" fmla="*/ 850900 w 1768475"/>
              <a:gd name="connsiteY25" fmla="*/ 1946275 h 2263775"/>
              <a:gd name="connsiteX26" fmla="*/ 796925 w 1768475"/>
              <a:gd name="connsiteY26" fmla="*/ 1952625 h 2263775"/>
              <a:gd name="connsiteX27" fmla="*/ 809625 w 1768475"/>
              <a:gd name="connsiteY27" fmla="*/ 1927225 h 2263775"/>
              <a:gd name="connsiteX28" fmla="*/ 787400 w 1768475"/>
              <a:gd name="connsiteY28" fmla="*/ 1917700 h 2263775"/>
              <a:gd name="connsiteX29" fmla="*/ 806450 w 1768475"/>
              <a:gd name="connsiteY29" fmla="*/ 1857375 h 2263775"/>
              <a:gd name="connsiteX30" fmla="*/ 781050 w 1768475"/>
              <a:gd name="connsiteY30" fmla="*/ 1803400 h 2263775"/>
              <a:gd name="connsiteX31" fmla="*/ 736600 w 1768475"/>
              <a:gd name="connsiteY31" fmla="*/ 1762125 h 2263775"/>
              <a:gd name="connsiteX32" fmla="*/ 692150 w 1768475"/>
              <a:gd name="connsiteY32" fmla="*/ 1739900 h 2263775"/>
              <a:gd name="connsiteX33" fmla="*/ 647700 w 1768475"/>
              <a:gd name="connsiteY33" fmla="*/ 1803400 h 2263775"/>
              <a:gd name="connsiteX34" fmla="*/ 590550 w 1768475"/>
              <a:gd name="connsiteY34" fmla="*/ 1860550 h 2263775"/>
              <a:gd name="connsiteX35" fmla="*/ 552450 w 1768475"/>
              <a:gd name="connsiteY35" fmla="*/ 1870075 h 2263775"/>
              <a:gd name="connsiteX36" fmla="*/ 508000 w 1768475"/>
              <a:gd name="connsiteY36" fmla="*/ 1847850 h 2263775"/>
              <a:gd name="connsiteX37" fmla="*/ 463550 w 1768475"/>
              <a:gd name="connsiteY37" fmla="*/ 1851025 h 2263775"/>
              <a:gd name="connsiteX38" fmla="*/ 406400 w 1768475"/>
              <a:gd name="connsiteY38" fmla="*/ 1828800 h 2263775"/>
              <a:gd name="connsiteX39" fmla="*/ 365125 w 1768475"/>
              <a:gd name="connsiteY39" fmla="*/ 1835150 h 2263775"/>
              <a:gd name="connsiteX40" fmla="*/ 323850 w 1768475"/>
              <a:gd name="connsiteY40" fmla="*/ 1806575 h 2263775"/>
              <a:gd name="connsiteX41" fmla="*/ 301625 w 1768475"/>
              <a:gd name="connsiteY41" fmla="*/ 1765300 h 2263775"/>
              <a:gd name="connsiteX42" fmla="*/ 250825 w 1768475"/>
              <a:gd name="connsiteY42" fmla="*/ 1736725 h 2263775"/>
              <a:gd name="connsiteX43" fmla="*/ 212725 w 1768475"/>
              <a:gd name="connsiteY43" fmla="*/ 1704975 h 2263775"/>
              <a:gd name="connsiteX44" fmla="*/ 190500 w 1768475"/>
              <a:gd name="connsiteY44" fmla="*/ 1708150 h 2263775"/>
              <a:gd name="connsiteX45" fmla="*/ 171450 w 1768475"/>
              <a:gd name="connsiteY45" fmla="*/ 1679575 h 2263775"/>
              <a:gd name="connsiteX46" fmla="*/ 114300 w 1768475"/>
              <a:gd name="connsiteY46" fmla="*/ 1660525 h 2263775"/>
              <a:gd name="connsiteX47" fmla="*/ 66675 w 1768475"/>
              <a:gd name="connsiteY47" fmla="*/ 1673225 h 2263775"/>
              <a:gd name="connsiteX48" fmla="*/ 0 w 1768475"/>
              <a:gd name="connsiteY48" fmla="*/ 1638300 h 2263775"/>
              <a:gd name="connsiteX49" fmla="*/ 47625 w 1768475"/>
              <a:gd name="connsiteY49" fmla="*/ 1457325 h 2263775"/>
              <a:gd name="connsiteX50" fmla="*/ 82550 w 1768475"/>
              <a:gd name="connsiteY50" fmla="*/ 1438275 h 2263775"/>
              <a:gd name="connsiteX51" fmla="*/ 155575 w 1768475"/>
              <a:gd name="connsiteY51" fmla="*/ 1422400 h 2263775"/>
              <a:gd name="connsiteX52" fmla="*/ 209550 w 1768475"/>
              <a:gd name="connsiteY52" fmla="*/ 1390650 h 2263775"/>
              <a:gd name="connsiteX53" fmla="*/ 247650 w 1768475"/>
              <a:gd name="connsiteY53" fmla="*/ 1406525 h 2263775"/>
              <a:gd name="connsiteX54" fmla="*/ 269875 w 1768475"/>
              <a:gd name="connsiteY54" fmla="*/ 1377950 h 2263775"/>
              <a:gd name="connsiteX55" fmla="*/ 349250 w 1768475"/>
              <a:gd name="connsiteY55" fmla="*/ 1381125 h 2263775"/>
              <a:gd name="connsiteX56" fmla="*/ 330200 w 1768475"/>
              <a:gd name="connsiteY56" fmla="*/ 1339850 h 2263775"/>
              <a:gd name="connsiteX57" fmla="*/ 361950 w 1768475"/>
              <a:gd name="connsiteY57" fmla="*/ 1311275 h 2263775"/>
              <a:gd name="connsiteX58" fmla="*/ 438150 w 1768475"/>
              <a:gd name="connsiteY58" fmla="*/ 1298575 h 2263775"/>
              <a:gd name="connsiteX59" fmla="*/ 466725 w 1768475"/>
              <a:gd name="connsiteY59" fmla="*/ 1235075 h 2263775"/>
              <a:gd name="connsiteX60" fmla="*/ 539750 w 1768475"/>
              <a:gd name="connsiteY60" fmla="*/ 1219200 h 2263775"/>
              <a:gd name="connsiteX61" fmla="*/ 596900 w 1768475"/>
              <a:gd name="connsiteY61" fmla="*/ 1162050 h 2263775"/>
              <a:gd name="connsiteX62" fmla="*/ 635000 w 1768475"/>
              <a:gd name="connsiteY62" fmla="*/ 1095375 h 2263775"/>
              <a:gd name="connsiteX63" fmla="*/ 660400 w 1768475"/>
              <a:gd name="connsiteY63" fmla="*/ 1041400 h 2263775"/>
              <a:gd name="connsiteX64" fmla="*/ 701675 w 1768475"/>
              <a:gd name="connsiteY64" fmla="*/ 1019175 h 2263775"/>
              <a:gd name="connsiteX65" fmla="*/ 717550 w 1768475"/>
              <a:gd name="connsiteY65" fmla="*/ 974725 h 2263775"/>
              <a:gd name="connsiteX66" fmla="*/ 762000 w 1768475"/>
              <a:gd name="connsiteY66" fmla="*/ 942975 h 2263775"/>
              <a:gd name="connsiteX67" fmla="*/ 825500 w 1768475"/>
              <a:gd name="connsiteY67" fmla="*/ 885825 h 2263775"/>
              <a:gd name="connsiteX68" fmla="*/ 860425 w 1768475"/>
              <a:gd name="connsiteY68" fmla="*/ 869950 h 2263775"/>
              <a:gd name="connsiteX69" fmla="*/ 873125 w 1768475"/>
              <a:gd name="connsiteY69" fmla="*/ 806450 h 2263775"/>
              <a:gd name="connsiteX70" fmla="*/ 854075 w 1768475"/>
              <a:gd name="connsiteY70" fmla="*/ 765175 h 2263775"/>
              <a:gd name="connsiteX71" fmla="*/ 879475 w 1768475"/>
              <a:gd name="connsiteY71" fmla="*/ 739775 h 2263775"/>
              <a:gd name="connsiteX72" fmla="*/ 908050 w 1768475"/>
              <a:gd name="connsiteY72" fmla="*/ 692150 h 2263775"/>
              <a:gd name="connsiteX73" fmla="*/ 936625 w 1768475"/>
              <a:gd name="connsiteY73" fmla="*/ 701675 h 2263775"/>
              <a:gd name="connsiteX74" fmla="*/ 1009650 w 1768475"/>
              <a:gd name="connsiteY74" fmla="*/ 660400 h 2263775"/>
              <a:gd name="connsiteX75" fmla="*/ 1025525 w 1768475"/>
              <a:gd name="connsiteY75" fmla="*/ 603250 h 2263775"/>
              <a:gd name="connsiteX76" fmla="*/ 1038225 w 1768475"/>
              <a:gd name="connsiteY76" fmla="*/ 546100 h 2263775"/>
              <a:gd name="connsiteX77" fmla="*/ 1073150 w 1768475"/>
              <a:gd name="connsiteY77" fmla="*/ 482600 h 2263775"/>
              <a:gd name="connsiteX78" fmla="*/ 1139825 w 1768475"/>
              <a:gd name="connsiteY78" fmla="*/ 444500 h 2263775"/>
              <a:gd name="connsiteX79" fmla="*/ 1177925 w 1768475"/>
              <a:gd name="connsiteY79" fmla="*/ 428625 h 2263775"/>
              <a:gd name="connsiteX80" fmla="*/ 1193800 w 1768475"/>
              <a:gd name="connsiteY80" fmla="*/ 390525 h 2263775"/>
              <a:gd name="connsiteX81" fmla="*/ 1203325 w 1768475"/>
              <a:gd name="connsiteY81" fmla="*/ 352425 h 2263775"/>
              <a:gd name="connsiteX82" fmla="*/ 1254125 w 1768475"/>
              <a:gd name="connsiteY82" fmla="*/ 320675 h 2263775"/>
              <a:gd name="connsiteX83" fmla="*/ 1250950 w 1768475"/>
              <a:gd name="connsiteY83" fmla="*/ 276225 h 2263775"/>
              <a:gd name="connsiteX84" fmla="*/ 1292225 w 1768475"/>
              <a:gd name="connsiteY84" fmla="*/ 222250 h 2263775"/>
              <a:gd name="connsiteX85" fmla="*/ 1320800 w 1768475"/>
              <a:gd name="connsiteY85" fmla="*/ 171450 h 2263775"/>
              <a:gd name="connsiteX86" fmla="*/ 1292225 w 1768475"/>
              <a:gd name="connsiteY86" fmla="*/ 104775 h 2263775"/>
              <a:gd name="connsiteX87" fmla="*/ 1270000 w 1768475"/>
              <a:gd name="connsiteY87" fmla="*/ 57150 h 2263775"/>
              <a:gd name="connsiteX88" fmla="*/ 1295400 w 1768475"/>
              <a:gd name="connsiteY88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203200 w 1720850"/>
              <a:gd name="connsiteY42" fmla="*/ 1736725 h 2263775"/>
              <a:gd name="connsiteX43" fmla="*/ 165100 w 1720850"/>
              <a:gd name="connsiteY43" fmla="*/ 1704975 h 2263775"/>
              <a:gd name="connsiteX44" fmla="*/ 142875 w 1720850"/>
              <a:gd name="connsiteY44" fmla="*/ 1708150 h 2263775"/>
              <a:gd name="connsiteX45" fmla="*/ 123825 w 1720850"/>
              <a:gd name="connsiteY45" fmla="*/ 1679575 h 2263775"/>
              <a:gd name="connsiteX46" fmla="*/ 66675 w 1720850"/>
              <a:gd name="connsiteY46" fmla="*/ 1660525 h 2263775"/>
              <a:gd name="connsiteX47" fmla="*/ 19050 w 1720850"/>
              <a:gd name="connsiteY47" fmla="*/ 1673225 h 2263775"/>
              <a:gd name="connsiteX48" fmla="*/ 0 w 1720850"/>
              <a:gd name="connsiteY48" fmla="*/ 1457325 h 2263775"/>
              <a:gd name="connsiteX49" fmla="*/ 34925 w 1720850"/>
              <a:gd name="connsiteY49" fmla="*/ 1438275 h 2263775"/>
              <a:gd name="connsiteX50" fmla="*/ 107950 w 1720850"/>
              <a:gd name="connsiteY50" fmla="*/ 1422400 h 2263775"/>
              <a:gd name="connsiteX51" fmla="*/ 161925 w 1720850"/>
              <a:gd name="connsiteY51" fmla="*/ 1390650 h 2263775"/>
              <a:gd name="connsiteX52" fmla="*/ 200025 w 1720850"/>
              <a:gd name="connsiteY52" fmla="*/ 1406525 h 2263775"/>
              <a:gd name="connsiteX53" fmla="*/ 222250 w 1720850"/>
              <a:gd name="connsiteY53" fmla="*/ 1377950 h 2263775"/>
              <a:gd name="connsiteX54" fmla="*/ 301625 w 1720850"/>
              <a:gd name="connsiteY54" fmla="*/ 1381125 h 2263775"/>
              <a:gd name="connsiteX55" fmla="*/ 282575 w 1720850"/>
              <a:gd name="connsiteY55" fmla="*/ 1339850 h 2263775"/>
              <a:gd name="connsiteX56" fmla="*/ 314325 w 1720850"/>
              <a:gd name="connsiteY56" fmla="*/ 1311275 h 2263775"/>
              <a:gd name="connsiteX57" fmla="*/ 390525 w 1720850"/>
              <a:gd name="connsiteY57" fmla="*/ 1298575 h 2263775"/>
              <a:gd name="connsiteX58" fmla="*/ 419100 w 1720850"/>
              <a:gd name="connsiteY58" fmla="*/ 1235075 h 2263775"/>
              <a:gd name="connsiteX59" fmla="*/ 492125 w 1720850"/>
              <a:gd name="connsiteY59" fmla="*/ 1219200 h 2263775"/>
              <a:gd name="connsiteX60" fmla="*/ 549275 w 1720850"/>
              <a:gd name="connsiteY60" fmla="*/ 1162050 h 2263775"/>
              <a:gd name="connsiteX61" fmla="*/ 587375 w 1720850"/>
              <a:gd name="connsiteY61" fmla="*/ 1095375 h 2263775"/>
              <a:gd name="connsiteX62" fmla="*/ 612775 w 1720850"/>
              <a:gd name="connsiteY62" fmla="*/ 1041400 h 2263775"/>
              <a:gd name="connsiteX63" fmla="*/ 654050 w 1720850"/>
              <a:gd name="connsiteY63" fmla="*/ 1019175 h 2263775"/>
              <a:gd name="connsiteX64" fmla="*/ 669925 w 1720850"/>
              <a:gd name="connsiteY64" fmla="*/ 974725 h 2263775"/>
              <a:gd name="connsiteX65" fmla="*/ 714375 w 1720850"/>
              <a:gd name="connsiteY65" fmla="*/ 942975 h 2263775"/>
              <a:gd name="connsiteX66" fmla="*/ 777875 w 1720850"/>
              <a:gd name="connsiteY66" fmla="*/ 885825 h 2263775"/>
              <a:gd name="connsiteX67" fmla="*/ 812800 w 1720850"/>
              <a:gd name="connsiteY67" fmla="*/ 869950 h 2263775"/>
              <a:gd name="connsiteX68" fmla="*/ 825500 w 1720850"/>
              <a:gd name="connsiteY68" fmla="*/ 806450 h 2263775"/>
              <a:gd name="connsiteX69" fmla="*/ 806450 w 1720850"/>
              <a:gd name="connsiteY69" fmla="*/ 765175 h 2263775"/>
              <a:gd name="connsiteX70" fmla="*/ 831850 w 1720850"/>
              <a:gd name="connsiteY70" fmla="*/ 739775 h 2263775"/>
              <a:gd name="connsiteX71" fmla="*/ 860425 w 1720850"/>
              <a:gd name="connsiteY71" fmla="*/ 692150 h 2263775"/>
              <a:gd name="connsiteX72" fmla="*/ 889000 w 1720850"/>
              <a:gd name="connsiteY72" fmla="*/ 701675 h 2263775"/>
              <a:gd name="connsiteX73" fmla="*/ 962025 w 1720850"/>
              <a:gd name="connsiteY73" fmla="*/ 660400 h 2263775"/>
              <a:gd name="connsiteX74" fmla="*/ 977900 w 1720850"/>
              <a:gd name="connsiteY74" fmla="*/ 603250 h 2263775"/>
              <a:gd name="connsiteX75" fmla="*/ 990600 w 1720850"/>
              <a:gd name="connsiteY75" fmla="*/ 546100 h 2263775"/>
              <a:gd name="connsiteX76" fmla="*/ 1025525 w 1720850"/>
              <a:gd name="connsiteY76" fmla="*/ 482600 h 2263775"/>
              <a:gd name="connsiteX77" fmla="*/ 1092200 w 1720850"/>
              <a:gd name="connsiteY77" fmla="*/ 444500 h 2263775"/>
              <a:gd name="connsiteX78" fmla="*/ 1130300 w 1720850"/>
              <a:gd name="connsiteY78" fmla="*/ 428625 h 2263775"/>
              <a:gd name="connsiteX79" fmla="*/ 1146175 w 1720850"/>
              <a:gd name="connsiteY79" fmla="*/ 390525 h 2263775"/>
              <a:gd name="connsiteX80" fmla="*/ 1155700 w 1720850"/>
              <a:gd name="connsiteY80" fmla="*/ 352425 h 2263775"/>
              <a:gd name="connsiteX81" fmla="*/ 1206500 w 1720850"/>
              <a:gd name="connsiteY81" fmla="*/ 320675 h 2263775"/>
              <a:gd name="connsiteX82" fmla="*/ 1203325 w 1720850"/>
              <a:gd name="connsiteY82" fmla="*/ 276225 h 2263775"/>
              <a:gd name="connsiteX83" fmla="*/ 1244600 w 1720850"/>
              <a:gd name="connsiteY83" fmla="*/ 222250 h 2263775"/>
              <a:gd name="connsiteX84" fmla="*/ 1273175 w 1720850"/>
              <a:gd name="connsiteY84" fmla="*/ 171450 h 2263775"/>
              <a:gd name="connsiteX85" fmla="*/ 1244600 w 1720850"/>
              <a:gd name="connsiteY85" fmla="*/ 104775 h 2263775"/>
              <a:gd name="connsiteX86" fmla="*/ 1222375 w 1720850"/>
              <a:gd name="connsiteY86" fmla="*/ 57150 h 2263775"/>
              <a:gd name="connsiteX87" fmla="*/ 1247775 w 1720850"/>
              <a:gd name="connsiteY87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203200 w 1720850"/>
              <a:gd name="connsiteY42" fmla="*/ 1736725 h 2263775"/>
              <a:gd name="connsiteX43" fmla="*/ 165100 w 1720850"/>
              <a:gd name="connsiteY43" fmla="*/ 1704975 h 2263775"/>
              <a:gd name="connsiteX44" fmla="*/ 142875 w 1720850"/>
              <a:gd name="connsiteY44" fmla="*/ 1708150 h 2263775"/>
              <a:gd name="connsiteX45" fmla="*/ 123825 w 1720850"/>
              <a:gd name="connsiteY45" fmla="*/ 1679575 h 2263775"/>
              <a:gd name="connsiteX46" fmla="*/ 66675 w 1720850"/>
              <a:gd name="connsiteY46" fmla="*/ 1660525 h 2263775"/>
              <a:gd name="connsiteX47" fmla="*/ 0 w 1720850"/>
              <a:gd name="connsiteY47" fmla="*/ 1457325 h 2263775"/>
              <a:gd name="connsiteX48" fmla="*/ 34925 w 1720850"/>
              <a:gd name="connsiteY48" fmla="*/ 1438275 h 2263775"/>
              <a:gd name="connsiteX49" fmla="*/ 107950 w 1720850"/>
              <a:gd name="connsiteY49" fmla="*/ 1422400 h 2263775"/>
              <a:gd name="connsiteX50" fmla="*/ 161925 w 1720850"/>
              <a:gd name="connsiteY50" fmla="*/ 1390650 h 2263775"/>
              <a:gd name="connsiteX51" fmla="*/ 200025 w 1720850"/>
              <a:gd name="connsiteY51" fmla="*/ 1406525 h 2263775"/>
              <a:gd name="connsiteX52" fmla="*/ 222250 w 1720850"/>
              <a:gd name="connsiteY52" fmla="*/ 1377950 h 2263775"/>
              <a:gd name="connsiteX53" fmla="*/ 301625 w 1720850"/>
              <a:gd name="connsiteY53" fmla="*/ 1381125 h 2263775"/>
              <a:gd name="connsiteX54" fmla="*/ 282575 w 1720850"/>
              <a:gd name="connsiteY54" fmla="*/ 1339850 h 2263775"/>
              <a:gd name="connsiteX55" fmla="*/ 314325 w 1720850"/>
              <a:gd name="connsiteY55" fmla="*/ 1311275 h 2263775"/>
              <a:gd name="connsiteX56" fmla="*/ 390525 w 1720850"/>
              <a:gd name="connsiteY56" fmla="*/ 1298575 h 2263775"/>
              <a:gd name="connsiteX57" fmla="*/ 419100 w 1720850"/>
              <a:gd name="connsiteY57" fmla="*/ 1235075 h 2263775"/>
              <a:gd name="connsiteX58" fmla="*/ 492125 w 1720850"/>
              <a:gd name="connsiteY58" fmla="*/ 1219200 h 2263775"/>
              <a:gd name="connsiteX59" fmla="*/ 549275 w 1720850"/>
              <a:gd name="connsiteY59" fmla="*/ 1162050 h 2263775"/>
              <a:gd name="connsiteX60" fmla="*/ 587375 w 1720850"/>
              <a:gd name="connsiteY60" fmla="*/ 1095375 h 2263775"/>
              <a:gd name="connsiteX61" fmla="*/ 612775 w 1720850"/>
              <a:gd name="connsiteY61" fmla="*/ 1041400 h 2263775"/>
              <a:gd name="connsiteX62" fmla="*/ 654050 w 1720850"/>
              <a:gd name="connsiteY62" fmla="*/ 1019175 h 2263775"/>
              <a:gd name="connsiteX63" fmla="*/ 669925 w 1720850"/>
              <a:gd name="connsiteY63" fmla="*/ 974725 h 2263775"/>
              <a:gd name="connsiteX64" fmla="*/ 714375 w 1720850"/>
              <a:gd name="connsiteY64" fmla="*/ 942975 h 2263775"/>
              <a:gd name="connsiteX65" fmla="*/ 777875 w 1720850"/>
              <a:gd name="connsiteY65" fmla="*/ 885825 h 2263775"/>
              <a:gd name="connsiteX66" fmla="*/ 812800 w 1720850"/>
              <a:gd name="connsiteY66" fmla="*/ 869950 h 2263775"/>
              <a:gd name="connsiteX67" fmla="*/ 825500 w 1720850"/>
              <a:gd name="connsiteY67" fmla="*/ 806450 h 2263775"/>
              <a:gd name="connsiteX68" fmla="*/ 806450 w 1720850"/>
              <a:gd name="connsiteY68" fmla="*/ 765175 h 2263775"/>
              <a:gd name="connsiteX69" fmla="*/ 831850 w 1720850"/>
              <a:gd name="connsiteY69" fmla="*/ 739775 h 2263775"/>
              <a:gd name="connsiteX70" fmla="*/ 860425 w 1720850"/>
              <a:gd name="connsiteY70" fmla="*/ 692150 h 2263775"/>
              <a:gd name="connsiteX71" fmla="*/ 889000 w 1720850"/>
              <a:gd name="connsiteY71" fmla="*/ 701675 h 2263775"/>
              <a:gd name="connsiteX72" fmla="*/ 962025 w 1720850"/>
              <a:gd name="connsiteY72" fmla="*/ 660400 h 2263775"/>
              <a:gd name="connsiteX73" fmla="*/ 977900 w 1720850"/>
              <a:gd name="connsiteY73" fmla="*/ 603250 h 2263775"/>
              <a:gd name="connsiteX74" fmla="*/ 990600 w 1720850"/>
              <a:gd name="connsiteY74" fmla="*/ 546100 h 2263775"/>
              <a:gd name="connsiteX75" fmla="*/ 1025525 w 1720850"/>
              <a:gd name="connsiteY75" fmla="*/ 482600 h 2263775"/>
              <a:gd name="connsiteX76" fmla="*/ 1092200 w 1720850"/>
              <a:gd name="connsiteY76" fmla="*/ 444500 h 2263775"/>
              <a:gd name="connsiteX77" fmla="*/ 1130300 w 1720850"/>
              <a:gd name="connsiteY77" fmla="*/ 428625 h 2263775"/>
              <a:gd name="connsiteX78" fmla="*/ 1146175 w 1720850"/>
              <a:gd name="connsiteY78" fmla="*/ 390525 h 2263775"/>
              <a:gd name="connsiteX79" fmla="*/ 1155700 w 1720850"/>
              <a:gd name="connsiteY79" fmla="*/ 352425 h 2263775"/>
              <a:gd name="connsiteX80" fmla="*/ 1206500 w 1720850"/>
              <a:gd name="connsiteY80" fmla="*/ 320675 h 2263775"/>
              <a:gd name="connsiteX81" fmla="*/ 1203325 w 1720850"/>
              <a:gd name="connsiteY81" fmla="*/ 276225 h 2263775"/>
              <a:gd name="connsiteX82" fmla="*/ 1244600 w 1720850"/>
              <a:gd name="connsiteY82" fmla="*/ 222250 h 2263775"/>
              <a:gd name="connsiteX83" fmla="*/ 1273175 w 1720850"/>
              <a:gd name="connsiteY83" fmla="*/ 171450 h 2263775"/>
              <a:gd name="connsiteX84" fmla="*/ 1244600 w 1720850"/>
              <a:gd name="connsiteY84" fmla="*/ 104775 h 2263775"/>
              <a:gd name="connsiteX85" fmla="*/ 1222375 w 1720850"/>
              <a:gd name="connsiteY85" fmla="*/ 57150 h 2263775"/>
              <a:gd name="connsiteX86" fmla="*/ 1247775 w 1720850"/>
              <a:gd name="connsiteY86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203200 w 1720850"/>
              <a:gd name="connsiteY42" fmla="*/ 1736725 h 2263775"/>
              <a:gd name="connsiteX43" fmla="*/ 165100 w 1720850"/>
              <a:gd name="connsiteY43" fmla="*/ 1704975 h 2263775"/>
              <a:gd name="connsiteX44" fmla="*/ 142875 w 1720850"/>
              <a:gd name="connsiteY44" fmla="*/ 1708150 h 2263775"/>
              <a:gd name="connsiteX45" fmla="*/ 123825 w 1720850"/>
              <a:gd name="connsiteY45" fmla="*/ 1679575 h 2263775"/>
              <a:gd name="connsiteX46" fmla="*/ 0 w 1720850"/>
              <a:gd name="connsiteY46" fmla="*/ 1457325 h 2263775"/>
              <a:gd name="connsiteX47" fmla="*/ 34925 w 1720850"/>
              <a:gd name="connsiteY47" fmla="*/ 1438275 h 2263775"/>
              <a:gd name="connsiteX48" fmla="*/ 107950 w 1720850"/>
              <a:gd name="connsiteY48" fmla="*/ 1422400 h 2263775"/>
              <a:gd name="connsiteX49" fmla="*/ 161925 w 1720850"/>
              <a:gd name="connsiteY49" fmla="*/ 1390650 h 2263775"/>
              <a:gd name="connsiteX50" fmla="*/ 200025 w 1720850"/>
              <a:gd name="connsiteY50" fmla="*/ 1406525 h 2263775"/>
              <a:gd name="connsiteX51" fmla="*/ 222250 w 1720850"/>
              <a:gd name="connsiteY51" fmla="*/ 1377950 h 2263775"/>
              <a:gd name="connsiteX52" fmla="*/ 301625 w 1720850"/>
              <a:gd name="connsiteY52" fmla="*/ 1381125 h 2263775"/>
              <a:gd name="connsiteX53" fmla="*/ 282575 w 1720850"/>
              <a:gd name="connsiteY53" fmla="*/ 1339850 h 2263775"/>
              <a:gd name="connsiteX54" fmla="*/ 314325 w 1720850"/>
              <a:gd name="connsiteY54" fmla="*/ 1311275 h 2263775"/>
              <a:gd name="connsiteX55" fmla="*/ 390525 w 1720850"/>
              <a:gd name="connsiteY55" fmla="*/ 1298575 h 2263775"/>
              <a:gd name="connsiteX56" fmla="*/ 419100 w 1720850"/>
              <a:gd name="connsiteY56" fmla="*/ 1235075 h 2263775"/>
              <a:gd name="connsiteX57" fmla="*/ 492125 w 1720850"/>
              <a:gd name="connsiteY57" fmla="*/ 1219200 h 2263775"/>
              <a:gd name="connsiteX58" fmla="*/ 549275 w 1720850"/>
              <a:gd name="connsiteY58" fmla="*/ 1162050 h 2263775"/>
              <a:gd name="connsiteX59" fmla="*/ 587375 w 1720850"/>
              <a:gd name="connsiteY59" fmla="*/ 1095375 h 2263775"/>
              <a:gd name="connsiteX60" fmla="*/ 612775 w 1720850"/>
              <a:gd name="connsiteY60" fmla="*/ 1041400 h 2263775"/>
              <a:gd name="connsiteX61" fmla="*/ 654050 w 1720850"/>
              <a:gd name="connsiteY61" fmla="*/ 1019175 h 2263775"/>
              <a:gd name="connsiteX62" fmla="*/ 669925 w 1720850"/>
              <a:gd name="connsiteY62" fmla="*/ 974725 h 2263775"/>
              <a:gd name="connsiteX63" fmla="*/ 714375 w 1720850"/>
              <a:gd name="connsiteY63" fmla="*/ 942975 h 2263775"/>
              <a:gd name="connsiteX64" fmla="*/ 777875 w 1720850"/>
              <a:gd name="connsiteY64" fmla="*/ 885825 h 2263775"/>
              <a:gd name="connsiteX65" fmla="*/ 812800 w 1720850"/>
              <a:gd name="connsiteY65" fmla="*/ 869950 h 2263775"/>
              <a:gd name="connsiteX66" fmla="*/ 825500 w 1720850"/>
              <a:gd name="connsiteY66" fmla="*/ 806450 h 2263775"/>
              <a:gd name="connsiteX67" fmla="*/ 806450 w 1720850"/>
              <a:gd name="connsiteY67" fmla="*/ 765175 h 2263775"/>
              <a:gd name="connsiteX68" fmla="*/ 831850 w 1720850"/>
              <a:gd name="connsiteY68" fmla="*/ 739775 h 2263775"/>
              <a:gd name="connsiteX69" fmla="*/ 860425 w 1720850"/>
              <a:gd name="connsiteY69" fmla="*/ 692150 h 2263775"/>
              <a:gd name="connsiteX70" fmla="*/ 889000 w 1720850"/>
              <a:gd name="connsiteY70" fmla="*/ 701675 h 2263775"/>
              <a:gd name="connsiteX71" fmla="*/ 962025 w 1720850"/>
              <a:gd name="connsiteY71" fmla="*/ 660400 h 2263775"/>
              <a:gd name="connsiteX72" fmla="*/ 977900 w 1720850"/>
              <a:gd name="connsiteY72" fmla="*/ 603250 h 2263775"/>
              <a:gd name="connsiteX73" fmla="*/ 990600 w 1720850"/>
              <a:gd name="connsiteY73" fmla="*/ 546100 h 2263775"/>
              <a:gd name="connsiteX74" fmla="*/ 1025525 w 1720850"/>
              <a:gd name="connsiteY74" fmla="*/ 482600 h 2263775"/>
              <a:gd name="connsiteX75" fmla="*/ 1092200 w 1720850"/>
              <a:gd name="connsiteY75" fmla="*/ 444500 h 2263775"/>
              <a:gd name="connsiteX76" fmla="*/ 1130300 w 1720850"/>
              <a:gd name="connsiteY76" fmla="*/ 428625 h 2263775"/>
              <a:gd name="connsiteX77" fmla="*/ 1146175 w 1720850"/>
              <a:gd name="connsiteY77" fmla="*/ 390525 h 2263775"/>
              <a:gd name="connsiteX78" fmla="*/ 1155700 w 1720850"/>
              <a:gd name="connsiteY78" fmla="*/ 352425 h 2263775"/>
              <a:gd name="connsiteX79" fmla="*/ 1206500 w 1720850"/>
              <a:gd name="connsiteY79" fmla="*/ 320675 h 2263775"/>
              <a:gd name="connsiteX80" fmla="*/ 1203325 w 1720850"/>
              <a:gd name="connsiteY80" fmla="*/ 276225 h 2263775"/>
              <a:gd name="connsiteX81" fmla="*/ 1244600 w 1720850"/>
              <a:gd name="connsiteY81" fmla="*/ 222250 h 2263775"/>
              <a:gd name="connsiteX82" fmla="*/ 1273175 w 1720850"/>
              <a:gd name="connsiteY82" fmla="*/ 171450 h 2263775"/>
              <a:gd name="connsiteX83" fmla="*/ 1244600 w 1720850"/>
              <a:gd name="connsiteY83" fmla="*/ 104775 h 2263775"/>
              <a:gd name="connsiteX84" fmla="*/ 1222375 w 1720850"/>
              <a:gd name="connsiteY84" fmla="*/ 57150 h 2263775"/>
              <a:gd name="connsiteX85" fmla="*/ 1247775 w 1720850"/>
              <a:gd name="connsiteY85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203200 w 1720850"/>
              <a:gd name="connsiteY42" fmla="*/ 1736725 h 2263775"/>
              <a:gd name="connsiteX43" fmla="*/ 165100 w 1720850"/>
              <a:gd name="connsiteY43" fmla="*/ 1704975 h 2263775"/>
              <a:gd name="connsiteX44" fmla="*/ 142875 w 1720850"/>
              <a:gd name="connsiteY44" fmla="*/ 1708150 h 2263775"/>
              <a:gd name="connsiteX45" fmla="*/ 0 w 1720850"/>
              <a:gd name="connsiteY45" fmla="*/ 1457325 h 2263775"/>
              <a:gd name="connsiteX46" fmla="*/ 34925 w 1720850"/>
              <a:gd name="connsiteY46" fmla="*/ 1438275 h 2263775"/>
              <a:gd name="connsiteX47" fmla="*/ 107950 w 1720850"/>
              <a:gd name="connsiteY47" fmla="*/ 1422400 h 2263775"/>
              <a:gd name="connsiteX48" fmla="*/ 161925 w 1720850"/>
              <a:gd name="connsiteY48" fmla="*/ 1390650 h 2263775"/>
              <a:gd name="connsiteX49" fmla="*/ 200025 w 1720850"/>
              <a:gd name="connsiteY49" fmla="*/ 1406525 h 2263775"/>
              <a:gd name="connsiteX50" fmla="*/ 222250 w 1720850"/>
              <a:gd name="connsiteY50" fmla="*/ 1377950 h 2263775"/>
              <a:gd name="connsiteX51" fmla="*/ 301625 w 1720850"/>
              <a:gd name="connsiteY51" fmla="*/ 1381125 h 2263775"/>
              <a:gd name="connsiteX52" fmla="*/ 282575 w 1720850"/>
              <a:gd name="connsiteY52" fmla="*/ 1339850 h 2263775"/>
              <a:gd name="connsiteX53" fmla="*/ 314325 w 1720850"/>
              <a:gd name="connsiteY53" fmla="*/ 1311275 h 2263775"/>
              <a:gd name="connsiteX54" fmla="*/ 390525 w 1720850"/>
              <a:gd name="connsiteY54" fmla="*/ 1298575 h 2263775"/>
              <a:gd name="connsiteX55" fmla="*/ 419100 w 1720850"/>
              <a:gd name="connsiteY55" fmla="*/ 1235075 h 2263775"/>
              <a:gd name="connsiteX56" fmla="*/ 492125 w 1720850"/>
              <a:gd name="connsiteY56" fmla="*/ 1219200 h 2263775"/>
              <a:gd name="connsiteX57" fmla="*/ 549275 w 1720850"/>
              <a:gd name="connsiteY57" fmla="*/ 1162050 h 2263775"/>
              <a:gd name="connsiteX58" fmla="*/ 587375 w 1720850"/>
              <a:gd name="connsiteY58" fmla="*/ 1095375 h 2263775"/>
              <a:gd name="connsiteX59" fmla="*/ 612775 w 1720850"/>
              <a:gd name="connsiteY59" fmla="*/ 1041400 h 2263775"/>
              <a:gd name="connsiteX60" fmla="*/ 654050 w 1720850"/>
              <a:gd name="connsiteY60" fmla="*/ 1019175 h 2263775"/>
              <a:gd name="connsiteX61" fmla="*/ 669925 w 1720850"/>
              <a:gd name="connsiteY61" fmla="*/ 974725 h 2263775"/>
              <a:gd name="connsiteX62" fmla="*/ 714375 w 1720850"/>
              <a:gd name="connsiteY62" fmla="*/ 942975 h 2263775"/>
              <a:gd name="connsiteX63" fmla="*/ 777875 w 1720850"/>
              <a:gd name="connsiteY63" fmla="*/ 885825 h 2263775"/>
              <a:gd name="connsiteX64" fmla="*/ 812800 w 1720850"/>
              <a:gd name="connsiteY64" fmla="*/ 869950 h 2263775"/>
              <a:gd name="connsiteX65" fmla="*/ 825500 w 1720850"/>
              <a:gd name="connsiteY65" fmla="*/ 806450 h 2263775"/>
              <a:gd name="connsiteX66" fmla="*/ 806450 w 1720850"/>
              <a:gd name="connsiteY66" fmla="*/ 765175 h 2263775"/>
              <a:gd name="connsiteX67" fmla="*/ 831850 w 1720850"/>
              <a:gd name="connsiteY67" fmla="*/ 739775 h 2263775"/>
              <a:gd name="connsiteX68" fmla="*/ 860425 w 1720850"/>
              <a:gd name="connsiteY68" fmla="*/ 692150 h 2263775"/>
              <a:gd name="connsiteX69" fmla="*/ 889000 w 1720850"/>
              <a:gd name="connsiteY69" fmla="*/ 701675 h 2263775"/>
              <a:gd name="connsiteX70" fmla="*/ 962025 w 1720850"/>
              <a:gd name="connsiteY70" fmla="*/ 660400 h 2263775"/>
              <a:gd name="connsiteX71" fmla="*/ 977900 w 1720850"/>
              <a:gd name="connsiteY71" fmla="*/ 603250 h 2263775"/>
              <a:gd name="connsiteX72" fmla="*/ 990600 w 1720850"/>
              <a:gd name="connsiteY72" fmla="*/ 546100 h 2263775"/>
              <a:gd name="connsiteX73" fmla="*/ 1025525 w 1720850"/>
              <a:gd name="connsiteY73" fmla="*/ 482600 h 2263775"/>
              <a:gd name="connsiteX74" fmla="*/ 1092200 w 1720850"/>
              <a:gd name="connsiteY74" fmla="*/ 444500 h 2263775"/>
              <a:gd name="connsiteX75" fmla="*/ 1130300 w 1720850"/>
              <a:gd name="connsiteY75" fmla="*/ 428625 h 2263775"/>
              <a:gd name="connsiteX76" fmla="*/ 1146175 w 1720850"/>
              <a:gd name="connsiteY76" fmla="*/ 390525 h 2263775"/>
              <a:gd name="connsiteX77" fmla="*/ 1155700 w 1720850"/>
              <a:gd name="connsiteY77" fmla="*/ 352425 h 2263775"/>
              <a:gd name="connsiteX78" fmla="*/ 1206500 w 1720850"/>
              <a:gd name="connsiteY78" fmla="*/ 320675 h 2263775"/>
              <a:gd name="connsiteX79" fmla="*/ 1203325 w 1720850"/>
              <a:gd name="connsiteY79" fmla="*/ 276225 h 2263775"/>
              <a:gd name="connsiteX80" fmla="*/ 1244600 w 1720850"/>
              <a:gd name="connsiteY80" fmla="*/ 222250 h 2263775"/>
              <a:gd name="connsiteX81" fmla="*/ 1273175 w 1720850"/>
              <a:gd name="connsiteY81" fmla="*/ 171450 h 2263775"/>
              <a:gd name="connsiteX82" fmla="*/ 1244600 w 1720850"/>
              <a:gd name="connsiteY82" fmla="*/ 104775 h 2263775"/>
              <a:gd name="connsiteX83" fmla="*/ 1222375 w 1720850"/>
              <a:gd name="connsiteY83" fmla="*/ 57150 h 2263775"/>
              <a:gd name="connsiteX84" fmla="*/ 1247775 w 1720850"/>
              <a:gd name="connsiteY84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165100 w 1720850"/>
              <a:gd name="connsiteY42" fmla="*/ 1704975 h 2263775"/>
              <a:gd name="connsiteX43" fmla="*/ 142875 w 1720850"/>
              <a:gd name="connsiteY43" fmla="*/ 1708150 h 2263775"/>
              <a:gd name="connsiteX44" fmla="*/ 0 w 1720850"/>
              <a:gd name="connsiteY44" fmla="*/ 1457325 h 2263775"/>
              <a:gd name="connsiteX45" fmla="*/ 34925 w 1720850"/>
              <a:gd name="connsiteY45" fmla="*/ 1438275 h 2263775"/>
              <a:gd name="connsiteX46" fmla="*/ 107950 w 1720850"/>
              <a:gd name="connsiteY46" fmla="*/ 1422400 h 2263775"/>
              <a:gd name="connsiteX47" fmla="*/ 161925 w 1720850"/>
              <a:gd name="connsiteY47" fmla="*/ 1390650 h 2263775"/>
              <a:gd name="connsiteX48" fmla="*/ 200025 w 1720850"/>
              <a:gd name="connsiteY48" fmla="*/ 1406525 h 2263775"/>
              <a:gd name="connsiteX49" fmla="*/ 222250 w 1720850"/>
              <a:gd name="connsiteY49" fmla="*/ 1377950 h 2263775"/>
              <a:gd name="connsiteX50" fmla="*/ 301625 w 1720850"/>
              <a:gd name="connsiteY50" fmla="*/ 1381125 h 2263775"/>
              <a:gd name="connsiteX51" fmla="*/ 282575 w 1720850"/>
              <a:gd name="connsiteY51" fmla="*/ 1339850 h 2263775"/>
              <a:gd name="connsiteX52" fmla="*/ 314325 w 1720850"/>
              <a:gd name="connsiteY52" fmla="*/ 1311275 h 2263775"/>
              <a:gd name="connsiteX53" fmla="*/ 390525 w 1720850"/>
              <a:gd name="connsiteY53" fmla="*/ 1298575 h 2263775"/>
              <a:gd name="connsiteX54" fmla="*/ 419100 w 1720850"/>
              <a:gd name="connsiteY54" fmla="*/ 1235075 h 2263775"/>
              <a:gd name="connsiteX55" fmla="*/ 492125 w 1720850"/>
              <a:gd name="connsiteY55" fmla="*/ 1219200 h 2263775"/>
              <a:gd name="connsiteX56" fmla="*/ 549275 w 1720850"/>
              <a:gd name="connsiteY56" fmla="*/ 1162050 h 2263775"/>
              <a:gd name="connsiteX57" fmla="*/ 587375 w 1720850"/>
              <a:gd name="connsiteY57" fmla="*/ 1095375 h 2263775"/>
              <a:gd name="connsiteX58" fmla="*/ 612775 w 1720850"/>
              <a:gd name="connsiteY58" fmla="*/ 1041400 h 2263775"/>
              <a:gd name="connsiteX59" fmla="*/ 654050 w 1720850"/>
              <a:gd name="connsiteY59" fmla="*/ 1019175 h 2263775"/>
              <a:gd name="connsiteX60" fmla="*/ 669925 w 1720850"/>
              <a:gd name="connsiteY60" fmla="*/ 974725 h 2263775"/>
              <a:gd name="connsiteX61" fmla="*/ 714375 w 1720850"/>
              <a:gd name="connsiteY61" fmla="*/ 942975 h 2263775"/>
              <a:gd name="connsiteX62" fmla="*/ 777875 w 1720850"/>
              <a:gd name="connsiteY62" fmla="*/ 885825 h 2263775"/>
              <a:gd name="connsiteX63" fmla="*/ 812800 w 1720850"/>
              <a:gd name="connsiteY63" fmla="*/ 869950 h 2263775"/>
              <a:gd name="connsiteX64" fmla="*/ 825500 w 1720850"/>
              <a:gd name="connsiteY64" fmla="*/ 806450 h 2263775"/>
              <a:gd name="connsiteX65" fmla="*/ 806450 w 1720850"/>
              <a:gd name="connsiteY65" fmla="*/ 765175 h 2263775"/>
              <a:gd name="connsiteX66" fmla="*/ 831850 w 1720850"/>
              <a:gd name="connsiteY66" fmla="*/ 739775 h 2263775"/>
              <a:gd name="connsiteX67" fmla="*/ 860425 w 1720850"/>
              <a:gd name="connsiteY67" fmla="*/ 692150 h 2263775"/>
              <a:gd name="connsiteX68" fmla="*/ 889000 w 1720850"/>
              <a:gd name="connsiteY68" fmla="*/ 701675 h 2263775"/>
              <a:gd name="connsiteX69" fmla="*/ 962025 w 1720850"/>
              <a:gd name="connsiteY69" fmla="*/ 660400 h 2263775"/>
              <a:gd name="connsiteX70" fmla="*/ 977900 w 1720850"/>
              <a:gd name="connsiteY70" fmla="*/ 603250 h 2263775"/>
              <a:gd name="connsiteX71" fmla="*/ 990600 w 1720850"/>
              <a:gd name="connsiteY71" fmla="*/ 546100 h 2263775"/>
              <a:gd name="connsiteX72" fmla="*/ 1025525 w 1720850"/>
              <a:gd name="connsiteY72" fmla="*/ 482600 h 2263775"/>
              <a:gd name="connsiteX73" fmla="*/ 1092200 w 1720850"/>
              <a:gd name="connsiteY73" fmla="*/ 444500 h 2263775"/>
              <a:gd name="connsiteX74" fmla="*/ 1130300 w 1720850"/>
              <a:gd name="connsiteY74" fmla="*/ 428625 h 2263775"/>
              <a:gd name="connsiteX75" fmla="*/ 1146175 w 1720850"/>
              <a:gd name="connsiteY75" fmla="*/ 390525 h 2263775"/>
              <a:gd name="connsiteX76" fmla="*/ 1155700 w 1720850"/>
              <a:gd name="connsiteY76" fmla="*/ 352425 h 2263775"/>
              <a:gd name="connsiteX77" fmla="*/ 1206500 w 1720850"/>
              <a:gd name="connsiteY77" fmla="*/ 320675 h 2263775"/>
              <a:gd name="connsiteX78" fmla="*/ 1203325 w 1720850"/>
              <a:gd name="connsiteY78" fmla="*/ 276225 h 2263775"/>
              <a:gd name="connsiteX79" fmla="*/ 1244600 w 1720850"/>
              <a:gd name="connsiteY79" fmla="*/ 222250 h 2263775"/>
              <a:gd name="connsiteX80" fmla="*/ 1273175 w 1720850"/>
              <a:gd name="connsiteY80" fmla="*/ 171450 h 2263775"/>
              <a:gd name="connsiteX81" fmla="*/ 1244600 w 1720850"/>
              <a:gd name="connsiteY81" fmla="*/ 104775 h 2263775"/>
              <a:gd name="connsiteX82" fmla="*/ 1222375 w 1720850"/>
              <a:gd name="connsiteY82" fmla="*/ 57150 h 2263775"/>
              <a:gd name="connsiteX83" fmla="*/ 1247775 w 1720850"/>
              <a:gd name="connsiteY83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254000 w 1720850"/>
              <a:gd name="connsiteY41" fmla="*/ 1765300 h 2263775"/>
              <a:gd name="connsiteX42" fmla="*/ 165100 w 1720850"/>
              <a:gd name="connsiteY42" fmla="*/ 1704975 h 2263775"/>
              <a:gd name="connsiteX43" fmla="*/ 0 w 1720850"/>
              <a:gd name="connsiteY43" fmla="*/ 1457325 h 2263775"/>
              <a:gd name="connsiteX44" fmla="*/ 34925 w 1720850"/>
              <a:gd name="connsiteY44" fmla="*/ 1438275 h 2263775"/>
              <a:gd name="connsiteX45" fmla="*/ 107950 w 1720850"/>
              <a:gd name="connsiteY45" fmla="*/ 1422400 h 2263775"/>
              <a:gd name="connsiteX46" fmla="*/ 161925 w 1720850"/>
              <a:gd name="connsiteY46" fmla="*/ 1390650 h 2263775"/>
              <a:gd name="connsiteX47" fmla="*/ 200025 w 1720850"/>
              <a:gd name="connsiteY47" fmla="*/ 1406525 h 2263775"/>
              <a:gd name="connsiteX48" fmla="*/ 222250 w 1720850"/>
              <a:gd name="connsiteY48" fmla="*/ 1377950 h 2263775"/>
              <a:gd name="connsiteX49" fmla="*/ 301625 w 1720850"/>
              <a:gd name="connsiteY49" fmla="*/ 1381125 h 2263775"/>
              <a:gd name="connsiteX50" fmla="*/ 282575 w 1720850"/>
              <a:gd name="connsiteY50" fmla="*/ 1339850 h 2263775"/>
              <a:gd name="connsiteX51" fmla="*/ 314325 w 1720850"/>
              <a:gd name="connsiteY51" fmla="*/ 1311275 h 2263775"/>
              <a:gd name="connsiteX52" fmla="*/ 390525 w 1720850"/>
              <a:gd name="connsiteY52" fmla="*/ 1298575 h 2263775"/>
              <a:gd name="connsiteX53" fmla="*/ 419100 w 1720850"/>
              <a:gd name="connsiteY53" fmla="*/ 1235075 h 2263775"/>
              <a:gd name="connsiteX54" fmla="*/ 492125 w 1720850"/>
              <a:gd name="connsiteY54" fmla="*/ 1219200 h 2263775"/>
              <a:gd name="connsiteX55" fmla="*/ 549275 w 1720850"/>
              <a:gd name="connsiteY55" fmla="*/ 1162050 h 2263775"/>
              <a:gd name="connsiteX56" fmla="*/ 587375 w 1720850"/>
              <a:gd name="connsiteY56" fmla="*/ 1095375 h 2263775"/>
              <a:gd name="connsiteX57" fmla="*/ 612775 w 1720850"/>
              <a:gd name="connsiteY57" fmla="*/ 1041400 h 2263775"/>
              <a:gd name="connsiteX58" fmla="*/ 654050 w 1720850"/>
              <a:gd name="connsiteY58" fmla="*/ 1019175 h 2263775"/>
              <a:gd name="connsiteX59" fmla="*/ 669925 w 1720850"/>
              <a:gd name="connsiteY59" fmla="*/ 974725 h 2263775"/>
              <a:gd name="connsiteX60" fmla="*/ 714375 w 1720850"/>
              <a:gd name="connsiteY60" fmla="*/ 942975 h 2263775"/>
              <a:gd name="connsiteX61" fmla="*/ 777875 w 1720850"/>
              <a:gd name="connsiteY61" fmla="*/ 885825 h 2263775"/>
              <a:gd name="connsiteX62" fmla="*/ 812800 w 1720850"/>
              <a:gd name="connsiteY62" fmla="*/ 869950 h 2263775"/>
              <a:gd name="connsiteX63" fmla="*/ 825500 w 1720850"/>
              <a:gd name="connsiteY63" fmla="*/ 806450 h 2263775"/>
              <a:gd name="connsiteX64" fmla="*/ 806450 w 1720850"/>
              <a:gd name="connsiteY64" fmla="*/ 765175 h 2263775"/>
              <a:gd name="connsiteX65" fmla="*/ 831850 w 1720850"/>
              <a:gd name="connsiteY65" fmla="*/ 739775 h 2263775"/>
              <a:gd name="connsiteX66" fmla="*/ 860425 w 1720850"/>
              <a:gd name="connsiteY66" fmla="*/ 692150 h 2263775"/>
              <a:gd name="connsiteX67" fmla="*/ 889000 w 1720850"/>
              <a:gd name="connsiteY67" fmla="*/ 701675 h 2263775"/>
              <a:gd name="connsiteX68" fmla="*/ 962025 w 1720850"/>
              <a:gd name="connsiteY68" fmla="*/ 660400 h 2263775"/>
              <a:gd name="connsiteX69" fmla="*/ 977900 w 1720850"/>
              <a:gd name="connsiteY69" fmla="*/ 603250 h 2263775"/>
              <a:gd name="connsiteX70" fmla="*/ 990600 w 1720850"/>
              <a:gd name="connsiteY70" fmla="*/ 546100 h 2263775"/>
              <a:gd name="connsiteX71" fmla="*/ 1025525 w 1720850"/>
              <a:gd name="connsiteY71" fmla="*/ 482600 h 2263775"/>
              <a:gd name="connsiteX72" fmla="*/ 1092200 w 1720850"/>
              <a:gd name="connsiteY72" fmla="*/ 444500 h 2263775"/>
              <a:gd name="connsiteX73" fmla="*/ 1130300 w 1720850"/>
              <a:gd name="connsiteY73" fmla="*/ 428625 h 2263775"/>
              <a:gd name="connsiteX74" fmla="*/ 1146175 w 1720850"/>
              <a:gd name="connsiteY74" fmla="*/ 390525 h 2263775"/>
              <a:gd name="connsiteX75" fmla="*/ 1155700 w 1720850"/>
              <a:gd name="connsiteY75" fmla="*/ 352425 h 2263775"/>
              <a:gd name="connsiteX76" fmla="*/ 1206500 w 1720850"/>
              <a:gd name="connsiteY76" fmla="*/ 320675 h 2263775"/>
              <a:gd name="connsiteX77" fmla="*/ 1203325 w 1720850"/>
              <a:gd name="connsiteY77" fmla="*/ 276225 h 2263775"/>
              <a:gd name="connsiteX78" fmla="*/ 1244600 w 1720850"/>
              <a:gd name="connsiteY78" fmla="*/ 222250 h 2263775"/>
              <a:gd name="connsiteX79" fmla="*/ 1273175 w 1720850"/>
              <a:gd name="connsiteY79" fmla="*/ 171450 h 2263775"/>
              <a:gd name="connsiteX80" fmla="*/ 1244600 w 1720850"/>
              <a:gd name="connsiteY80" fmla="*/ 104775 h 2263775"/>
              <a:gd name="connsiteX81" fmla="*/ 1222375 w 1720850"/>
              <a:gd name="connsiteY81" fmla="*/ 57150 h 2263775"/>
              <a:gd name="connsiteX82" fmla="*/ 1247775 w 1720850"/>
              <a:gd name="connsiteY82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165100 w 1720850"/>
              <a:gd name="connsiteY41" fmla="*/ 1704975 h 2263775"/>
              <a:gd name="connsiteX42" fmla="*/ 0 w 1720850"/>
              <a:gd name="connsiteY42" fmla="*/ 1457325 h 2263775"/>
              <a:gd name="connsiteX43" fmla="*/ 34925 w 1720850"/>
              <a:gd name="connsiteY43" fmla="*/ 1438275 h 2263775"/>
              <a:gd name="connsiteX44" fmla="*/ 107950 w 1720850"/>
              <a:gd name="connsiteY44" fmla="*/ 1422400 h 2263775"/>
              <a:gd name="connsiteX45" fmla="*/ 161925 w 1720850"/>
              <a:gd name="connsiteY45" fmla="*/ 1390650 h 2263775"/>
              <a:gd name="connsiteX46" fmla="*/ 200025 w 1720850"/>
              <a:gd name="connsiteY46" fmla="*/ 1406525 h 2263775"/>
              <a:gd name="connsiteX47" fmla="*/ 222250 w 1720850"/>
              <a:gd name="connsiteY47" fmla="*/ 1377950 h 2263775"/>
              <a:gd name="connsiteX48" fmla="*/ 301625 w 1720850"/>
              <a:gd name="connsiteY48" fmla="*/ 1381125 h 2263775"/>
              <a:gd name="connsiteX49" fmla="*/ 282575 w 1720850"/>
              <a:gd name="connsiteY49" fmla="*/ 1339850 h 2263775"/>
              <a:gd name="connsiteX50" fmla="*/ 314325 w 1720850"/>
              <a:gd name="connsiteY50" fmla="*/ 1311275 h 2263775"/>
              <a:gd name="connsiteX51" fmla="*/ 390525 w 1720850"/>
              <a:gd name="connsiteY51" fmla="*/ 1298575 h 2263775"/>
              <a:gd name="connsiteX52" fmla="*/ 419100 w 1720850"/>
              <a:gd name="connsiteY52" fmla="*/ 1235075 h 2263775"/>
              <a:gd name="connsiteX53" fmla="*/ 492125 w 1720850"/>
              <a:gd name="connsiteY53" fmla="*/ 1219200 h 2263775"/>
              <a:gd name="connsiteX54" fmla="*/ 549275 w 1720850"/>
              <a:gd name="connsiteY54" fmla="*/ 1162050 h 2263775"/>
              <a:gd name="connsiteX55" fmla="*/ 587375 w 1720850"/>
              <a:gd name="connsiteY55" fmla="*/ 1095375 h 2263775"/>
              <a:gd name="connsiteX56" fmla="*/ 612775 w 1720850"/>
              <a:gd name="connsiteY56" fmla="*/ 1041400 h 2263775"/>
              <a:gd name="connsiteX57" fmla="*/ 654050 w 1720850"/>
              <a:gd name="connsiteY57" fmla="*/ 1019175 h 2263775"/>
              <a:gd name="connsiteX58" fmla="*/ 669925 w 1720850"/>
              <a:gd name="connsiteY58" fmla="*/ 974725 h 2263775"/>
              <a:gd name="connsiteX59" fmla="*/ 714375 w 1720850"/>
              <a:gd name="connsiteY59" fmla="*/ 942975 h 2263775"/>
              <a:gd name="connsiteX60" fmla="*/ 777875 w 1720850"/>
              <a:gd name="connsiteY60" fmla="*/ 885825 h 2263775"/>
              <a:gd name="connsiteX61" fmla="*/ 812800 w 1720850"/>
              <a:gd name="connsiteY61" fmla="*/ 869950 h 2263775"/>
              <a:gd name="connsiteX62" fmla="*/ 825500 w 1720850"/>
              <a:gd name="connsiteY62" fmla="*/ 806450 h 2263775"/>
              <a:gd name="connsiteX63" fmla="*/ 806450 w 1720850"/>
              <a:gd name="connsiteY63" fmla="*/ 765175 h 2263775"/>
              <a:gd name="connsiteX64" fmla="*/ 831850 w 1720850"/>
              <a:gd name="connsiteY64" fmla="*/ 739775 h 2263775"/>
              <a:gd name="connsiteX65" fmla="*/ 860425 w 1720850"/>
              <a:gd name="connsiteY65" fmla="*/ 692150 h 2263775"/>
              <a:gd name="connsiteX66" fmla="*/ 889000 w 1720850"/>
              <a:gd name="connsiteY66" fmla="*/ 701675 h 2263775"/>
              <a:gd name="connsiteX67" fmla="*/ 962025 w 1720850"/>
              <a:gd name="connsiteY67" fmla="*/ 660400 h 2263775"/>
              <a:gd name="connsiteX68" fmla="*/ 977900 w 1720850"/>
              <a:gd name="connsiteY68" fmla="*/ 603250 h 2263775"/>
              <a:gd name="connsiteX69" fmla="*/ 990600 w 1720850"/>
              <a:gd name="connsiteY69" fmla="*/ 546100 h 2263775"/>
              <a:gd name="connsiteX70" fmla="*/ 1025525 w 1720850"/>
              <a:gd name="connsiteY70" fmla="*/ 482600 h 2263775"/>
              <a:gd name="connsiteX71" fmla="*/ 1092200 w 1720850"/>
              <a:gd name="connsiteY71" fmla="*/ 444500 h 2263775"/>
              <a:gd name="connsiteX72" fmla="*/ 1130300 w 1720850"/>
              <a:gd name="connsiteY72" fmla="*/ 428625 h 2263775"/>
              <a:gd name="connsiteX73" fmla="*/ 1146175 w 1720850"/>
              <a:gd name="connsiteY73" fmla="*/ 390525 h 2263775"/>
              <a:gd name="connsiteX74" fmla="*/ 1155700 w 1720850"/>
              <a:gd name="connsiteY74" fmla="*/ 352425 h 2263775"/>
              <a:gd name="connsiteX75" fmla="*/ 1206500 w 1720850"/>
              <a:gd name="connsiteY75" fmla="*/ 320675 h 2263775"/>
              <a:gd name="connsiteX76" fmla="*/ 1203325 w 1720850"/>
              <a:gd name="connsiteY76" fmla="*/ 276225 h 2263775"/>
              <a:gd name="connsiteX77" fmla="*/ 1244600 w 1720850"/>
              <a:gd name="connsiteY77" fmla="*/ 222250 h 2263775"/>
              <a:gd name="connsiteX78" fmla="*/ 1273175 w 1720850"/>
              <a:gd name="connsiteY78" fmla="*/ 171450 h 2263775"/>
              <a:gd name="connsiteX79" fmla="*/ 1244600 w 1720850"/>
              <a:gd name="connsiteY79" fmla="*/ 104775 h 2263775"/>
              <a:gd name="connsiteX80" fmla="*/ 1222375 w 1720850"/>
              <a:gd name="connsiteY80" fmla="*/ 57150 h 2263775"/>
              <a:gd name="connsiteX81" fmla="*/ 1247775 w 1720850"/>
              <a:gd name="connsiteY81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276225 w 1720850"/>
              <a:gd name="connsiteY40" fmla="*/ 1806575 h 2263775"/>
              <a:gd name="connsiteX41" fmla="*/ 0 w 1720850"/>
              <a:gd name="connsiteY41" fmla="*/ 1457325 h 2263775"/>
              <a:gd name="connsiteX42" fmla="*/ 34925 w 1720850"/>
              <a:gd name="connsiteY42" fmla="*/ 1438275 h 2263775"/>
              <a:gd name="connsiteX43" fmla="*/ 107950 w 1720850"/>
              <a:gd name="connsiteY43" fmla="*/ 1422400 h 2263775"/>
              <a:gd name="connsiteX44" fmla="*/ 161925 w 1720850"/>
              <a:gd name="connsiteY44" fmla="*/ 1390650 h 2263775"/>
              <a:gd name="connsiteX45" fmla="*/ 200025 w 1720850"/>
              <a:gd name="connsiteY45" fmla="*/ 1406525 h 2263775"/>
              <a:gd name="connsiteX46" fmla="*/ 222250 w 1720850"/>
              <a:gd name="connsiteY46" fmla="*/ 1377950 h 2263775"/>
              <a:gd name="connsiteX47" fmla="*/ 301625 w 1720850"/>
              <a:gd name="connsiteY47" fmla="*/ 1381125 h 2263775"/>
              <a:gd name="connsiteX48" fmla="*/ 282575 w 1720850"/>
              <a:gd name="connsiteY48" fmla="*/ 1339850 h 2263775"/>
              <a:gd name="connsiteX49" fmla="*/ 314325 w 1720850"/>
              <a:gd name="connsiteY49" fmla="*/ 1311275 h 2263775"/>
              <a:gd name="connsiteX50" fmla="*/ 390525 w 1720850"/>
              <a:gd name="connsiteY50" fmla="*/ 1298575 h 2263775"/>
              <a:gd name="connsiteX51" fmla="*/ 419100 w 1720850"/>
              <a:gd name="connsiteY51" fmla="*/ 1235075 h 2263775"/>
              <a:gd name="connsiteX52" fmla="*/ 492125 w 1720850"/>
              <a:gd name="connsiteY52" fmla="*/ 1219200 h 2263775"/>
              <a:gd name="connsiteX53" fmla="*/ 549275 w 1720850"/>
              <a:gd name="connsiteY53" fmla="*/ 1162050 h 2263775"/>
              <a:gd name="connsiteX54" fmla="*/ 587375 w 1720850"/>
              <a:gd name="connsiteY54" fmla="*/ 1095375 h 2263775"/>
              <a:gd name="connsiteX55" fmla="*/ 612775 w 1720850"/>
              <a:gd name="connsiteY55" fmla="*/ 1041400 h 2263775"/>
              <a:gd name="connsiteX56" fmla="*/ 654050 w 1720850"/>
              <a:gd name="connsiteY56" fmla="*/ 1019175 h 2263775"/>
              <a:gd name="connsiteX57" fmla="*/ 669925 w 1720850"/>
              <a:gd name="connsiteY57" fmla="*/ 974725 h 2263775"/>
              <a:gd name="connsiteX58" fmla="*/ 714375 w 1720850"/>
              <a:gd name="connsiteY58" fmla="*/ 942975 h 2263775"/>
              <a:gd name="connsiteX59" fmla="*/ 777875 w 1720850"/>
              <a:gd name="connsiteY59" fmla="*/ 885825 h 2263775"/>
              <a:gd name="connsiteX60" fmla="*/ 812800 w 1720850"/>
              <a:gd name="connsiteY60" fmla="*/ 869950 h 2263775"/>
              <a:gd name="connsiteX61" fmla="*/ 825500 w 1720850"/>
              <a:gd name="connsiteY61" fmla="*/ 806450 h 2263775"/>
              <a:gd name="connsiteX62" fmla="*/ 806450 w 1720850"/>
              <a:gd name="connsiteY62" fmla="*/ 765175 h 2263775"/>
              <a:gd name="connsiteX63" fmla="*/ 831850 w 1720850"/>
              <a:gd name="connsiteY63" fmla="*/ 739775 h 2263775"/>
              <a:gd name="connsiteX64" fmla="*/ 860425 w 1720850"/>
              <a:gd name="connsiteY64" fmla="*/ 692150 h 2263775"/>
              <a:gd name="connsiteX65" fmla="*/ 889000 w 1720850"/>
              <a:gd name="connsiteY65" fmla="*/ 701675 h 2263775"/>
              <a:gd name="connsiteX66" fmla="*/ 962025 w 1720850"/>
              <a:gd name="connsiteY66" fmla="*/ 660400 h 2263775"/>
              <a:gd name="connsiteX67" fmla="*/ 977900 w 1720850"/>
              <a:gd name="connsiteY67" fmla="*/ 603250 h 2263775"/>
              <a:gd name="connsiteX68" fmla="*/ 990600 w 1720850"/>
              <a:gd name="connsiteY68" fmla="*/ 546100 h 2263775"/>
              <a:gd name="connsiteX69" fmla="*/ 1025525 w 1720850"/>
              <a:gd name="connsiteY69" fmla="*/ 482600 h 2263775"/>
              <a:gd name="connsiteX70" fmla="*/ 1092200 w 1720850"/>
              <a:gd name="connsiteY70" fmla="*/ 444500 h 2263775"/>
              <a:gd name="connsiteX71" fmla="*/ 1130300 w 1720850"/>
              <a:gd name="connsiteY71" fmla="*/ 428625 h 2263775"/>
              <a:gd name="connsiteX72" fmla="*/ 1146175 w 1720850"/>
              <a:gd name="connsiteY72" fmla="*/ 390525 h 2263775"/>
              <a:gd name="connsiteX73" fmla="*/ 1155700 w 1720850"/>
              <a:gd name="connsiteY73" fmla="*/ 352425 h 2263775"/>
              <a:gd name="connsiteX74" fmla="*/ 1206500 w 1720850"/>
              <a:gd name="connsiteY74" fmla="*/ 320675 h 2263775"/>
              <a:gd name="connsiteX75" fmla="*/ 1203325 w 1720850"/>
              <a:gd name="connsiteY75" fmla="*/ 276225 h 2263775"/>
              <a:gd name="connsiteX76" fmla="*/ 1244600 w 1720850"/>
              <a:gd name="connsiteY76" fmla="*/ 222250 h 2263775"/>
              <a:gd name="connsiteX77" fmla="*/ 1273175 w 1720850"/>
              <a:gd name="connsiteY77" fmla="*/ 171450 h 2263775"/>
              <a:gd name="connsiteX78" fmla="*/ 1244600 w 1720850"/>
              <a:gd name="connsiteY78" fmla="*/ 104775 h 2263775"/>
              <a:gd name="connsiteX79" fmla="*/ 1222375 w 1720850"/>
              <a:gd name="connsiteY79" fmla="*/ 57150 h 2263775"/>
              <a:gd name="connsiteX80" fmla="*/ 1247775 w 1720850"/>
              <a:gd name="connsiteY80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317500 w 1720850"/>
              <a:gd name="connsiteY39" fmla="*/ 1835150 h 2263775"/>
              <a:gd name="connsiteX40" fmla="*/ 0 w 1720850"/>
              <a:gd name="connsiteY40" fmla="*/ 1457325 h 2263775"/>
              <a:gd name="connsiteX41" fmla="*/ 34925 w 1720850"/>
              <a:gd name="connsiteY41" fmla="*/ 1438275 h 2263775"/>
              <a:gd name="connsiteX42" fmla="*/ 107950 w 1720850"/>
              <a:gd name="connsiteY42" fmla="*/ 1422400 h 2263775"/>
              <a:gd name="connsiteX43" fmla="*/ 161925 w 1720850"/>
              <a:gd name="connsiteY43" fmla="*/ 1390650 h 2263775"/>
              <a:gd name="connsiteX44" fmla="*/ 200025 w 1720850"/>
              <a:gd name="connsiteY44" fmla="*/ 1406525 h 2263775"/>
              <a:gd name="connsiteX45" fmla="*/ 222250 w 1720850"/>
              <a:gd name="connsiteY45" fmla="*/ 1377950 h 2263775"/>
              <a:gd name="connsiteX46" fmla="*/ 301625 w 1720850"/>
              <a:gd name="connsiteY46" fmla="*/ 1381125 h 2263775"/>
              <a:gd name="connsiteX47" fmla="*/ 282575 w 1720850"/>
              <a:gd name="connsiteY47" fmla="*/ 1339850 h 2263775"/>
              <a:gd name="connsiteX48" fmla="*/ 314325 w 1720850"/>
              <a:gd name="connsiteY48" fmla="*/ 1311275 h 2263775"/>
              <a:gd name="connsiteX49" fmla="*/ 390525 w 1720850"/>
              <a:gd name="connsiteY49" fmla="*/ 1298575 h 2263775"/>
              <a:gd name="connsiteX50" fmla="*/ 419100 w 1720850"/>
              <a:gd name="connsiteY50" fmla="*/ 1235075 h 2263775"/>
              <a:gd name="connsiteX51" fmla="*/ 492125 w 1720850"/>
              <a:gd name="connsiteY51" fmla="*/ 1219200 h 2263775"/>
              <a:gd name="connsiteX52" fmla="*/ 549275 w 1720850"/>
              <a:gd name="connsiteY52" fmla="*/ 1162050 h 2263775"/>
              <a:gd name="connsiteX53" fmla="*/ 587375 w 1720850"/>
              <a:gd name="connsiteY53" fmla="*/ 1095375 h 2263775"/>
              <a:gd name="connsiteX54" fmla="*/ 612775 w 1720850"/>
              <a:gd name="connsiteY54" fmla="*/ 1041400 h 2263775"/>
              <a:gd name="connsiteX55" fmla="*/ 654050 w 1720850"/>
              <a:gd name="connsiteY55" fmla="*/ 1019175 h 2263775"/>
              <a:gd name="connsiteX56" fmla="*/ 669925 w 1720850"/>
              <a:gd name="connsiteY56" fmla="*/ 974725 h 2263775"/>
              <a:gd name="connsiteX57" fmla="*/ 714375 w 1720850"/>
              <a:gd name="connsiteY57" fmla="*/ 942975 h 2263775"/>
              <a:gd name="connsiteX58" fmla="*/ 777875 w 1720850"/>
              <a:gd name="connsiteY58" fmla="*/ 885825 h 2263775"/>
              <a:gd name="connsiteX59" fmla="*/ 812800 w 1720850"/>
              <a:gd name="connsiteY59" fmla="*/ 869950 h 2263775"/>
              <a:gd name="connsiteX60" fmla="*/ 825500 w 1720850"/>
              <a:gd name="connsiteY60" fmla="*/ 806450 h 2263775"/>
              <a:gd name="connsiteX61" fmla="*/ 806450 w 1720850"/>
              <a:gd name="connsiteY61" fmla="*/ 765175 h 2263775"/>
              <a:gd name="connsiteX62" fmla="*/ 831850 w 1720850"/>
              <a:gd name="connsiteY62" fmla="*/ 739775 h 2263775"/>
              <a:gd name="connsiteX63" fmla="*/ 860425 w 1720850"/>
              <a:gd name="connsiteY63" fmla="*/ 692150 h 2263775"/>
              <a:gd name="connsiteX64" fmla="*/ 889000 w 1720850"/>
              <a:gd name="connsiteY64" fmla="*/ 701675 h 2263775"/>
              <a:gd name="connsiteX65" fmla="*/ 962025 w 1720850"/>
              <a:gd name="connsiteY65" fmla="*/ 660400 h 2263775"/>
              <a:gd name="connsiteX66" fmla="*/ 977900 w 1720850"/>
              <a:gd name="connsiteY66" fmla="*/ 603250 h 2263775"/>
              <a:gd name="connsiteX67" fmla="*/ 990600 w 1720850"/>
              <a:gd name="connsiteY67" fmla="*/ 546100 h 2263775"/>
              <a:gd name="connsiteX68" fmla="*/ 1025525 w 1720850"/>
              <a:gd name="connsiteY68" fmla="*/ 482600 h 2263775"/>
              <a:gd name="connsiteX69" fmla="*/ 1092200 w 1720850"/>
              <a:gd name="connsiteY69" fmla="*/ 444500 h 2263775"/>
              <a:gd name="connsiteX70" fmla="*/ 1130300 w 1720850"/>
              <a:gd name="connsiteY70" fmla="*/ 428625 h 2263775"/>
              <a:gd name="connsiteX71" fmla="*/ 1146175 w 1720850"/>
              <a:gd name="connsiteY71" fmla="*/ 390525 h 2263775"/>
              <a:gd name="connsiteX72" fmla="*/ 1155700 w 1720850"/>
              <a:gd name="connsiteY72" fmla="*/ 352425 h 2263775"/>
              <a:gd name="connsiteX73" fmla="*/ 1206500 w 1720850"/>
              <a:gd name="connsiteY73" fmla="*/ 320675 h 2263775"/>
              <a:gd name="connsiteX74" fmla="*/ 1203325 w 1720850"/>
              <a:gd name="connsiteY74" fmla="*/ 276225 h 2263775"/>
              <a:gd name="connsiteX75" fmla="*/ 1244600 w 1720850"/>
              <a:gd name="connsiteY75" fmla="*/ 222250 h 2263775"/>
              <a:gd name="connsiteX76" fmla="*/ 1273175 w 1720850"/>
              <a:gd name="connsiteY76" fmla="*/ 171450 h 2263775"/>
              <a:gd name="connsiteX77" fmla="*/ 1244600 w 1720850"/>
              <a:gd name="connsiteY77" fmla="*/ 104775 h 2263775"/>
              <a:gd name="connsiteX78" fmla="*/ 1222375 w 1720850"/>
              <a:gd name="connsiteY78" fmla="*/ 57150 h 2263775"/>
              <a:gd name="connsiteX79" fmla="*/ 1247775 w 1720850"/>
              <a:gd name="connsiteY79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358775 w 1720850"/>
              <a:gd name="connsiteY38" fmla="*/ 1828800 h 2263775"/>
              <a:gd name="connsiteX39" fmla="*/ 0 w 1720850"/>
              <a:gd name="connsiteY39" fmla="*/ 1457325 h 2263775"/>
              <a:gd name="connsiteX40" fmla="*/ 34925 w 1720850"/>
              <a:gd name="connsiteY40" fmla="*/ 1438275 h 2263775"/>
              <a:gd name="connsiteX41" fmla="*/ 107950 w 1720850"/>
              <a:gd name="connsiteY41" fmla="*/ 1422400 h 2263775"/>
              <a:gd name="connsiteX42" fmla="*/ 161925 w 1720850"/>
              <a:gd name="connsiteY42" fmla="*/ 1390650 h 2263775"/>
              <a:gd name="connsiteX43" fmla="*/ 200025 w 1720850"/>
              <a:gd name="connsiteY43" fmla="*/ 1406525 h 2263775"/>
              <a:gd name="connsiteX44" fmla="*/ 222250 w 1720850"/>
              <a:gd name="connsiteY44" fmla="*/ 1377950 h 2263775"/>
              <a:gd name="connsiteX45" fmla="*/ 301625 w 1720850"/>
              <a:gd name="connsiteY45" fmla="*/ 1381125 h 2263775"/>
              <a:gd name="connsiteX46" fmla="*/ 282575 w 1720850"/>
              <a:gd name="connsiteY46" fmla="*/ 1339850 h 2263775"/>
              <a:gd name="connsiteX47" fmla="*/ 314325 w 1720850"/>
              <a:gd name="connsiteY47" fmla="*/ 1311275 h 2263775"/>
              <a:gd name="connsiteX48" fmla="*/ 390525 w 1720850"/>
              <a:gd name="connsiteY48" fmla="*/ 1298575 h 2263775"/>
              <a:gd name="connsiteX49" fmla="*/ 419100 w 1720850"/>
              <a:gd name="connsiteY49" fmla="*/ 1235075 h 2263775"/>
              <a:gd name="connsiteX50" fmla="*/ 492125 w 1720850"/>
              <a:gd name="connsiteY50" fmla="*/ 1219200 h 2263775"/>
              <a:gd name="connsiteX51" fmla="*/ 549275 w 1720850"/>
              <a:gd name="connsiteY51" fmla="*/ 1162050 h 2263775"/>
              <a:gd name="connsiteX52" fmla="*/ 587375 w 1720850"/>
              <a:gd name="connsiteY52" fmla="*/ 1095375 h 2263775"/>
              <a:gd name="connsiteX53" fmla="*/ 612775 w 1720850"/>
              <a:gd name="connsiteY53" fmla="*/ 1041400 h 2263775"/>
              <a:gd name="connsiteX54" fmla="*/ 654050 w 1720850"/>
              <a:gd name="connsiteY54" fmla="*/ 1019175 h 2263775"/>
              <a:gd name="connsiteX55" fmla="*/ 669925 w 1720850"/>
              <a:gd name="connsiteY55" fmla="*/ 974725 h 2263775"/>
              <a:gd name="connsiteX56" fmla="*/ 714375 w 1720850"/>
              <a:gd name="connsiteY56" fmla="*/ 942975 h 2263775"/>
              <a:gd name="connsiteX57" fmla="*/ 777875 w 1720850"/>
              <a:gd name="connsiteY57" fmla="*/ 885825 h 2263775"/>
              <a:gd name="connsiteX58" fmla="*/ 812800 w 1720850"/>
              <a:gd name="connsiteY58" fmla="*/ 869950 h 2263775"/>
              <a:gd name="connsiteX59" fmla="*/ 825500 w 1720850"/>
              <a:gd name="connsiteY59" fmla="*/ 806450 h 2263775"/>
              <a:gd name="connsiteX60" fmla="*/ 806450 w 1720850"/>
              <a:gd name="connsiteY60" fmla="*/ 765175 h 2263775"/>
              <a:gd name="connsiteX61" fmla="*/ 831850 w 1720850"/>
              <a:gd name="connsiteY61" fmla="*/ 739775 h 2263775"/>
              <a:gd name="connsiteX62" fmla="*/ 860425 w 1720850"/>
              <a:gd name="connsiteY62" fmla="*/ 692150 h 2263775"/>
              <a:gd name="connsiteX63" fmla="*/ 889000 w 1720850"/>
              <a:gd name="connsiteY63" fmla="*/ 701675 h 2263775"/>
              <a:gd name="connsiteX64" fmla="*/ 962025 w 1720850"/>
              <a:gd name="connsiteY64" fmla="*/ 660400 h 2263775"/>
              <a:gd name="connsiteX65" fmla="*/ 977900 w 1720850"/>
              <a:gd name="connsiteY65" fmla="*/ 603250 h 2263775"/>
              <a:gd name="connsiteX66" fmla="*/ 990600 w 1720850"/>
              <a:gd name="connsiteY66" fmla="*/ 546100 h 2263775"/>
              <a:gd name="connsiteX67" fmla="*/ 1025525 w 1720850"/>
              <a:gd name="connsiteY67" fmla="*/ 482600 h 2263775"/>
              <a:gd name="connsiteX68" fmla="*/ 1092200 w 1720850"/>
              <a:gd name="connsiteY68" fmla="*/ 444500 h 2263775"/>
              <a:gd name="connsiteX69" fmla="*/ 1130300 w 1720850"/>
              <a:gd name="connsiteY69" fmla="*/ 428625 h 2263775"/>
              <a:gd name="connsiteX70" fmla="*/ 1146175 w 1720850"/>
              <a:gd name="connsiteY70" fmla="*/ 390525 h 2263775"/>
              <a:gd name="connsiteX71" fmla="*/ 1155700 w 1720850"/>
              <a:gd name="connsiteY71" fmla="*/ 352425 h 2263775"/>
              <a:gd name="connsiteX72" fmla="*/ 1206500 w 1720850"/>
              <a:gd name="connsiteY72" fmla="*/ 320675 h 2263775"/>
              <a:gd name="connsiteX73" fmla="*/ 1203325 w 1720850"/>
              <a:gd name="connsiteY73" fmla="*/ 276225 h 2263775"/>
              <a:gd name="connsiteX74" fmla="*/ 1244600 w 1720850"/>
              <a:gd name="connsiteY74" fmla="*/ 222250 h 2263775"/>
              <a:gd name="connsiteX75" fmla="*/ 1273175 w 1720850"/>
              <a:gd name="connsiteY75" fmla="*/ 171450 h 2263775"/>
              <a:gd name="connsiteX76" fmla="*/ 1244600 w 1720850"/>
              <a:gd name="connsiteY76" fmla="*/ 104775 h 2263775"/>
              <a:gd name="connsiteX77" fmla="*/ 1222375 w 1720850"/>
              <a:gd name="connsiteY77" fmla="*/ 57150 h 2263775"/>
              <a:gd name="connsiteX78" fmla="*/ 1247775 w 1720850"/>
              <a:gd name="connsiteY78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0 w 1720850"/>
              <a:gd name="connsiteY38" fmla="*/ 1457325 h 2263775"/>
              <a:gd name="connsiteX39" fmla="*/ 34925 w 1720850"/>
              <a:gd name="connsiteY39" fmla="*/ 1438275 h 2263775"/>
              <a:gd name="connsiteX40" fmla="*/ 107950 w 1720850"/>
              <a:gd name="connsiteY40" fmla="*/ 1422400 h 2263775"/>
              <a:gd name="connsiteX41" fmla="*/ 161925 w 1720850"/>
              <a:gd name="connsiteY41" fmla="*/ 1390650 h 2263775"/>
              <a:gd name="connsiteX42" fmla="*/ 200025 w 1720850"/>
              <a:gd name="connsiteY42" fmla="*/ 1406525 h 2263775"/>
              <a:gd name="connsiteX43" fmla="*/ 222250 w 1720850"/>
              <a:gd name="connsiteY43" fmla="*/ 1377950 h 2263775"/>
              <a:gd name="connsiteX44" fmla="*/ 301625 w 1720850"/>
              <a:gd name="connsiteY44" fmla="*/ 1381125 h 2263775"/>
              <a:gd name="connsiteX45" fmla="*/ 282575 w 1720850"/>
              <a:gd name="connsiteY45" fmla="*/ 1339850 h 2263775"/>
              <a:gd name="connsiteX46" fmla="*/ 314325 w 1720850"/>
              <a:gd name="connsiteY46" fmla="*/ 1311275 h 2263775"/>
              <a:gd name="connsiteX47" fmla="*/ 390525 w 1720850"/>
              <a:gd name="connsiteY47" fmla="*/ 1298575 h 2263775"/>
              <a:gd name="connsiteX48" fmla="*/ 419100 w 1720850"/>
              <a:gd name="connsiteY48" fmla="*/ 1235075 h 2263775"/>
              <a:gd name="connsiteX49" fmla="*/ 492125 w 1720850"/>
              <a:gd name="connsiteY49" fmla="*/ 1219200 h 2263775"/>
              <a:gd name="connsiteX50" fmla="*/ 549275 w 1720850"/>
              <a:gd name="connsiteY50" fmla="*/ 1162050 h 2263775"/>
              <a:gd name="connsiteX51" fmla="*/ 587375 w 1720850"/>
              <a:gd name="connsiteY51" fmla="*/ 1095375 h 2263775"/>
              <a:gd name="connsiteX52" fmla="*/ 612775 w 1720850"/>
              <a:gd name="connsiteY52" fmla="*/ 1041400 h 2263775"/>
              <a:gd name="connsiteX53" fmla="*/ 654050 w 1720850"/>
              <a:gd name="connsiteY53" fmla="*/ 1019175 h 2263775"/>
              <a:gd name="connsiteX54" fmla="*/ 669925 w 1720850"/>
              <a:gd name="connsiteY54" fmla="*/ 974725 h 2263775"/>
              <a:gd name="connsiteX55" fmla="*/ 714375 w 1720850"/>
              <a:gd name="connsiteY55" fmla="*/ 942975 h 2263775"/>
              <a:gd name="connsiteX56" fmla="*/ 777875 w 1720850"/>
              <a:gd name="connsiteY56" fmla="*/ 885825 h 2263775"/>
              <a:gd name="connsiteX57" fmla="*/ 812800 w 1720850"/>
              <a:gd name="connsiteY57" fmla="*/ 869950 h 2263775"/>
              <a:gd name="connsiteX58" fmla="*/ 825500 w 1720850"/>
              <a:gd name="connsiteY58" fmla="*/ 806450 h 2263775"/>
              <a:gd name="connsiteX59" fmla="*/ 806450 w 1720850"/>
              <a:gd name="connsiteY59" fmla="*/ 765175 h 2263775"/>
              <a:gd name="connsiteX60" fmla="*/ 831850 w 1720850"/>
              <a:gd name="connsiteY60" fmla="*/ 739775 h 2263775"/>
              <a:gd name="connsiteX61" fmla="*/ 860425 w 1720850"/>
              <a:gd name="connsiteY61" fmla="*/ 692150 h 2263775"/>
              <a:gd name="connsiteX62" fmla="*/ 889000 w 1720850"/>
              <a:gd name="connsiteY62" fmla="*/ 701675 h 2263775"/>
              <a:gd name="connsiteX63" fmla="*/ 962025 w 1720850"/>
              <a:gd name="connsiteY63" fmla="*/ 660400 h 2263775"/>
              <a:gd name="connsiteX64" fmla="*/ 977900 w 1720850"/>
              <a:gd name="connsiteY64" fmla="*/ 603250 h 2263775"/>
              <a:gd name="connsiteX65" fmla="*/ 990600 w 1720850"/>
              <a:gd name="connsiteY65" fmla="*/ 546100 h 2263775"/>
              <a:gd name="connsiteX66" fmla="*/ 1025525 w 1720850"/>
              <a:gd name="connsiteY66" fmla="*/ 482600 h 2263775"/>
              <a:gd name="connsiteX67" fmla="*/ 1092200 w 1720850"/>
              <a:gd name="connsiteY67" fmla="*/ 444500 h 2263775"/>
              <a:gd name="connsiteX68" fmla="*/ 1130300 w 1720850"/>
              <a:gd name="connsiteY68" fmla="*/ 428625 h 2263775"/>
              <a:gd name="connsiteX69" fmla="*/ 1146175 w 1720850"/>
              <a:gd name="connsiteY69" fmla="*/ 390525 h 2263775"/>
              <a:gd name="connsiteX70" fmla="*/ 1155700 w 1720850"/>
              <a:gd name="connsiteY70" fmla="*/ 352425 h 2263775"/>
              <a:gd name="connsiteX71" fmla="*/ 1206500 w 1720850"/>
              <a:gd name="connsiteY71" fmla="*/ 320675 h 2263775"/>
              <a:gd name="connsiteX72" fmla="*/ 1203325 w 1720850"/>
              <a:gd name="connsiteY72" fmla="*/ 276225 h 2263775"/>
              <a:gd name="connsiteX73" fmla="*/ 1244600 w 1720850"/>
              <a:gd name="connsiteY73" fmla="*/ 222250 h 2263775"/>
              <a:gd name="connsiteX74" fmla="*/ 1273175 w 1720850"/>
              <a:gd name="connsiteY74" fmla="*/ 171450 h 2263775"/>
              <a:gd name="connsiteX75" fmla="*/ 1244600 w 1720850"/>
              <a:gd name="connsiteY75" fmla="*/ 104775 h 2263775"/>
              <a:gd name="connsiteX76" fmla="*/ 1222375 w 1720850"/>
              <a:gd name="connsiteY76" fmla="*/ 57150 h 2263775"/>
              <a:gd name="connsiteX77" fmla="*/ 1247775 w 1720850"/>
              <a:gd name="connsiteY77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0 w 1720850"/>
              <a:gd name="connsiteY38" fmla="*/ 1457325 h 2263775"/>
              <a:gd name="connsiteX39" fmla="*/ 107950 w 1720850"/>
              <a:gd name="connsiteY39" fmla="*/ 1422400 h 2263775"/>
              <a:gd name="connsiteX40" fmla="*/ 161925 w 1720850"/>
              <a:gd name="connsiteY40" fmla="*/ 1390650 h 2263775"/>
              <a:gd name="connsiteX41" fmla="*/ 200025 w 1720850"/>
              <a:gd name="connsiteY41" fmla="*/ 1406525 h 2263775"/>
              <a:gd name="connsiteX42" fmla="*/ 222250 w 1720850"/>
              <a:gd name="connsiteY42" fmla="*/ 1377950 h 2263775"/>
              <a:gd name="connsiteX43" fmla="*/ 301625 w 1720850"/>
              <a:gd name="connsiteY43" fmla="*/ 1381125 h 2263775"/>
              <a:gd name="connsiteX44" fmla="*/ 282575 w 1720850"/>
              <a:gd name="connsiteY44" fmla="*/ 1339850 h 2263775"/>
              <a:gd name="connsiteX45" fmla="*/ 314325 w 1720850"/>
              <a:gd name="connsiteY45" fmla="*/ 1311275 h 2263775"/>
              <a:gd name="connsiteX46" fmla="*/ 390525 w 1720850"/>
              <a:gd name="connsiteY46" fmla="*/ 1298575 h 2263775"/>
              <a:gd name="connsiteX47" fmla="*/ 419100 w 1720850"/>
              <a:gd name="connsiteY47" fmla="*/ 1235075 h 2263775"/>
              <a:gd name="connsiteX48" fmla="*/ 492125 w 1720850"/>
              <a:gd name="connsiteY48" fmla="*/ 1219200 h 2263775"/>
              <a:gd name="connsiteX49" fmla="*/ 549275 w 1720850"/>
              <a:gd name="connsiteY49" fmla="*/ 1162050 h 2263775"/>
              <a:gd name="connsiteX50" fmla="*/ 587375 w 1720850"/>
              <a:gd name="connsiteY50" fmla="*/ 1095375 h 2263775"/>
              <a:gd name="connsiteX51" fmla="*/ 612775 w 1720850"/>
              <a:gd name="connsiteY51" fmla="*/ 1041400 h 2263775"/>
              <a:gd name="connsiteX52" fmla="*/ 654050 w 1720850"/>
              <a:gd name="connsiteY52" fmla="*/ 1019175 h 2263775"/>
              <a:gd name="connsiteX53" fmla="*/ 669925 w 1720850"/>
              <a:gd name="connsiteY53" fmla="*/ 974725 h 2263775"/>
              <a:gd name="connsiteX54" fmla="*/ 714375 w 1720850"/>
              <a:gd name="connsiteY54" fmla="*/ 942975 h 2263775"/>
              <a:gd name="connsiteX55" fmla="*/ 777875 w 1720850"/>
              <a:gd name="connsiteY55" fmla="*/ 885825 h 2263775"/>
              <a:gd name="connsiteX56" fmla="*/ 812800 w 1720850"/>
              <a:gd name="connsiteY56" fmla="*/ 869950 h 2263775"/>
              <a:gd name="connsiteX57" fmla="*/ 825500 w 1720850"/>
              <a:gd name="connsiteY57" fmla="*/ 806450 h 2263775"/>
              <a:gd name="connsiteX58" fmla="*/ 806450 w 1720850"/>
              <a:gd name="connsiteY58" fmla="*/ 765175 h 2263775"/>
              <a:gd name="connsiteX59" fmla="*/ 831850 w 1720850"/>
              <a:gd name="connsiteY59" fmla="*/ 739775 h 2263775"/>
              <a:gd name="connsiteX60" fmla="*/ 860425 w 1720850"/>
              <a:gd name="connsiteY60" fmla="*/ 692150 h 2263775"/>
              <a:gd name="connsiteX61" fmla="*/ 889000 w 1720850"/>
              <a:gd name="connsiteY61" fmla="*/ 701675 h 2263775"/>
              <a:gd name="connsiteX62" fmla="*/ 962025 w 1720850"/>
              <a:gd name="connsiteY62" fmla="*/ 660400 h 2263775"/>
              <a:gd name="connsiteX63" fmla="*/ 977900 w 1720850"/>
              <a:gd name="connsiteY63" fmla="*/ 603250 h 2263775"/>
              <a:gd name="connsiteX64" fmla="*/ 990600 w 1720850"/>
              <a:gd name="connsiteY64" fmla="*/ 546100 h 2263775"/>
              <a:gd name="connsiteX65" fmla="*/ 1025525 w 1720850"/>
              <a:gd name="connsiteY65" fmla="*/ 482600 h 2263775"/>
              <a:gd name="connsiteX66" fmla="*/ 1092200 w 1720850"/>
              <a:gd name="connsiteY66" fmla="*/ 444500 h 2263775"/>
              <a:gd name="connsiteX67" fmla="*/ 1130300 w 1720850"/>
              <a:gd name="connsiteY67" fmla="*/ 428625 h 2263775"/>
              <a:gd name="connsiteX68" fmla="*/ 1146175 w 1720850"/>
              <a:gd name="connsiteY68" fmla="*/ 390525 h 2263775"/>
              <a:gd name="connsiteX69" fmla="*/ 1155700 w 1720850"/>
              <a:gd name="connsiteY69" fmla="*/ 352425 h 2263775"/>
              <a:gd name="connsiteX70" fmla="*/ 1206500 w 1720850"/>
              <a:gd name="connsiteY70" fmla="*/ 320675 h 2263775"/>
              <a:gd name="connsiteX71" fmla="*/ 1203325 w 1720850"/>
              <a:gd name="connsiteY71" fmla="*/ 276225 h 2263775"/>
              <a:gd name="connsiteX72" fmla="*/ 1244600 w 1720850"/>
              <a:gd name="connsiteY72" fmla="*/ 222250 h 2263775"/>
              <a:gd name="connsiteX73" fmla="*/ 1273175 w 1720850"/>
              <a:gd name="connsiteY73" fmla="*/ 171450 h 2263775"/>
              <a:gd name="connsiteX74" fmla="*/ 1244600 w 1720850"/>
              <a:gd name="connsiteY74" fmla="*/ 104775 h 2263775"/>
              <a:gd name="connsiteX75" fmla="*/ 1222375 w 1720850"/>
              <a:gd name="connsiteY75" fmla="*/ 57150 h 2263775"/>
              <a:gd name="connsiteX76" fmla="*/ 1247775 w 1720850"/>
              <a:gd name="connsiteY76" fmla="*/ 0 h 2263775"/>
              <a:gd name="connsiteX0" fmla="*/ 1720850 w 1720850"/>
              <a:gd name="connsiteY0" fmla="*/ 2263775 h 2263775"/>
              <a:gd name="connsiteX1" fmla="*/ 1704975 w 1720850"/>
              <a:gd name="connsiteY1" fmla="*/ 2206625 h 2263775"/>
              <a:gd name="connsiteX2" fmla="*/ 1673225 w 1720850"/>
              <a:gd name="connsiteY2" fmla="*/ 2162175 h 2263775"/>
              <a:gd name="connsiteX3" fmla="*/ 1635125 w 1720850"/>
              <a:gd name="connsiteY3" fmla="*/ 2149475 h 2263775"/>
              <a:gd name="connsiteX4" fmla="*/ 1581150 w 1720850"/>
              <a:gd name="connsiteY4" fmla="*/ 2152650 h 2263775"/>
              <a:gd name="connsiteX5" fmla="*/ 1539875 w 1720850"/>
              <a:gd name="connsiteY5" fmla="*/ 2149475 h 2263775"/>
              <a:gd name="connsiteX6" fmla="*/ 1504950 w 1720850"/>
              <a:gd name="connsiteY6" fmla="*/ 2130425 h 2263775"/>
              <a:gd name="connsiteX7" fmla="*/ 1476375 w 1720850"/>
              <a:gd name="connsiteY7" fmla="*/ 2143125 h 2263775"/>
              <a:gd name="connsiteX8" fmla="*/ 1425575 w 1720850"/>
              <a:gd name="connsiteY8" fmla="*/ 2130425 h 2263775"/>
              <a:gd name="connsiteX9" fmla="*/ 1390650 w 1720850"/>
              <a:gd name="connsiteY9" fmla="*/ 2117725 h 2263775"/>
              <a:gd name="connsiteX10" fmla="*/ 1374775 w 1720850"/>
              <a:gd name="connsiteY10" fmla="*/ 2111375 h 2263775"/>
              <a:gd name="connsiteX11" fmla="*/ 1314450 w 1720850"/>
              <a:gd name="connsiteY11" fmla="*/ 2117725 h 2263775"/>
              <a:gd name="connsiteX12" fmla="*/ 1260475 w 1720850"/>
              <a:gd name="connsiteY12" fmla="*/ 2073275 h 2263775"/>
              <a:gd name="connsiteX13" fmla="*/ 1228725 w 1720850"/>
              <a:gd name="connsiteY13" fmla="*/ 2051050 h 2263775"/>
              <a:gd name="connsiteX14" fmla="*/ 1193800 w 1720850"/>
              <a:gd name="connsiteY14" fmla="*/ 2038350 h 2263775"/>
              <a:gd name="connsiteX15" fmla="*/ 1168400 w 1720850"/>
              <a:gd name="connsiteY15" fmla="*/ 2003425 h 2263775"/>
              <a:gd name="connsiteX16" fmla="*/ 1120775 w 1720850"/>
              <a:gd name="connsiteY16" fmla="*/ 1990725 h 2263775"/>
              <a:gd name="connsiteX17" fmla="*/ 1082675 w 1720850"/>
              <a:gd name="connsiteY17" fmla="*/ 1968500 h 2263775"/>
              <a:gd name="connsiteX18" fmla="*/ 1047750 w 1720850"/>
              <a:gd name="connsiteY18" fmla="*/ 1971675 h 2263775"/>
              <a:gd name="connsiteX19" fmla="*/ 1031875 w 1720850"/>
              <a:gd name="connsiteY19" fmla="*/ 1949450 h 2263775"/>
              <a:gd name="connsiteX20" fmla="*/ 987425 w 1720850"/>
              <a:gd name="connsiteY20" fmla="*/ 1936750 h 2263775"/>
              <a:gd name="connsiteX21" fmla="*/ 962025 w 1720850"/>
              <a:gd name="connsiteY21" fmla="*/ 1943100 h 2263775"/>
              <a:gd name="connsiteX22" fmla="*/ 914400 w 1720850"/>
              <a:gd name="connsiteY22" fmla="*/ 1936750 h 2263775"/>
              <a:gd name="connsiteX23" fmla="*/ 869950 w 1720850"/>
              <a:gd name="connsiteY23" fmla="*/ 1952625 h 2263775"/>
              <a:gd name="connsiteX24" fmla="*/ 803275 w 1720850"/>
              <a:gd name="connsiteY24" fmla="*/ 1946275 h 2263775"/>
              <a:gd name="connsiteX25" fmla="*/ 803275 w 1720850"/>
              <a:gd name="connsiteY25" fmla="*/ 1946275 h 2263775"/>
              <a:gd name="connsiteX26" fmla="*/ 749300 w 1720850"/>
              <a:gd name="connsiteY26" fmla="*/ 1952625 h 2263775"/>
              <a:gd name="connsiteX27" fmla="*/ 762000 w 1720850"/>
              <a:gd name="connsiteY27" fmla="*/ 1927225 h 2263775"/>
              <a:gd name="connsiteX28" fmla="*/ 739775 w 1720850"/>
              <a:gd name="connsiteY28" fmla="*/ 1917700 h 2263775"/>
              <a:gd name="connsiteX29" fmla="*/ 758825 w 1720850"/>
              <a:gd name="connsiteY29" fmla="*/ 1857375 h 2263775"/>
              <a:gd name="connsiteX30" fmla="*/ 733425 w 1720850"/>
              <a:gd name="connsiteY30" fmla="*/ 1803400 h 2263775"/>
              <a:gd name="connsiteX31" fmla="*/ 688975 w 1720850"/>
              <a:gd name="connsiteY31" fmla="*/ 1762125 h 2263775"/>
              <a:gd name="connsiteX32" fmla="*/ 644525 w 1720850"/>
              <a:gd name="connsiteY32" fmla="*/ 1739900 h 2263775"/>
              <a:gd name="connsiteX33" fmla="*/ 600075 w 1720850"/>
              <a:gd name="connsiteY33" fmla="*/ 1803400 h 2263775"/>
              <a:gd name="connsiteX34" fmla="*/ 542925 w 1720850"/>
              <a:gd name="connsiteY34" fmla="*/ 1860550 h 2263775"/>
              <a:gd name="connsiteX35" fmla="*/ 504825 w 1720850"/>
              <a:gd name="connsiteY35" fmla="*/ 1870075 h 2263775"/>
              <a:gd name="connsiteX36" fmla="*/ 460375 w 1720850"/>
              <a:gd name="connsiteY36" fmla="*/ 1847850 h 2263775"/>
              <a:gd name="connsiteX37" fmla="*/ 415925 w 1720850"/>
              <a:gd name="connsiteY37" fmla="*/ 1851025 h 2263775"/>
              <a:gd name="connsiteX38" fmla="*/ 0 w 1720850"/>
              <a:gd name="connsiteY38" fmla="*/ 1457325 h 2263775"/>
              <a:gd name="connsiteX39" fmla="*/ 161925 w 1720850"/>
              <a:gd name="connsiteY39" fmla="*/ 1390650 h 2263775"/>
              <a:gd name="connsiteX40" fmla="*/ 200025 w 1720850"/>
              <a:gd name="connsiteY40" fmla="*/ 1406525 h 2263775"/>
              <a:gd name="connsiteX41" fmla="*/ 222250 w 1720850"/>
              <a:gd name="connsiteY41" fmla="*/ 1377950 h 2263775"/>
              <a:gd name="connsiteX42" fmla="*/ 301625 w 1720850"/>
              <a:gd name="connsiteY42" fmla="*/ 1381125 h 2263775"/>
              <a:gd name="connsiteX43" fmla="*/ 282575 w 1720850"/>
              <a:gd name="connsiteY43" fmla="*/ 1339850 h 2263775"/>
              <a:gd name="connsiteX44" fmla="*/ 314325 w 1720850"/>
              <a:gd name="connsiteY44" fmla="*/ 1311275 h 2263775"/>
              <a:gd name="connsiteX45" fmla="*/ 390525 w 1720850"/>
              <a:gd name="connsiteY45" fmla="*/ 1298575 h 2263775"/>
              <a:gd name="connsiteX46" fmla="*/ 419100 w 1720850"/>
              <a:gd name="connsiteY46" fmla="*/ 1235075 h 2263775"/>
              <a:gd name="connsiteX47" fmla="*/ 492125 w 1720850"/>
              <a:gd name="connsiteY47" fmla="*/ 1219200 h 2263775"/>
              <a:gd name="connsiteX48" fmla="*/ 549275 w 1720850"/>
              <a:gd name="connsiteY48" fmla="*/ 1162050 h 2263775"/>
              <a:gd name="connsiteX49" fmla="*/ 587375 w 1720850"/>
              <a:gd name="connsiteY49" fmla="*/ 1095375 h 2263775"/>
              <a:gd name="connsiteX50" fmla="*/ 612775 w 1720850"/>
              <a:gd name="connsiteY50" fmla="*/ 1041400 h 2263775"/>
              <a:gd name="connsiteX51" fmla="*/ 654050 w 1720850"/>
              <a:gd name="connsiteY51" fmla="*/ 1019175 h 2263775"/>
              <a:gd name="connsiteX52" fmla="*/ 669925 w 1720850"/>
              <a:gd name="connsiteY52" fmla="*/ 974725 h 2263775"/>
              <a:gd name="connsiteX53" fmla="*/ 714375 w 1720850"/>
              <a:gd name="connsiteY53" fmla="*/ 942975 h 2263775"/>
              <a:gd name="connsiteX54" fmla="*/ 777875 w 1720850"/>
              <a:gd name="connsiteY54" fmla="*/ 885825 h 2263775"/>
              <a:gd name="connsiteX55" fmla="*/ 812800 w 1720850"/>
              <a:gd name="connsiteY55" fmla="*/ 869950 h 2263775"/>
              <a:gd name="connsiteX56" fmla="*/ 825500 w 1720850"/>
              <a:gd name="connsiteY56" fmla="*/ 806450 h 2263775"/>
              <a:gd name="connsiteX57" fmla="*/ 806450 w 1720850"/>
              <a:gd name="connsiteY57" fmla="*/ 765175 h 2263775"/>
              <a:gd name="connsiteX58" fmla="*/ 831850 w 1720850"/>
              <a:gd name="connsiteY58" fmla="*/ 739775 h 2263775"/>
              <a:gd name="connsiteX59" fmla="*/ 860425 w 1720850"/>
              <a:gd name="connsiteY59" fmla="*/ 692150 h 2263775"/>
              <a:gd name="connsiteX60" fmla="*/ 889000 w 1720850"/>
              <a:gd name="connsiteY60" fmla="*/ 701675 h 2263775"/>
              <a:gd name="connsiteX61" fmla="*/ 962025 w 1720850"/>
              <a:gd name="connsiteY61" fmla="*/ 660400 h 2263775"/>
              <a:gd name="connsiteX62" fmla="*/ 977900 w 1720850"/>
              <a:gd name="connsiteY62" fmla="*/ 603250 h 2263775"/>
              <a:gd name="connsiteX63" fmla="*/ 990600 w 1720850"/>
              <a:gd name="connsiteY63" fmla="*/ 546100 h 2263775"/>
              <a:gd name="connsiteX64" fmla="*/ 1025525 w 1720850"/>
              <a:gd name="connsiteY64" fmla="*/ 482600 h 2263775"/>
              <a:gd name="connsiteX65" fmla="*/ 1092200 w 1720850"/>
              <a:gd name="connsiteY65" fmla="*/ 444500 h 2263775"/>
              <a:gd name="connsiteX66" fmla="*/ 1130300 w 1720850"/>
              <a:gd name="connsiteY66" fmla="*/ 428625 h 2263775"/>
              <a:gd name="connsiteX67" fmla="*/ 1146175 w 1720850"/>
              <a:gd name="connsiteY67" fmla="*/ 390525 h 2263775"/>
              <a:gd name="connsiteX68" fmla="*/ 1155700 w 1720850"/>
              <a:gd name="connsiteY68" fmla="*/ 352425 h 2263775"/>
              <a:gd name="connsiteX69" fmla="*/ 1206500 w 1720850"/>
              <a:gd name="connsiteY69" fmla="*/ 320675 h 2263775"/>
              <a:gd name="connsiteX70" fmla="*/ 1203325 w 1720850"/>
              <a:gd name="connsiteY70" fmla="*/ 276225 h 2263775"/>
              <a:gd name="connsiteX71" fmla="*/ 1244600 w 1720850"/>
              <a:gd name="connsiteY71" fmla="*/ 222250 h 2263775"/>
              <a:gd name="connsiteX72" fmla="*/ 1273175 w 1720850"/>
              <a:gd name="connsiteY72" fmla="*/ 171450 h 2263775"/>
              <a:gd name="connsiteX73" fmla="*/ 1244600 w 1720850"/>
              <a:gd name="connsiteY73" fmla="*/ 104775 h 2263775"/>
              <a:gd name="connsiteX74" fmla="*/ 1222375 w 1720850"/>
              <a:gd name="connsiteY74" fmla="*/ 57150 h 2263775"/>
              <a:gd name="connsiteX75" fmla="*/ 1247775 w 1720850"/>
              <a:gd name="connsiteY75" fmla="*/ 0 h 2263775"/>
              <a:gd name="connsiteX0" fmla="*/ 1558925 w 1558925"/>
              <a:gd name="connsiteY0" fmla="*/ 2263775 h 2263775"/>
              <a:gd name="connsiteX1" fmla="*/ 1543050 w 1558925"/>
              <a:gd name="connsiteY1" fmla="*/ 2206625 h 2263775"/>
              <a:gd name="connsiteX2" fmla="*/ 1511300 w 1558925"/>
              <a:gd name="connsiteY2" fmla="*/ 2162175 h 2263775"/>
              <a:gd name="connsiteX3" fmla="*/ 1473200 w 1558925"/>
              <a:gd name="connsiteY3" fmla="*/ 2149475 h 2263775"/>
              <a:gd name="connsiteX4" fmla="*/ 1419225 w 1558925"/>
              <a:gd name="connsiteY4" fmla="*/ 2152650 h 2263775"/>
              <a:gd name="connsiteX5" fmla="*/ 1377950 w 1558925"/>
              <a:gd name="connsiteY5" fmla="*/ 2149475 h 2263775"/>
              <a:gd name="connsiteX6" fmla="*/ 1343025 w 1558925"/>
              <a:gd name="connsiteY6" fmla="*/ 2130425 h 2263775"/>
              <a:gd name="connsiteX7" fmla="*/ 1314450 w 1558925"/>
              <a:gd name="connsiteY7" fmla="*/ 2143125 h 2263775"/>
              <a:gd name="connsiteX8" fmla="*/ 1263650 w 1558925"/>
              <a:gd name="connsiteY8" fmla="*/ 2130425 h 2263775"/>
              <a:gd name="connsiteX9" fmla="*/ 1228725 w 1558925"/>
              <a:gd name="connsiteY9" fmla="*/ 2117725 h 2263775"/>
              <a:gd name="connsiteX10" fmla="*/ 1212850 w 1558925"/>
              <a:gd name="connsiteY10" fmla="*/ 2111375 h 2263775"/>
              <a:gd name="connsiteX11" fmla="*/ 1152525 w 1558925"/>
              <a:gd name="connsiteY11" fmla="*/ 2117725 h 2263775"/>
              <a:gd name="connsiteX12" fmla="*/ 1098550 w 1558925"/>
              <a:gd name="connsiteY12" fmla="*/ 2073275 h 2263775"/>
              <a:gd name="connsiteX13" fmla="*/ 1066800 w 1558925"/>
              <a:gd name="connsiteY13" fmla="*/ 2051050 h 2263775"/>
              <a:gd name="connsiteX14" fmla="*/ 1031875 w 1558925"/>
              <a:gd name="connsiteY14" fmla="*/ 2038350 h 2263775"/>
              <a:gd name="connsiteX15" fmla="*/ 1006475 w 1558925"/>
              <a:gd name="connsiteY15" fmla="*/ 2003425 h 2263775"/>
              <a:gd name="connsiteX16" fmla="*/ 958850 w 1558925"/>
              <a:gd name="connsiteY16" fmla="*/ 1990725 h 2263775"/>
              <a:gd name="connsiteX17" fmla="*/ 920750 w 1558925"/>
              <a:gd name="connsiteY17" fmla="*/ 1968500 h 2263775"/>
              <a:gd name="connsiteX18" fmla="*/ 885825 w 1558925"/>
              <a:gd name="connsiteY18" fmla="*/ 1971675 h 2263775"/>
              <a:gd name="connsiteX19" fmla="*/ 869950 w 1558925"/>
              <a:gd name="connsiteY19" fmla="*/ 1949450 h 2263775"/>
              <a:gd name="connsiteX20" fmla="*/ 825500 w 1558925"/>
              <a:gd name="connsiteY20" fmla="*/ 1936750 h 2263775"/>
              <a:gd name="connsiteX21" fmla="*/ 800100 w 1558925"/>
              <a:gd name="connsiteY21" fmla="*/ 1943100 h 2263775"/>
              <a:gd name="connsiteX22" fmla="*/ 752475 w 1558925"/>
              <a:gd name="connsiteY22" fmla="*/ 1936750 h 2263775"/>
              <a:gd name="connsiteX23" fmla="*/ 708025 w 1558925"/>
              <a:gd name="connsiteY23" fmla="*/ 1952625 h 2263775"/>
              <a:gd name="connsiteX24" fmla="*/ 641350 w 1558925"/>
              <a:gd name="connsiteY24" fmla="*/ 1946275 h 2263775"/>
              <a:gd name="connsiteX25" fmla="*/ 641350 w 1558925"/>
              <a:gd name="connsiteY25" fmla="*/ 1946275 h 2263775"/>
              <a:gd name="connsiteX26" fmla="*/ 587375 w 1558925"/>
              <a:gd name="connsiteY26" fmla="*/ 1952625 h 2263775"/>
              <a:gd name="connsiteX27" fmla="*/ 600075 w 1558925"/>
              <a:gd name="connsiteY27" fmla="*/ 1927225 h 2263775"/>
              <a:gd name="connsiteX28" fmla="*/ 577850 w 1558925"/>
              <a:gd name="connsiteY28" fmla="*/ 1917700 h 2263775"/>
              <a:gd name="connsiteX29" fmla="*/ 596900 w 1558925"/>
              <a:gd name="connsiteY29" fmla="*/ 1857375 h 2263775"/>
              <a:gd name="connsiteX30" fmla="*/ 571500 w 1558925"/>
              <a:gd name="connsiteY30" fmla="*/ 1803400 h 2263775"/>
              <a:gd name="connsiteX31" fmla="*/ 527050 w 1558925"/>
              <a:gd name="connsiteY31" fmla="*/ 1762125 h 2263775"/>
              <a:gd name="connsiteX32" fmla="*/ 482600 w 1558925"/>
              <a:gd name="connsiteY32" fmla="*/ 1739900 h 2263775"/>
              <a:gd name="connsiteX33" fmla="*/ 438150 w 1558925"/>
              <a:gd name="connsiteY33" fmla="*/ 1803400 h 2263775"/>
              <a:gd name="connsiteX34" fmla="*/ 381000 w 1558925"/>
              <a:gd name="connsiteY34" fmla="*/ 1860550 h 2263775"/>
              <a:gd name="connsiteX35" fmla="*/ 342900 w 1558925"/>
              <a:gd name="connsiteY35" fmla="*/ 1870075 h 2263775"/>
              <a:gd name="connsiteX36" fmla="*/ 298450 w 1558925"/>
              <a:gd name="connsiteY36" fmla="*/ 1847850 h 2263775"/>
              <a:gd name="connsiteX37" fmla="*/ 254000 w 1558925"/>
              <a:gd name="connsiteY37" fmla="*/ 1851025 h 2263775"/>
              <a:gd name="connsiteX38" fmla="*/ 0 w 1558925"/>
              <a:gd name="connsiteY38" fmla="*/ 1390650 h 2263775"/>
              <a:gd name="connsiteX39" fmla="*/ 38100 w 1558925"/>
              <a:gd name="connsiteY39" fmla="*/ 1406525 h 2263775"/>
              <a:gd name="connsiteX40" fmla="*/ 60325 w 1558925"/>
              <a:gd name="connsiteY40" fmla="*/ 1377950 h 2263775"/>
              <a:gd name="connsiteX41" fmla="*/ 139700 w 1558925"/>
              <a:gd name="connsiteY41" fmla="*/ 1381125 h 2263775"/>
              <a:gd name="connsiteX42" fmla="*/ 120650 w 1558925"/>
              <a:gd name="connsiteY42" fmla="*/ 1339850 h 2263775"/>
              <a:gd name="connsiteX43" fmla="*/ 152400 w 1558925"/>
              <a:gd name="connsiteY43" fmla="*/ 1311275 h 2263775"/>
              <a:gd name="connsiteX44" fmla="*/ 228600 w 1558925"/>
              <a:gd name="connsiteY44" fmla="*/ 1298575 h 2263775"/>
              <a:gd name="connsiteX45" fmla="*/ 257175 w 1558925"/>
              <a:gd name="connsiteY45" fmla="*/ 1235075 h 2263775"/>
              <a:gd name="connsiteX46" fmla="*/ 330200 w 1558925"/>
              <a:gd name="connsiteY46" fmla="*/ 1219200 h 2263775"/>
              <a:gd name="connsiteX47" fmla="*/ 387350 w 1558925"/>
              <a:gd name="connsiteY47" fmla="*/ 1162050 h 2263775"/>
              <a:gd name="connsiteX48" fmla="*/ 425450 w 1558925"/>
              <a:gd name="connsiteY48" fmla="*/ 1095375 h 2263775"/>
              <a:gd name="connsiteX49" fmla="*/ 450850 w 1558925"/>
              <a:gd name="connsiteY49" fmla="*/ 1041400 h 2263775"/>
              <a:gd name="connsiteX50" fmla="*/ 492125 w 1558925"/>
              <a:gd name="connsiteY50" fmla="*/ 1019175 h 2263775"/>
              <a:gd name="connsiteX51" fmla="*/ 508000 w 1558925"/>
              <a:gd name="connsiteY51" fmla="*/ 974725 h 2263775"/>
              <a:gd name="connsiteX52" fmla="*/ 552450 w 1558925"/>
              <a:gd name="connsiteY52" fmla="*/ 942975 h 2263775"/>
              <a:gd name="connsiteX53" fmla="*/ 615950 w 1558925"/>
              <a:gd name="connsiteY53" fmla="*/ 885825 h 2263775"/>
              <a:gd name="connsiteX54" fmla="*/ 650875 w 1558925"/>
              <a:gd name="connsiteY54" fmla="*/ 869950 h 2263775"/>
              <a:gd name="connsiteX55" fmla="*/ 663575 w 1558925"/>
              <a:gd name="connsiteY55" fmla="*/ 806450 h 2263775"/>
              <a:gd name="connsiteX56" fmla="*/ 644525 w 1558925"/>
              <a:gd name="connsiteY56" fmla="*/ 765175 h 2263775"/>
              <a:gd name="connsiteX57" fmla="*/ 669925 w 1558925"/>
              <a:gd name="connsiteY57" fmla="*/ 739775 h 2263775"/>
              <a:gd name="connsiteX58" fmla="*/ 698500 w 1558925"/>
              <a:gd name="connsiteY58" fmla="*/ 692150 h 2263775"/>
              <a:gd name="connsiteX59" fmla="*/ 727075 w 1558925"/>
              <a:gd name="connsiteY59" fmla="*/ 701675 h 2263775"/>
              <a:gd name="connsiteX60" fmla="*/ 800100 w 1558925"/>
              <a:gd name="connsiteY60" fmla="*/ 660400 h 2263775"/>
              <a:gd name="connsiteX61" fmla="*/ 815975 w 1558925"/>
              <a:gd name="connsiteY61" fmla="*/ 603250 h 2263775"/>
              <a:gd name="connsiteX62" fmla="*/ 828675 w 1558925"/>
              <a:gd name="connsiteY62" fmla="*/ 546100 h 2263775"/>
              <a:gd name="connsiteX63" fmla="*/ 863600 w 1558925"/>
              <a:gd name="connsiteY63" fmla="*/ 482600 h 2263775"/>
              <a:gd name="connsiteX64" fmla="*/ 930275 w 1558925"/>
              <a:gd name="connsiteY64" fmla="*/ 444500 h 2263775"/>
              <a:gd name="connsiteX65" fmla="*/ 968375 w 1558925"/>
              <a:gd name="connsiteY65" fmla="*/ 428625 h 2263775"/>
              <a:gd name="connsiteX66" fmla="*/ 984250 w 1558925"/>
              <a:gd name="connsiteY66" fmla="*/ 390525 h 2263775"/>
              <a:gd name="connsiteX67" fmla="*/ 993775 w 1558925"/>
              <a:gd name="connsiteY67" fmla="*/ 352425 h 2263775"/>
              <a:gd name="connsiteX68" fmla="*/ 1044575 w 1558925"/>
              <a:gd name="connsiteY68" fmla="*/ 320675 h 2263775"/>
              <a:gd name="connsiteX69" fmla="*/ 1041400 w 1558925"/>
              <a:gd name="connsiteY69" fmla="*/ 276225 h 2263775"/>
              <a:gd name="connsiteX70" fmla="*/ 1082675 w 1558925"/>
              <a:gd name="connsiteY70" fmla="*/ 222250 h 2263775"/>
              <a:gd name="connsiteX71" fmla="*/ 1111250 w 1558925"/>
              <a:gd name="connsiteY71" fmla="*/ 171450 h 2263775"/>
              <a:gd name="connsiteX72" fmla="*/ 1082675 w 1558925"/>
              <a:gd name="connsiteY72" fmla="*/ 104775 h 2263775"/>
              <a:gd name="connsiteX73" fmla="*/ 1060450 w 1558925"/>
              <a:gd name="connsiteY73" fmla="*/ 57150 h 2263775"/>
              <a:gd name="connsiteX74" fmla="*/ 1085850 w 1558925"/>
              <a:gd name="connsiteY74" fmla="*/ 0 h 2263775"/>
              <a:gd name="connsiteX0" fmla="*/ 1520825 w 1520825"/>
              <a:gd name="connsiteY0" fmla="*/ 2263775 h 2263775"/>
              <a:gd name="connsiteX1" fmla="*/ 1504950 w 1520825"/>
              <a:gd name="connsiteY1" fmla="*/ 2206625 h 2263775"/>
              <a:gd name="connsiteX2" fmla="*/ 1473200 w 1520825"/>
              <a:gd name="connsiteY2" fmla="*/ 2162175 h 2263775"/>
              <a:gd name="connsiteX3" fmla="*/ 1435100 w 1520825"/>
              <a:gd name="connsiteY3" fmla="*/ 2149475 h 2263775"/>
              <a:gd name="connsiteX4" fmla="*/ 1381125 w 1520825"/>
              <a:gd name="connsiteY4" fmla="*/ 2152650 h 2263775"/>
              <a:gd name="connsiteX5" fmla="*/ 1339850 w 1520825"/>
              <a:gd name="connsiteY5" fmla="*/ 2149475 h 2263775"/>
              <a:gd name="connsiteX6" fmla="*/ 1304925 w 1520825"/>
              <a:gd name="connsiteY6" fmla="*/ 2130425 h 2263775"/>
              <a:gd name="connsiteX7" fmla="*/ 1276350 w 1520825"/>
              <a:gd name="connsiteY7" fmla="*/ 2143125 h 2263775"/>
              <a:gd name="connsiteX8" fmla="*/ 1225550 w 1520825"/>
              <a:gd name="connsiteY8" fmla="*/ 2130425 h 2263775"/>
              <a:gd name="connsiteX9" fmla="*/ 1190625 w 1520825"/>
              <a:gd name="connsiteY9" fmla="*/ 2117725 h 2263775"/>
              <a:gd name="connsiteX10" fmla="*/ 1174750 w 1520825"/>
              <a:gd name="connsiteY10" fmla="*/ 2111375 h 2263775"/>
              <a:gd name="connsiteX11" fmla="*/ 1114425 w 1520825"/>
              <a:gd name="connsiteY11" fmla="*/ 2117725 h 2263775"/>
              <a:gd name="connsiteX12" fmla="*/ 1060450 w 1520825"/>
              <a:gd name="connsiteY12" fmla="*/ 2073275 h 2263775"/>
              <a:gd name="connsiteX13" fmla="*/ 1028700 w 1520825"/>
              <a:gd name="connsiteY13" fmla="*/ 2051050 h 2263775"/>
              <a:gd name="connsiteX14" fmla="*/ 993775 w 1520825"/>
              <a:gd name="connsiteY14" fmla="*/ 2038350 h 2263775"/>
              <a:gd name="connsiteX15" fmla="*/ 968375 w 1520825"/>
              <a:gd name="connsiteY15" fmla="*/ 2003425 h 2263775"/>
              <a:gd name="connsiteX16" fmla="*/ 920750 w 1520825"/>
              <a:gd name="connsiteY16" fmla="*/ 1990725 h 2263775"/>
              <a:gd name="connsiteX17" fmla="*/ 882650 w 1520825"/>
              <a:gd name="connsiteY17" fmla="*/ 1968500 h 2263775"/>
              <a:gd name="connsiteX18" fmla="*/ 847725 w 1520825"/>
              <a:gd name="connsiteY18" fmla="*/ 1971675 h 2263775"/>
              <a:gd name="connsiteX19" fmla="*/ 831850 w 1520825"/>
              <a:gd name="connsiteY19" fmla="*/ 1949450 h 2263775"/>
              <a:gd name="connsiteX20" fmla="*/ 787400 w 1520825"/>
              <a:gd name="connsiteY20" fmla="*/ 1936750 h 2263775"/>
              <a:gd name="connsiteX21" fmla="*/ 762000 w 1520825"/>
              <a:gd name="connsiteY21" fmla="*/ 1943100 h 2263775"/>
              <a:gd name="connsiteX22" fmla="*/ 714375 w 1520825"/>
              <a:gd name="connsiteY22" fmla="*/ 1936750 h 2263775"/>
              <a:gd name="connsiteX23" fmla="*/ 669925 w 1520825"/>
              <a:gd name="connsiteY23" fmla="*/ 1952625 h 2263775"/>
              <a:gd name="connsiteX24" fmla="*/ 603250 w 1520825"/>
              <a:gd name="connsiteY24" fmla="*/ 1946275 h 2263775"/>
              <a:gd name="connsiteX25" fmla="*/ 603250 w 1520825"/>
              <a:gd name="connsiteY25" fmla="*/ 1946275 h 2263775"/>
              <a:gd name="connsiteX26" fmla="*/ 549275 w 1520825"/>
              <a:gd name="connsiteY26" fmla="*/ 1952625 h 2263775"/>
              <a:gd name="connsiteX27" fmla="*/ 561975 w 1520825"/>
              <a:gd name="connsiteY27" fmla="*/ 1927225 h 2263775"/>
              <a:gd name="connsiteX28" fmla="*/ 539750 w 1520825"/>
              <a:gd name="connsiteY28" fmla="*/ 1917700 h 2263775"/>
              <a:gd name="connsiteX29" fmla="*/ 558800 w 1520825"/>
              <a:gd name="connsiteY29" fmla="*/ 1857375 h 2263775"/>
              <a:gd name="connsiteX30" fmla="*/ 533400 w 1520825"/>
              <a:gd name="connsiteY30" fmla="*/ 1803400 h 2263775"/>
              <a:gd name="connsiteX31" fmla="*/ 488950 w 1520825"/>
              <a:gd name="connsiteY31" fmla="*/ 1762125 h 2263775"/>
              <a:gd name="connsiteX32" fmla="*/ 444500 w 1520825"/>
              <a:gd name="connsiteY32" fmla="*/ 1739900 h 2263775"/>
              <a:gd name="connsiteX33" fmla="*/ 400050 w 1520825"/>
              <a:gd name="connsiteY33" fmla="*/ 1803400 h 2263775"/>
              <a:gd name="connsiteX34" fmla="*/ 342900 w 1520825"/>
              <a:gd name="connsiteY34" fmla="*/ 1860550 h 2263775"/>
              <a:gd name="connsiteX35" fmla="*/ 304800 w 1520825"/>
              <a:gd name="connsiteY35" fmla="*/ 1870075 h 2263775"/>
              <a:gd name="connsiteX36" fmla="*/ 260350 w 1520825"/>
              <a:gd name="connsiteY36" fmla="*/ 1847850 h 2263775"/>
              <a:gd name="connsiteX37" fmla="*/ 215900 w 1520825"/>
              <a:gd name="connsiteY37" fmla="*/ 1851025 h 2263775"/>
              <a:gd name="connsiteX38" fmla="*/ 0 w 1520825"/>
              <a:gd name="connsiteY38" fmla="*/ 1406525 h 2263775"/>
              <a:gd name="connsiteX39" fmla="*/ 22225 w 1520825"/>
              <a:gd name="connsiteY39" fmla="*/ 1377950 h 2263775"/>
              <a:gd name="connsiteX40" fmla="*/ 101600 w 1520825"/>
              <a:gd name="connsiteY40" fmla="*/ 1381125 h 2263775"/>
              <a:gd name="connsiteX41" fmla="*/ 82550 w 1520825"/>
              <a:gd name="connsiteY41" fmla="*/ 1339850 h 2263775"/>
              <a:gd name="connsiteX42" fmla="*/ 114300 w 1520825"/>
              <a:gd name="connsiteY42" fmla="*/ 1311275 h 2263775"/>
              <a:gd name="connsiteX43" fmla="*/ 190500 w 1520825"/>
              <a:gd name="connsiteY43" fmla="*/ 1298575 h 2263775"/>
              <a:gd name="connsiteX44" fmla="*/ 219075 w 1520825"/>
              <a:gd name="connsiteY44" fmla="*/ 1235075 h 2263775"/>
              <a:gd name="connsiteX45" fmla="*/ 292100 w 1520825"/>
              <a:gd name="connsiteY45" fmla="*/ 1219200 h 2263775"/>
              <a:gd name="connsiteX46" fmla="*/ 349250 w 1520825"/>
              <a:gd name="connsiteY46" fmla="*/ 1162050 h 2263775"/>
              <a:gd name="connsiteX47" fmla="*/ 387350 w 1520825"/>
              <a:gd name="connsiteY47" fmla="*/ 1095375 h 2263775"/>
              <a:gd name="connsiteX48" fmla="*/ 412750 w 1520825"/>
              <a:gd name="connsiteY48" fmla="*/ 1041400 h 2263775"/>
              <a:gd name="connsiteX49" fmla="*/ 454025 w 1520825"/>
              <a:gd name="connsiteY49" fmla="*/ 1019175 h 2263775"/>
              <a:gd name="connsiteX50" fmla="*/ 469900 w 1520825"/>
              <a:gd name="connsiteY50" fmla="*/ 974725 h 2263775"/>
              <a:gd name="connsiteX51" fmla="*/ 514350 w 1520825"/>
              <a:gd name="connsiteY51" fmla="*/ 942975 h 2263775"/>
              <a:gd name="connsiteX52" fmla="*/ 577850 w 1520825"/>
              <a:gd name="connsiteY52" fmla="*/ 885825 h 2263775"/>
              <a:gd name="connsiteX53" fmla="*/ 612775 w 1520825"/>
              <a:gd name="connsiteY53" fmla="*/ 869950 h 2263775"/>
              <a:gd name="connsiteX54" fmla="*/ 625475 w 1520825"/>
              <a:gd name="connsiteY54" fmla="*/ 806450 h 2263775"/>
              <a:gd name="connsiteX55" fmla="*/ 606425 w 1520825"/>
              <a:gd name="connsiteY55" fmla="*/ 765175 h 2263775"/>
              <a:gd name="connsiteX56" fmla="*/ 631825 w 1520825"/>
              <a:gd name="connsiteY56" fmla="*/ 739775 h 2263775"/>
              <a:gd name="connsiteX57" fmla="*/ 660400 w 1520825"/>
              <a:gd name="connsiteY57" fmla="*/ 692150 h 2263775"/>
              <a:gd name="connsiteX58" fmla="*/ 688975 w 1520825"/>
              <a:gd name="connsiteY58" fmla="*/ 701675 h 2263775"/>
              <a:gd name="connsiteX59" fmla="*/ 762000 w 1520825"/>
              <a:gd name="connsiteY59" fmla="*/ 660400 h 2263775"/>
              <a:gd name="connsiteX60" fmla="*/ 777875 w 1520825"/>
              <a:gd name="connsiteY60" fmla="*/ 603250 h 2263775"/>
              <a:gd name="connsiteX61" fmla="*/ 790575 w 1520825"/>
              <a:gd name="connsiteY61" fmla="*/ 546100 h 2263775"/>
              <a:gd name="connsiteX62" fmla="*/ 825500 w 1520825"/>
              <a:gd name="connsiteY62" fmla="*/ 482600 h 2263775"/>
              <a:gd name="connsiteX63" fmla="*/ 892175 w 1520825"/>
              <a:gd name="connsiteY63" fmla="*/ 444500 h 2263775"/>
              <a:gd name="connsiteX64" fmla="*/ 930275 w 1520825"/>
              <a:gd name="connsiteY64" fmla="*/ 428625 h 2263775"/>
              <a:gd name="connsiteX65" fmla="*/ 946150 w 1520825"/>
              <a:gd name="connsiteY65" fmla="*/ 390525 h 2263775"/>
              <a:gd name="connsiteX66" fmla="*/ 955675 w 1520825"/>
              <a:gd name="connsiteY66" fmla="*/ 352425 h 2263775"/>
              <a:gd name="connsiteX67" fmla="*/ 1006475 w 1520825"/>
              <a:gd name="connsiteY67" fmla="*/ 320675 h 2263775"/>
              <a:gd name="connsiteX68" fmla="*/ 1003300 w 1520825"/>
              <a:gd name="connsiteY68" fmla="*/ 276225 h 2263775"/>
              <a:gd name="connsiteX69" fmla="*/ 1044575 w 1520825"/>
              <a:gd name="connsiteY69" fmla="*/ 222250 h 2263775"/>
              <a:gd name="connsiteX70" fmla="*/ 1073150 w 1520825"/>
              <a:gd name="connsiteY70" fmla="*/ 171450 h 2263775"/>
              <a:gd name="connsiteX71" fmla="*/ 1044575 w 1520825"/>
              <a:gd name="connsiteY71" fmla="*/ 104775 h 2263775"/>
              <a:gd name="connsiteX72" fmla="*/ 1022350 w 1520825"/>
              <a:gd name="connsiteY72" fmla="*/ 57150 h 2263775"/>
              <a:gd name="connsiteX73" fmla="*/ 1047750 w 1520825"/>
              <a:gd name="connsiteY73" fmla="*/ 0 h 2263775"/>
              <a:gd name="connsiteX0" fmla="*/ 1520825 w 1520825"/>
              <a:gd name="connsiteY0" fmla="*/ 2263775 h 2263775"/>
              <a:gd name="connsiteX1" fmla="*/ 1504950 w 1520825"/>
              <a:gd name="connsiteY1" fmla="*/ 2206625 h 2263775"/>
              <a:gd name="connsiteX2" fmla="*/ 1473200 w 1520825"/>
              <a:gd name="connsiteY2" fmla="*/ 2162175 h 2263775"/>
              <a:gd name="connsiteX3" fmla="*/ 1435100 w 1520825"/>
              <a:gd name="connsiteY3" fmla="*/ 2149475 h 2263775"/>
              <a:gd name="connsiteX4" fmla="*/ 1381125 w 1520825"/>
              <a:gd name="connsiteY4" fmla="*/ 2152650 h 2263775"/>
              <a:gd name="connsiteX5" fmla="*/ 1339850 w 1520825"/>
              <a:gd name="connsiteY5" fmla="*/ 2149475 h 2263775"/>
              <a:gd name="connsiteX6" fmla="*/ 1304925 w 1520825"/>
              <a:gd name="connsiteY6" fmla="*/ 2130425 h 2263775"/>
              <a:gd name="connsiteX7" fmla="*/ 1276350 w 1520825"/>
              <a:gd name="connsiteY7" fmla="*/ 2143125 h 2263775"/>
              <a:gd name="connsiteX8" fmla="*/ 1225550 w 1520825"/>
              <a:gd name="connsiteY8" fmla="*/ 2130425 h 2263775"/>
              <a:gd name="connsiteX9" fmla="*/ 1190625 w 1520825"/>
              <a:gd name="connsiteY9" fmla="*/ 2117725 h 2263775"/>
              <a:gd name="connsiteX10" fmla="*/ 1174750 w 1520825"/>
              <a:gd name="connsiteY10" fmla="*/ 2111375 h 2263775"/>
              <a:gd name="connsiteX11" fmla="*/ 1114425 w 1520825"/>
              <a:gd name="connsiteY11" fmla="*/ 2117725 h 2263775"/>
              <a:gd name="connsiteX12" fmla="*/ 1060450 w 1520825"/>
              <a:gd name="connsiteY12" fmla="*/ 2073275 h 2263775"/>
              <a:gd name="connsiteX13" fmla="*/ 1028700 w 1520825"/>
              <a:gd name="connsiteY13" fmla="*/ 2051050 h 2263775"/>
              <a:gd name="connsiteX14" fmla="*/ 993775 w 1520825"/>
              <a:gd name="connsiteY14" fmla="*/ 2038350 h 2263775"/>
              <a:gd name="connsiteX15" fmla="*/ 968375 w 1520825"/>
              <a:gd name="connsiteY15" fmla="*/ 2003425 h 2263775"/>
              <a:gd name="connsiteX16" fmla="*/ 920750 w 1520825"/>
              <a:gd name="connsiteY16" fmla="*/ 1990725 h 2263775"/>
              <a:gd name="connsiteX17" fmla="*/ 882650 w 1520825"/>
              <a:gd name="connsiteY17" fmla="*/ 1968500 h 2263775"/>
              <a:gd name="connsiteX18" fmla="*/ 847725 w 1520825"/>
              <a:gd name="connsiteY18" fmla="*/ 1971675 h 2263775"/>
              <a:gd name="connsiteX19" fmla="*/ 831850 w 1520825"/>
              <a:gd name="connsiteY19" fmla="*/ 1949450 h 2263775"/>
              <a:gd name="connsiteX20" fmla="*/ 787400 w 1520825"/>
              <a:gd name="connsiteY20" fmla="*/ 1936750 h 2263775"/>
              <a:gd name="connsiteX21" fmla="*/ 762000 w 1520825"/>
              <a:gd name="connsiteY21" fmla="*/ 1943100 h 2263775"/>
              <a:gd name="connsiteX22" fmla="*/ 714375 w 1520825"/>
              <a:gd name="connsiteY22" fmla="*/ 1936750 h 2263775"/>
              <a:gd name="connsiteX23" fmla="*/ 669925 w 1520825"/>
              <a:gd name="connsiteY23" fmla="*/ 1952625 h 2263775"/>
              <a:gd name="connsiteX24" fmla="*/ 603250 w 1520825"/>
              <a:gd name="connsiteY24" fmla="*/ 1946275 h 2263775"/>
              <a:gd name="connsiteX25" fmla="*/ 603250 w 1520825"/>
              <a:gd name="connsiteY25" fmla="*/ 1946275 h 2263775"/>
              <a:gd name="connsiteX26" fmla="*/ 549275 w 1520825"/>
              <a:gd name="connsiteY26" fmla="*/ 1952625 h 2263775"/>
              <a:gd name="connsiteX27" fmla="*/ 561975 w 1520825"/>
              <a:gd name="connsiteY27" fmla="*/ 1927225 h 2263775"/>
              <a:gd name="connsiteX28" fmla="*/ 539750 w 1520825"/>
              <a:gd name="connsiteY28" fmla="*/ 1917700 h 2263775"/>
              <a:gd name="connsiteX29" fmla="*/ 558800 w 1520825"/>
              <a:gd name="connsiteY29" fmla="*/ 1857375 h 2263775"/>
              <a:gd name="connsiteX30" fmla="*/ 533400 w 1520825"/>
              <a:gd name="connsiteY30" fmla="*/ 1803400 h 2263775"/>
              <a:gd name="connsiteX31" fmla="*/ 488950 w 1520825"/>
              <a:gd name="connsiteY31" fmla="*/ 1762125 h 2263775"/>
              <a:gd name="connsiteX32" fmla="*/ 444500 w 1520825"/>
              <a:gd name="connsiteY32" fmla="*/ 1739900 h 2263775"/>
              <a:gd name="connsiteX33" fmla="*/ 400050 w 1520825"/>
              <a:gd name="connsiteY33" fmla="*/ 1803400 h 2263775"/>
              <a:gd name="connsiteX34" fmla="*/ 342900 w 1520825"/>
              <a:gd name="connsiteY34" fmla="*/ 1860550 h 2263775"/>
              <a:gd name="connsiteX35" fmla="*/ 304800 w 1520825"/>
              <a:gd name="connsiteY35" fmla="*/ 1870075 h 2263775"/>
              <a:gd name="connsiteX36" fmla="*/ 260350 w 1520825"/>
              <a:gd name="connsiteY36" fmla="*/ 1847850 h 2263775"/>
              <a:gd name="connsiteX37" fmla="*/ 215900 w 1520825"/>
              <a:gd name="connsiteY37" fmla="*/ 1851025 h 2263775"/>
              <a:gd name="connsiteX38" fmla="*/ 0 w 1520825"/>
              <a:gd name="connsiteY38" fmla="*/ 1406525 h 2263775"/>
              <a:gd name="connsiteX39" fmla="*/ 101600 w 1520825"/>
              <a:gd name="connsiteY39" fmla="*/ 1381125 h 2263775"/>
              <a:gd name="connsiteX40" fmla="*/ 82550 w 1520825"/>
              <a:gd name="connsiteY40" fmla="*/ 1339850 h 2263775"/>
              <a:gd name="connsiteX41" fmla="*/ 114300 w 1520825"/>
              <a:gd name="connsiteY41" fmla="*/ 1311275 h 2263775"/>
              <a:gd name="connsiteX42" fmla="*/ 190500 w 1520825"/>
              <a:gd name="connsiteY42" fmla="*/ 1298575 h 2263775"/>
              <a:gd name="connsiteX43" fmla="*/ 219075 w 1520825"/>
              <a:gd name="connsiteY43" fmla="*/ 1235075 h 2263775"/>
              <a:gd name="connsiteX44" fmla="*/ 292100 w 1520825"/>
              <a:gd name="connsiteY44" fmla="*/ 1219200 h 2263775"/>
              <a:gd name="connsiteX45" fmla="*/ 349250 w 1520825"/>
              <a:gd name="connsiteY45" fmla="*/ 1162050 h 2263775"/>
              <a:gd name="connsiteX46" fmla="*/ 387350 w 1520825"/>
              <a:gd name="connsiteY46" fmla="*/ 1095375 h 2263775"/>
              <a:gd name="connsiteX47" fmla="*/ 412750 w 1520825"/>
              <a:gd name="connsiteY47" fmla="*/ 1041400 h 2263775"/>
              <a:gd name="connsiteX48" fmla="*/ 454025 w 1520825"/>
              <a:gd name="connsiteY48" fmla="*/ 1019175 h 2263775"/>
              <a:gd name="connsiteX49" fmla="*/ 469900 w 1520825"/>
              <a:gd name="connsiteY49" fmla="*/ 974725 h 2263775"/>
              <a:gd name="connsiteX50" fmla="*/ 514350 w 1520825"/>
              <a:gd name="connsiteY50" fmla="*/ 942975 h 2263775"/>
              <a:gd name="connsiteX51" fmla="*/ 577850 w 1520825"/>
              <a:gd name="connsiteY51" fmla="*/ 885825 h 2263775"/>
              <a:gd name="connsiteX52" fmla="*/ 612775 w 1520825"/>
              <a:gd name="connsiteY52" fmla="*/ 869950 h 2263775"/>
              <a:gd name="connsiteX53" fmla="*/ 625475 w 1520825"/>
              <a:gd name="connsiteY53" fmla="*/ 806450 h 2263775"/>
              <a:gd name="connsiteX54" fmla="*/ 606425 w 1520825"/>
              <a:gd name="connsiteY54" fmla="*/ 765175 h 2263775"/>
              <a:gd name="connsiteX55" fmla="*/ 631825 w 1520825"/>
              <a:gd name="connsiteY55" fmla="*/ 739775 h 2263775"/>
              <a:gd name="connsiteX56" fmla="*/ 660400 w 1520825"/>
              <a:gd name="connsiteY56" fmla="*/ 692150 h 2263775"/>
              <a:gd name="connsiteX57" fmla="*/ 688975 w 1520825"/>
              <a:gd name="connsiteY57" fmla="*/ 701675 h 2263775"/>
              <a:gd name="connsiteX58" fmla="*/ 762000 w 1520825"/>
              <a:gd name="connsiteY58" fmla="*/ 660400 h 2263775"/>
              <a:gd name="connsiteX59" fmla="*/ 777875 w 1520825"/>
              <a:gd name="connsiteY59" fmla="*/ 603250 h 2263775"/>
              <a:gd name="connsiteX60" fmla="*/ 790575 w 1520825"/>
              <a:gd name="connsiteY60" fmla="*/ 546100 h 2263775"/>
              <a:gd name="connsiteX61" fmla="*/ 825500 w 1520825"/>
              <a:gd name="connsiteY61" fmla="*/ 482600 h 2263775"/>
              <a:gd name="connsiteX62" fmla="*/ 892175 w 1520825"/>
              <a:gd name="connsiteY62" fmla="*/ 444500 h 2263775"/>
              <a:gd name="connsiteX63" fmla="*/ 930275 w 1520825"/>
              <a:gd name="connsiteY63" fmla="*/ 428625 h 2263775"/>
              <a:gd name="connsiteX64" fmla="*/ 946150 w 1520825"/>
              <a:gd name="connsiteY64" fmla="*/ 390525 h 2263775"/>
              <a:gd name="connsiteX65" fmla="*/ 955675 w 1520825"/>
              <a:gd name="connsiteY65" fmla="*/ 352425 h 2263775"/>
              <a:gd name="connsiteX66" fmla="*/ 1006475 w 1520825"/>
              <a:gd name="connsiteY66" fmla="*/ 320675 h 2263775"/>
              <a:gd name="connsiteX67" fmla="*/ 1003300 w 1520825"/>
              <a:gd name="connsiteY67" fmla="*/ 276225 h 2263775"/>
              <a:gd name="connsiteX68" fmla="*/ 1044575 w 1520825"/>
              <a:gd name="connsiteY68" fmla="*/ 222250 h 2263775"/>
              <a:gd name="connsiteX69" fmla="*/ 1073150 w 1520825"/>
              <a:gd name="connsiteY69" fmla="*/ 171450 h 2263775"/>
              <a:gd name="connsiteX70" fmla="*/ 1044575 w 1520825"/>
              <a:gd name="connsiteY70" fmla="*/ 104775 h 2263775"/>
              <a:gd name="connsiteX71" fmla="*/ 1022350 w 1520825"/>
              <a:gd name="connsiteY71" fmla="*/ 57150 h 2263775"/>
              <a:gd name="connsiteX72" fmla="*/ 1047750 w 1520825"/>
              <a:gd name="connsiteY72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19050 w 1438275"/>
              <a:gd name="connsiteY38" fmla="*/ 1381125 h 2263775"/>
              <a:gd name="connsiteX39" fmla="*/ 0 w 1438275"/>
              <a:gd name="connsiteY39" fmla="*/ 1339850 h 2263775"/>
              <a:gd name="connsiteX40" fmla="*/ 31750 w 1438275"/>
              <a:gd name="connsiteY40" fmla="*/ 1311275 h 2263775"/>
              <a:gd name="connsiteX41" fmla="*/ 107950 w 1438275"/>
              <a:gd name="connsiteY41" fmla="*/ 1298575 h 2263775"/>
              <a:gd name="connsiteX42" fmla="*/ 136525 w 1438275"/>
              <a:gd name="connsiteY42" fmla="*/ 1235075 h 2263775"/>
              <a:gd name="connsiteX43" fmla="*/ 209550 w 1438275"/>
              <a:gd name="connsiteY43" fmla="*/ 1219200 h 2263775"/>
              <a:gd name="connsiteX44" fmla="*/ 266700 w 1438275"/>
              <a:gd name="connsiteY44" fmla="*/ 1162050 h 2263775"/>
              <a:gd name="connsiteX45" fmla="*/ 304800 w 1438275"/>
              <a:gd name="connsiteY45" fmla="*/ 1095375 h 2263775"/>
              <a:gd name="connsiteX46" fmla="*/ 330200 w 1438275"/>
              <a:gd name="connsiteY46" fmla="*/ 1041400 h 2263775"/>
              <a:gd name="connsiteX47" fmla="*/ 371475 w 1438275"/>
              <a:gd name="connsiteY47" fmla="*/ 1019175 h 2263775"/>
              <a:gd name="connsiteX48" fmla="*/ 387350 w 1438275"/>
              <a:gd name="connsiteY48" fmla="*/ 974725 h 2263775"/>
              <a:gd name="connsiteX49" fmla="*/ 431800 w 1438275"/>
              <a:gd name="connsiteY49" fmla="*/ 942975 h 2263775"/>
              <a:gd name="connsiteX50" fmla="*/ 495300 w 1438275"/>
              <a:gd name="connsiteY50" fmla="*/ 885825 h 2263775"/>
              <a:gd name="connsiteX51" fmla="*/ 530225 w 1438275"/>
              <a:gd name="connsiteY51" fmla="*/ 869950 h 2263775"/>
              <a:gd name="connsiteX52" fmla="*/ 542925 w 1438275"/>
              <a:gd name="connsiteY52" fmla="*/ 806450 h 2263775"/>
              <a:gd name="connsiteX53" fmla="*/ 523875 w 1438275"/>
              <a:gd name="connsiteY53" fmla="*/ 765175 h 2263775"/>
              <a:gd name="connsiteX54" fmla="*/ 549275 w 1438275"/>
              <a:gd name="connsiteY54" fmla="*/ 739775 h 2263775"/>
              <a:gd name="connsiteX55" fmla="*/ 577850 w 1438275"/>
              <a:gd name="connsiteY55" fmla="*/ 692150 h 2263775"/>
              <a:gd name="connsiteX56" fmla="*/ 606425 w 1438275"/>
              <a:gd name="connsiteY56" fmla="*/ 701675 h 2263775"/>
              <a:gd name="connsiteX57" fmla="*/ 679450 w 1438275"/>
              <a:gd name="connsiteY57" fmla="*/ 660400 h 2263775"/>
              <a:gd name="connsiteX58" fmla="*/ 695325 w 1438275"/>
              <a:gd name="connsiteY58" fmla="*/ 603250 h 2263775"/>
              <a:gd name="connsiteX59" fmla="*/ 708025 w 1438275"/>
              <a:gd name="connsiteY59" fmla="*/ 546100 h 2263775"/>
              <a:gd name="connsiteX60" fmla="*/ 742950 w 1438275"/>
              <a:gd name="connsiteY60" fmla="*/ 482600 h 2263775"/>
              <a:gd name="connsiteX61" fmla="*/ 809625 w 1438275"/>
              <a:gd name="connsiteY61" fmla="*/ 444500 h 2263775"/>
              <a:gd name="connsiteX62" fmla="*/ 847725 w 1438275"/>
              <a:gd name="connsiteY62" fmla="*/ 428625 h 2263775"/>
              <a:gd name="connsiteX63" fmla="*/ 863600 w 1438275"/>
              <a:gd name="connsiteY63" fmla="*/ 390525 h 2263775"/>
              <a:gd name="connsiteX64" fmla="*/ 873125 w 1438275"/>
              <a:gd name="connsiteY64" fmla="*/ 352425 h 2263775"/>
              <a:gd name="connsiteX65" fmla="*/ 923925 w 1438275"/>
              <a:gd name="connsiteY65" fmla="*/ 320675 h 2263775"/>
              <a:gd name="connsiteX66" fmla="*/ 920750 w 1438275"/>
              <a:gd name="connsiteY66" fmla="*/ 276225 h 2263775"/>
              <a:gd name="connsiteX67" fmla="*/ 962025 w 1438275"/>
              <a:gd name="connsiteY67" fmla="*/ 222250 h 2263775"/>
              <a:gd name="connsiteX68" fmla="*/ 990600 w 1438275"/>
              <a:gd name="connsiteY68" fmla="*/ 171450 h 2263775"/>
              <a:gd name="connsiteX69" fmla="*/ 962025 w 1438275"/>
              <a:gd name="connsiteY69" fmla="*/ 104775 h 2263775"/>
              <a:gd name="connsiteX70" fmla="*/ 939800 w 1438275"/>
              <a:gd name="connsiteY70" fmla="*/ 57150 h 2263775"/>
              <a:gd name="connsiteX71" fmla="*/ 965200 w 1438275"/>
              <a:gd name="connsiteY71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31750 w 1438275"/>
              <a:gd name="connsiteY39" fmla="*/ 1311275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371475 w 1438275"/>
              <a:gd name="connsiteY46" fmla="*/ 1019175 h 2263775"/>
              <a:gd name="connsiteX47" fmla="*/ 387350 w 1438275"/>
              <a:gd name="connsiteY47" fmla="*/ 974725 h 2263775"/>
              <a:gd name="connsiteX48" fmla="*/ 431800 w 1438275"/>
              <a:gd name="connsiteY48" fmla="*/ 942975 h 2263775"/>
              <a:gd name="connsiteX49" fmla="*/ 495300 w 1438275"/>
              <a:gd name="connsiteY49" fmla="*/ 885825 h 2263775"/>
              <a:gd name="connsiteX50" fmla="*/ 530225 w 1438275"/>
              <a:gd name="connsiteY50" fmla="*/ 869950 h 2263775"/>
              <a:gd name="connsiteX51" fmla="*/ 542925 w 1438275"/>
              <a:gd name="connsiteY51" fmla="*/ 806450 h 2263775"/>
              <a:gd name="connsiteX52" fmla="*/ 523875 w 1438275"/>
              <a:gd name="connsiteY52" fmla="*/ 765175 h 2263775"/>
              <a:gd name="connsiteX53" fmla="*/ 549275 w 1438275"/>
              <a:gd name="connsiteY53" fmla="*/ 739775 h 2263775"/>
              <a:gd name="connsiteX54" fmla="*/ 577850 w 1438275"/>
              <a:gd name="connsiteY54" fmla="*/ 692150 h 2263775"/>
              <a:gd name="connsiteX55" fmla="*/ 606425 w 1438275"/>
              <a:gd name="connsiteY55" fmla="*/ 701675 h 2263775"/>
              <a:gd name="connsiteX56" fmla="*/ 679450 w 1438275"/>
              <a:gd name="connsiteY56" fmla="*/ 660400 h 2263775"/>
              <a:gd name="connsiteX57" fmla="*/ 695325 w 1438275"/>
              <a:gd name="connsiteY57" fmla="*/ 603250 h 2263775"/>
              <a:gd name="connsiteX58" fmla="*/ 708025 w 1438275"/>
              <a:gd name="connsiteY58" fmla="*/ 546100 h 2263775"/>
              <a:gd name="connsiteX59" fmla="*/ 742950 w 1438275"/>
              <a:gd name="connsiteY59" fmla="*/ 482600 h 2263775"/>
              <a:gd name="connsiteX60" fmla="*/ 809625 w 1438275"/>
              <a:gd name="connsiteY60" fmla="*/ 444500 h 2263775"/>
              <a:gd name="connsiteX61" fmla="*/ 847725 w 1438275"/>
              <a:gd name="connsiteY61" fmla="*/ 428625 h 2263775"/>
              <a:gd name="connsiteX62" fmla="*/ 863600 w 1438275"/>
              <a:gd name="connsiteY62" fmla="*/ 390525 h 2263775"/>
              <a:gd name="connsiteX63" fmla="*/ 873125 w 1438275"/>
              <a:gd name="connsiteY63" fmla="*/ 352425 h 2263775"/>
              <a:gd name="connsiteX64" fmla="*/ 923925 w 1438275"/>
              <a:gd name="connsiteY64" fmla="*/ 320675 h 2263775"/>
              <a:gd name="connsiteX65" fmla="*/ 920750 w 1438275"/>
              <a:gd name="connsiteY65" fmla="*/ 276225 h 2263775"/>
              <a:gd name="connsiteX66" fmla="*/ 962025 w 1438275"/>
              <a:gd name="connsiteY66" fmla="*/ 222250 h 2263775"/>
              <a:gd name="connsiteX67" fmla="*/ 990600 w 1438275"/>
              <a:gd name="connsiteY67" fmla="*/ 171450 h 2263775"/>
              <a:gd name="connsiteX68" fmla="*/ 962025 w 1438275"/>
              <a:gd name="connsiteY68" fmla="*/ 104775 h 2263775"/>
              <a:gd name="connsiteX69" fmla="*/ 939800 w 1438275"/>
              <a:gd name="connsiteY69" fmla="*/ 57150 h 2263775"/>
              <a:gd name="connsiteX70" fmla="*/ 965200 w 1438275"/>
              <a:gd name="connsiteY70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107950 w 1438275"/>
              <a:gd name="connsiteY39" fmla="*/ 1298575 h 2263775"/>
              <a:gd name="connsiteX40" fmla="*/ 136525 w 1438275"/>
              <a:gd name="connsiteY40" fmla="*/ 1235075 h 2263775"/>
              <a:gd name="connsiteX41" fmla="*/ 209550 w 1438275"/>
              <a:gd name="connsiteY41" fmla="*/ 1219200 h 2263775"/>
              <a:gd name="connsiteX42" fmla="*/ 266700 w 1438275"/>
              <a:gd name="connsiteY42" fmla="*/ 1162050 h 2263775"/>
              <a:gd name="connsiteX43" fmla="*/ 304800 w 1438275"/>
              <a:gd name="connsiteY43" fmla="*/ 1095375 h 2263775"/>
              <a:gd name="connsiteX44" fmla="*/ 330200 w 1438275"/>
              <a:gd name="connsiteY44" fmla="*/ 1041400 h 2263775"/>
              <a:gd name="connsiteX45" fmla="*/ 371475 w 1438275"/>
              <a:gd name="connsiteY45" fmla="*/ 1019175 h 2263775"/>
              <a:gd name="connsiteX46" fmla="*/ 387350 w 1438275"/>
              <a:gd name="connsiteY46" fmla="*/ 974725 h 2263775"/>
              <a:gd name="connsiteX47" fmla="*/ 431800 w 1438275"/>
              <a:gd name="connsiteY47" fmla="*/ 942975 h 2263775"/>
              <a:gd name="connsiteX48" fmla="*/ 495300 w 1438275"/>
              <a:gd name="connsiteY48" fmla="*/ 885825 h 2263775"/>
              <a:gd name="connsiteX49" fmla="*/ 530225 w 1438275"/>
              <a:gd name="connsiteY49" fmla="*/ 869950 h 2263775"/>
              <a:gd name="connsiteX50" fmla="*/ 542925 w 1438275"/>
              <a:gd name="connsiteY50" fmla="*/ 806450 h 2263775"/>
              <a:gd name="connsiteX51" fmla="*/ 523875 w 1438275"/>
              <a:gd name="connsiteY51" fmla="*/ 765175 h 2263775"/>
              <a:gd name="connsiteX52" fmla="*/ 549275 w 1438275"/>
              <a:gd name="connsiteY52" fmla="*/ 739775 h 2263775"/>
              <a:gd name="connsiteX53" fmla="*/ 577850 w 1438275"/>
              <a:gd name="connsiteY53" fmla="*/ 692150 h 2263775"/>
              <a:gd name="connsiteX54" fmla="*/ 606425 w 1438275"/>
              <a:gd name="connsiteY54" fmla="*/ 701675 h 2263775"/>
              <a:gd name="connsiteX55" fmla="*/ 679450 w 1438275"/>
              <a:gd name="connsiteY55" fmla="*/ 660400 h 2263775"/>
              <a:gd name="connsiteX56" fmla="*/ 695325 w 1438275"/>
              <a:gd name="connsiteY56" fmla="*/ 603250 h 2263775"/>
              <a:gd name="connsiteX57" fmla="*/ 708025 w 1438275"/>
              <a:gd name="connsiteY57" fmla="*/ 546100 h 2263775"/>
              <a:gd name="connsiteX58" fmla="*/ 742950 w 1438275"/>
              <a:gd name="connsiteY58" fmla="*/ 482600 h 2263775"/>
              <a:gd name="connsiteX59" fmla="*/ 809625 w 1438275"/>
              <a:gd name="connsiteY59" fmla="*/ 444500 h 2263775"/>
              <a:gd name="connsiteX60" fmla="*/ 847725 w 1438275"/>
              <a:gd name="connsiteY60" fmla="*/ 428625 h 2263775"/>
              <a:gd name="connsiteX61" fmla="*/ 863600 w 1438275"/>
              <a:gd name="connsiteY61" fmla="*/ 390525 h 2263775"/>
              <a:gd name="connsiteX62" fmla="*/ 873125 w 1438275"/>
              <a:gd name="connsiteY62" fmla="*/ 352425 h 2263775"/>
              <a:gd name="connsiteX63" fmla="*/ 923925 w 1438275"/>
              <a:gd name="connsiteY63" fmla="*/ 320675 h 2263775"/>
              <a:gd name="connsiteX64" fmla="*/ 920750 w 1438275"/>
              <a:gd name="connsiteY64" fmla="*/ 276225 h 2263775"/>
              <a:gd name="connsiteX65" fmla="*/ 962025 w 1438275"/>
              <a:gd name="connsiteY65" fmla="*/ 222250 h 2263775"/>
              <a:gd name="connsiteX66" fmla="*/ 990600 w 1438275"/>
              <a:gd name="connsiteY66" fmla="*/ 171450 h 2263775"/>
              <a:gd name="connsiteX67" fmla="*/ 962025 w 1438275"/>
              <a:gd name="connsiteY67" fmla="*/ 104775 h 2263775"/>
              <a:gd name="connsiteX68" fmla="*/ 939800 w 1438275"/>
              <a:gd name="connsiteY68" fmla="*/ 57150 h 2263775"/>
              <a:gd name="connsiteX69" fmla="*/ 965200 w 1438275"/>
              <a:gd name="connsiteY69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371475 w 1438275"/>
              <a:gd name="connsiteY46" fmla="*/ 1019175 h 2263775"/>
              <a:gd name="connsiteX47" fmla="*/ 387350 w 1438275"/>
              <a:gd name="connsiteY47" fmla="*/ 974725 h 2263775"/>
              <a:gd name="connsiteX48" fmla="*/ 431800 w 1438275"/>
              <a:gd name="connsiteY48" fmla="*/ 942975 h 2263775"/>
              <a:gd name="connsiteX49" fmla="*/ 495300 w 1438275"/>
              <a:gd name="connsiteY49" fmla="*/ 885825 h 2263775"/>
              <a:gd name="connsiteX50" fmla="*/ 530225 w 1438275"/>
              <a:gd name="connsiteY50" fmla="*/ 869950 h 2263775"/>
              <a:gd name="connsiteX51" fmla="*/ 542925 w 1438275"/>
              <a:gd name="connsiteY51" fmla="*/ 806450 h 2263775"/>
              <a:gd name="connsiteX52" fmla="*/ 523875 w 1438275"/>
              <a:gd name="connsiteY52" fmla="*/ 765175 h 2263775"/>
              <a:gd name="connsiteX53" fmla="*/ 549275 w 1438275"/>
              <a:gd name="connsiteY53" fmla="*/ 739775 h 2263775"/>
              <a:gd name="connsiteX54" fmla="*/ 577850 w 1438275"/>
              <a:gd name="connsiteY54" fmla="*/ 692150 h 2263775"/>
              <a:gd name="connsiteX55" fmla="*/ 606425 w 1438275"/>
              <a:gd name="connsiteY55" fmla="*/ 701675 h 2263775"/>
              <a:gd name="connsiteX56" fmla="*/ 679450 w 1438275"/>
              <a:gd name="connsiteY56" fmla="*/ 660400 h 2263775"/>
              <a:gd name="connsiteX57" fmla="*/ 695325 w 1438275"/>
              <a:gd name="connsiteY57" fmla="*/ 603250 h 2263775"/>
              <a:gd name="connsiteX58" fmla="*/ 708025 w 1438275"/>
              <a:gd name="connsiteY58" fmla="*/ 546100 h 2263775"/>
              <a:gd name="connsiteX59" fmla="*/ 742950 w 1438275"/>
              <a:gd name="connsiteY59" fmla="*/ 482600 h 2263775"/>
              <a:gd name="connsiteX60" fmla="*/ 809625 w 1438275"/>
              <a:gd name="connsiteY60" fmla="*/ 444500 h 2263775"/>
              <a:gd name="connsiteX61" fmla="*/ 847725 w 1438275"/>
              <a:gd name="connsiteY61" fmla="*/ 428625 h 2263775"/>
              <a:gd name="connsiteX62" fmla="*/ 863600 w 1438275"/>
              <a:gd name="connsiteY62" fmla="*/ 390525 h 2263775"/>
              <a:gd name="connsiteX63" fmla="*/ 873125 w 1438275"/>
              <a:gd name="connsiteY63" fmla="*/ 352425 h 2263775"/>
              <a:gd name="connsiteX64" fmla="*/ 923925 w 1438275"/>
              <a:gd name="connsiteY64" fmla="*/ 320675 h 2263775"/>
              <a:gd name="connsiteX65" fmla="*/ 920750 w 1438275"/>
              <a:gd name="connsiteY65" fmla="*/ 276225 h 2263775"/>
              <a:gd name="connsiteX66" fmla="*/ 962025 w 1438275"/>
              <a:gd name="connsiteY66" fmla="*/ 222250 h 2263775"/>
              <a:gd name="connsiteX67" fmla="*/ 990600 w 1438275"/>
              <a:gd name="connsiteY67" fmla="*/ 171450 h 2263775"/>
              <a:gd name="connsiteX68" fmla="*/ 962025 w 1438275"/>
              <a:gd name="connsiteY68" fmla="*/ 104775 h 2263775"/>
              <a:gd name="connsiteX69" fmla="*/ 939800 w 1438275"/>
              <a:gd name="connsiteY69" fmla="*/ 57150 h 2263775"/>
              <a:gd name="connsiteX70" fmla="*/ 965200 w 1438275"/>
              <a:gd name="connsiteY70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371475 w 1438275"/>
              <a:gd name="connsiteY46" fmla="*/ 1019175 h 2263775"/>
              <a:gd name="connsiteX47" fmla="*/ 387350 w 1438275"/>
              <a:gd name="connsiteY47" fmla="*/ 974725 h 2263775"/>
              <a:gd name="connsiteX48" fmla="*/ 431800 w 1438275"/>
              <a:gd name="connsiteY48" fmla="*/ 942975 h 2263775"/>
              <a:gd name="connsiteX49" fmla="*/ 530225 w 1438275"/>
              <a:gd name="connsiteY49" fmla="*/ 869950 h 2263775"/>
              <a:gd name="connsiteX50" fmla="*/ 542925 w 1438275"/>
              <a:gd name="connsiteY50" fmla="*/ 806450 h 2263775"/>
              <a:gd name="connsiteX51" fmla="*/ 523875 w 1438275"/>
              <a:gd name="connsiteY51" fmla="*/ 765175 h 2263775"/>
              <a:gd name="connsiteX52" fmla="*/ 549275 w 1438275"/>
              <a:gd name="connsiteY52" fmla="*/ 739775 h 2263775"/>
              <a:gd name="connsiteX53" fmla="*/ 577850 w 1438275"/>
              <a:gd name="connsiteY53" fmla="*/ 692150 h 2263775"/>
              <a:gd name="connsiteX54" fmla="*/ 606425 w 1438275"/>
              <a:gd name="connsiteY54" fmla="*/ 701675 h 2263775"/>
              <a:gd name="connsiteX55" fmla="*/ 679450 w 1438275"/>
              <a:gd name="connsiteY55" fmla="*/ 660400 h 2263775"/>
              <a:gd name="connsiteX56" fmla="*/ 695325 w 1438275"/>
              <a:gd name="connsiteY56" fmla="*/ 603250 h 2263775"/>
              <a:gd name="connsiteX57" fmla="*/ 708025 w 1438275"/>
              <a:gd name="connsiteY57" fmla="*/ 546100 h 2263775"/>
              <a:gd name="connsiteX58" fmla="*/ 742950 w 1438275"/>
              <a:gd name="connsiteY58" fmla="*/ 482600 h 2263775"/>
              <a:gd name="connsiteX59" fmla="*/ 809625 w 1438275"/>
              <a:gd name="connsiteY59" fmla="*/ 444500 h 2263775"/>
              <a:gd name="connsiteX60" fmla="*/ 847725 w 1438275"/>
              <a:gd name="connsiteY60" fmla="*/ 428625 h 2263775"/>
              <a:gd name="connsiteX61" fmla="*/ 863600 w 1438275"/>
              <a:gd name="connsiteY61" fmla="*/ 390525 h 2263775"/>
              <a:gd name="connsiteX62" fmla="*/ 873125 w 1438275"/>
              <a:gd name="connsiteY62" fmla="*/ 352425 h 2263775"/>
              <a:gd name="connsiteX63" fmla="*/ 923925 w 1438275"/>
              <a:gd name="connsiteY63" fmla="*/ 320675 h 2263775"/>
              <a:gd name="connsiteX64" fmla="*/ 920750 w 1438275"/>
              <a:gd name="connsiteY64" fmla="*/ 276225 h 2263775"/>
              <a:gd name="connsiteX65" fmla="*/ 962025 w 1438275"/>
              <a:gd name="connsiteY65" fmla="*/ 222250 h 2263775"/>
              <a:gd name="connsiteX66" fmla="*/ 990600 w 1438275"/>
              <a:gd name="connsiteY66" fmla="*/ 171450 h 2263775"/>
              <a:gd name="connsiteX67" fmla="*/ 962025 w 1438275"/>
              <a:gd name="connsiteY67" fmla="*/ 104775 h 2263775"/>
              <a:gd name="connsiteX68" fmla="*/ 939800 w 1438275"/>
              <a:gd name="connsiteY68" fmla="*/ 57150 h 2263775"/>
              <a:gd name="connsiteX69" fmla="*/ 965200 w 1438275"/>
              <a:gd name="connsiteY69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371475 w 1438275"/>
              <a:gd name="connsiteY46" fmla="*/ 1019175 h 2263775"/>
              <a:gd name="connsiteX47" fmla="*/ 387350 w 1438275"/>
              <a:gd name="connsiteY47" fmla="*/ 974725 h 2263775"/>
              <a:gd name="connsiteX48" fmla="*/ 530225 w 1438275"/>
              <a:gd name="connsiteY48" fmla="*/ 869950 h 2263775"/>
              <a:gd name="connsiteX49" fmla="*/ 542925 w 1438275"/>
              <a:gd name="connsiteY49" fmla="*/ 806450 h 2263775"/>
              <a:gd name="connsiteX50" fmla="*/ 523875 w 1438275"/>
              <a:gd name="connsiteY50" fmla="*/ 765175 h 2263775"/>
              <a:gd name="connsiteX51" fmla="*/ 549275 w 1438275"/>
              <a:gd name="connsiteY51" fmla="*/ 739775 h 2263775"/>
              <a:gd name="connsiteX52" fmla="*/ 577850 w 1438275"/>
              <a:gd name="connsiteY52" fmla="*/ 692150 h 2263775"/>
              <a:gd name="connsiteX53" fmla="*/ 606425 w 1438275"/>
              <a:gd name="connsiteY53" fmla="*/ 701675 h 2263775"/>
              <a:gd name="connsiteX54" fmla="*/ 679450 w 1438275"/>
              <a:gd name="connsiteY54" fmla="*/ 660400 h 2263775"/>
              <a:gd name="connsiteX55" fmla="*/ 695325 w 1438275"/>
              <a:gd name="connsiteY55" fmla="*/ 603250 h 2263775"/>
              <a:gd name="connsiteX56" fmla="*/ 708025 w 1438275"/>
              <a:gd name="connsiteY56" fmla="*/ 546100 h 2263775"/>
              <a:gd name="connsiteX57" fmla="*/ 742950 w 1438275"/>
              <a:gd name="connsiteY57" fmla="*/ 482600 h 2263775"/>
              <a:gd name="connsiteX58" fmla="*/ 809625 w 1438275"/>
              <a:gd name="connsiteY58" fmla="*/ 444500 h 2263775"/>
              <a:gd name="connsiteX59" fmla="*/ 847725 w 1438275"/>
              <a:gd name="connsiteY59" fmla="*/ 428625 h 2263775"/>
              <a:gd name="connsiteX60" fmla="*/ 863600 w 1438275"/>
              <a:gd name="connsiteY60" fmla="*/ 390525 h 2263775"/>
              <a:gd name="connsiteX61" fmla="*/ 873125 w 1438275"/>
              <a:gd name="connsiteY61" fmla="*/ 352425 h 2263775"/>
              <a:gd name="connsiteX62" fmla="*/ 923925 w 1438275"/>
              <a:gd name="connsiteY62" fmla="*/ 320675 h 2263775"/>
              <a:gd name="connsiteX63" fmla="*/ 920750 w 1438275"/>
              <a:gd name="connsiteY63" fmla="*/ 276225 h 2263775"/>
              <a:gd name="connsiteX64" fmla="*/ 962025 w 1438275"/>
              <a:gd name="connsiteY64" fmla="*/ 222250 h 2263775"/>
              <a:gd name="connsiteX65" fmla="*/ 990600 w 1438275"/>
              <a:gd name="connsiteY65" fmla="*/ 171450 h 2263775"/>
              <a:gd name="connsiteX66" fmla="*/ 962025 w 1438275"/>
              <a:gd name="connsiteY66" fmla="*/ 104775 h 2263775"/>
              <a:gd name="connsiteX67" fmla="*/ 939800 w 1438275"/>
              <a:gd name="connsiteY67" fmla="*/ 57150 h 2263775"/>
              <a:gd name="connsiteX68" fmla="*/ 965200 w 1438275"/>
              <a:gd name="connsiteY68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371475 w 1438275"/>
              <a:gd name="connsiteY46" fmla="*/ 1019175 h 2263775"/>
              <a:gd name="connsiteX47" fmla="*/ 530225 w 1438275"/>
              <a:gd name="connsiteY47" fmla="*/ 869950 h 2263775"/>
              <a:gd name="connsiteX48" fmla="*/ 542925 w 1438275"/>
              <a:gd name="connsiteY48" fmla="*/ 806450 h 2263775"/>
              <a:gd name="connsiteX49" fmla="*/ 523875 w 1438275"/>
              <a:gd name="connsiteY49" fmla="*/ 765175 h 2263775"/>
              <a:gd name="connsiteX50" fmla="*/ 549275 w 1438275"/>
              <a:gd name="connsiteY50" fmla="*/ 739775 h 2263775"/>
              <a:gd name="connsiteX51" fmla="*/ 577850 w 1438275"/>
              <a:gd name="connsiteY51" fmla="*/ 692150 h 2263775"/>
              <a:gd name="connsiteX52" fmla="*/ 606425 w 1438275"/>
              <a:gd name="connsiteY52" fmla="*/ 701675 h 2263775"/>
              <a:gd name="connsiteX53" fmla="*/ 679450 w 1438275"/>
              <a:gd name="connsiteY53" fmla="*/ 660400 h 2263775"/>
              <a:gd name="connsiteX54" fmla="*/ 695325 w 1438275"/>
              <a:gd name="connsiteY54" fmla="*/ 603250 h 2263775"/>
              <a:gd name="connsiteX55" fmla="*/ 708025 w 1438275"/>
              <a:gd name="connsiteY55" fmla="*/ 546100 h 2263775"/>
              <a:gd name="connsiteX56" fmla="*/ 742950 w 1438275"/>
              <a:gd name="connsiteY56" fmla="*/ 482600 h 2263775"/>
              <a:gd name="connsiteX57" fmla="*/ 809625 w 1438275"/>
              <a:gd name="connsiteY57" fmla="*/ 444500 h 2263775"/>
              <a:gd name="connsiteX58" fmla="*/ 847725 w 1438275"/>
              <a:gd name="connsiteY58" fmla="*/ 428625 h 2263775"/>
              <a:gd name="connsiteX59" fmla="*/ 863600 w 1438275"/>
              <a:gd name="connsiteY59" fmla="*/ 390525 h 2263775"/>
              <a:gd name="connsiteX60" fmla="*/ 873125 w 1438275"/>
              <a:gd name="connsiteY60" fmla="*/ 352425 h 2263775"/>
              <a:gd name="connsiteX61" fmla="*/ 923925 w 1438275"/>
              <a:gd name="connsiteY61" fmla="*/ 320675 h 2263775"/>
              <a:gd name="connsiteX62" fmla="*/ 920750 w 1438275"/>
              <a:gd name="connsiteY62" fmla="*/ 276225 h 2263775"/>
              <a:gd name="connsiteX63" fmla="*/ 962025 w 1438275"/>
              <a:gd name="connsiteY63" fmla="*/ 222250 h 2263775"/>
              <a:gd name="connsiteX64" fmla="*/ 990600 w 1438275"/>
              <a:gd name="connsiteY64" fmla="*/ 171450 h 2263775"/>
              <a:gd name="connsiteX65" fmla="*/ 962025 w 1438275"/>
              <a:gd name="connsiteY65" fmla="*/ 104775 h 2263775"/>
              <a:gd name="connsiteX66" fmla="*/ 939800 w 1438275"/>
              <a:gd name="connsiteY66" fmla="*/ 57150 h 2263775"/>
              <a:gd name="connsiteX67" fmla="*/ 965200 w 1438275"/>
              <a:gd name="connsiteY67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330200 w 1438275"/>
              <a:gd name="connsiteY45" fmla="*/ 1041400 h 2263775"/>
              <a:gd name="connsiteX46" fmla="*/ 530225 w 1438275"/>
              <a:gd name="connsiteY46" fmla="*/ 869950 h 2263775"/>
              <a:gd name="connsiteX47" fmla="*/ 542925 w 1438275"/>
              <a:gd name="connsiteY47" fmla="*/ 806450 h 2263775"/>
              <a:gd name="connsiteX48" fmla="*/ 523875 w 1438275"/>
              <a:gd name="connsiteY48" fmla="*/ 765175 h 2263775"/>
              <a:gd name="connsiteX49" fmla="*/ 549275 w 1438275"/>
              <a:gd name="connsiteY49" fmla="*/ 739775 h 2263775"/>
              <a:gd name="connsiteX50" fmla="*/ 577850 w 1438275"/>
              <a:gd name="connsiteY50" fmla="*/ 692150 h 2263775"/>
              <a:gd name="connsiteX51" fmla="*/ 606425 w 1438275"/>
              <a:gd name="connsiteY51" fmla="*/ 701675 h 2263775"/>
              <a:gd name="connsiteX52" fmla="*/ 679450 w 1438275"/>
              <a:gd name="connsiteY52" fmla="*/ 660400 h 2263775"/>
              <a:gd name="connsiteX53" fmla="*/ 695325 w 1438275"/>
              <a:gd name="connsiteY53" fmla="*/ 603250 h 2263775"/>
              <a:gd name="connsiteX54" fmla="*/ 708025 w 1438275"/>
              <a:gd name="connsiteY54" fmla="*/ 546100 h 2263775"/>
              <a:gd name="connsiteX55" fmla="*/ 742950 w 1438275"/>
              <a:gd name="connsiteY55" fmla="*/ 482600 h 2263775"/>
              <a:gd name="connsiteX56" fmla="*/ 809625 w 1438275"/>
              <a:gd name="connsiteY56" fmla="*/ 444500 h 2263775"/>
              <a:gd name="connsiteX57" fmla="*/ 847725 w 1438275"/>
              <a:gd name="connsiteY57" fmla="*/ 428625 h 2263775"/>
              <a:gd name="connsiteX58" fmla="*/ 863600 w 1438275"/>
              <a:gd name="connsiteY58" fmla="*/ 390525 h 2263775"/>
              <a:gd name="connsiteX59" fmla="*/ 873125 w 1438275"/>
              <a:gd name="connsiteY59" fmla="*/ 352425 h 2263775"/>
              <a:gd name="connsiteX60" fmla="*/ 923925 w 1438275"/>
              <a:gd name="connsiteY60" fmla="*/ 320675 h 2263775"/>
              <a:gd name="connsiteX61" fmla="*/ 920750 w 1438275"/>
              <a:gd name="connsiteY61" fmla="*/ 276225 h 2263775"/>
              <a:gd name="connsiteX62" fmla="*/ 962025 w 1438275"/>
              <a:gd name="connsiteY62" fmla="*/ 222250 h 2263775"/>
              <a:gd name="connsiteX63" fmla="*/ 990600 w 1438275"/>
              <a:gd name="connsiteY63" fmla="*/ 171450 h 2263775"/>
              <a:gd name="connsiteX64" fmla="*/ 962025 w 1438275"/>
              <a:gd name="connsiteY64" fmla="*/ 104775 h 2263775"/>
              <a:gd name="connsiteX65" fmla="*/ 939800 w 1438275"/>
              <a:gd name="connsiteY65" fmla="*/ 57150 h 2263775"/>
              <a:gd name="connsiteX66" fmla="*/ 965200 w 1438275"/>
              <a:gd name="connsiteY66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304800 w 1438275"/>
              <a:gd name="connsiteY44" fmla="*/ 1095375 h 2263775"/>
              <a:gd name="connsiteX45" fmla="*/ 530225 w 1438275"/>
              <a:gd name="connsiteY45" fmla="*/ 869950 h 2263775"/>
              <a:gd name="connsiteX46" fmla="*/ 542925 w 1438275"/>
              <a:gd name="connsiteY46" fmla="*/ 806450 h 2263775"/>
              <a:gd name="connsiteX47" fmla="*/ 523875 w 1438275"/>
              <a:gd name="connsiteY47" fmla="*/ 765175 h 2263775"/>
              <a:gd name="connsiteX48" fmla="*/ 549275 w 1438275"/>
              <a:gd name="connsiteY48" fmla="*/ 739775 h 2263775"/>
              <a:gd name="connsiteX49" fmla="*/ 577850 w 1438275"/>
              <a:gd name="connsiteY49" fmla="*/ 692150 h 2263775"/>
              <a:gd name="connsiteX50" fmla="*/ 606425 w 1438275"/>
              <a:gd name="connsiteY50" fmla="*/ 701675 h 2263775"/>
              <a:gd name="connsiteX51" fmla="*/ 679450 w 1438275"/>
              <a:gd name="connsiteY51" fmla="*/ 660400 h 2263775"/>
              <a:gd name="connsiteX52" fmla="*/ 695325 w 1438275"/>
              <a:gd name="connsiteY52" fmla="*/ 603250 h 2263775"/>
              <a:gd name="connsiteX53" fmla="*/ 708025 w 1438275"/>
              <a:gd name="connsiteY53" fmla="*/ 546100 h 2263775"/>
              <a:gd name="connsiteX54" fmla="*/ 742950 w 1438275"/>
              <a:gd name="connsiteY54" fmla="*/ 482600 h 2263775"/>
              <a:gd name="connsiteX55" fmla="*/ 809625 w 1438275"/>
              <a:gd name="connsiteY55" fmla="*/ 444500 h 2263775"/>
              <a:gd name="connsiteX56" fmla="*/ 847725 w 1438275"/>
              <a:gd name="connsiteY56" fmla="*/ 428625 h 2263775"/>
              <a:gd name="connsiteX57" fmla="*/ 863600 w 1438275"/>
              <a:gd name="connsiteY57" fmla="*/ 390525 h 2263775"/>
              <a:gd name="connsiteX58" fmla="*/ 873125 w 1438275"/>
              <a:gd name="connsiteY58" fmla="*/ 352425 h 2263775"/>
              <a:gd name="connsiteX59" fmla="*/ 923925 w 1438275"/>
              <a:gd name="connsiteY59" fmla="*/ 320675 h 2263775"/>
              <a:gd name="connsiteX60" fmla="*/ 920750 w 1438275"/>
              <a:gd name="connsiteY60" fmla="*/ 276225 h 2263775"/>
              <a:gd name="connsiteX61" fmla="*/ 962025 w 1438275"/>
              <a:gd name="connsiteY61" fmla="*/ 222250 h 2263775"/>
              <a:gd name="connsiteX62" fmla="*/ 990600 w 1438275"/>
              <a:gd name="connsiteY62" fmla="*/ 171450 h 2263775"/>
              <a:gd name="connsiteX63" fmla="*/ 962025 w 1438275"/>
              <a:gd name="connsiteY63" fmla="*/ 104775 h 2263775"/>
              <a:gd name="connsiteX64" fmla="*/ 939800 w 1438275"/>
              <a:gd name="connsiteY64" fmla="*/ 57150 h 2263775"/>
              <a:gd name="connsiteX65" fmla="*/ 965200 w 1438275"/>
              <a:gd name="connsiteY65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66700 w 1438275"/>
              <a:gd name="connsiteY43" fmla="*/ 1162050 h 2263775"/>
              <a:gd name="connsiteX44" fmla="*/ 530225 w 1438275"/>
              <a:gd name="connsiteY44" fmla="*/ 869950 h 2263775"/>
              <a:gd name="connsiteX45" fmla="*/ 542925 w 1438275"/>
              <a:gd name="connsiteY45" fmla="*/ 806450 h 2263775"/>
              <a:gd name="connsiteX46" fmla="*/ 523875 w 1438275"/>
              <a:gd name="connsiteY46" fmla="*/ 765175 h 2263775"/>
              <a:gd name="connsiteX47" fmla="*/ 549275 w 1438275"/>
              <a:gd name="connsiteY47" fmla="*/ 739775 h 2263775"/>
              <a:gd name="connsiteX48" fmla="*/ 577850 w 1438275"/>
              <a:gd name="connsiteY48" fmla="*/ 692150 h 2263775"/>
              <a:gd name="connsiteX49" fmla="*/ 606425 w 1438275"/>
              <a:gd name="connsiteY49" fmla="*/ 701675 h 2263775"/>
              <a:gd name="connsiteX50" fmla="*/ 679450 w 1438275"/>
              <a:gd name="connsiteY50" fmla="*/ 660400 h 2263775"/>
              <a:gd name="connsiteX51" fmla="*/ 695325 w 1438275"/>
              <a:gd name="connsiteY51" fmla="*/ 603250 h 2263775"/>
              <a:gd name="connsiteX52" fmla="*/ 708025 w 1438275"/>
              <a:gd name="connsiteY52" fmla="*/ 546100 h 2263775"/>
              <a:gd name="connsiteX53" fmla="*/ 742950 w 1438275"/>
              <a:gd name="connsiteY53" fmla="*/ 482600 h 2263775"/>
              <a:gd name="connsiteX54" fmla="*/ 809625 w 1438275"/>
              <a:gd name="connsiteY54" fmla="*/ 444500 h 2263775"/>
              <a:gd name="connsiteX55" fmla="*/ 847725 w 1438275"/>
              <a:gd name="connsiteY55" fmla="*/ 428625 h 2263775"/>
              <a:gd name="connsiteX56" fmla="*/ 863600 w 1438275"/>
              <a:gd name="connsiteY56" fmla="*/ 390525 h 2263775"/>
              <a:gd name="connsiteX57" fmla="*/ 873125 w 1438275"/>
              <a:gd name="connsiteY57" fmla="*/ 352425 h 2263775"/>
              <a:gd name="connsiteX58" fmla="*/ 923925 w 1438275"/>
              <a:gd name="connsiteY58" fmla="*/ 320675 h 2263775"/>
              <a:gd name="connsiteX59" fmla="*/ 920750 w 1438275"/>
              <a:gd name="connsiteY59" fmla="*/ 276225 h 2263775"/>
              <a:gd name="connsiteX60" fmla="*/ 962025 w 1438275"/>
              <a:gd name="connsiteY60" fmla="*/ 222250 h 2263775"/>
              <a:gd name="connsiteX61" fmla="*/ 990600 w 1438275"/>
              <a:gd name="connsiteY61" fmla="*/ 171450 h 2263775"/>
              <a:gd name="connsiteX62" fmla="*/ 962025 w 1438275"/>
              <a:gd name="connsiteY62" fmla="*/ 104775 h 2263775"/>
              <a:gd name="connsiteX63" fmla="*/ 939800 w 1438275"/>
              <a:gd name="connsiteY63" fmla="*/ 57150 h 2263775"/>
              <a:gd name="connsiteX64" fmla="*/ 965200 w 1438275"/>
              <a:gd name="connsiteY64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530225 w 1438275"/>
              <a:gd name="connsiteY43" fmla="*/ 869950 h 2263775"/>
              <a:gd name="connsiteX44" fmla="*/ 542925 w 1438275"/>
              <a:gd name="connsiteY44" fmla="*/ 806450 h 2263775"/>
              <a:gd name="connsiteX45" fmla="*/ 523875 w 1438275"/>
              <a:gd name="connsiteY45" fmla="*/ 765175 h 2263775"/>
              <a:gd name="connsiteX46" fmla="*/ 549275 w 1438275"/>
              <a:gd name="connsiteY46" fmla="*/ 739775 h 2263775"/>
              <a:gd name="connsiteX47" fmla="*/ 577850 w 1438275"/>
              <a:gd name="connsiteY47" fmla="*/ 692150 h 2263775"/>
              <a:gd name="connsiteX48" fmla="*/ 606425 w 1438275"/>
              <a:gd name="connsiteY48" fmla="*/ 701675 h 2263775"/>
              <a:gd name="connsiteX49" fmla="*/ 679450 w 1438275"/>
              <a:gd name="connsiteY49" fmla="*/ 660400 h 2263775"/>
              <a:gd name="connsiteX50" fmla="*/ 695325 w 1438275"/>
              <a:gd name="connsiteY50" fmla="*/ 603250 h 2263775"/>
              <a:gd name="connsiteX51" fmla="*/ 708025 w 1438275"/>
              <a:gd name="connsiteY51" fmla="*/ 546100 h 2263775"/>
              <a:gd name="connsiteX52" fmla="*/ 742950 w 1438275"/>
              <a:gd name="connsiteY52" fmla="*/ 482600 h 2263775"/>
              <a:gd name="connsiteX53" fmla="*/ 809625 w 1438275"/>
              <a:gd name="connsiteY53" fmla="*/ 444500 h 2263775"/>
              <a:gd name="connsiteX54" fmla="*/ 847725 w 1438275"/>
              <a:gd name="connsiteY54" fmla="*/ 428625 h 2263775"/>
              <a:gd name="connsiteX55" fmla="*/ 863600 w 1438275"/>
              <a:gd name="connsiteY55" fmla="*/ 390525 h 2263775"/>
              <a:gd name="connsiteX56" fmla="*/ 873125 w 1438275"/>
              <a:gd name="connsiteY56" fmla="*/ 352425 h 2263775"/>
              <a:gd name="connsiteX57" fmla="*/ 923925 w 1438275"/>
              <a:gd name="connsiteY57" fmla="*/ 320675 h 2263775"/>
              <a:gd name="connsiteX58" fmla="*/ 920750 w 1438275"/>
              <a:gd name="connsiteY58" fmla="*/ 276225 h 2263775"/>
              <a:gd name="connsiteX59" fmla="*/ 962025 w 1438275"/>
              <a:gd name="connsiteY59" fmla="*/ 222250 h 2263775"/>
              <a:gd name="connsiteX60" fmla="*/ 990600 w 1438275"/>
              <a:gd name="connsiteY60" fmla="*/ 171450 h 2263775"/>
              <a:gd name="connsiteX61" fmla="*/ 962025 w 1438275"/>
              <a:gd name="connsiteY61" fmla="*/ 104775 h 2263775"/>
              <a:gd name="connsiteX62" fmla="*/ 939800 w 1438275"/>
              <a:gd name="connsiteY62" fmla="*/ 57150 h 2263775"/>
              <a:gd name="connsiteX63" fmla="*/ 965200 w 1438275"/>
              <a:gd name="connsiteY63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257488 w 1438275"/>
              <a:gd name="connsiteY43" fmla="*/ 1184170 h 2263775"/>
              <a:gd name="connsiteX44" fmla="*/ 530225 w 1438275"/>
              <a:gd name="connsiteY44" fmla="*/ 869950 h 2263775"/>
              <a:gd name="connsiteX45" fmla="*/ 542925 w 1438275"/>
              <a:gd name="connsiteY45" fmla="*/ 806450 h 2263775"/>
              <a:gd name="connsiteX46" fmla="*/ 523875 w 1438275"/>
              <a:gd name="connsiteY46" fmla="*/ 765175 h 2263775"/>
              <a:gd name="connsiteX47" fmla="*/ 549275 w 1438275"/>
              <a:gd name="connsiteY47" fmla="*/ 739775 h 2263775"/>
              <a:gd name="connsiteX48" fmla="*/ 577850 w 1438275"/>
              <a:gd name="connsiteY48" fmla="*/ 692150 h 2263775"/>
              <a:gd name="connsiteX49" fmla="*/ 606425 w 1438275"/>
              <a:gd name="connsiteY49" fmla="*/ 701675 h 2263775"/>
              <a:gd name="connsiteX50" fmla="*/ 679450 w 1438275"/>
              <a:gd name="connsiteY50" fmla="*/ 660400 h 2263775"/>
              <a:gd name="connsiteX51" fmla="*/ 695325 w 1438275"/>
              <a:gd name="connsiteY51" fmla="*/ 603250 h 2263775"/>
              <a:gd name="connsiteX52" fmla="*/ 708025 w 1438275"/>
              <a:gd name="connsiteY52" fmla="*/ 546100 h 2263775"/>
              <a:gd name="connsiteX53" fmla="*/ 742950 w 1438275"/>
              <a:gd name="connsiteY53" fmla="*/ 482600 h 2263775"/>
              <a:gd name="connsiteX54" fmla="*/ 809625 w 1438275"/>
              <a:gd name="connsiteY54" fmla="*/ 444500 h 2263775"/>
              <a:gd name="connsiteX55" fmla="*/ 847725 w 1438275"/>
              <a:gd name="connsiteY55" fmla="*/ 428625 h 2263775"/>
              <a:gd name="connsiteX56" fmla="*/ 863600 w 1438275"/>
              <a:gd name="connsiteY56" fmla="*/ 390525 h 2263775"/>
              <a:gd name="connsiteX57" fmla="*/ 873125 w 1438275"/>
              <a:gd name="connsiteY57" fmla="*/ 352425 h 2263775"/>
              <a:gd name="connsiteX58" fmla="*/ 923925 w 1438275"/>
              <a:gd name="connsiteY58" fmla="*/ 320675 h 2263775"/>
              <a:gd name="connsiteX59" fmla="*/ 920750 w 1438275"/>
              <a:gd name="connsiteY59" fmla="*/ 276225 h 2263775"/>
              <a:gd name="connsiteX60" fmla="*/ 962025 w 1438275"/>
              <a:gd name="connsiteY60" fmla="*/ 222250 h 2263775"/>
              <a:gd name="connsiteX61" fmla="*/ 990600 w 1438275"/>
              <a:gd name="connsiteY61" fmla="*/ 171450 h 2263775"/>
              <a:gd name="connsiteX62" fmla="*/ 962025 w 1438275"/>
              <a:gd name="connsiteY62" fmla="*/ 104775 h 2263775"/>
              <a:gd name="connsiteX63" fmla="*/ 939800 w 1438275"/>
              <a:gd name="connsiteY63" fmla="*/ 57150 h 2263775"/>
              <a:gd name="connsiteX64" fmla="*/ 965200 w 1438275"/>
              <a:gd name="connsiteY64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209550 w 1438275"/>
              <a:gd name="connsiteY42" fmla="*/ 1219200 h 2263775"/>
              <a:gd name="connsiteX43" fmla="*/ 530225 w 1438275"/>
              <a:gd name="connsiteY43" fmla="*/ 869950 h 2263775"/>
              <a:gd name="connsiteX44" fmla="*/ 542925 w 1438275"/>
              <a:gd name="connsiteY44" fmla="*/ 806450 h 2263775"/>
              <a:gd name="connsiteX45" fmla="*/ 523875 w 1438275"/>
              <a:gd name="connsiteY45" fmla="*/ 765175 h 2263775"/>
              <a:gd name="connsiteX46" fmla="*/ 549275 w 1438275"/>
              <a:gd name="connsiteY46" fmla="*/ 739775 h 2263775"/>
              <a:gd name="connsiteX47" fmla="*/ 577850 w 1438275"/>
              <a:gd name="connsiteY47" fmla="*/ 692150 h 2263775"/>
              <a:gd name="connsiteX48" fmla="*/ 606425 w 1438275"/>
              <a:gd name="connsiteY48" fmla="*/ 701675 h 2263775"/>
              <a:gd name="connsiteX49" fmla="*/ 679450 w 1438275"/>
              <a:gd name="connsiteY49" fmla="*/ 660400 h 2263775"/>
              <a:gd name="connsiteX50" fmla="*/ 695325 w 1438275"/>
              <a:gd name="connsiteY50" fmla="*/ 603250 h 2263775"/>
              <a:gd name="connsiteX51" fmla="*/ 708025 w 1438275"/>
              <a:gd name="connsiteY51" fmla="*/ 546100 h 2263775"/>
              <a:gd name="connsiteX52" fmla="*/ 742950 w 1438275"/>
              <a:gd name="connsiteY52" fmla="*/ 482600 h 2263775"/>
              <a:gd name="connsiteX53" fmla="*/ 809625 w 1438275"/>
              <a:gd name="connsiteY53" fmla="*/ 444500 h 2263775"/>
              <a:gd name="connsiteX54" fmla="*/ 847725 w 1438275"/>
              <a:gd name="connsiteY54" fmla="*/ 428625 h 2263775"/>
              <a:gd name="connsiteX55" fmla="*/ 863600 w 1438275"/>
              <a:gd name="connsiteY55" fmla="*/ 390525 h 2263775"/>
              <a:gd name="connsiteX56" fmla="*/ 873125 w 1438275"/>
              <a:gd name="connsiteY56" fmla="*/ 352425 h 2263775"/>
              <a:gd name="connsiteX57" fmla="*/ 923925 w 1438275"/>
              <a:gd name="connsiteY57" fmla="*/ 320675 h 2263775"/>
              <a:gd name="connsiteX58" fmla="*/ 920750 w 1438275"/>
              <a:gd name="connsiteY58" fmla="*/ 276225 h 2263775"/>
              <a:gd name="connsiteX59" fmla="*/ 962025 w 1438275"/>
              <a:gd name="connsiteY59" fmla="*/ 222250 h 2263775"/>
              <a:gd name="connsiteX60" fmla="*/ 990600 w 1438275"/>
              <a:gd name="connsiteY60" fmla="*/ 171450 h 2263775"/>
              <a:gd name="connsiteX61" fmla="*/ 962025 w 1438275"/>
              <a:gd name="connsiteY61" fmla="*/ 104775 h 2263775"/>
              <a:gd name="connsiteX62" fmla="*/ 939800 w 1438275"/>
              <a:gd name="connsiteY62" fmla="*/ 57150 h 2263775"/>
              <a:gd name="connsiteX63" fmla="*/ 965200 w 1438275"/>
              <a:gd name="connsiteY63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136525 w 1438275"/>
              <a:gd name="connsiteY41" fmla="*/ 1235075 h 2263775"/>
              <a:gd name="connsiteX42" fmla="*/ 530225 w 1438275"/>
              <a:gd name="connsiteY42" fmla="*/ 869950 h 2263775"/>
              <a:gd name="connsiteX43" fmla="*/ 542925 w 1438275"/>
              <a:gd name="connsiteY43" fmla="*/ 806450 h 2263775"/>
              <a:gd name="connsiteX44" fmla="*/ 523875 w 1438275"/>
              <a:gd name="connsiteY44" fmla="*/ 765175 h 2263775"/>
              <a:gd name="connsiteX45" fmla="*/ 549275 w 1438275"/>
              <a:gd name="connsiteY45" fmla="*/ 739775 h 2263775"/>
              <a:gd name="connsiteX46" fmla="*/ 577850 w 1438275"/>
              <a:gd name="connsiteY46" fmla="*/ 692150 h 2263775"/>
              <a:gd name="connsiteX47" fmla="*/ 606425 w 1438275"/>
              <a:gd name="connsiteY47" fmla="*/ 701675 h 2263775"/>
              <a:gd name="connsiteX48" fmla="*/ 679450 w 1438275"/>
              <a:gd name="connsiteY48" fmla="*/ 660400 h 2263775"/>
              <a:gd name="connsiteX49" fmla="*/ 695325 w 1438275"/>
              <a:gd name="connsiteY49" fmla="*/ 603250 h 2263775"/>
              <a:gd name="connsiteX50" fmla="*/ 708025 w 1438275"/>
              <a:gd name="connsiteY50" fmla="*/ 546100 h 2263775"/>
              <a:gd name="connsiteX51" fmla="*/ 742950 w 1438275"/>
              <a:gd name="connsiteY51" fmla="*/ 482600 h 2263775"/>
              <a:gd name="connsiteX52" fmla="*/ 809625 w 1438275"/>
              <a:gd name="connsiteY52" fmla="*/ 444500 h 2263775"/>
              <a:gd name="connsiteX53" fmla="*/ 847725 w 1438275"/>
              <a:gd name="connsiteY53" fmla="*/ 428625 h 2263775"/>
              <a:gd name="connsiteX54" fmla="*/ 863600 w 1438275"/>
              <a:gd name="connsiteY54" fmla="*/ 390525 h 2263775"/>
              <a:gd name="connsiteX55" fmla="*/ 873125 w 1438275"/>
              <a:gd name="connsiteY55" fmla="*/ 352425 h 2263775"/>
              <a:gd name="connsiteX56" fmla="*/ 923925 w 1438275"/>
              <a:gd name="connsiteY56" fmla="*/ 320675 h 2263775"/>
              <a:gd name="connsiteX57" fmla="*/ 920750 w 1438275"/>
              <a:gd name="connsiteY57" fmla="*/ 276225 h 2263775"/>
              <a:gd name="connsiteX58" fmla="*/ 962025 w 1438275"/>
              <a:gd name="connsiteY58" fmla="*/ 222250 h 2263775"/>
              <a:gd name="connsiteX59" fmla="*/ 990600 w 1438275"/>
              <a:gd name="connsiteY59" fmla="*/ 171450 h 2263775"/>
              <a:gd name="connsiteX60" fmla="*/ 962025 w 1438275"/>
              <a:gd name="connsiteY60" fmla="*/ 104775 h 2263775"/>
              <a:gd name="connsiteX61" fmla="*/ 939800 w 1438275"/>
              <a:gd name="connsiteY61" fmla="*/ 57150 h 2263775"/>
              <a:gd name="connsiteX62" fmla="*/ 965200 w 1438275"/>
              <a:gd name="connsiteY62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107950 w 1438275"/>
              <a:gd name="connsiteY40" fmla="*/ 1298575 h 2263775"/>
              <a:gd name="connsiteX41" fmla="*/ 530225 w 1438275"/>
              <a:gd name="connsiteY41" fmla="*/ 869950 h 2263775"/>
              <a:gd name="connsiteX42" fmla="*/ 542925 w 1438275"/>
              <a:gd name="connsiteY42" fmla="*/ 806450 h 2263775"/>
              <a:gd name="connsiteX43" fmla="*/ 523875 w 1438275"/>
              <a:gd name="connsiteY43" fmla="*/ 765175 h 2263775"/>
              <a:gd name="connsiteX44" fmla="*/ 549275 w 1438275"/>
              <a:gd name="connsiteY44" fmla="*/ 739775 h 2263775"/>
              <a:gd name="connsiteX45" fmla="*/ 577850 w 1438275"/>
              <a:gd name="connsiteY45" fmla="*/ 692150 h 2263775"/>
              <a:gd name="connsiteX46" fmla="*/ 606425 w 1438275"/>
              <a:gd name="connsiteY46" fmla="*/ 701675 h 2263775"/>
              <a:gd name="connsiteX47" fmla="*/ 679450 w 1438275"/>
              <a:gd name="connsiteY47" fmla="*/ 660400 h 2263775"/>
              <a:gd name="connsiteX48" fmla="*/ 695325 w 1438275"/>
              <a:gd name="connsiteY48" fmla="*/ 603250 h 2263775"/>
              <a:gd name="connsiteX49" fmla="*/ 708025 w 1438275"/>
              <a:gd name="connsiteY49" fmla="*/ 546100 h 2263775"/>
              <a:gd name="connsiteX50" fmla="*/ 742950 w 1438275"/>
              <a:gd name="connsiteY50" fmla="*/ 482600 h 2263775"/>
              <a:gd name="connsiteX51" fmla="*/ 809625 w 1438275"/>
              <a:gd name="connsiteY51" fmla="*/ 444500 h 2263775"/>
              <a:gd name="connsiteX52" fmla="*/ 847725 w 1438275"/>
              <a:gd name="connsiteY52" fmla="*/ 428625 h 2263775"/>
              <a:gd name="connsiteX53" fmla="*/ 863600 w 1438275"/>
              <a:gd name="connsiteY53" fmla="*/ 390525 h 2263775"/>
              <a:gd name="connsiteX54" fmla="*/ 873125 w 1438275"/>
              <a:gd name="connsiteY54" fmla="*/ 352425 h 2263775"/>
              <a:gd name="connsiteX55" fmla="*/ 923925 w 1438275"/>
              <a:gd name="connsiteY55" fmla="*/ 320675 h 2263775"/>
              <a:gd name="connsiteX56" fmla="*/ 920750 w 1438275"/>
              <a:gd name="connsiteY56" fmla="*/ 276225 h 2263775"/>
              <a:gd name="connsiteX57" fmla="*/ 962025 w 1438275"/>
              <a:gd name="connsiteY57" fmla="*/ 222250 h 2263775"/>
              <a:gd name="connsiteX58" fmla="*/ 990600 w 1438275"/>
              <a:gd name="connsiteY58" fmla="*/ 171450 h 2263775"/>
              <a:gd name="connsiteX59" fmla="*/ 962025 w 1438275"/>
              <a:gd name="connsiteY59" fmla="*/ 104775 h 2263775"/>
              <a:gd name="connsiteX60" fmla="*/ 939800 w 1438275"/>
              <a:gd name="connsiteY60" fmla="*/ 57150 h 2263775"/>
              <a:gd name="connsiteX61" fmla="*/ 965200 w 1438275"/>
              <a:gd name="connsiteY61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60954 w 1438275"/>
              <a:gd name="connsiteY39" fmla="*/ 1294609 h 2263775"/>
              <a:gd name="connsiteX40" fmla="*/ 530225 w 1438275"/>
              <a:gd name="connsiteY40" fmla="*/ 869950 h 2263775"/>
              <a:gd name="connsiteX41" fmla="*/ 542925 w 1438275"/>
              <a:gd name="connsiteY41" fmla="*/ 806450 h 2263775"/>
              <a:gd name="connsiteX42" fmla="*/ 523875 w 1438275"/>
              <a:gd name="connsiteY42" fmla="*/ 765175 h 2263775"/>
              <a:gd name="connsiteX43" fmla="*/ 549275 w 1438275"/>
              <a:gd name="connsiteY43" fmla="*/ 739775 h 2263775"/>
              <a:gd name="connsiteX44" fmla="*/ 577850 w 1438275"/>
              <a:gd name="connsiteY44" fmla="*/ 692150 h 2263775"/>
              <a:gd name="connsiteX45" fmla="*/ 606425 w 1438275"/>
              <a:gd name="connsiteY45" fmla="*/ 701675 h 2263775"/>
              <a:gd name="connsiteX46" fmla="*/ 679450 w 1438275"/>
              <a:gd name="connsiteY46" fmla="*/ 660400 h 2263775"/>
              <a:gd name="connsiteX47" fmla="*/ 695325 w 1438275"/>
              <a:gd name="connsiteY47" fmla="*/ 603250 h 2263775"/>
              <a:gd name="connsiteX48" fmla="*/ 708025 w 1438275"/>
              <a:gd name="connsiteY48" fmla="*/ 546100 h 2263775"/>
              <a:gd name="connsiteX49" fmla="*/ 742950 w 1438275"/>
              <a:gd name="connsiteY49" fmla="*/ 482600 h 2263775"/>
              <a:gd name="connsiteX50" fmla="*/ 809625 w 1438275"/>
              <a:gd name="connsiteY50" fmla="*/ 444500 h 2263775"/>
              <a:gd name="connsiteX51" fmla="*/ 847725 w 1438275"/>
              <a:gd name="connsiteY51" fmla="*/ 428625 h 2263775"/>
              <a:gd name="connsiteX52" fmla="*/ 863600 w 1438275"/>
              <a:gd name="connsiteY52" fmla="*/ 390525 h 2263775"/>
              <a:gd name="connsiteX53" fmla="*/ 873125 w 1438275"/>
              <a:gd name="connsiteY53" fmla="*/ 352425 h 2263775"/>
              <a:gd name="connsiteX54" fmla="*/ 923925 w 1438275"/>
              <a:gd name="connsiteY54" fmla="*/ 320675 h 2263775"/>
              <a:gd name="connsiteX55" fmla="*/ 920750 w 1438275"/>
              <a:gd name="connsiteY55" fmla="*/ 276225 h 2263775"/>
              <a:gd name="connsiteX56" fmla="*/ 962025 w 1438275"/>
              <a:gd name="connsiteY56" fmla="*/ 222250 h 2263775"/>
              <a:gd name="connsiteX57" fmla="*/ 990600 w 1438275"/>
              <a:gd name="connsiteY57" fmla="*/ 171450 h 2263775"/>
              <a:gd name="connsiteX58" fmla="*/ 962025 w 1438275"/>
              <a:gd name="connsiteY58" fmla="*/ 104775 h 2263775"/>
              <a:gd name="connsiteX59" fmla="*/ 939800 w 1438275"/>
              <a:gd name="connsiteY59" fmla="*/ 57150 h 2263775"/>
              <a:gd name="connsiteX60" fmla="*/ 965200 w 1438275"/>
              <a:gd name="connsiteY60" fmla="*/ 0 h 2263775"/>
              <a:gd name="connsiteX0" fmla="*/ 1438275 w 1438275"/>
              <a:gd name="connsiteY0" fmla="*/ 2263775 h 2263775"/>
              <a:gd name="connsiteX1" fmla="*/ 1422400 w 1438275"/>
              <a:gd name="connsiteY1" fmla="*/ 2206625 h 2263775"/>
              <a:gd name="connsiteX2" fmla="*/ 1390650 w 1438275"/>
              <a:gd name="connsiteY2" fmla="*/ 2162175 h 2263775"/>
              <a:gd name="connsiteX3" fmla="*/ 1352550 w 1438275"/>
              <a:gd name="connsiteY3" fmla="*/ 2149475 h 2263775"/>
              <a:gd name="connsiteX4" fmla="*/ 1298575 w 1438275"/>
              <a:gd name="connsiteY4" fmla="*/ 2152650 h 2263775"/>
              <a:gd name="connsiteX5" fmla="*/ 1257300 w 1438275"/>
              <a:gd name="connsiteY5" fmla="*/ 2149475 h 2263775"/>
              <a:gd name="connsiteX6" fmla="*/ 1222375 w 1438275"/>
              <a:gd name="connsiteY6" fmla="*/ 2130425 h 2263775"/>
              <a:gd name="connsiteX7" fmla="*/ 1193800 w 1438275"/>
              <a:gd name="connsiteY7" fmla="*/ 2143125 h 2263775"/>
              <a:gd name="connsiteX8" fmla="*/ 1143000 w 1438275"/>
              <a:gd name="connsiteY8" fmla="*/ 2130425 h 2263775"/>
              <a:gd name="connsiteX9" fmla="*/ 1108075 w 1438275"/>
              <a:gd name="connsiteY9" fmla="*/ 2117725 h 2263775"/>
              <a:gd name="connsiteX10" fmla="*/ 1092200 w 1438275"/>
              <a:gd name="connsiteY10" fmla="*/ 2111375 h 2263775"/>
              <a:gd name="connsiteX11" fmla="*/ 1031875 w 1438275"/>
              <a:gd name="connsiteY11" fmla="*/ 2117725 h 2263775"/>
              <a:gd name="connsiteX12" fmla="*/ 977900 w 1438275"/>
              <a:gd name="connsiteY12" fmla="*/ 2073275 h 2263775"/>
              <a:gd name="connsiteX13" fmla="*/ 946150 w 1438275"/>
              <a:gd name="connsiteY13" fmla="*/ 2051050 h 2263775"/>
              <a:gd name="connsiteX14" fmla="*/ 911225 w 1438275"/>
              <a:gd name="connsiteY14" fmla="*/ 2038350 h 2263775"/>
              <a:gd name="connsiteX15" fmla="*/ 885825 w 1438275"/>
              <a:gd name="connsiteY15" fmla="*/ 2003425 h 2263775"/>
              <a:gd name="connsiteX16" fmla="*/ 838200 w 1438275"/>
              <a:gd name="connsiteY16" fmla="*/ 1990725 h 2263775"/>
              <a:gd name="connsiteX17" fmla="*/ 800100 w 1438275"/>
              <a:gd name="connsiteY17" fmla="*/ 1968500 h 2263775"/>
              <a:gd name="connsiteX18" fmla="*/ 765175 w 1438275"/>
              <a:gd name="connsiteY18" fmla="*/ 1971675 h 2263775"/>
              <a:gd name="connsiteX19" fmla="*/ 749300 w 1438275"/>
              <a:gd name="connsiteY19" fmla="*/ 1949450 h 2263775"/>
              <a:gd name="connsiteX20" fmla="*/ 704850 w 1438275"/>
              <a:gd name="connsiteY20" fmla="*/ 1936750 h 2263775"/>
              <a:gd name="connsiteX21" fmla="*/ 679450 w 1438275"/>
              <a:gd name="connsiteY21" fmla="*/ 1943100 h 2263775"/>
              <a:gd name="connsiteX22" fmla="*/ 631825 w 1438275"/>
              <a:gd name="connsiteY22" fmla="*/ 1936750 h 2263775"/>
              <a:gd name="connsiteX23" fmla="*/ 587375 w 1438275"/>
              <a:gd name="connsiteY23" fmla="*/ 1952625 h 2263775"/>
              <a:gd name="connsiteX24" fmla="*/ 520700 w 1438275"/>
              <a:gd name="connsiteY24" fmla="*/ 1946275 h 2263775"/>
              <a:gd name="connsiteX25" fmla="*/ 520700 w 1438275"/>
              <a:gd name="connsiteY25" fmla="*/ 1946275 h 2263775"/>
              <a:gd name="connsiteX26" fmla="*/ 466725 w 1438275"/>
              <a:gd name="connsiteY26" fmla="*/ 1952625 h 2263775"/>
              <a:gd name="connsiteX27" fmla="*/ 479425 w 1438275"/>
              <a:gd name="connsiteY27" fmla="*/ 1927225 h 2263775"/>
              <a:gd name="connsiteX28" fmla="*/ 457200 w 1438275"/>
              <a:gd name="connsiteY28" fmla="*/ 1917700 h 2263775"/>
              <a:gd name="connsiteX29" fmla="*/ 476250 w 1438275"/>
              <a:gd name="connsiteY29" fmla="*/ 1857375 h 2263775"/>
              <a:gd name="connsiteX30" fmla="*/ 450850 w 1438275"/>
              <a:gd name="connsiteY30" fmla="*/ 1803400 h 2263775"/>
              <a:gd name="connsiteX31" fmla="*/ 406400 w 1438275"/>
              <a:gd name="connsiteY31" fmla="*/ 1762125 h 2263775"/>
              <a:gd name="connsiteX32" fmla="*/ 361950 w 1438275"/>
              <a:gd name="connsiteY32" fmla="*/ 1739900 h 2263775"/>
              <a:gd name="connsiteX33" fmla="*/ 317500 w 1438275"/>
              <a:gd name="connsiteY33" fmla="*/ 1803400 h 2263775"/>
              <a:gd name="connsiteX34" fmla="*/ 260350 w 1438275"/>
              <a:gd name="connsiteY34" fmla="*/ 1860550 h 2263775"/>
              <a:gd name="connsiteX35" fmla="*/ 222250 w 1438275"/>
              <a:gd name="connsiteY35" fmla="*/ 1870075 h 2263775"/>
              <a:gd name="connsiteX36" fmla="*/ 177800 w 1438275"/>
              <a:gd name="connsiteY36" fmla="*/ 1847850 h 2263775"/>
              <a:gd name="connsiteX37" fmla="*/ 133350 w 1438275"/>
              <a:gd name="connsiteY37" fmla="*/ 1851025 h 2263775"/>
              <a:gd name="connsiteX38" fmla="*/ 0 w 1438275"/>
              <a:gd name="connsiteY38" fmla="*/ 1339850 h 2263775"/>
              <a:gd name="connsiteX39" fmla="*/ 530225 w 1438275"/>
              <a:gd name="connsiteY39" fmla="*/ 869950 h 2263775"/>
              <a:gd name="connsiteX40" fmla="*/ 542925 w 1438275"/>
              <a:gd name="connsiteY40" fmla="*/ 806450 h 2263775"/>
              <a:gd name="connsiteX41" fmla="*/ 523875 w 1438275"/>
              <a:gd name="connsiteY41" fmla="*/ 765175 h 2263775"/>
              <a:gd name="connsiteX42" fmla="*/ 549275 w 1438275"/>
              <a:gd name="connsiteY42" fmla="*/ 739775 h 2263775"/>
              <a:gd name="connsiteX43" fmla="*/ 577850 w 1438275"/>
              <a:gd name="connsiteY43" fmla="*/ 692150 h 2263775"/>
              <a:gd name="connsiteX44" fmla="*/ 606425 w 1438275"/>
              <a:gd name="connsiteY44" fmla="*/ 701675 h 2263775"/>
              <a:gd name="connsiteX45" fmla="*/ 679450 w 1438275"/>
              <a:gd name="connsiteY45" fmla="*/ 660400 h 2263775"/>
              <a:gd name="connsiteX46" fmla="*/ 695325 w 1438275"/>
              <a:gd name="connsiteY46" fmla="*/ 603250 h 2263775"/>
              <a:gd name="connsiteX47" fmla="*/ 708025 w 1438275"/>
              <a:gd name="connsiteY47" fmla="*/ 546100 h 2263775"/>
              <a:gd name="connsiteX48" fmla="*/ 742950 w 1438275"/>
              <a:gd name="connsiteY48" fmla="*/ 482600 h 2263775"/>
              <a:gd name="connsiteX49" fmla="*/ 809625 w 1438275"/>
              <a:gd name="connsiteY49" fmla="*/ 444500 h 2263775"/>
              <a:gd name="connsiteX50" fmla="*/ 847725 w 1438275"/>
              <a:gd name="connsiteY50" fmla="*/ 428625 h 2263775"/>
              <a:gd name="connsiteX51" fmla="*/ 863600 w 1438275"/>
              <a:gd name="connsiteY51" fmla="*/ 390525 h 2263775"/>
              <a:gd name="connsiteX52" fmla="*/ 873125 w 1438275"/>
              <a:gd name="connsiteY52" fmla="*/ 352425 h 2263775"/>
              <a:gd name="connsiteX53" fmla="*/ 923925 w 1438275"/>
              <a:gd name="connsiteY53" fmla="*/ 320675 h 2263775"/>
              <a:gd name="connsiteX54" fmla="*/ 920750 w 1438275"/>
              <a:gd name="connsiteY54" fmla="*/ 276225 h 2263775"/>
              <a:gd name="connsiteX55" fmla="*/ 962025 w 1438275"/>
              <a:gd name="connsiteY55" fmla="*/ 222250 h 2263775"/>
              <a:gd name="connsiteX56" fmla="*/ 990600 w 1438275"/>
              <a:gd name="connsiteY56" fmla="*/ 171450 h 2263775"/>
              <a:gd name="connsiteX57" fmla="*/ 962025 w 1438275"/>
              <a:gd name="connsiteY57" fmla="*/ 104775 h 2263775"/>
              <a:gd name="connsiteX58" fmla="*/ 939800 w 1438275"/>
              <a:gd name="connsiteY58" fmla="*/ 57150 h 2263775"/>
              <a:gd name="connsiteX59" fmla="*/ 965200 w 1438275"/>
              <a:gd name="connsiteY59" fmla="*/ 0 h 2263775"/>
              <a:gd name="connsiteX0" fmla="*/ 1304925 w 1304925"/>
              <a:gd name="connsiteY0" fmla="*/ 2263775 h 2263775"/>
              <a:gd name="connsiteX1" fmla="*/ 1289050 w 1304925"/>
              <a:gd name="connsiteY1" fmla="*/ 2206625 h 2263775"/>
              <a:gd name="connsiteX2" fmla="*/ 1257300 w 1304925"/>
              <a:gd name="connsiteY2" fmla="*/ 2162175 h 2263775"/>
              <a:gd name="connsiteX3" fmla="*/ 1219200 w 1304925"/>
              <a:gd name="connsiteY3" fmla="*/ 2149475 h 2263775"/>
              <a:gd name="connsiteX4" fmla="*/ 1165225 w 1304925"/>
              <a:gd name="connsiteY4" fmla="*/ 2152650 h 2263775"/>
              <a:gd name="connsiteX5" fmla="*/ 1123950 w 1304925"/>
              <a:gd name="connsiteY5" fmla="*/ 2149475 h 2263775"/>
              <a:gd name="connsiteX6" fmla="*/ 1089025 w 1304925"/>
              <a:gd name="connsiteY6" fmla="*/ 2130425 h 2263775"/>
              <a:gd name="connsiteX7" fmla="*/ 1060450 w 1304925"/>
              <a:gd name="connsiteY7" fmla="*/ 2143125 h 2263775"/>
              <a:gd name="connsiteX8" fmla="*/ 1009650 w 1304925"/>
              <a:gd name="connsiteY8" fmla="*/ 2130425 h 2263775"/>
              <a:gd name="connsiteX9" fmla="*/ 974725 w 1304925"/>
              <a:gd name="connsiteY9" fmla="*/ 2117725 h 2263775"/>
              <a:gd name="connsiteX10" fmla="*/ 958850 w 1304925"/>
              <a:gd name="connsiteY10" fmla="*/ 2111375 h 2263775"/>
              <a:gd name="connsiteX11" fmla="*/ 898525 w 1304925"/>
              <a:gd name="connsiteY11" fmla="*/ 2117725 h 2263775"/>
              <a:gd name="connsiteX12" fmla="*/ 844550 w 1304925"/>
              <a:gd name="connsiteY12" fmla="*/ 2073275 h 2263775"/>
              <a:gd name="connsiteX13" fmla="*/ 812800 w 1304925"/>
              <a:gd name="connsiteY13" fmla="*/ 2051050 h 2263775"/>
              <a:gd name="connsiteX14" fmla="*/ 777875 w 1304925"/>
              <a:gd name="connsiteY14" fmla="*/ 2038350 h 2263775"/>
              <a:gd name="connsiteX15" fmla="*/ 752475 w 1304925"/>
              <a:gd name="connsiteY15" fmla="*/ 2003425 h 2263775"/>
              <a:gd name="connsiteX16" fmla="*/ 704850 w 1304925"/>
              <a:gd name="connsiteY16" fmla="*/ 1990725 h 2263775"/>
              <a:gd name="connsiteX17" fmla="*/ 666750 w 1304925"/>
              <a:gd name="connsiteY17" fmla="*/ 1968500 h 2263775"/>
              <a:gd name="connsiteX18" fmla="*/ 631825 w 1304925"/>
              <a:gd name="connsiteY18" fmla="*/ 1971675 h 2263775"/>
              <a:gd name="connsiteX19" fmla="*/ 615950 w 1304925"/>
              <a:gd name="connsiteY19" fmla="*/ 1949450 h 2263775"/>
              <a:gd name="connsiteX20" fmla="*/ 571500 w 1304925"/>
              <a:gd name="connsiteY20" fmla="*/ 1936750 h 2263775"/>
              <a:gd name="connsiteX21" fmla="*/ 546100 w 1304925"/>
              <a:gd name="connsiteY21" fmla="*/ 1943100 h 2263775"/>
              <a:gd name="connsiteX22" fmla="*/ 498475 w 1304925"/>
              <a:gd name="connsiteY22" fmla="*/ 1936750 h 2263775"/>
              <a:gd name="connsiteX23" fmla="*/ 454025 w 1304925"/>
              <a:gd name="connsiteY23" fmla="*/ 1952625 h 2263775"/>
              <a:gd name="connsiteX24" fmla="*/ 387350 w 1304925"/>
              <a:gd name="connsiteY24" fmla="*/ 1946275 h 2263775"/>
              <a:gd name="connsiteX25" fmla="*/ 387350 w 1304925"/>
              <a:gd name="connsiteY25" fmla="*/ 1946275 h 2263775"/>
              <a:gd name="connsiteX26" fmla="*/ 333375 w 1304925"/>
              <a:gd name="connsiteY26" fmla="*/ 1952625 h 2263775"/>
              <a:gd name="connsiteX27" fmla="*/ 346075 w 1304925"/>
              <a:gd name="connsiteY27" fmla="*/ 1927225 h 2263775"/>
              <a:gd name="connsiteX28" fmla="*/ 323850 w 1304925"/>
              <a:gd name="connsiteY28" fmla="*/ 1917700 h 2263775"/>
              <a:gd name="connsiteX29" fmla="*/ 342900 w 1304925"/>
              <a:gd name="connsiteY29" fmla="*/ 1857375 h 2263775"/>
              <a:gd name="connsiteX30" fmla="*/ 317500 w 1304925"/>
              <a:gd name="connsiteY30" fmla="*/ 1803400 h 2263775"/>
              <a:gd name="connsiteX31" fmla="*/ 273050 w 1304925"/>
              <a:gd name="connsiteY31" fmla="*/ 1762125 h 2263775"/>
              <a:gd name="connsiteX32" fmla="*/ 228600 w 1304925"/>
              <a:gd name="connsiteY32" fmla="*/ 1739900 h 2263775"/>
              <a:gd name="connsiteX33" fmla="*/ 184150 w 1304925"/>
              <a:gd name="connsiteY33" fmla="*/ 1803400 h 2263775"/>
              <a:gd name="connsiteX34" fmla="*/ 127000 w 1304925"/>
              <a:gd name="connsiteY34" fmla="*/ 1860550 h 2263775"/>
              <a:gd name="connsiteX35" fmla="*/ 88900 w 1304925"/>
              <a:gd name="connsiteY35" fmla="*/ 1870075 h 2263775"/>
              <a:gd name="connsiteX36" fmla="*/ 44450 w 1304925"/>
              <a:gd name="connsiteY36" fmla="*/ 1847850 h 2263775"/>
              <a:gd name="connsiteX37" fmla="*/ 0 w 1304925"/>
              <a:gd name="connsiteY37" fmla="*/ 1851025 h 2263775"/>
              <a:gd name="connsiteX38" fmla="*/ 396875 w 1304925"/>
              <a:gd name="connsiteY38" fmla="*/ 869950 h 2263775"/>
              <a:gd name="connsiteX39" fmla="*/ 409575 w 1304925"/>
              <a:gd name="connsiteY39" fmla="*/ 806450 h 2263775"/>
              <a:gd name="connsiteX40" fmla="*/ 390525 w 1304925"/>
              <a:gd name="connsiteY40" fmla="*/ 765175 h 2263775"/>
              <a:gd name="connsiteX41" fmla="*/ 415925 w 1304925"/>
              <a:gd name="connsiteY41" fmla="*/ 739775 h 2263775"/>
              <a:gd name="connsiteX42" fmla="*/ 444500 w 1304925"/>
              <a:gd name="connsiteY42" fmla="*/ 692150 h 2263775"/>
              <a:gd name="connsiteX43" fmla="*/ 473075 w 1304925"/>
              <a:gd name="connsiteY43" fmla="*/ 701675 h 2263775"/>
              <a:gd name="connsiteX44" fmla="*/ 546100 w 1304925"/>
              <a:gd name="connsiteY44" fmla="*/ 660400 h 2263775"/>
              <a:gd name="connsiteX45" fmla="*/ 561975 w 1304925"/>
              <a:gd name="connsiteY45" fmla="*/ 603250 h 2263775"/>
              <a:gd name="connsiteX46" fmla="*/ 574675 w 1304925"/>
              <a:gd name="connsiteY46" fmla="*/ 546100 h 2263775"/>
              <a:gd name="connsiteX47" fmla="*/ 609600 w 1304925"/>
              <a:gd name="connsiteY47" fmla="*/ 482600 h 2263775"/>
              <a:gd name="connsiteX48" fmla="*/ 676275 w 1304925"/>
              <a:gd name="connsiteY48" fmla="*/ 444500 h 2263775"/>
              <a:gd name="connsiteX49" fmla="*/ 714375 w 1304925"/>
              <a:gd name="connsiteY49" fmla="*/ 428625 h 2263775"/>
              <a:gd name="connsiteX50" fmla="*/ 730250 w 1304925"/>
              <a:gd name="connsiteY50" fmla="*/ 390525 h 2263775"/>
              <a:gd name="connsiteX51" fmla="*/ 739775 w 1304925"/>
              <a:gd name="connsiteY51" fmla="*/ 352425 h 2263775"/>
              <a:gd name="connsiteX52" fmla="*/ 790575 w 1304925"/>
              <a:gd name="connsiteY52" fmla="*/ 320675 h 2263775"/>
              <a:gd name="connsiteX53" fmla="*/ 787400 w 1304925"/>
              <a:gd name="connsiteY53" fmla="*/ 276225 h 2263775"/>
              <a:gd name="connsiteX54" fmla="*/ 828675 w 1304925"/>
              <a:gd name="connsiteY54" fmla="*/ 222250 h 2263775"/>
              <a:gd name="connsiteX55" fmla="*/ 857250 w 1304925"/>
              <a:gd name="connsiteY55" fmla="*/ 171450 h 2263775"/>
              <a:gd name="connsiteX56" fmla="*/ 828675 w 1304925"/>
              <a:gd name="connsiteY56" fmla="*/ 104775 h 2263775"/>
              <a:gd name="connsiteX57" fmla="*/ 806450 w 1304925"/>
              <a:gd name="connsiteY57" fmla="*/ 57150 h 2263775"/>
              <a:gd name="connsiteX58" fmla="*/ 831850 w 1304925"/>
              <a:gd name="connsiteY58" fmla="*/ 0 h 2263775"/>
              <a:gd name="connsiteX0" fmla="*/ 1260475 w 1260475"/>
              <a:gd name="connsiteY0" fmla="*/ 2263775 h 2263775"/>
              <a:gd name="connsiteX1" fmla="*/ 1244600 w 1260475"/>
              <a:gd name="connsiteY1" fmla="*/ 2206625 h 2263775"/>
              <a:gd name="connsiteX2" fmla="*/ 1212850 w 1260475"/>
              <a:gd name="connsiteY2" fmla="*/ 2162175 h 2263775"/>
              <a:gd name="connsiteX3" fmla="*/ 1174750 w 1260475"/>
              <a:gd name="connsiteY3" fmla="*/ 2149475 h 2263775"/>
              <a:gd name="connsiteX4" fmla="*/ 1120775 w 1260475"/>
              <a:gd name="connsiteY4" fmla="*/ 2152650 h 2263775"/>
              <a:gd name="connsiteX5" fmla="*/ 1079500 w 1260475"/>
              <a:gd name="connsiteY5" fmla="*/ 2149475 h 2263775"/>
              <a:gd name="connsiteX6" fmla="*/ 1044575 w 1260475"/>
              <a:gd name="connsiteY6" fmla="*/ 2130425 h 2263775"/>
              <a:gd name="connsiteX7" fmla="*/ 1016000 w 1260475"/>
              <a:gd name="connsiteY7" fmla="*/ 2143125 h 2263775"/>
              <a:gd name="connsiteX8" fmla="*/ 965200 w 1260475"/>
              <a:gd name="connsiteY8" fmla="*/ 2130425 h 2263775"/>
              <a:gd name="connsiteX9" fmla="*/ 930275 w 1260475"/>
              <a:gd name="connsiteY9" fmla="*/ 2117725 h 2263775"/>
              <a:gd name="connsiteX10" fmla="*/ 914400 w 1260475"/>
              <a:gd name="connsiteY10" fmla="*/ 2111375 h 2263775"/>
              <a:gd name="connsiteX11" fmla="*/ 854075 w 1260475"/>
              <a:gd name="connsiteY11" fmla="*/ 2117725 h 2263775"/>
              <a:gd name="connsiteX12" fmla="*/ 800100 w 1260475"/>
              <a:gd name="connsiteY12" fmla="*/ 2073275 h 2263775"/>
              <a:gd name="connsiteX13" fmla="*/ 768350 w 1260475"/>
              <a:gd name="connsiteY13" fmla="*/ 2051050 h 2263775"/>
              <a:gd name="connsiteX14" fmla="*/ 733425 w 1260475"/>
              <a:gd name="connsiteY14" fmla="*/ 2038350 h 2263775"/>
              <a:gd name="connsiteX15" fmla="*/ 708025 w 1260475"/>
              <a:gd name="connsiteY15" fmla="*/ 2003425 h 2263775"/>
              <a:gd name="connsiteX16" fmla="*/ 660400 w 1260475"/>
              <a:gd name="connsiteY16" fmla="*/ 1990725 h 2263775"/>
              <a:gd name="connsiteX17" fmla="*/ 622300 w 1260475"/>
              <a:gd name="connsiteY17" fmla="*/ 1968500 h 2263775"/>
              <a:gd name="connsiteX18" fmla="*/ 587375 w 1260475"/>
              <a:gd name="connsiteY18" fmla="*/ 1971675 h 2263775"/>
              <a:gd name="connsiteX19" fmla="*/ 571500 w 1260475"/>
              <a:gd name="connsiteY19" fmla="*/ 1949450 h 2263775"/>
              <a:gd name="connsiteX20" fmla="*/ 527050 w 1260475"/>
              <a:gd name="connsiteY20" fmla="*/ 1936750 h 2263775"/>
              <a:gd name="connsiteX21" fmla="*/ 501650 w 1260475"/>
              <a:gd name="connsiteY21" fmla="*/ 1943100 h 2263775"/>
              <a:gd name="connsiteX22" fmla="*/ 454025 w 1260475"/>
              <a:gd name="connsiteY22" fmla="*/ 1936750 h 2263775"/>
              <a:gd name="connsiteX23" fmla="*/ 409575 w 1260475"/>
              <a:gd name="connsiteY23" fmla="*/ 1952625 h 2263775"/>
              <a:gd name="connsiteX24" fmla="*/ 342900 w 1260475"/>
              <a:gd name="connsiteY24" fmla="*/ 1946275 h 2263775"/>
              <a:gd name="connsiteX25" fmla="*/ 342900 w 1260475"/>
              <a:gd name="connsiteY25" fmla="*/ 1946275 h 2263775"/>
              <a:gd name="connsiteX26" fmla="*/ 288925 w 1260475"/>
              <a:gd name="connsiteY26" fmla="*/ 1952625 h 2263775"/>
              <a:gd name="connsiteX27" fmla="*/ 301625 w 1260475"/>
              <a:gd name="connsiteY27" fmla="*/ 1927225 h 2263775"/>
              <a:gd name="connsiteX28" fmla="*/ 279400 w 1260475"/>
              <a:gd name="connsiteY28" fmla="*/ 1917700 h 2263775"/>
              <a:gd name="connsiteX29" fmla="*/ 298450 w 1260475"/>
              <a:gd name="connsiteY29" fmla="*/ 1857375 h 2263775"/>
              <a:gd name="connsiteX30" fmla="*/ 273050 w 1260475"/>
              <a:gd name="connsiteY30" fmla="*/ 1803400 h 2263775"/>
              <a:gd name="connsiteX31" fmla="*/ 228600 w 1260475"/>
              <a:gd name="connsiteY31" fmla="*/ 1762125 h 2263775"/>
              <a:gd name="connsiteX32" fmla="*/ 184150 w 1260475"/>
              <a:gd name="connsiteY32" fmla="*/ 1739900 h 2263775"/>
              <a:gd name="connsiteX33" fmla="*/ 139700 w 1260475"/>
              <a:gd name="connsiteY33" fmla="*/ 1803400 h 2263775"/>
              <a:gd name="connsiteX34" fmla="*/ 82550 w 1260475"/>
              <a:gd name="connsiteY34" fmla="*/ 1860550 h 2263775"/>
              <a:gd name="connsiteX35" fmla="*/ 44450 w 1260475"/>
              <a:gd name="connsiteY35" fmla="*/ 1870075 h 2263775"/>
              <a:gd name="connsiteX36" fmla="*/ 0 w 1260475"/>
              <a:gd name="connsiteY36" fmla="*/ 1847850 h 2263775"/>
              <a:gd name="connsiteX37" fmla="*/ 352425 w 1260475"/>
              <a:gd name="connsiteY37" fmla="*/ 869950 h 2263775"/>
              <a:gd name="connsiteX38" fmla="*/ 365125 w 1260475"/>
              <a:gd name="connsiteY38" fmla="*/ 806450 h 2263775"/>
              <a:gd name="connsiteX39" fmla="*/ 346075 w 1260475"/>
              <a:gd name="connsiteY39" fmla="*/ 765175 h 2263775"/>
              <a:gd name="connsiteX40" fmla="*/ 371475 w 1260475"/>
              <a:gd name="connsiteY40" fmla="*/ 739775 h 2263775"/>
              <a:gd name="connsiteX41" fmla="*/ 400050 w 1260475"/>
              <a:gd name="connsiteY41" fmla="*/ 692150 h 2263775"/>
              <a:gd name="connsiteX42" fmla="*/ 428625 w 1260475"/>
              <a:gd name="connsiteY42" fmla="*/ 701675 h 2263775"/>
              <a:gd name="connsiteX43" fmla="*/ 501650 w 1260475"/>
              <a:gd name="connsiteY43" fmla="*/ 660400 h 2263775"/>
              <a:gd name="connsiteX44" fmla="*/ 517525 w 1260475"/>
              <a:gd name="connsiteY44" fmla="*/ 603250 h 2263775"/>
              <a:gd name="connsiteX45" fmla="*/ 530225 w 1260475"/>
              <a:gd name="connsiteY45" fmla="*/ 546100 h 2263775"/>
              <a:gd name="connsiteX46" fmla="*/ 565150 w 1260475"/>
              <a:gd name="connsiteY46" fmla="*/ 482600 h 2263775"/>
              <a:gd name="connsiteX47" fmla="*/ 631825 w 1260475"/>
              <a:gd name="connsiteY47" fmla="*/ 444500 h 2263775"/>
              <a:gd name="connsiteX48" fmla="*/ 669925 w 1260475"/>
              <a:gd name="connsiteY48" fmla="*/ 428625 h 2263775"/>
              <a:gd name="connsiteX49" fmla="*/ 685800 w 1260475"/>
              <a:gd name="connsiteY49" fmla="*/ 390525 h 2263775"/>
              <a:gd name="connsiteX50" fmla="*/ 695325 w 1260475"/>
              <a:gd name="connsiteY50" fmla="*/ 352425 h 2263775"/>
              <a:gd name="connsiteX51" fmla="*/ 746125 w 1260475"/>
              <a:gd name="connsiteY51" fmla="*/ 320675 h 2263775"/>
              <a:gd name="connsiteX52" fmla="*/ 742950 w 1260475"/>
              <a:gd name="connsiteY52" fmla="*/ 276225 h 2263775"/>
              <a:gd name="connsiteX53" fmla="*/ 784225 w 1260475"/>
              <a:gd name="connsiteY53" fmla="*/ 222250 h 2263775"/>
              <a:gd name="connsiteX54" fmla="*/ 812800 w 1260475"/>
              <a:gd name="connsiteY54" fmla="*/ 171450 h 2263775"/>
              <a:gd name="connsiteX55" fmla="*/ 784225 w 1260475"/>
              <a:gd name="connsiteY55" fmla="*/ 104775 h 2263775"/>
              <a:gd name="connsiteX56" fmla="*/ 762000 w 1260475"/>
              <a:gd name="connsiteY56" fmla="*/ 57150 h 2263775"/>
              <a:gd name="connsiteX57" fmla="*/ 787400 w 1260475"/>
              <a:gd name="connsiteY57" fmla="*/ 0 h 2263775"/>
              <a:gd name="connsiteX0" fmla="*/ 1216025 w 1216025"/>
              <a:gd name="connsiteY0" fmla="*/ 2263775 h 2263775"/>
              <a:gd name="connsiteX1" fmla="*/ 1200150 w 1216025"/>
              <a:gd name="connsiteY1" fmla="*/ 2206625 h 2263775"/>
              <a:gd name="connsiteX2" fmla="*/ 1168400 w 1216025"/>
              <a:gd name="connsiteY2" fmla="*/ 2162175 h 2263775"/>
              <a:gd name="connsiteX3" fmla="*/ 1130300 w 1216025"/>
              <a:gd name="connsiteY3" fmla="*/ 2149475 h 2263775"/>
              <a:gd name="connsiteX4" fmla="*/ 1076325 w 1216025"/>
              <a:gd name="connsiteY4" fmla="*/ 2152650 h 2263775"/>
              <a:gd name="connsiteX5" fmla="*/ 1035050 w 1216025"/>
              <a:gd name="connsiteY5" fmla="*/ 2149475 h 2263775"/>
              <a:gd name="connsiteX6" fmla="*/ 1000125 w 1216025"/>
              <a:gd name="connsiteY6" fmla="*/ 2130425 h 2263775"/>
              <a:gd name="connsiteX7" fmla="*/ 971550 w 1216025"/>
              <a:gd name="connsiteY7" fmla="*/ 2143125 h 2263775"/>
              <a:gd name="connsiteX8" fmla="*/ 920750 w 1216025"/>
              <a:gd name="connsiteY8" fmla="*/ 2130425 h 2263775"/>
              <a:gd name="connsiteX9" fmla="*/ 885825 w 1216025"/>
              <a:gd name="connsiteY9" fmla="*/ 2117725 h 2263775"/>
              <a:gd name="connsiteX10" fmla="*/ 869950 w 1216025"/>
              <a:gd name="connsiteY10" fmla="*/ 2111375 h 2263775"/>
              <a:gd name="connsiteX11" fmla="*/ 809625 w 1216025"/>
              <a:gd name="connsiteY11" fmla="*/ 2117725 h 2263775"/>
              <a:gd name="connsiteX12" fmla="*/ 755650 w 1216025"/>
              <a:gd name="connsiteY12" fmla="*/ 2073275 h 2263775"/>
              <a:gd name="connsiteX13" fmla="*/ 723900 w 1216025"/>
              <a:gd name="connsiteY13" fmla="*/ 2051050 h 2263775"/>
              <a:gd name="connsiteX14" fmla="*/ 688975 w 1216025"/>
              <a:gd name="connsiteY14" fmla="*/ 2038350 h 2263775"/>
              <a:gd name="connsiteX15" fmla="*/ 663575 w 1216025"/>
              <a:gd name="connsiteY15" fmla="*/ 2003425 h 2263775"/>
              <a:gd name="connsiteX16" fmla="*/ 615950 w 1216025"/>
              <a:gd name="connsiteY16" fmla="*/ 1990725 h 2263775"/>
              <a:gd name="connsiteX17" fmla="*/ 577850 w 1216025"/>
              <a:gd name="connsiteY17" fmla="*/ 1968500 h 2263775"/>
              <a:gd name="connsiteX18" fmla="*/ 542925 w 1216025"/>
              <a:gd name="connsiteY18" fmla="*/ 1971675 h 2263775"/>
              <a:gd name="connsiteX19" fmla="*/ 527050 w 1216025"/>
              <a:gd name="connsiteY19" fmla="*/ 1949450 h 2263775"/>
              <a:gd name="connsiteX20" fmla="*/ 482600 w 1216025"/>
              <a:gd name="connsiteY20" fmla="*/ 1936750 h 2263775"/>
              <a:gd name="connsiteX21" fmla="*/ 457200 w 1216025"/>
              <a:gd name="connsiteY21" fmla="*/ 1943100 h 2263775"/>
              <a:gd name="connsiteX22" fmla="*/ 409575 w 1216025"/>
              <a:gd name="connsiteY22" fmla="*/ 1936750 h 2263775"/>
              <a:gd name="connsiteX23" fmla="*/ 365125 w 1216025"/>
              <a:gd name="connsiteY23" fmla="*/ 1952625 h 2263775"/>
              <a:gd name="connsiteX24" fmla="*/ 298450 w 1216025"/>
              <a:gd name="connsiteY24" fmla="*/ 1946275 h 2263775"/>
              <a:gd name="connsiteX25" fmla="*/ 298450 w 1216025"/>
              <a:gd name="connsiteY25" fmla="*/ 1946275 h 2263775"/>
              <a:gd name="connsiteX26" fmla="*/ 244475 w 1216025"/>
              <a:gd name="connsiteY26" fmla="*/ 1952625 h 2263775"/>
              <a:gd name="connsiteX27" fmla="*/ 257175 w 1216025"/>
              <a:gd name="connsiteY27" fmla="*/ 1927225 h 2263775"/>
              <a:gd name="connsiteX28" fmla="*/ 234950 w 1216025"/>
              <a:gd name="connsiteY28" fmla="*/ 1917700 h 2263775"/>
              <a:gd name="connsiteX29" fmla="*/ 254000 w 1216025"/>
              <a:gd name="connsiteY29" fmla="*/ 1857375 h 2263775"/>
              <a:gd name="connsiteX30" fmla="*/ 228600 w 1216025"/>
              <a:gd name="connsiteY30" fmla="*/ 1803400 h 2263775"/>
              <a:gd name="connsiteX31" fmla="*/ 184150 w 1216025"/>
              <a:gd name="connsiteY31" fmla="*/ 1762125 h 2263775"/>
              <a:gd name="connsiteX32" fmla="*/ 139700 w 1216025"/>
              <a:gd name="connsiteY32" fmla="*/ 1739900 h 2263775"/>
              <a:gd name="connsiteX33" fmla="*/ 95250 w 1216025"/>
              <a:gd name="connsiteY33" fmla="*/ 1803400 h 2263775"/>
              <a:gd name="connsiteX34" fmla="*/ 38100 w 1216025"/>
              <a:gd name="connsiteY34" fmla="*/ 1860550 h 2263775"/>
              <a:gd name="connsiteX35" fmla="*/ 0 w 1216025"/>
              <a:gd name="connsiteY35" fmla="*/ 1870075 h 2263775"/>
              <a:gd name="connsiteX36" fmla="*/ 307975 w 1216025"/>
              <a:gd name="connsiteY36" fmla="*/ 869950 h 2263775"/>
              <a:gd name="connsiteX37" fmla="*/ 320675 w 1216025"/>
              <a:gd name="connsiteY37" fmla="*/ 806450 h 2263775"/>
              <a:gd name="connsiteX38" fmla="*/ 301625 w 1216025"/>
              <a:gd name="connsiteY38" fmla="*/ 765175 h 2263775"/>
              <a:gd name="connsiteX39" fmla="*/ 327025 w 1216025"/>
              <a:gd name="connsiteY39" fmla="*/ 739775 h 2263775"/>
              <a:gd name="connsiteX40" fmla="*/ 355600 w 1216025"/>
              <a:gd name="connsiteY40" fmla="*/ 692150 h 2263775"/>
              <a:gd name="connsiteX41" fmla="*/ 384175 w 1216025"/>
              <a:gd name="connsiteY41" fmla="*/ 701675 h 2263775"/>
              <a:gd name="connsiteX42" fmla="*/ 457200 w 1216025"/>
              <a:gd name="connsiteY42" fmla="*/ 660400 h 2263775"/>
              <a:gd name="connsiteX43" fmla="*/ 473075 w 1216025"/>
              <a:gd name="connsiteY43" fmla="*/ 603250 h 2263775"/>
              <a:gd name="connsiteX44" fmla="*/ 485775 w 1216025"/>
              <a:gd name="connsiteY44" fmla="*/ 546100 h 2263775"/>
              <a:gd name="connsiteX45" fmla="*/ 520700 w 1216025"/>
              <a:gd name="connsiteY45" fmla="*/ 482600 h 2263775"/>
              <a:gd name="connsiteX46" fmla="*/ 587375 w 1216025"/>
              <a:gd name="connsiteY46" fmla="*/ 444500 h 2263775"/>
              <a:gd name="connsiteX47" fmla="*/ 625475 w 1216025"/>
              <a:gd name="connsiteY47" fmla="*/ 428625 h 2263775"/>
              <a:gd name="connsiteX48" fmla="*/ 641350 w 1216025"/>
              <a:gd name="connsiteY48" fmla="*/ 390525 h 2263775"/>
              <a:gd name="connsiteX49" fmla="*/ 650875 w 1216025"/>
              <a:gd name="connsiteY49" fmla="*/ 352425 h 2263775"/>
              <a:gd name="connsiteX50" fmla="*/ 701675 w 1216025"/>
              <a:gd name="connsiteY50" fmla="*/ 320675 h 2263775"/>
              <a:gd name="connsiteX51" fmla="*/ 698500 w 1216025"/>
              <a:gd name="connsiteY51" fmla="*/ 276225 h 2263775"/>
              <a:gd name="connsiteX52" fmla="*/ 739775 w 1216025"/>
              <a:gd name="connsiteY52" fmla="*/ 222250 h 2263775"/>
              <a:gd name="connsiteX53" fmla="*/ 768350 w 1216025"/>
              <a:gd name="connsiteY53" fmla="*/ 171450 h 2263775"/>
              <a:gd name="connsiteX54" fmla="*/ 739775 w 1216025"/>
              <a:gd name="connsiteY54" fmla="*/ 104775 h 2263775"/>
              <a:gd name="connsiteX55" fmla="*/ 717550 w 1216025"/>
              <a:gd name="connsiteY55" fmla="*/ 57150 h 2263775"/>
              <a:gd name="connsiteX56" fmla="*/ 742950 w 1216025"/>
              <a:gd name="connsiteY56" fmla="*/ 0 h 2263775"/>
              <a:gd name="connsiteX0" fmla="*/ 1177925 w 1177925"/>
              <a:gd name="connsiteY0" fmla="*/ 2263775 h 2263775"/>
              <a:gd name="connsiteX1" fmla="*/ 1162050 w 1177925"/>
              <a:gd name="connsiteY1" fmla="*/ 2206625 h 2263775"/>
              <a:gd name="connsiteX2" fmla="*/ 1130300 w 1177925"/>
              <a:gd name="connsiteY2" fmla="*/ 2162175 h 2263775"/>
              <a:gd name="connsiteX3" fmla="*/ 1092200 w 1177925"/>
              <a:gd name="connsiteY3" fmla="*/ 2149475 h 2263775"/>
              <a:gd name="connsiteX4" fmla="*/ 1038225 w 1177925"/>
              <a:gd name="connsiteY4" fmla="*/ 2152650 h 2263775"/>
              <a:gd name="connsiteX5" fmla="*/ 996950 w 1177925"/>
              <a:gd name="connsiteY5" fmla="*/ 2149475 h 2263775"/>
              <a:gd name="connsiteX6" fmla="*/ 962025 w 1177925"/>
              <a:gd name="connsiteY6" fmla="*/ 2130425 h 2263775"/>
              <a:gd name="connsiteX7" fmla="*/ 933450 w 1177925"/>
              <a:gd name="connsiteY7" fmla="*/ 2143125 h 2263775"/>
              <a:gd name="connsiteX8" fmla="*/ 882650 w 1177925"/>
              <a:gd name="connsiteY8" fmla="*/ 2130425 h 2263775"/>
              <a:gd name="connsiteX9" fmla="*/ 847725 w 1177925"/>
              <a:gd name="connsiteY9" fmla="*/ 2117725 h 2263775"/>
              <a:gd name="connsiteX10" fmla="*/ 831850 w 1177925"/>
              <a:gd name="connsiteY10" fmla="*/ 2111375 h 2263775"/>
              <a:gd name="connsiteX11" fmla="*/ 771525 w 1177925"/>
              <a:gd name="connsiteY11" fmla="*/ 2117725 h 2263775"/>
              <a:gd name="connsiteX12" fmla="*/ 717550 w 1177925"/>
              <a:gd name="connsiteY12" fmla="*/ 2073275 h 2263775"/>
              <a:gd name="connsiteX13" fmla="*/ 685800 w 1177925"/>
              <a:gd name="connsiteY13" fmla="*/ 2051050 h 2263775"/>
              <a:gd name="connsiteX14" fmla="*/ 650875 w 1177925"/>
              <a:gd name="connsiteY14" fmla="*/ 2038350 h 2263775"/>
              <a:gd name="connsiteX15" fmla="*/ 625475 w 1177925"/>
              <a:gd name="connsiteY15" fmla="*/ 2003425 h 2263775"/>
              <a:gd name="connsiteX16" fmla="*/ 577850 w 1177925"/>
              <a:gd name="connsiteY16" fmla="*/ 1990725 h 2263775"/>
              <a:gd name="connsiteX17" fmla="*/ 539750 w 1177925"/>
              <a:gd name="connsiteY17" fmla="*/ 1968500 h 2263775"/>
              <a:gd name="connsiteX18" fmla="*/ 504825 w 1177925"/>
              <a:gd name="connsiteY18" fmla="*/ 1971675 h 2263775"/>
              <a:gd name="connsiteX19" fmla="*/ 488950 w 1177925"/>
              <a:gd name="connsiteY19" fmla="*/ 1949450 h 2263775"/>
              <a:gd name="connsiteX20" fmla="*/ 444500 w 1177925"/>
              <a:gd name="connsiteY20" fmla="*/ 1936750 h 2263775"/>
              <a:gd name="connsiteX21" fmla="*/ 419100 w 1177925"/>
              <a:gd name="connsiteY21" fmla="*/ 1943100 h 2263775"/>
              <a:gd name="connsiteX22" fmla="*/ 371475 w 1177925"/>
              <a:gd name="connsiteY22" fmla="*/ 1936750 h 2263775"/>
              <a:gd name="connsiteX23" fmla="*/ 327025 w 1177925"/>
              <a:gd name="connsiteY23" fmla="*/ 1952625 h 2263775"/>
              <a:gd name="connsiteX24" fmla="*/ 260350 w 1177925"/>
              <a:gd name="connsiteY24" fmla="*/ 1946275 h 2263775"/>
              <a:gd name="connsiteX25" fmla="*/ 260350 w 1177925"/>
              <a:gd name="connsiteY25" fmla="*/ 1946275 h 2263775"/>
              <a:gd name="connsiteX26" fmla="*/ 206375 w 1177925"/>
              <a:gd name="connsiteY26" fmla="*/ 1952625 h 2263775"/>
              <a:gd name="connsiteX27" fmla="*/ 219075 w 1177925"/>
              <a:gd name="connsiteY27" fmla="*/ 1927225 h 2263775"/>
              <a:gd name="connsiteX28" fmla="*/ 196850 w 1177925"/>
              <a:gd name="connsiteY28" fmla="*/ 1917700 h 2263775"/>
              <a:gd name="connsiteX29" fmla="*/ 215900 w 1177925"/>
              <a:gd name="connsiteY29" fmla="*/ 1857375 h 2263775"/>
              <a:gd name="connsiteX30" fmla="*/ 190500 w 1177925"/>
              <a:gd name="connsiteY30" fmla="*/ 1803400 h 2263775"/>
              <a:gd name="connsiteX31" fmla="*/ 146050 w 1177925"/>
              <a:gd name="connsiteY31" fmla="*/ 1762125 h 2263775"/>
              <a:gd name="connsiteX32" fmla="*/ 101600 w 1177925"/>
              <a:gd name="connsiteY32" fmla="*/ 1739900 h 2263775"/>
              <a:gd name="connsiteX33" fmla="*/ 57150 w 1177925"/>
              <a:gd name="connsiteY33" fmla="*/ 1803400 h 2263775"/>
              <a:gd name="connsiteX34" fmla="*/ 0 w 1177925"/>
              <a:gd name="connsiteY34" fmla="*/ 1860550 h 2263775"/>
              <a:gd name="connsiteX35" fmla="*/ 269875 w 1177925"/>
              <a:gd name="connsiteY35" fmla="*/ 869950 h 2263775"/>
              <a:gd name="connsiteX36" fmla="*/ 282575 w 1177925"/>
              <a:gd name="connsiteY36" fmla="*/ 806450 h 2263775"/>
              <a:gd name="connsiteX37" fmla="*/ 263525 w 1177925"/>
              <a:gd name="connsiteY37" fmla="*/ 765175 h 2263775"/>
              <a:gd name="connsiteX38" fmla="*/ 288925 w 1177925"/>
              <a:gd name="connsiteY38" fmla="*/ 739775 h 2263775"/>
              <a:gd name="connsiteX39" fmla="*/ 317500 w 1177925"/>
              <a:gd name="connsiteY39" fmla="*/ 692150 h 2263775"/>
              <a:gd name="connsiteX40" fmla="*/ 346075 w 1177925"/>
              <a:gd name="connsiteY40" fmla="*/ 701675 h 2263775"/>
              <a:gd name="connsiteX41" fmla="*/ 419100 w 1177925"/>
              <a:gd name="connsiteY41" fmla="*/ 660400 h 2263775"/>
              <a:gd name="connsiteX42" fmla="*/ 434975 w 1177925"/>
              <a:gd name="connsiteY42" fmla="*/ 603250 h 2263775"/>
              <a:gd name="connsiteX43" fmla="*/ 447675 w 1177925"/>
              <a:gd name="connsiteY43" fmla="*/ 546100 h 2263775"/>
              <a:gd name="connsiteX44" fmla="*/ 482600 w 1177925"/>
              <a:gd name="connsiteY44" fmla="*/ 482600 h 2263775"/>
              <a:gd name="connsiteX45" fmla="*/ 549275 w 1177925"/>
              <a:gd name="connsiteY45" fmla="*/ 444500 h 2263775"/>
              <a:gd name="connsiteX46" fmla="*/ 587375 w 1177925"/>
              <a:gd name="connsiteY46" fmla="*/ 428625 h 2263775"/>
              <a:gd name="connsiteX47" fmla="*/ 603250 w 1177925"/>
              <a:gd name="connsiteY47" fmla="*/ 390525 h 2263775"/>
              <a:gd name="connsiteX48" fmla="*/ 612775 w 1177925"/>
              <a:gd name="connsiteY48" fmla="*/ 352425 h 2263775"/>
              <a:gd name="connsiteX49" fmla="*/ 663575 w 1177925"/>
              <a:gd name="connsiteY49" fmla="*/ 320675 h 2263775"/>
              <a:gd name="connsiteX50" fmla="*/ 660400 w 1177925"/>
              <a:gd name="connsiteY50" fmla="*/ 276225 h 2263775"/>
              <a:gd name="connsiteX51" fmla="*/ 701675 w 1177925"/>
              <a:gd name="connsiteY51" fmla="*/ 222250 h 2263775"/>
              <a:gd name="connsiteX52" fmla="*/ 730250 w 1177925"/>
              <a:gd name="connsiteY52" fmla="*/ 171450 h 2263775"/>
              <a:gd name="connsiteX53" fmla="*/ 701675 w 1177925"/>
              <a:gd name="connsiteY53" fmla="*/ 104775 h 2263775"/>
              <a:gd name="connsiteX54" fmla="*/ 679450 w 1177925"/>
              <a:gd name="connsiteY54" fmla="*/ 57150 h 2263775"/>
              <a:gd name="connsiteX55" fmla="*/ 704850 w 1177925"/>
              <a:gd name="connsiteY55" fmla="*/ 0 h 2263775"/>
              <a:gd name="connsiteX0" fmla="*/ 1120775 w 1120775"/>
              <a:gd name="connsiteY0" fmla="*/ 2263775 h 2263775"/>
              <a:gd name="connsiteX1" fmla="*/ 1104900 w 1120775"/>
              <a:gd name="connsiteY1" fmla="*/ 2206625 h 2263775"/>
              <a:gd name="connsiteX2" fmla="*/ 1073150 w 1120775"/>
              <a:gd name="connsiteY2" fmla="*/ 2162175 h 2263775"/>
              <a:gd name="connsiteX3" fmla="*/ 1035050 w 1120775"/>
              <a:gd name="connsiteY3" fmla="*/ 2149475 h 2263775"/>
              <a:gd name="connsiteX4" fmla="*/ 981075 w 1120775"/>
              <a:gd name="connsiteY4" fmla="*/ 2152650 h 2263775"/>
              <a:gd name="connsiteX5" fmla="*/ 939800 w 1120775"/>
              <a:gd name="connsiteY5" fmla="*/ 2149475 h 2263775"/>
              <a:gd name="connsiteX6" fmla="*/ 904875 w 1120775"/>
              <a:gd name="connsiteY6" fmla="*/ 2130425 h 2263775"/>
              <a:gd name="connsiteX7" fmla="*/ 876300 w 1120775"/>
              <a:gd name="connsiteY7" fmla="*/ 2143125 h 2263775"/>
              <a:gd name="connsiteX8" fmla="*/ 825500 w 1120775"/>
              <a:gd name="connsiteY8" fmla="*/ 2130425 h 2263775"/>
              <a:gd name="connsiteX9" fmla="*/ 790575 w 1120775"/>
              <a:gd name="connsiteY9" fmla="*/ 2117725 h 2263775"/>
              <a:gd name="connsiteX10" fmla="*/ 774700 w 1120775"/>
              <a:gd name="connsiteY10" fmla="*/ 2111375 h 2263775"/>
              <a:gd name="connsiteX11" fmla="*/ 714375 w 1120775"/>
              <a:gd name="connsiteY11" fmla="*/ 2117725 h 2263775"/>
              <a:gd name="connsiteX12" fmla="*/ 660400 w 1120775"/>
              <a:gd name="connsiteY12" fmla="*/ 2073275 h 2263775"/>
              <a:gd name="connsiteX13" fmla="*/ 628650 w 1120775"/>
              <a:gd name="connsiteY13" fmla="*/ 2051050 h 2263775"/>
              <a:gd name="connsiteX14" fmla="*/ 593725 w 1120775"/>
              <a:gd name="connsiteY14" fmla="*/ 2038350 h 2263775"/>
              <a:gd name="connsiteX15" fmla="*/ 568325 w 1120775"/>
              <a:gd name="connsiteY15" fmla="*/ 2003425 h 2263775"/>
              <a:gd name="connsiteX16" fmla="*/ 520700 w 1120775"/>
              <a:gd name="connsiteY16" fmla="*/ 1990725 h 2263775"/>
              <a:gd name="connsiteX17" fmla="*/ 482600 w 1120775"/>
              <a:gd name="connsiteY17" fmla="*/ 1968500 h 2263775"/>
              <a:gd name="connsiteX18" fmla="*/ 447675 w 1120775"/>
              <a:gd name="connsiteY18" fmla="*/ 1971675 h 2263775"/>
              <a:gd name="connsiteX19" fmla="*/ 431800 w 1120775"/>
              <a:gd name="connsiteY19" fmla="*/ 1949450 h 2263775"/>
              <a:gd name="connsiteX20" fmla="*/ 387350 w 1120775"/>
              <a:gd name="connsiteY20" fmla="*/ 1936750 h 2263775"/>
              <a:gd name="connsiteX21" fmla="*/ 361950 w 1120775"/>
              <a:gd name="connsiteY21" fmla="*/ 1943100 h 2263775"/>
              <a:gd name="connsiteX22" fmla="*/ 314325 w 1120775"/>
              <a:gd name="connsiteY22" fmla="*/ 1936750 h 2263775"/>
              <a:gd name="connsiteX23" fmla="*/ 269875 w 1120775"/>
              <a:gd name="connsiteY23" fmla="*/ 1952625 h 2263775"/>
              <a:gd name="connsiteX24" fmla="*/ 203200 w 1120775"/>
              <a:gd name="connsiteY24" fmla="*/ 1946275 h 2263775"/>
              <a:gd name="connsiteX25" fmla="*/ 203200 w 1120775"/>
              <a:gd name="connsiteY25" fmla="*/ 1946275 h 2263775"/>
              <a:gd name="connsiteX26" fmla="*/ 149225 w 1120775"/>
              <a:gd name="connsiteY26" fmla="*/ 1952625 h 2263775"/>
              <a:gd name="connsiteX27" fmla="*/ 161925 w 1120775"/>
              <a:gd name="connsiteY27" fmla="*/ 1927225 h 2263775"/>
              <a:gd name="connsiteX28" fmla="*/ 139700 w 1120775"/>
              <a:gd name="connsiteY28" fmla="*/ 1917700 h 2263775"/>
              <a:gd name="connsiteX29" fmla="*/ 158750 w 1120775"/>
              <a:gd name="connsiteY29" fmla="*/ 1857375 h 2263775"/>
              <a:gd name="connsiteX30" fmla="*/ 133350 w 1120775"/>
              <a:gd name="connsiteY30" fmla="*/ 1803400 h 2263775"/>
              <a:gd name="connsiteX31" fmla="*/ 88900 w 1120775"/>
              <a:gd name="connsiteY31" fmla="*/ 1762125 h 2263775"/>
              <a:gd name="connsiteX32" fmla="*/ 44450 w 1120775"/>
              <a:gd name="connsiteY32" fmla="*/ 1739900 h 2263775"/>
              <a:gd name="connsiteX33" fmla="*/ 0 w 1120775"/>
              <a:gd name="connsiteY33" fmla="*/ 1803400 h 2263775"/>
              <a:gd name="connsiteX34" fmla="*/ 212725 w 1120775"/>
              <a:gd name="connsiteY34" fmla="*/ 869950 h 2263775"/>
              <a:gd name="connsiteX35" fmla="*/ 225425 w 1120775"/>
              <a:gd name="connsiteY35" fmla="*/ 806450 h 2263775"/>
              <a:gd name="connsiteX36" fmla="*/ 206375 w 1120775"/>
              <a:gd name="connsiteY36" fmla="*/ 765175 h 2263775"/>
              <a:gd name="connsiteX37" fmla="*/ 231775 w 1120775"/>
              <a:gd name="connsiteY37" fmla="*/ 739775 h 2263775"/>
              <a:gd name="connsiteX38" fmla="*/ 260350 w 1120775"/>
              <a:gd name="connsiteY38" fmla="*/ 692150 h 2263775"/>
              <a:gd name="connsiteX39" fmla="*/ 288925 w 1120775"/>
              <a:gd name="connsiteY39" fmla="*/ 701675 h 2263775"/>
              <a:gd name="connsiteX40" fmla="*/ 361950 w 1120775"/>
              <a:gd name="connsiteY40" fmla="*/ 660400 h 2263775"/>
              <a:gd name="connsiteX41" fmla="*/ 377825 w 1120775"/>
              <a:gd name="connsiteY41" fmla="*/ 603250 h 2263775"/>
              <a:gd name="connsiteX42" fmla="*/ 390525 w 1120775"/>
              <a:gd name="connsiteY42" fmla="*/ 546100 h 2263775"/>
              <a:gd name="connsiteX43" fmla="*/ 425450 w 1120775"/>
              <a:gd name="connsiteY43" fmla="*/ 482600 h 2263775"/>
              <a:gd name="connsiteX44" fmla="*/ 492125 w 1120775"/>
              <a:gd name="connsiteY44" fmla="*/ 444500 h 2263775"/>
              <a:gd name="connsiteX45" fmla="*/ 530225 w 1120775"/>
              <a:gd name="connsiteY45" fmla="*/ 428625 h 2263775"/>
              <a:gd name="connsiteX46" fmla="*/ 546100 w 1120775"/>
              <a:gd name="connsiteY46" fmla="*/ 390525 h 2263775"/>
              <a:gd name="connsiteX47" fmla="*/ 555625 w 1120775"/>
              <a:gd name="connsiteY47" fmla="*/ 352425 h 2263775"/>
              <a:gd name="connsiteX48" fmla="*/ 606425 w 1120775"/>
              <a:gd name="connsiteY48" fmla="*/ 320675 h 2263775"/>
              <a:gd name="connsiteX49" fmla="*/ 603250 w 1120775"/>
              <a:gd name="connsiteY49" fmla="*/ 276225 h 2263775"/>
              <a:gd name="connsiteX50" fmla="*/ 644525 w 1120775"/>
              <a:gd name="connsiteY50" fmla="*/ 222250 h 2263775"/>
              <a:gd name="connsiteX51" fmla="*/ 673100 w 1120775"/>
              <a:gd name="connsiteY51" fmla="*/ 171450 h 2263775"/>
              <a:gd name="connsiteX52" fmla="*/ 644525 w 1120775"/>
              <a:gd name="connsiteY52" fmla="*/ 104775 h 2263775"/>
              <a:gd name="connsiteX53" fmla="*/ 622300 w 1120775"/>
              <a:gd name="connsiteY53" fmla="*/ 57150 h 2263775"/>
              <a:gd name="connsiteX54" fmla="*/ 647700 w 1120775"/>
              <a:gd name="connsiteY54" fmla="*/ 0 h 2263775"/>
              <a:gd name="connsiteX0" fmla="*/ 1076325 w 1076325"/>
              <a:gd name="connsiteY0" fmla="*/ 2263775 h 2263775"/>
              <a:gd name="connsiteX1" fmla="*/ 1060450 w 1076325"/>
              <a:gd name="connsiteY1" fmla="*/ 2206625 h 2263775"/>
              <a:gd name="connsiteX2" fmla="*/ 1028700 w 1076325"/>
              <a:gd name="connsiteY2" fmla="*/ 2162175 h 2263775"/>
              <a:gd name="connsiteX3" fmla="*/ 990600 w 1076325"/>
              <a:gd name="connsiteY3" fmla="*/ 2149475 h 2263775"/>
              <a:gd name="connsiteX4" fmla="*/ 936625 w 1076325"/>
              <a:gd name="connsiteY4" fmla="*/ 2152650 h 2263775"/>
              <a:gd name="connsiteX5" fmla="*/ 895350 w 1076325"/>
              <a:gd name="connsiteY5" fmla="*/ 2149475 h 2263775"/>
              <a:gd name="connsiteX6" fmla="*/ 860425 w 1076325"/>
              <a:gd name="connsiteY6" fmla="*/ 2130425 h 2263775"/>
              <a:gd name="connsiteX7" fmla="*/ 831850 w 1076325"/>
              <a:gd name="connsiteY7" fmla="*/ 2143125 h 2263775"/>
              <a:gd name="connsiteX8" fmla="*/ 781050 w 1076325"/>
              <a:gd name="connsiteY8" fmla="*/ 2130425 h 2263775"/>
              <a:gd name="connsiteX9" fmla="*/ 746125 w 1076325"/>
              <a:gd name="connsiteY9" fmla="*/ 2117725 h 2263775"/>
              <a:gd name="connsiteX10" fmla="*/ 730250 w 1076325"/>
              <a:gd name="connsiteY10" fmla="*/ 2111375 h 2263775"/>
              <a:gd name="connsiteX11" fmla="*/ 669925 w 1076325"/>
              <a:gd name="connsiteY11" fmla="*/ 2117725 h 2263775"/>
              <a:gd name="connsiteX12" fmla="*/ 615950 w 1076325"/>
              <a:gd name="connsiteY12" fmla="*/ 2073275 h 2263775"/>
              <a:gd name="connsiteX13" fmla="*/ 584200 w 1076325"/>
              <a:gd name="connsiteY13" fmla="*/ 2051050 h 2263775"/>
              <a:gd name="connsiteX14" fmla="*/ 549275 w 1076325"/>
              <a:gd name="connsiteY14" fmla="*/ 2038350 h 2263775"/>
              <a:gd name="connsiteX15" fmla="*/ 523875 w 1076325"/>
              <a:gd name="connsiteY15" fmla="*/ 2003425 h 2263775"/>
              <a:gd name="connsiteX16" fmla="*/ 476250 w 1076325"/>
              <a:gd name="connsiteY16" fmla="*/ 1990725 h 2263775"/>
              <a:gd name="connsiteX17" fmla="*/ 438150 w 1076325"/>
              <a:gd name="connsiteY17" fmla="*/ 1968500 h 2263775"/>
              <a:gd name="connsiteX18" fmla="*/ 403225 w 1076325"/>
              <a:gd name="connsiteY18" fmla="*/ 1971675 h 2263775"/>
              <a:gd name="connsiteX19" fmla="*/ 387350 w 1076325"/>
              <a:gd name="connsiteY19" fmla="*/ 1949450 h 2263775"/>
              <a:gd name="connsiteX20" fmla="*/ 342900 w 1076325"/>
              <a:gd name="connsiteY20" fmla="*/ 1936750 h 2263775"/>
              <a:gd name="connsiteX21" fmla="*/ 317500 w 1076325"/>
              <a:gd name="connsiteY21" fmla="*/ 1943100 h 2263775"/>
              <a:gd name="connsiteX22" fmla="*/ 269875 w 1076325"/>
              <a:gd name="connsiteY22" fmla="*/ 1936750 h 2263775"/>
              <a:gd name="connsiteX23" fmla="*/ 225425 w 1076325"/>
              <a:gd name="connsiteY23" fmla="*/ 1952625 h 2263775"/>
              <a:gd name="connsiteX24" fmla="*/ 158750 w 1076325"/>
              <a:gd name="connsiteY24" fmla="*/ 1946275 h 2263775"/>
              <a:gd name="connsiteX25" fmla="*/ 158750 w 1076325"/>
              <a:gd name="connsiteY25" fmla="*/ 1946275 h 2263775"/>
              <a:gd name="connsiteX26" fmla="*/ 104775 w 1076325"/>
              <a:gd name="connsiteY26" fmla="*/ 1952625 h 2263775"/>
              <a:gd name="connsiteX27" fmla="*/ 117475 w 1076325"/>
              <a:gd name="connsiteY27" fmla="*/ 1927225 h 2263775"/>
              <a:gd name="connsiteX28" fmla="*/ 95250 w 1076325"/>
              <a:gd name="connsiteY28" fmla="*/ 1917700 h 2263775"/>
              <a:gd name="connsiteX29" fmla="*/ 114300 w 1076325"/>
              <a:gd name="connsiteY29" fmla="*/ 1857375 h 2263775"/>
              <a:gd name="connsiteX30" fmla="*/ 88900 w 1076325"/>
              <a:gd name="connsiteY30" fmla="*/ 1803400 h 2263775"/>
              <a:gd name="connsiteX31" fmla="*/ 44450 w 1076325"/>
              <a:gd name="connsiteY31" fmla="*/ 1762125 h 2263775"/>
              <a:gd name="connsiteX32" fmla="*/ 0 w 1076325"/>
              <a:gd name="connsiteY32" fmla="*/ 1739900 h 2263775"/>
              <a:gd name="connsiteX33" fmla="*/ 168275 w 1076325"/>
              <a:gd name="connsiteY33" fmla="*/ 869950 h 2263775"/>
              <a:gd name="connsiteX34" fmla="*/ 180975 w 1076325"/>
              <a:gd name="connsiteY34" fmla="*/ 806450 h 2263775"/>
              <a:gd name="connsiteX35" fmla="*/ 161925 w 1076325"/>
              <a:gd name="connsiteY35" fmla="*/ 765175 h 2263775"/>
              <a:gd name="connsiteX36" fmla="*/ 187325 w 1076325"/>
              <a:gd name="connsiteY36" fmla="*/ 739775 h 2263775"/>
              <a:gd name="connsiteX37" fmla="*/ 215900 w 1076325"/>
              <a:gd name="connsiteY37" fmla="*/ 692150 h 2263775"/>
              <a:gd name="connsiteX38" fmla="*/ 244475 w 1076325"/>
              <a:gd name="connsiteY38" fmla="*/ 701675 h 2263775"/>
              <a:gd name="connsiteX39" fmla="*/ 317500 w 1076325"/>
              <a:gd name="connsiteY39" fmla="*/ 660400 h 2263775"/>
              <a:gd name="connsiteX40" fmla="*/ 333375 w 1076325"/>
              <a:gd name="connsiteY40" fmla="*/ 603250 h 2263775"/>
              <a:gd name="connsiteX41" fmla="*/ 346075 w 1076325"/>
              <a:gd name="connsiteY41" fmla="*/ 546100 h 2263775"/>
              <a:gd name="connsiteX42" fmla="*/ 381000 w 1076325"/>
              <a:gd name="connsiteY42" fmla="*/ 482600 h 2263775"/>
              <a:gd name="connsiteX43" fmla="*/ 447675 w 1076325"/>
              <a:gd name="connsiteY43" fmla="*/ 444500 h 2263775"/>
              <a:gd name="connsiteX44" fmla="*/ 485775 w 1076325"/>
              <a:gd name="connsiteY44" fmla="*/ 428625 h 2263775"/>
              <a:gd name="connsiteX45" fmla="*/ 501650 w 1076325"/>
              <a:gd name="connsiteY45" fmla="*/ 390525 h 2263775"/>
              <a:gd name="connsiteX46" fmla="*/ 511175 w 1076325"/>
              <a:gd name="connsiteY46" fmla="*/ 352425 h 2263775"/>
              <a:gd name="connsiteX47" fmla="*/ 561975 w 1076325"/>
              <a:gd name="connsiteY47" fmla="*/ 320675 h 2263775"/>
              <a:gd name="connsiteX48" fmla="*/ 558800 w 1076325"/>
              <a:gd name="connsiteY48" fmla="*/ 276225 h 2263775"/>
              <a:gd name="connsiteX49" fmla="*/ 600075 w 1076325"/>
              <a:gd name="connsiteY49" fmla="*/ 222250 h 2263775"/>
              <a:gd name="connsiteX50" fmla="*/ 628650 w 1076325"/>
              <a:gd name="connsiteY50" fmla="*/ 171450 h 2263775"/>
              <a:gd name="connsiteX51" fmla="*/ 600075 w 1076325"/>
              <a:gd name="connsiteY51" fmla="*/ 104775 h 2263775"/>
              <a:gd name="connsiteX52" fmla="*/ 577850 w 1076325"/>
              <a:gd name="connsiteY52" fmla="*/ 57150 h 2263775"/>
              <a:gd name="connsiteX53" fmla="*/ 603250 w 1076325"/>
              <a:gd name="connsiteY53" fmla="*/ 0 h 2263775"/>
              <a:gd name="connsiteX0" fmla="*/ 1031875 w 1031875"/>
              <a:gd name="connsiteY0" fmla="*/ 2263775 h 2263775"/>
              <a:gd name="connsiteX1" fmla="*/ 1016000 w 1031875"/>
              <a:gd name="connsiteY1" fmla="*/ 2206625 h 2263775"/>
              <a:gd name="connsiteX2" fmla="*/ 984250 w 1031875"/>
              <a:gd name="connsiteY2" fmla="*/ 2162175 h 2263775"/>
              <a:gd name="connsiteX3" fmla="*/ 946150 w 1031875"/>
              <a:gd name="connsiteY3" fmla="*/ 2149475 h 2263775"/>
              <a:gd name="connsiteX4" fmla="*/ 892175 w 1031875"/>
              <a:gd name="connsiteY4" fmla="*/ 2152650 h 2263775"/>
              <a:gd name="connsiteX5" fmla="*/ 850900 w 1031875"/>
              <a:gd name="connsiteY5" fmla="*/ 2149475 h 2263775"/>
              <a:gd name="connsiteX6" fmla="*/ 815975 w 1031875"/>
              <a:gd name="connsiteY6" fmla="*/ 2130425 h 2263775"/>
              <a:gd name="connsiteX7" fmla="*/ 787400 w 1031875"/>
              <a:gd name="connsiteY7" fmla="*/ 2143125 h 2263775"/>
              <a:gd name="connsiteX8" fmla="*/ 736600 w 1031875"/>
              <a:gd name="connsiteY8" fmla="*/ 2130425 h 2263775"/>
              <a:gd name="connsiteX9" fmla="*/ 701675 w 1031875"/>
              <a:gd name="connsiteY9" fmla="*/ 2117725 h 2263775"/>
              <a:gd name="connsiteX10" fmla="*/ 685800 w 1031875"/>
              <a:gd name="connsiteY10" fmla="*/ 2111375 h 2263775"/>
              <a:gd name="connsiteX11" fmla="*/ 625475 w 1031875"/>
              <a:gd name="connsiteY11" fmla="*/ 2117725 h 2263775"/>
              <a:gd name="connsiteX12" fmla="*/ 571500 w 1031875"/>
              <a:gd name="connsiteY12" fmla="*/ 2073275 h 2263775"/>
              <a:gd name="connsiteX13" fmla="*/ 539750 w 1031875"/>
              <a:gd name="connsiteY13" fmla="*/ 2051050 h 2263775"/>
              <a:gd name="connsiteX14" fmla="*/ 504825 w 1031875"/>
              <a:gd name="connsiteY14" fmla="*/ 2038350 h 2263775"/>
              <a:gd name="connsiteX15" fmla="*/ 479425 w 1031875"/>
              <a:gd name="connsiteY15" fmla="*/ 2003425 h 2263775"/>
              <a:gd name="connsiteX16" fmla="*/ 431800 w 1031875"/>
              <a:gd name="connsiteY16" fmla="*/ 1990725 h 2263775"/>
              <a:gd name="connsiteX17" fmla="*/ 393700 w 1031875"/>
              <a:gd name="connsiteY17" fmla="*/ 1968500 h 2263775"/>
              <a:gd name="connsiteX18" fmla="*/ 358775 w 1031875"/>
              <a:gd name="connsiteY18" fmla="*/ 1971675 h 2263775"/>
              <a:gd name="connsiteX19" fmla="*/ 342900 w 1031875"/>
              <a:gd name="connsiteY19" fmla="*/ 1949450 h 2263775"/>
              <a:gd name="connsiteX20" fmla="*/ 298450 w 1031875"/>
              <a:gd name="connsiteY20" fmla="*/ 1936750 h 2263775"/>
              <a:gd name="connsiteX21" fmla="*/ 273050 w 1031875"/>
              <a:gd name="connsiteY21" fmla="*/ 1943100 h 2263775"/>
              <a:gd name="connsiteX22" fmla="*/ 225425 w 1031875"/>
              <a:gd name="connsiteY22" fmla="*/ 1936750 h 2263775"/>
              <a:gd name="connsiteX23" fmla="*/ 180975 w 1031875"/>
              <a:gd name="connsiteY23" fmla="*/ 1952625 h 2263775"/>
              <a:gd name="connsiteX24" fmla="*/ 114300 w 1031875"/>
              <a:gd name="connsiteY24" fmla="*/ 1946275 h 2263775"/>
              <a:gd name="connsiteX25" fmla="*/ 114300 w 1031875"/>
              <a:gd name="connsiteY25" fmla="*/ 1946275 h 2263775"/>
              <a:gd name="connsiteX26" fmla="*/ 60325 w 1031875"/>
              <a:gd name="connsiteY26" fmla="*/ 1952625 h 2263775"/>
              <a:gd name="connsiteX27" fmla="*/ 73025 w 1031875"/>
              <a:gd name="connsiteY27" fmla="*/ 1927225 h 2263775"/>
              <a:gd name="connsiteX28" fmla="*/ 50800 w 1031875"/>
              <a:gd name="connsiteY28" fmla="*/ 1917700 h 2263775"/>
              <a:gd name="connsiteX29" fmla="*/ 69850 w 1031875"/>
              <a:gd name="connsiteY29" fmla="*/ 1857375 h 2263775"/>
              <a:gd name="connsiteX30" fmla="*/ 44450 w 1031875"/>
              <a:gd name="connsiteY30" fmla="*/ 1803400 h 2263775"/>
              <a:gd name="connsiteX31" fmla="*/ 0 w 1031875"/>
              <a:gd name="connsiteY31" fmla="*/ 1762125 h 2263775"/>
              <a:gd name="connsiteX32" fmla="*/ 123825 w 1031875"/>
              <a:gd name="connsiteY32" fmla="*/ 869950 h 2263775"/>
              <a:gd name="connsiteX33" fmla="*/ 136525 w 1031875"/>
              <a:gd name="connsiteY33" fmla="*/ 806450 h 2263775"/>
              <a:gd name="connsiteX34" fmla="*/ 117475 w 1031875"/>
              <a:gd name="connsiteY34" fmla="*/ 765175 h 2263775"/>
              <a:gd name="connsiteX35" fmla="*/ 142875 w 1031875"/>
              <a:gd name="connsiteY35" fmla="*/ 739775 h 2263775"/>
              <a:gd name="connsiteX36" fmla="*/ 171450 w 1031875"/>
              <a:gd name="connsiteY36" fmla="*/ 692150 h 2263775"/>
              <a:gd name="connsiteX37" fmla="*/ 200025 w 1031875"/>
              <a:gd name="connsiteY37" fmla="*/ 701675 h 2263775"/>
              <a:gd name="connsiteX38" fmla="*/ 273050 w 1031875"/>
              <a:gd name="connsiteY38" fmla="*/ 660400 h 2263775"/>
              <a:gd name="connsiteX39" fmla="*/ 288925 w 1031875"/>
              <a:gd name="connsiteY39" fmla="*/ 603250 h 2263775"/>
              <a:gd name="connsiteX40" fmla="*/ 301625 w 1031875"/>
              <a:gd name="connsiteY40" fmla="*/ 546100 h 2263775"/>
              <a:gd name="connsiteX41" fmla="*/ 336550 w 1031875"/>
              <a:gd name="connsiteY41" fmla="*/ 482600 h 2263775"/>
              <a:gd name="connsiteX42" fmla="*/ 403225 w 1031875"/>
              <a:gd name="connsiteY42" fmla="*/ 444500 h 2263775"/>
              <a:gd name="connsiteX43" fmla="*/ 441325 w 1031875"/>
              <a:gd name="connsiteY43" fmla="*/ 428625 h 2263775"/>
              <a:gd name="connsiteX44" fmla="*/ 457200 w 1031875"/>
              <a:gd name="connsiteY44" fmla="*/ 390525 h 2263775"/>
              <a:gd name="connsiteX45" fmla="*/ 466725 w 1031875"/>
              <a:gd name="connsiteY45" fmla="*/ 352425 h 2263775"/>
              <a:gd name="connsiteX46" fmla="*/ 517525 w 1031875"/>
              <a:gd name="connsiteY46" fmla="*/ 320675 h 2263775"/>
              <a:gd name="connsiteX47" fmla="*/ 514350 w 1031875"/>
              <a:gd name="connsiteY47" fmla="*/ 276225 h 2263775"/>
              <a:gd name="connsiteX48" fmla="*/ 555625 w 1031875"/>
              <a:gd name="connsiteY48" fmla="*/ 222250 h 2263775"/>
              <a:gd name="connsiteX49" fmla="*/ 584200 w 1031875"/>
              <a:gd name="connsiteY49" fmla="*/ 171450 h 2263775"/>
              <a:gd name="connsiteX50" fmla="*/ 555625 w 1031875"/>
              <a:gd name="connsiteY50" fmla="*/ 104775 h 2263775"/>
              <a:gd name="connsiteX51" fmla="*/ 533400 w 1031875"/>
              <a:gd name="connsiteY51" fmla="*/ 57150 h 2263775"/>
              <a:gd name="connsiteX52" fmla="*/ 558800 w 1031875"/>
              <a:gd name="connsiteY52" fmla="*/ 0 h 2263775"/>
              <a:gd name="connsiteX0" fmla="*/ 987425 w 987425"/>
              <a:gd name="connsiteY0" fmla="*/ 2263775 h 2263775"/>
              <a:gd name="connsiteX1" fmla="*/ 971550 w 987425"/>
              <a:gd name="connsiteY1" fmla="*/ 2206625 h 2263775"/>
              <a:gd name="connsiteX2" fmla="*/ 939800 w 987425"/>
              <a:gd name="connsiteY2" fmla="*/ 2162175 h 2263775"/>
              <a:gd name="connsiteX3" fmla="*/ 901700 w 987425"/>
              <a:gd name="connsiteY3" fmla="*/ 2149475 h 2263775"/>
              <a:gd name="connsiteX4" fmla="*/ 847725 w 987425"/>
              <a:gd name="connsiteY4" fmla="*/ 2152650 h 2263775"/>
              <a:gd name="connsiteX5" fmla="*/ 806450 w 987425"/>
              <a:gd name="connsiteY5" fmla="*/ 2149475 h 2263775"/>
              <a:gd name="connsiteX6" fmla="*/ 771525 w 987425"/>
              <a:gd name="connsiteY6" fmla="*/ 2130425 h 2263775"/>
              <a:gd name="connsiteX7" fmla="*/ 742950 w 987425"/>
              <a:gd name="connsiteY7" fmla="*/ 2143125 h 2263775"/>
              <a:gd name="connsiteX8" fmla="*/ 692150 w 987425"/>
              <a:gd name="connsiteY8" fmla="*/ 2130425 h 2263775"/>
              <a:gd name="connsiteX9" fmla="*/ 657225 w 987425"/>
              <a:gd name="connsiteY9" fmla="*/ 2117725 h 2263775"/>
              <a:gd name="connsiteX10" fmla="*/ 641350 w 987425"/>
              <a:gd name="connsiteY10" fmla="*/ 2111375 h 2263775"/>
              <a:gd name="connsiteX11" fmla="*/ 581025 w 987425"/>
              <a:gd name="connsiteY11" fmla="*/ 2117725 h 2263775"/>
              <a:gd name="connsiteX12" fmla="*/ 527050 w 987425"/>
              <a:gd name="connsiteY12" fmla="*/ 2073275 h 2263775"/>
              <a:gd name="connsiteX13" fmla="*/ 495300 w 987425"/>
              <a:gd name="connsiteY13" fmla="*/ 2051050 h 2263775"/>
              <a:gd name="connsiteX14" fmla="*/ 460375 w 987425"/>
              <a:gd name="connsiteY14" fmla="*/ 2038350 h 2263775"/>
              <a:gd name="connsiteX15" fmla="*/ 434975 w 987425"/>
              <a:gd name="connsiteY15" fmla="*/ 2003425 h 2263775"/>
              <a:gd name="connsiteX16" fmla="*/ 387350 w 987425"/>
              <a:gd name="connsiteY16" fmla="*/ 1990725 h 2263775"/>
              <a:gd name="connsiteX17" fmla="*/ 349250 w 987425"/>
              <a:gd name="connsiteY17" fmla="*/ 1968500 h 2263775"/>
              <a:gd name="connsiteX18" fmla="*/ 314325 w 987425"/>
              <a:gd name="connsiteY18" fmla="*/ 1971675 h 2263775"/>
              <a:gd name="connsiteX19" fmla="*/ 298450 w 987425"/>
              <a:gd name="connsiteY19" fmla="*/ 1949450 h 2263775"/>
              <a:gd name="connsiteX20" fmla="*/ 254000 w 987425"/>
              <a:gd name="connsiteY20" fmla="*/ 1936750 h 2263775"/>
              <a:gd name="connsiteX21" fmla="*/ 228600 w 987425"/>
              <a:gd name="connsiteY21" fmla="*/ 1943100 h 2263775"/>
              <a:gd name="connsiteX22" fmla="*/ 180975 w 987425"/>
              <a:gd name="connsiteY22" fmla="*/ 1936750 h 2263775"/>
              <a:gd name="connsiteX23" fmla="*/ 136525 w 987425"/>
              <a:gd name="connsiteY23" fmla="*/ 1952625 h 2263775"/>
              <a:gd name="connsiteX24" fmla="*/ 69850 w 987425"/>
              <a:gd name="connsiteY24" fmla="*/ 1946275 h 2263775"/>
              <a:gd name="connsiteX25" fmla="*/ 69850 w 987425"/>
              <a:gd name="connsiteY25" fmla="*/ 1946275 h 2263775"/>
              <a:gd name="connsiteX26" fmla="*/ 15875 w 987425"/>
              <a:gd name="connsiteY26" fmla="*/ 1952625 h 2263775"/>
              <a:gd name="connsiteX27" fmla="*/ 28575 w 987425"/>
              <a:gd name="connsiteY27" fmla="*/ 1927225 h 2263775"/>
              <a:gd name="connsiteX28" fmla="*/ 6350 w 987425"/>
              <a:gd name="connsiteY28" fmla="*/ 1917700 h 2263775"/>
              <a:gd name="connsiteX29" fmla="*/ 25400 w 987425"/>
              <a:gd name="connsiteY29" fmla="*/ 1857375 h 2263775"/>
              <a:gd name="connsiteX30" fmla="*/ 0 w 987425"/>
              <a:gd name="connsiteY30" fmla="*/ 1803400 h 2263775"/>
              <a:gd name="connsiteX31" fmla="*/ 79375 w 987425"/>
              <a:gd name="connsiteY31" fmla="*/ 869950 h 2263775"/>
              <a:gd name="connsiteX32" fmla="*/ 92075 w 987425"/>
              <a:gd name="connsiteY32" fmla="*/ 806450 h 2263775"/>
              <a:gd name="connsiteX33" fmla="*/ 73025 w 987425"/>
              <a:gd name="connsiteY33" fmla="*/ 765175 h 2263775"/>
              <a:gd name="connsiteX34" fmla="*/ 98425 w 987425"/>
              <a:gd name="connsiteY34" fmla="*/ 739775 h 2263775"/>
              <a:gd name="connsiteX35" fmla="*/ 127000 w 987425"/>
              <a:gd name="connsiteY35" fmla="*/ 692150 h 2263775"/>
              <a:gd name="connsiteX36" fmla="*/ 155575 w 987425"/>
              <a:gd name="connsiteY36" fmla="*/ 701675 h 2263775"/>
              <a:gd name="connsiteX37" fmla="*/ 228600 w 987425"/>
              <a:gd name="connsiteY37" fmla="*/ 660400 h 2263775"/>
              <a:gd name="connsiteX38" fmla="*/ 244475 w 987425"/>
              <a:gd name="connsiteY38" fmla="*/ 603250 h 2263775"/>
              <a:gd name="connsiteX39" fmla="*/ 257175 w 987425"/>
              <a:gd name="connsiteY39" fmla="*/ 546100 h 2263775"/>
              <a:gd name="connsiteX40" fmla="*/ 292100 w 987425"/>
              <a:gd name="connsiteY40" fmla="*/ 482600 h 2263775"/>
              <a:gd name="connsiteX41" fmla="*/ 358775 w 987425"/>
              <a:gd name="connsiteY41" fmla="*/ 444500 h 2263775"/>
              <a:gd name="connsiteX42" fmla="*/ 396875 w 987425"/>
              <a:gd name="connsiteY42" fmla="*/ 428625 h 2263775"/>
              <a:gd name="connsiteX43" fmla="*/ 412750 w 987425"/>
              <a:gd name="connsiteY43" fmla="*/ 390525 h 2263775"/>
              <a:gd name="connsiteX44" fmla="*/ 422275 w 987425"/>
              <a:gd name="connsiteY44" fmla="*/ 352425 h 2263775"/>
              <a:gd name="connsiteX45" fmla="*/ 473075 w 987425"/>
              <a:gd name="connsiteY45" fmla="*/ 320675 h 2263775"/>
              <a:gd name="connsiteX46" fmla="*/ 469900 w 987425"/>
              <a:gd name="connsiteY46" fmla="*/ 276225 h 2263775"/>
              <a:gd name="connsiteX47" fmla="*/ 511175 w 987425"/>
              <a:gd name="connsiteY47" fmla="*/ 222250 h 2263775"/>
              <a:gd name="connsiteX48" fmla="*/ 539750 w 987425"/>
              <a:gd name="connsiteY48" fmla="*/ 171450 h 2263775"/>
              <a:gd name="connsiteX49" fmla="*/ 511175 w 987425"/>
              <a:gd name="connsiteY49" fmla="*/ 104775 h 2263775"/>
              <a:gd name="connsiteX50" fmla="*/ 488950 w 987425"/>
              <a:gd name="connsiteY50" fmla="*/ 57150 h 2263775"/>
              <a:gd name="connsiteX51" fmla="*/ 514350 w 987425"/>
              <a:gd name="connsiteY51" fmla="*/ 0 h 2263775"/>
              <a:gd name="connsiteX0" fmla="*/ 981075 w 981075"/>
              <a:gd name="connsiteY0" fmla="*/ 2263775 h 2263775"/>
              <a:gd name="connsiteX1" fmla="*/ 965200 w 981075"/>
              <a:gd name="connsiteY1" fmla="*/ 2206625 h 2263775"/>
              <a:gd name="connsiteX2" fmla="*/ 933450 w 981075"/>
              <a:gd name="connsiteY2" fmla="*/ 2162175 h 2263775"/>
              <a:gd name="connsiteX3" fmla="*/ 895350 w 981075"/>
              <a:gd name="connsiteY3" fmla="*/ 2149475 h 2263775"/>
              <a:gd name="connsiteX4" fmla="*/ 841375 w 981075"/>
              <a:gd name="connsiteY4" fmla="*/ 2152650 h 2263775"/>
              <a:gd name="connsiteX5" fmla="*/ 800100 w 981075"/>
              <a:gd name="connsiteY5" fmla="*/ 2149475 h 2263775"/>
              <a:gd name="connsiteX6" fmla="*/ 765175 w 981075"/>
              <a:gd name="connsiteY6" fmla="*/ 2130425 h 2263775"/>
              <a:gd name="connsiteX7" fmla="*/ 736600 w 981075"/>
              <a:gd name="connsiteY7" fmla="*/ 2143125 h 2263775"/>
              <a:gd name="connsiteX8" fmla="*/ 685800 w 981075"/>
              <a:gd name="connsiteY8" fmla="*/ 2130425 h 2263775"/>
              <a:gd name="connsiteX9" fmla="*/ 650875 w 981075"/>
              <a:gd name="connsiteY9" fmla="*/ 2117725 h 2263775"/>
              <a:gd name="connsiteX10" fmla="*/ 635000 w 981075"/>
              <a:gd name="connsiteY10" fmla="*/ 2111375 h 2263775"/>
              <a:gd name="connsiteX11" fmla="*/ 574675 w 981075"/>
              <a:gd name="connsiteY11" fmla="*/ 2117725 h 2263775"/>
              <a:gd name="connsiteX12" fmla="*/ 520700 w 981075"/>
              <a:gd name="connsiteY12" fmla="*/ 2073275 h 2263775"/>
              <a:gd name="connsiteX13" fmla="*/ 488950 w 981075"/>
              <a:gd name="connsiteY13" fmla="*/ 2051050 h 2263775"/>
              <a:gd name="connsiteX14" fmla="*/ 454025 w 981075"/>
              <a:gd name="connsiteY14" fmla="*/ 2038350 h 2263775"/>
              <a:gd name="connsiteX15" fmla="*/ 428625 w 981075"/>
              <a:gd name="connsiteY15" fmla="*/ 2003425 h 2263775"/>
              <a:gd name="connsiteX16" fmla="*/ 381000 w 981075"/>
              <a:gd name="connsiteY16" fmla="*/ 1990725 h 2263775"/>
              <a:gd name="connsiteX17" fmla="*/ 342900 w 981075"/>
              <a:gd name="connsiteY17" fmla="*/ 1968500 h 2263775"/>
              <a:gd name="connsiteX18" fmla="*/ 307975 w 981075"/>
              <a:gd name="connsiteY18" fmla="*/ 1971675 h 2263775"/>
              <a:gd name="connsiteX19" fmla="*/ 292100 w 981075"/>
              <a:gd name="connsiteY19" fmla="*/ 1949450 h 2263775"/>
              <a:gd name="connsiteX20" fmla="*/ 247650 w 981075"/>
              <a:gd name="connsiteY20" fmla="*/ 1936750 h 2263775"/>
              <a:gd name="connsiteX21" fmla="*/ 222250 w 981075"/>
              <a:gd name="connsiteY21" fmla="*/ 1943100 h 2263775"/>
              <a:gd name="connsiteX22" fmla="*/ 174625 w 981075"/>
              <a:gd name="connsiteY22" fmla="*/ 1936750 h 2263775"/>
              <a:gd name="connsiteX23" fmla="*/ 130175 w 981075"/>
              <a:gd name="connsiteY23" fmla="*/ 1952625 h 2263775"/>
              <a:gd name="connsiteX24" fmla="*/ 63500 w 981075"/>
              <a:gd name="connsiteY24" fmla="*/ 1946275 h 2263775"/>
              <a:gd name="connsiteX25" fmla="*/ 63500 w 981075"/>
              <a:gd name="connsiteY25" fmla="*/ 1946275 h 2263775"/>
              <a:gd name="connsiteX26" fmla="*/ 9525 w 981075"/>
              <a:gd name="connsiteY26" fmla="*/ 1952625 h 2263775"/>
              <a:gd name="connsiteX27" fmla="*/ 22225 w 981075"/>
              <a:gd name="connsiteY27" fmla="*/ 1927225 h 2263775"/>
              <a:gd name="connsiteX28" fmla="*/ 0 w 981075"/>
              <a:gd name="connsiteY28" fmla="*/ 1917700 h 2263775"/>
              <a:gd name="connsiteX29" fmla="*/ 19050 w 981075"/>
              <a:gd name="connsiteY29" fmla="*/ 1857375 h 2263775"/>
              <a:gd name="connsiteX30" fmla="*/ 73025 w 981075"/>
              <a:gd name="connsiteY30" fmla="*/ 869950 h 2263775"/>
              <a:gd name="connsiteX31" fmla="*/ 85725 w 981075"/>
              <a:gd name="connsiteY31" fmla="*/ 806450 h 2263775"/>
              <a:gd name="connsiteX32" fmla="*/ 66675 w 981075"/>
              <a:gd name="connsiteY32" fmla="*/ 765175 h 2263775"/>
              <a:gd name="connsiteX33" fmla="*/ 92075 w 981075"/>
              <a:gd name="connsiteY33" fmla="*/ 739775 h 2263775"/>
              <a:gd name="connsiteX34" fmla="*/ 120650 w 981075"/>
              <a:gd name="connsiteY34" fmla="*/ 692150 h 2263775"/>
              <a:gd name="connsiteX35" fmla="*/ 149225 w 981075"/>
              <a:gd name="connsiteY35" fmla="*/ 701675 h 2263775"/>
              <a:gd name="connsiteX36" fmla="*/ 222250 w 981075"/>
              <a:gd name="connsiteY36" fmla="*/ 660400 h 2263775"/>
              <a:gd name="connsiteX37" fmla="*/ 238125 w 981075"/>
              <a:gd name="connsiteY37" fmla="*/ 603250 h 2263775"/>
              <a:gd name="connsiteX38" fmla="*/ 250825 w 981075"/>
              <a:gd name="connsiteY38" fmla="*/ 546100 h 2263775"/>
              <a:gd name="connsiteX39" fmla="*/ 285750 w 981075"/>
              <a:gd name="connsiteY39" fmla="*/ 482600 h 2263775"/>
              <a:gd name="connsiteX40" fmla="*/ 352425 w 981075"/>
              <a:gd name="connsiteY40" fmla="*/ 444500 h 2263775"/>
              <a:gd name="connsiteX41" fmla="*/ 390525 w 981075"/>
              <a:gd name="connsiteY41" fmla="*/ 428625 h 2263775"/>
              <a:gd name="connsiteX42" fmla="*/ 406400 w 981075"/>
              <a:gd name="connsiteY42" fmla="*/ 390525 h 2263775"/>
              <a:gd name="connsiteX43" fmla="*/ 415925 w 981075"/>
              <a:gd name="connsiteY43" fmla="*/ 352425 h 2263775"/>
              <a:gd name="connsiteX44" fmla="*/ 466725 w 981075"/>
              <a:gd name="connsiteY44" fmla="*/ 320675 h 2263775"/>
              <a:gd name="connsiteX45" fmla="*/ 463550 w 981075"/>
              <a:gd name="connsiteY45" fmla="*/ 276225 h 2263775"/>
              <a:gd name="connsiteX46" fmla="*/ 504825 w 981075"/>
              <a:gd name="connsiteY46" fmla="*/ 222250 h 2263775"/>
              <a:gd name="connsiteX47" fmla="*/ 533400 w 981075"/>
              <a:gd name="connsiteY47" fmla="*/ 171450 h 2263775"/>
              <a:gd name="connsiteX48" fmla="*/ 504825 w 981075"/>
              <a:gd name="connsiteY48" fmla="*/ 104775 h 2263775"/>
              <a:gd name="connsiteX49" fmla="*/ 482600 w 981075"/>
              <a:gd name="connsiteY49" fmla="*/ 57150 h 2263775"/>
              <a:gd name="connsiteX50" fmla="*/ 508000 w 981075"/>
              <a:gd name="connsiteY50" fmla="*/ 0 h 2263775"/>
              <a:gd name="connsiteX0" fmla="*/ 981075 w 981075"/>
              <a:gd name="connsiteY0" fmla="*/ 2263775 h 2263775"/>
              <a:gd name="connsiteX1" fmla="*/ 965200 w 981075"/>
              <a:gd name="connsiteY1" fmla="*/ 2206625 h 2263775"/>
              <a:gd name="connsiteX2" fmla="*/ 933450 w 981075"/>
              <a:gd name="connsiteY2" fmla="*/ 2162175 h 2263775"/>
              <a:gd name="connsiteX3" fmla="*/ 895350 w 981075"/>
              <a:gd name="connsiteY3" fmla="*/ 2149475 h 2263775"/>
              <a:gd name="connsiteX4" fmla="*/ 841375 w 981075"/>
              <a:gd name="connsiteY4" fmla="*/ 2152650 h 2263775"/>
              <a:gd name="connsiteX5" fmla="*/ 800100 w 981075"/>
              <a:gd name="connsiteY5" fmla="*/ 2149475 h 2263775"/>
              <a:gd name="connsiteX6" fmla="*/ 765175 w 981075"/>
              <a:gd name="connsiteY6" fmla="*/ 2130425 h 2263775"/>
              <a:gd name="connsiteX7" fmla="*/ 736600 w 981075"/>
              <a:gd name="connsiteY7" fmla="*/ 2143125 h 2263775"/>
              <a:gd name="connsiteX8" fmla="*/ 685800 w 981075"/>
              <a:gd name="connsiteY8" fmla="*/ 2130425 h 2263775"/>
              <a:gd name="connsiteX9" fmla="*/ 650875 w 981075"/>
              <a:gd name="connsiteY9" fmla="*/ 2117725 h 2263775"/>
              <a:gd name="connsiteX10" fmla="*/ 635000 w 981075"/>
              <a:gd name="connsiteY10" fmla="*/ 2111375 h 2263775"/>
              <a:gd name="connsiteX11" fmla="*/ 574675 w 981075"/>
              <a:gd name="connsiteY11" fmla="*/ 2117725 h 2263775"/>
              <a:gd name="connsiteX12" fmla="*/ 520700 w 981075"/>
              <a:gd name="connsiteY12" fmla="*/ 2073275 h 2263775"/>
              <a:gd name="connsiteX13" fmla="*/ 488950 w 981075"/>
              <a:gd name="connsiteY13" fmla="*/ 2051050 h 2263775"/>
              <a:gd name="connsiteX14" fmla="*/ 454025 w 981075"/>
              <a:gd name="connsiteY14" fmla="*/ 2038350 h 2263775"/>
              <a:gd name="connsiteX15" fmla="*/ 428625 w 981075"/>
              <a:gd name="connsiteY15" fmla="*/ 2003425 h 2263775"/>
              <a:gd name="connsiteX16" fmla="*/ 381000 w 981075"/>
              <a:gd name="connsiteY16" fmla="*/ 1990725 h 2263775"/>
              <a:gd name="connsiteX17" fmla="*/ 342900 w 981075"/>
              <a:gd name="connsiteY17" fmla="*/ 1968500 h 2263775"/>
              <a:gd name="connsiteX18" fmla="*/ 307975 w 981075"/>
              <a:gd name="connsiteY18" fmla="*/ 1971675 h 2263775"/>
              <a:gd name="connsiteX19" fmla="*/ 292100 w 981075"/>
              <a:gd name="connsiteY19" fmla="*/ 1949450 h 2263775"/>
              <a:gd name="connsiteX20" fmla="*/ 247650 w 981075"/>
              <a:gd name="connsiteY20" fmla="*/ 1936750 h 2263775"/>
              <a:gd name="connsiteX21" fmla="*/ 222250 w 981075"/>
              <a:gd name="connsiteY21" fmla="*/ 1943100 h 2263775"/>
              <a:gd name="connsiteX22" fmla="*/ 174625 w 981075"/>
              <a:gd name="connsiteY22" fmla="*/ 1936750 h 2263775"/>
              <a:gd name="connsiteX23" fmla="*/ 130175 w 981075"/>
              <a:gd name="connsiteY23" fmla="*/ 1952625 h 2263775"/>
              <a:gd name="connsiteX24" fmla="*/ 63500 w 981075"/>
              <a:gd name="connsiteY24" fmla="*/ 1946275 h 2263775"/>
              <a:gd name="connsiteX25" fmla="*/ 63500 w 981075"/>
              <a:gd name="connsiteY25" fmla="*/ 1946275 h 2263775"/>
              <a:gd name="connsiteX26" fmla="*/ 9525 w 981075"/>
              <a:gd name="connsiteY26" fmla="*/ 1952625 h 2263775"/>
              <a:gd name="connsiteX27" fmla="*/ 22225 w 981075"/>
              <a:gd name="connsiteY27" fmla="*/ 1927225 h 2263775"/>
              <a:gd name="connsiteX28" fmla="*/ 0 w 981075"/>
              <a:gd name="connsiteY28" fmla="*/ 1917700 h 2263775"/>
              <a:gd name="connsiteX29" fmla="*/ 73025 w 981075"/>
              <a:gd name="connsiteY29" fmla="*/ 869950 h 2263775"/>
              <a:gd name="connsiteX30" fmla="*/ 85725 w 981075"/>
              <a:gd name="connsiteY30" fmla="*/ 806450 h 2263775"/>
              <a:gd name="connsiteX31" fmla="*/ 66675 w 981075"/>
              <a:gd name="connsiteY31" fmla="*/ 765175 h 2263775"/>
              <a:gd name="connsiteX32" fmla="*/ 92075 w 981075"/>
              <a:gd name="connsiteY32" fmla="*/ 739775 h 2263775"/>
              <a:gd name="connsiteX33" fmla="*/ 120650 w 981075"/>
              <a:gd name="connsiteY33" fmla="*/ 692150 h 2263775"/>
              <a:gd name="connsiteX34" fmla="*/ 149225 w 981075"/>
              <a:gd name="connsiteY34" fmla="*/ 701675 h 2263775"/>
              <a:gd name="connsiteX35" fmla="*/ 222250 w 981075"/>
              <a:gd name="connsiteY35" fmla="*/ 660400 h 2263775"/>
              <a:gd name="connsiteX36" fmla="*/ 238125 w 981075"/>
              <a:gd name="connsiteY36" fmla="*/ 603250 h 2263775"/>
              <a:gd name="connsiteX37" fmla="*/ 250825 w 981075"/>
              <a:gd name="connsiteY37" fmla="*/ 546100 h 2263775"/>
              <a:gd name="connsiteX38" fmla="*/ 285750 w 981075"/>
              <a:gd name="connsiteY38" fmla="*/ 482600 h 2263775"/>
              <a:gd name="connsiteX39" fmla="*/ 352425 w 981075"/>
              <a:gd name="connsiteY39" fmla="*/ 444500 h 2263775"/>
              <a:gd name="connsiteX40" fmla="*/ 390525 w 981075"/>
              <a:gd name="connsiteY40" fmla="*/ 428625 h 2263775"/>
              <a:gd name="connsiteX41" fmla="*/ 406400 w 981075"/>
              <a:gd name="connsiteY41" fmla="*/ 390525 h 2263775"/>
              <a:gd name="connsiteX42" fmla="*/ 415925 w 981075"/>
              <a:gd name="connsiteY42" fmla="*/ 352425 h 2263775"/>
              <a:gd name="connsiteX43" fmla="*/ 466725 w 981075"/>
              <a:gd name="connsiteY43" fmla="*/ 320675 h 2263775"/>
              <a:gd name="connsiteX44" fmla="*/ 463550 w 981075"/>
              <a:gd name="connsiteY44" fmla="*/ 276225 h 2263775"/>
              <a:gd name="connsiteX45" fmla="*/ 504825 w 981075"/>
              <a:gd name="connsiteY45" fmla="*/ 222250 h 2263775"/>
              <a:gd name="connsiteX46" fmla="*/ 533400 w 981075"/>
              <a:gd name="connsiteY46" fmla="*/ 171450 h 2263775"/>
              <a:gd name="connsiteX47" fmla="*/ 504825 w 981075"/>
              <a:gd name="connsiteY47" fmla="*/ 104775 h 2263775"/>
              <a:gd name="connsiteX48" fmla="*/ 482600 w 981075"/>
              <a:gd name="connsiteY48" fmla="*/ 57150 h 2263775"/>
              <a:gd name="connsiteX49" fmla="*/ 508000 w 981075"/>
              <a:gd name="connsiteY49" fmla="*/ 0 h 2263775"/>
              <a:gd name="connsiteX0" fmla="*/ 971550 w 971550"/>
              <a:gd name="connsiteY0" fmla="*/ 2263775 h 2263775"/>
              <a:gd name="connsiteX1" fmla="*/ 955675 w 971550"/>
              <a:gd name="connsiteY1" fmla="*/ 2206625 h 2263775"/>
              <a:gd name="connsiteX2" fmla="*/ 923925 w 971550"/>
              <a:gd name="connsiteY2" fmla="*/ 2162175 h 2263775"/>
              <a:gd name="connsiteX3" fmla="*/ 885825 w 971550"/>
              <a:gd name="connsiteY3" fmla="*/ 2149475 h 2263775"/>
              <a:gd name="connsiteX4" fmla="*/ 831850 w 971550"/>
              <a:gd name="connsiteY4" fmla="*/ 2152650 h 2263775"/>
              <a:gd name="connsiteX5" fmla="*/ 790575 w 971550"/>
              <a:gd name="connsiteY5" fmla="*/ 2149475 h 2263775"/>
              <a:gd name="connsiteX6" fmla="*/ 755650 w 971550"/>
              <a:gd name="connsiteY6" fmla="*/ 2130425 h 2263775"/>
              <a:gd name="connsiteX7" fmla="*/ 727075 w 971550"/>
              <a:gd name="connsiteY7" fmla="*/ 2143125 h 2263775"/>
              <a:gd name="connsiteX8" fmla="*/ 676275 w 971550"/>
              <a:gd name="connsiteY8" fmla="*/ 2130425 h 2263775"/>
              <a:gd name="connsiteX9" fmla="*/ 641350 w 971550"/>
              <a:gd name="connsiteY9" fmla="*/ 2117725 h 2263775"/>
              <a:gd name="connsiteX10" fmla="*/ 625475 w 971550"/>
              <a:gd name="connsiteY10" fmla="*/ 2111375 h 2263775"/>
              <a:gd name="connsiteX11" fmla="*/ 565150 w 971550"/>
              <a:gd name="connsiteY11" fmla="*/ 2117725 h 2263775"/>
              <a:gd name="connsiteX12" fmla="*/ 511175 w 971550"/>
              <a:gd name="connsiteY12" fmla="*/ 2073275 h 2263775"/>
              <a:gd name="connsiteX13" fmla="*/ 479425 w 971550"/>
              <a:gd name="connsiteY13" fmla="*/ 2051050 h 2263775"/>
              <a:gd name="connsiteX14" fmla="*/ 444500 w 971550"/>
              <a:gd name="connsiteY14" fmla="*/ 2038350 h 2263775"/>
              <a:gd name="connsiteX15" fmla="*/ 419100 w 971550"/>
              <a:gd name="connsiteY15" fmla="*/ 2003425 h 2263775"/>
              <a:gd name="connsiteX16" fmla="*/ 371475 w 971550"/>
              <a:gd name="connsiteY16" fmla="*/ 1990725 h 2263775"/>
              <a:gd name="connsiteX17" fmla="*/ 333375 w 971550"/>
              <a:gd name="connsiteY17" fmla="*/ 1968500 h 2263775"/>
              <a:gd name="connsiteX18" fmla="*/ 298450 w 971550"/>
              <a:gd name="connsiteY18" fmla="*/ 1971675 h 2263775"/>
              <a:gd name="connsiteX19" fmla="*/ 282575 w 971550"/>
              <a:gd name="connsiteY19" fmla="*/ 1949450 h 2263775"/>
              <a:gd name="connsiteX20" fmla="*/ 238125 w 971550"/>
              <a:gd name="connsiteY20" fmla="*/ 1936750 h 2263775"/>
              <a:gd name="connsiteX21" fmla="*/ 212725 w 971550"/>
              <a:gd name="connsiteY21" fmla="*/ 1943100 h 2263775"/>
              <a:gd name="connsiteX22" fmla="*/ 165100 w 971550"/>
              <a:gd name="connsiteY22" fmla="*/ 1936750 h 2263775"/>
              <a:gd name="connsiteX23" fmla="*/ 120650 w 971550"/>
              <a:gd name="connsiteY23" fmla="*/ 1952625 h 2263775"/>
              <a:gd name="connsiteX24" fmla="*/ 53975 w 971550"/>
              <a:gd name="connsiteY24" fmla="*/ 1946275 h 2263775"/>
              <a:gd name="connsiteX25" fmla="*/ 53975 w 971550"/>
              <a:gd name="connsiteY25" fmla="*/ 1946275 h 2263775"/>
              <a:gd name="connsiteX26" fmla="*/ 0 w 971550"/>
              <a:gd name="connsiteY26" fmla="*/ 1952625 h 2263775"/>
              <a:gd name="connsiteX27" fmla="*/ 12700 w 971550"/>
              <a:gd name="connsiteY27" fmla="*/ 1927225 h 2263775"/>
              <a:gd name="connsiteX28" fmla="*/ 63500 w 971550"/>
              <a:gd name="connsiteY28" fmla="*/ 869950 h 2263775"/>
              <a:gd name="connsiteX29" fmla="*/ 76200 w 971550"/>
              <a:gd name="connsiteY29" fmla="*/ 806450 h 2263775"/>
              <a:gd name="connsiteX30" fmla="*/ 57150 w 971550"/>
              <a:gd name="connsiteY30" fmla="*/ 765175 h 2263775"/>
              <a:gd name="connsiteX31" fmla="*/ 82550 w 971550"/>
              <a:gd name="connsiteY31" fmla="*/ 739775 h 2263775"/>
              <a:gd name="connsiteX32" fmla="*/ 111125 w 971550"/>
              <a:gd name="connsiteY32" fmla="*/ 692150 h 2263775"/>
              <a:gd name="connsiteX33" fmla="*/ 139700 w 971550"/>
              <a:gd name="connsiteY33" fmla="*/ 701675 h 2263775"/>
              <a:gd name="connsiteX34" fmla="*/ 212725 w 971550"/>
              <a:gd name="connsiteY34" fmla="*/ 660400 h 2263775"/>
              <a:gd name="connsiteX35" fmla="*/ 228600 w 971550"/>
              <a:gd name="connsiteY35" fmla="*/ 603250 h 2263775"/>
              <a:gd name="connsiteX36" fmla="*/ 241300 w 971550"/>
              <a:gd name="connsiteY36" fmla="*/ 546100 h 2263775"/>
              <a:gd name="connsiteX37" fmla="*/ 276225 w 971550"/>
              <a:gd name="connsiteY37" fmla="*/ 482600 h 2263775"/>
              <a:gd name="connsiteX38" fmla="*/ 342900 w 971550"/>
              <a:gd name="connsiteY38" fmla="*/ 444500 h 2263775"/>
              <a:gd name="connsiteX39" fmla="*/ 381000 w 971550"/>
              <a:gd name="connsiteY39" fmla="*/ 428625 h 2263775"/>
              <a:gd name="connsiteX40" fmla="*/ 396875 w 971550"/>
              <a:gd name="connsiteY40" fmla="*/ 390525 h 2263775"/>
              <a:gd name="connsiteX41" fmla="*/ 406400 w 971550"/>
              <a:gd name="connsiteY41" fmla="*/ 352425 h 2263775"/>
              <a:gd name="connsiteX42" fmla="*/ 457200 w 971550"/>
              <a:gd name="connsiteY42" fmla="*/ 320675 h 2263775"/>
              <a:gd name="connsiteX43" fmla="*/ 454025 w 971550"/>
              <a:gd name="connsiteY43" fmla="*/ 276225 h 2263775"/>
              <a:gd name="connsiteX44" fmla="*/ 495300 w 971550"/>
              <a:gd name="connsiteY44" fmla="*/ 222250 h 2263775"/>
              <a:gd name="connsiteX45" fmla="*/ 523875 w 971550"/>
              <a:gd name="connsiteY45" fmla="*/ 171450 h 2263775"/>
              <a:gd name="connsiteX46" fmla="*/ 495300 w 971550"/>
              <a:gd name="connsiteY46" fmla="*/ 104775 h 2263775"/>
              <a:gd name="connsiteX47" fmla="*/ 473075 w 971550"/>
              <a:gd name="connsiteY47" fmla="*/ 57150 h 2263775"/>
              <a:gd name="connsiteX48" fmla="*/ 498475 w 971550"/>
              <a:gd name="connsiteY48" fmla="*/ 0 h 2263775"/>
              <a:gd name="connsiteX0" fmla="*/ 971550 w 971550"/>
              <a:gd name="connsiteY0" fmla="*/ 2263775 h 2263775"/>
              <a:gd name="connsiteX1" fmla="*/ 955675 w 971550"/>
              <a:gd name="connsiteY1" fmla="*/ 2206625 h 2263775"/>
              <a:gd name="connsiteX2" fmla="*/ 923925 w 971550"/>
              <a:gd name="connsiteY2" fmla="*/ 2162175 h 2263775"/>
              <a:gd name="connsiteX3" fmla="*/ 885825 w 971550"/>
              <a:gd name="connsiteY3" fmla="*/ 2149475 h 2263775"/>
              <a:gd name="connsiteX4" fmla="*/ 831850 w 971550"/>
              <a:gd name="connsiteY4" fmla="*/ 2152650 h 2263775"/>
              <a:gd name="connsiteX5" fmla="*/ 790575 w 971550"/>
              <a:gd name="connsiteY5" fmla="*/ 2149475 h 2263775"/>
              <a:gd name="connsiteX6" fmla="*/ 755650 w 971550"/>
              <a:gd name="connsiteY6" fmla="*/ 2130425 h 2263775"/>
              <a:gd name="connsiteX7" fmla="*/ 727075 w 971550"/>
              <a:gd name="connsiteY7" fmla="*/ 2143125 h 2263775"/>
              <a:gd name="connsiteX8" fmla="*/ 676275 w 971550"/>
              <a:gd name="connsiteY8" fmla="*/ 2130425 h 2263775"/>
              <a:gd name="connsiteX9" fmla="*/ 641350 w 971550"/>
              <a:gd name="connsiteY9" fmla="*/ 2117725 h 2263775"/>
              <a:gd name="connsiteX10" fmla="*/ 625475 w 971550"/>
              <a:gd name="connsiteY10" fmla="*/ 2111375 h 2263775"/>
              <a:gd name="connsiteX11" fmla="*/ 565150 w 971550"/>
              <a:gd name="connsiteY11" fmla="*/ 2117725 h 2263775"/>
              <a:gd name="connsiteX12" fmla="*/ 511175 w 971550"/>
              <a:gd name="connsiteY12" fmla="*/ 2073275 h 2263775"/>
              <a:gd name="connsiteX13" fmla="*/ 479425 w 971550"/>
              <a:gd name="connsiteY13" fmla="*/ 2051050 h 2263775"/>
              <a:gd name="connsiteX14" fmla="*/ 444500 w 971550"/>
              <a:gd name="connsiteY14" fmla="*/ 2038350 h 2263775"/>
              <a:gd name="connsiteX15" fmla="*/ 419100 w 971550"/>
              <a:gd name="connsiteY15" fmla="*/ 2003425 h 2263775"/>
              <a:gd name="connsiteX16" fmla="*/ 371475 w 971550"/>
              <a:gd name="connsiteY16" fmla="*/ 1990725 h 2263775"/>
              <a:gd name="connsiteX17" fmla="*/ 333375 w 971550"/>
              <a:gd name="connsiteY17" fmla="*/ 1968500 h 2263775"/>
              <a:gd name="connsiteX18" fmla="*/ 298450 w 971550"/>
              <a:gd name="connsiteY18" fmla="*/ 1971675 h 2263775"/>
              <a:gd name="connsiteX19" fmla="*/ 282575 w 971550"/>
              <a:gd name="connsiteY19" fmla="*/ 1949450 h 2263775"/>
              <a:gd name="connsiteX20" fmla="*/ 238125 w 971550"/>
              <a:gd name="connsiteY20" fmla="*/ 1936750 h 2263775"/>
              <a:gd name="connsiteX21" fmla="*/ 212725 w 971550"/>
              <a:gd name="connsiteY21" fmla="*/ 1943100 h 2263775"/>
              <a:gd name="connsiteX22" fmla="*/ 165100 w 971550"/>
              <a:gd name="connsiteY22" fmla="*/ 1936750 h 2263775"/>
              <a:gd name="connsiteX23" fmla="*/ 120650 w 971550"/>
              <a:gd name="connsiteY23" fmla="*/ 1952625 h 2263775"/>
              <a:gd name="connsiteX24" fmla="*/ 53975 w 971550"/>
              <a:gd name="connsiteY24" fmla="*/ 1946275 h 2263775"/>
              <a:gd name="connsiteX25" fmla="*/ 53975 w 971550"/>
              <a:gd name="connsiteY25" fmla="*/ 1946275 h 2263775"/>
              <a:gd name="connsiteX26" fmla="*/ 0 w 971550"/>
              <a:gd name="connsiteY26" fmla="*/ 1952625 h 2263775"/>
              <a:gd name="connsiteX27" fmla="*/ 63500 w 971550"/>
              <a:gd name="connsiteY27" fmla="*/ 869950 h 2263775"/>
              <a:gd name="connsiteX28" fmla="*/ 76200 w 971550"/>
              <a:gd name="connsiteY28" fmla="*/ 806450 h 2263775"/>
              <a:gd name="connsiteX29" fmla="*/ 57150 w 971550"/>
              <a:gd name="connsiteY29" fmla="*/ 765175 h 2263775"/>
              <a:gd name="connsiteX30" fmla="*/ 82550 w 971550"/>
              <a:gd name="connsiteY30" fmla="*/ 739775 h 2263775"/>
              <a:gd name="connsiteX31" fmla="*/ 111125 w 971550"/>
              <a:gd name="connsiteY31" fmla="*/ 692150 h 2263775"/>
              <a:gd name="connsiteX32" fmla="*/ 139700 w 971550"/>
              <a:gd name="connsiteY32" fmla="*/ 701675 h 2263775"/>
              <a:gd name="connsiteX33" fmla="*/ 212725 w 971550"/>
              <a:gd name="connsiteY33" fmla="*/ 660400 h 2263775"/>
              <a:gd name="connsiteX34" fmla="*/ 228600 w 971550"/>
              <a:gd name="connsiteY34" fmla="*/ 603250 h 2263775"/>
              <a:gd name="connsiteX35" fmla="*/ 241300 w 971550"/>
              <a:gd name="connsiteY35" fmla="*/ 546100 h 2263775"/>
              <a:gd name="connsiteX36" fmla="*/ 276225 w 971550"/>
              <a:gd name="connsiteY36" fmla="*/ 482600 h 2263775"/>
              <a:gd name="connsiteX37" fmla="*/ 342900 w 971550"/>
              <a:gd name="connsiteY37" fmla="*/ 444500 h 2263775"/>
              <a:gd name="connsiteX38" fmla="*/ 381000 w 971550"/>
              <a:gd name="connsiteY38" fmla="*/ 428625 h 2263775"/>
              <a:gd name="connsiteX39" fmla="*/ 396875 w 971550"/>
              <a:gd name="connsiteY39" fmla="*/ 390525 h 2263775"/>
              <a:gd name="connsiteX40" fmla="*/ 406400 w 971550"/>
              <a:gd name="connsiteY40" fmla="*/ 352425 h 2263775"/>
              <a:gd name="connsiteX41" fmla="*/ 457200 w 971550"/>
              <a:gd name="connsiteY41" fmla="*/ 320675 h 2263775"/>
              <a:gd name="connsiteX42" fmla="*/ 454025 w 971550"/>
              <a:gd name="connsiteY42" fmla="*/ 276225 h 2263775"/>
              <a:gd name="connsiteX43" fmla="*/ 495300 w 971550"/>
              <a:gd name="connsiteY43" fmla="*/ 222250 h 2263775"/>
              <a:gd name="connsiteX44" fmla="*/ 523875 w 971550"/>
              <a:gd name="connsiteY44" fmla="*/ 171450 h 2263775"/>
              <a:gd name="connsiteX45" fmla="*/ 495300 w 971550"/>
              <a:gd name="connsiteY45" fmla="*/ 104775 h 2263775"/>
              <a:gd name="connsiteX46" fmla="*/ 473075 w 971550"/>
              <a:gd name="connsiteY46" fmla="*/ 57150 h 2263775"/>
              <a:gd name="connsiteX47" fmla="*/ 498475 w 971550"/>
              <a:gd name="connsiteY47" fmla="*/ 0 h 2263775"/>
              <a:gd name="connsiteX0" fmla="*/ 917575 w 917575"/>
              <a:gd name="connsiteY0" fmla="*/ 2263775 h 2263775"/>
              <a:gd name="connsiteX1" fmla="*/ 901700 w 917575"/>
              <a:gd name="connsiteY1" fmla="*/ 2206625 h 2263775"/>
              <a:gd name="connsiteX2" fmla="*/ 869950 w 917575"/>
              <a:gd name="connsiteY2" fmla="*/ 2162175 h 2263775"/>
              <a:gd name="connsiteX3" fmla="*/ 831850 w 917575"/>
              <a:gd name="connsiteY3" fmla="*/ 2149475 h 2263775"/>
              <a:gd name="connsiteX4" fmla="*/ 777875 w 917575"/>
              <a:gd name="connsiteY4" fmla="*/ 2152650 h 2263775"/>
              <a:gd name="connsiteX5" fmla="*/ 736600 w 917575"/>
              <a:gd name="connsiteY5" fmla="*/ 2149475 h 2263775"/>
              <a:gd name="connsiteX6" fmla="*/ 701675 w 917575"/>
              <a:gd name="connsiteY6" fmla="*/ 2130425 h 2263775"/>
              <a:gd name="connsiteX7" fmla="*/ 673100 w 917575"/>
              <a:gd name="connsiteY7" fmla="*/ 2143125 h 2263775"/>
              <a:gd name="connsiteX8" fmla="*/ 622300 w 917575"/>
              <a:gd name="connsiteY8" fmla="*/ 2130425 h 2263775"/>
              <a:gd name="connsiteX9" fmla="*/ 587375 w 917575"/>
              <a:gd name="connsiteY9" fmla="*/ 2117725 h 2263775"/>
              <a:gd name="connsiteX10" fmla="*/ 571500 w 917575"/>
              <a:gd name="connsiteY10" fmla="*/ 2111375 h 2263775"/>
              <a:gd name="connsiteX11" fmla="*/ 511175 w 917575"/>
              <a:gd name="connsiteY11" fmla="*/ 2117725 h 2263775"/>
              <a:gd name="connsiteX12" fmla="*/ 457200 w 917575"/>
              <a:gd name="connsiteY12" fmla="*/ 2073275 h 2263775"/>
              <a:gd name="connsiteX13" fmla="*/ 425450 w 917575"/>
              <a:gd name="connsiteY13" fmla="*/ 2051050 h 2263775"/>
              <a:gd name="connsiteX14" fmla="*/ 390525 w 917575"/>
              <a:gd name="connsiteY14" fmla="*/ 2038350 h 2263775"/>
              <a:gd name="connsiteX15" fmla="*/ 365125 w 917575"/>
              <a:gd name="connsiteY15" fmla="*/ 2003425 h 2263775"/>
              <a:gd name="connsiteX16" fmla="*/ 317500 w 917575"/>
              <a:gd name="connsiteY16" fmla="*/ 1990725 h 2263775"/>
              <a:gd name="connsiteX17" fmla="*/ 279400 w 917575"/>
              <a:gd name="connsiteY17" fmla="*/ 1968500 h 2263775"/>
              <a:gd name="connsiteX18" fmla="*/ 244475 w 917575"/>
              <a:gd name="connsiteY18" fmla="*/ 1971675 h 2263775"/>
              <a:gd name="connsiteX19" fmla="*/ 228600 w 917575"/>
              <a:gd name="connsiteY19" fmla="*/ 1949450 h 2263775"/>
              <a:gd name="connsiteX20" fmla="*/ 184150 w 917575"/>
              <a:gd name="connsiteY20" fmla="*/ 1936750 h 2263775"/>
              <a:gd name="connsiteX21" fmla="*/ 158750 w 917575"/>
              <a:gd name="connsiteY21" fmla="*/ 1943100 h 2263775"/>
              <a:gd name="connsiteX22" fmla="*/ 111125 w 917575"/>
              <a:gd name="connsiteY22" fmla="*/ 1936750 h 2263775"/>
              <a:gd name="connsiteX23" fmla="*/ 66675 w 917575"/>
              <a:gd name="connsiteY23" fmla="*/ 1952625 h 2263775"/>
              <a:gd name="connsiteX24" fmla="*/ 0 w 917575"/>
              <a:gd name="connsiteY24" fmla="*/ 1946275 h 2263775"/>
              <a:gd name="connsiteX25" fmla="*/ 0 w 917575"/>
              <a:gd name="connsiteY25" fmla="*/ 1946275 h 2263775"/>
              <a:gd name="connsiteX26" fmla="*/ 9525 w 917575"/>
              <a:gd name="connsiteY26" fmla="*/ 869950 h 2263775"/>
              <a:gd name="connsiteX27" fmla="*/ 22225 w 917575"/>
              <a:gd name="connsiteY27" fmla="*/ 806450 h 2263775"/>
              <a:gd name="connsiteX28" fmla="*/ 3175 w 917575"/>
              <a:gd name="connsiteY28" fmla="*/ 765175 h 2263775"/>
              <a:gd name="connsiteX29" fmla="*/ 28575 w 917575"/>
              <a:gd name="connsiteY29" fmla="*/ 739775 h 2263775"/>
              <a:gd name="connsiteX30" fmla="*/ 57150 w 917575"/>
              <a:gd name="connsiteY30" fmla="*/ 692150 h 2263775"/>
              <a:gd name="connsiteX31" fmla="*/ 85725 w 917575"/>
              <a:gd name="connsiteY31" fmla="*/ 701675 h 2263775"/>
              <a:gd name="connsiteX32" fmla="*/ 158750 w 917575"/>
              <a:gd name="connsiteY32" fmla="*/ 660400 h 2263775"/>
              <a:gd name="connsiteX33" fmla="*/ 174625 w 917575"/>
              <a:gd name="connsiteY33" fmla="*/ 603250 h 2263775"/>
              <a:gd name="connsiteX34" fmla="*/ 187325 w 917575"/>
              <a:gd name="connsiteY34" fmla="*/ 546100 h 2263775"/>
              <a:gd name="connsiteX35" fmla="*/ 222250 w 917575"/>
              <a:gd name="connsiteY35" fmla="*/ 482600 h 2263775"/>
              <a:gd name="connsiteX36" fmla="*/ 288925 w 917575"/>
              <a:gd name="connsiteY36" fmla="*/ 444500 h 2263775"/>
              <a:gd name="connsiteX37" fmla="*/ 327025 w 917575"/>
              <a:gd name="connsiteY37" fmla="*/ 428625 h 2263775"/>
              <a:gd name="connsiteX38" fmla="*/ 342900 w 917575"/>
              <a:gd name="connsiteY38" fmla="*/ 390525 h 2263775"/>
              <a:gd name="connsiteX39" fmla="*/ 352425 w 917575"/>
              <a:gd name="connsiteY39" fmla="*/ 352425 h 2263775"/>
              <a:gd name="connsiteX40" fmla="*/ 403225 w 917575"/>
              <a:gd name="connsiteY40" fmla="*/ 320675 h 2263775"/>
              <a:gd name="connsiteX41" fmla="*/ 400050 w 917575"/>
              <a:gd name="connsiteY41" fmla="*/ 276225 h 2263775"/>
              <a:gd name="connsiteX42" fmla="*/ 441325 w 917575"/>
              <a:gd name="connsiteY42" fmla="*/ 222250 h 2263775"/>
              <a:gd name="connsiteX43" fmla="*/ 469900 w 917575"/>
              <a:gd name="connsiteY43" fmla="*/ 171450 h 2263775"/>
              <a:gd name="connsiteX44" fmla="*/ 441325 w 917575"/>
              <a:gd name="connsiteY44" fmla="*/ 104775 h 2263775"/>
              <a:gd name="connsiteX45" fmla="*/ 419100 w 917575"/>
              <a:gd name="connsiteY45" fmla="*/ 57150 h 2263775"/>
              <a:gd name="connsiteX46" fmla="*/ 444500 w 917575"/>
              <a:gd name="connsiteY46" fmla="*/ 0 h 2263775"/>
              <a:gd name="connsiteX0" fmla="*/ 917575 w 917575"/>
              <a:gd name="connsiteY0" fmla="*/ 2263775 h 2263775"/>
              <a:gd name="connsiteX1" fmla="*/ 901700 w 917575"/>
              <a:gd name="connsiteY1" fmla="*/ 2206625 h 2263775"/>
              <a:gd name="connsiteX2" fmla="*/ 869950 w 917575"/>
              <a:gd name="connsiteY2" fmla="*/ 2162175 h 2263775"/>
              <a:gd name="connsiteX3" fmla="*/ 831850 w 917575"/>
              <a:gd name="connsiteY3" fmla="*/ 2149475 h 2263775"/>
              <a:gd name="connsiteX4" fmla="*/ 777875 w 917575"/>
              <a:gd name="connsiteY4" fmla="*/ 2152650 h 2263775"/>
              <a:gd name="connsiteX5" fmla="*/ 736600 w 917575"/>
              <a:gd name="connsiteY5" fmla="*/ 2149475 h 2263775"/>
              <a:gd name="connsiteX6" fmla="*/ 701675 w 917575"/>
              <a:gd name="connsiteY6" fmla="*/ 2130425 h 2263775"/>
              <a:gd name="connsiteX7" fmla="*/ 673100 w 917575"/>
              <a:gd name="connsiteY7" fmla="*/ 2143125 h 2263775"/>
              <a:gd name="connsiteX8" fmla="*/ 622300 w 917575"/>
              <a:gd name="connsiteY8" fmla="*/ 2130425 h 2263775"/>
              <a:gd name="connsiteX9" fmla="*/ 587375 w 917575"/>
              <a:gd name="connsiteY9" fmla="*/ 2117725 h 2263775"/>
              <a:gd name="connsiteX10" fmla="*/ 571500 w 917575"/>
              <a:gd name="connsiteY10" fmla="*/ 2111375 h 2263775"/>
              <a:gd name="connsiteX11" fmla="*/ 511175 w 917575"/>
              <a:gd name="connsiteY11" fmla="*/ 2117725 h 2263775"/>
              <a:gd name="connsiteX12" fmla="*/ 457200 w 917575"/>
              <a:gd name="connsiteY12" fmla="*/ 2073275 h 2263775"/>
              <a:gd name="connsiteX13" fmla="*/ 425450 w 917575"/>
              <a:gd name="connsiteY13" fmla="*/ 2051050 h 2263775"/>
              <a:gd name="connsiteX14" fmla="*/ 390525 w 917575"/>
              <a:gd name="connsiteY14" fmla="*/ 2038350 h 2263775"/>
              <a:gd name="connsiteX15" fmla="*/ 365125 w 917575"/>
              <a:gd name="connsiteY15" fmla="*/ 2003425 h 2263775"/>
              <a:gd name="connsiteX16" fmla="*/ 317500 w 917575"/>
              <a:gd name="connsiteY16" fmla="*/ 1990725 h 2263775"/>
              <a:gd name="connsiteX17" fmla="*/ 279400 w 917575"/>
              <a:gd name="connsiteY17" fmla="*/ 1968500 h 2263775"/>
              <a:gd name="connsiteX18" fmla="*/ 244475 w 917575"/>
              <a:gd name="connsiteY18" fmla="*/ 1971675 h 2263775"/>
              <a:gd name="connsiteX19" fmla="*/ 228600 w 917575"/>
              <a:gd name="connsiteY19" fmla="*/ 1949450 h 2263775"/>
              <a:gd name="connsiteX20" fmla="*/ 184150 w 917575"/>
              <a:gd name="connsiteY20" fmla="*/ 1936750 h 2263775"/>
              <a:gd name="connsiteX21" fmla="*/ 158750 w 917575"/>
              <a:gd name="connsiteY21" fmla="*/ 1943100 h 2263775"/>
              <a:gd name="connsiteX22" fmla="*/ 111125 w 917575"/>
              <a:gd name="connsiteY22" fmla="*/ 1936750 h 2263775"/>
              <a:gd name="connsiteX23" fmla="*/ 66675 w 917575"/>
              <a:gd name="connsiteY23" fmla="*/ 1952625 h 2263775"/>
              <a:gd name="connsiteX24" fmla="*/ 0 w 917575"/>
              <a:gd name="connsiteY24" fmla="*/ 1946275 h 2263775"/>
              <a:gd name="connsiteX25" fmla="*/ 0 w 917575"/>
              <a:gd name="connsiteY25" fmla="*/ 1946275 h 2263775"/>
              <a:gd name="connsiteX26" fmla="*/ 9525 w 917575"/>
              <a:gd name="connsiteY26" fmla="*/ 869950 h 2263775"/>
              <a:gd name="connsiteX27" fmla="*/ 3175 w 917575"/>
              <a:gd name="connsiteY27" fmla="*/ 765175 h 2263775"/>
              <a:gd name="connsiteX28" fmla="*/ 28575 w 917575"/>
              <a:gd name="connsiteY28" fmla="*/ 739775 h 2263775"/>
              <a:gd name="connsiteX29" fmla="*/ 57150 w 917575"/>
              <a:gd name="connsiteY29" fmla="*/ 692150 h 2263775"/>
              <a:gd name="connsiteX30" fmla="*/ 85725 w 917575"/>
              <a:gd name="connsiteY30" fmla="*/ 701675 h 2263775"/>
              <a:gd name="connsiteX31" fmla="*/ 158750 w 917575"/>
              <a:gd name="connsiteY31" fmla="*/ 660400 h 2263775"/>
              <a:gd name="connsiteX32" fmla="*/ 174625 w 917575"/>
              <a:gd name="connsiteY32" fmla="*/ 603250 h 2263775"/>
              <a:gd name="connsiteX33" fmla="*/ 187325 w 917575"/>
              <a:gd name="connsiteY33" fmla="*/ 546100 h 2263775"/>
              <a:gd name="connsiteX34" fmla="*/ 222250 w 917575"/>
              <a:gd name="connsiteY34" fmla="*/ 482600 h 2263775"/>
              <a:gd name="connsiteX35" fmla="*/ 288925 w 917575"/>
              <a:gd name="connsiteY35" fmla="*/ 444500 h 2263775"/>
              <a:gd name="connsiteX36" fmla="*/ 327025 w 917575"/>
              <a:gd name="connsiteY36" fmla="*/ 428625 h 2263775"/>
              <a:gd name="connsiteX37" fmla="*/ 342900 w 917575"/>
              <a:gd name="connsiteY37" fmla="*/ 390525 h 2263775"/>
              <a:gd name="connsiteX38" fmla="*/ 352425 w 917575"/>
              <a:gd name="connsiteY38" fmla="*/ 352425 h 2263775"/>
              <a:gd name="connsiteX39" fmla="*/ 403225 w 917575"/>
              <a:gd name="connsiteY39" fmla="*/ 320675 h 2263775"/>
              <a:gd name="connsiteX40" fmla="*/ 400050 w 917575"/>
              <a:gd name="connsiteY40" fmla="*/ 276225 h 2263775"/>
              <a:gd name="connsiteX41" fmla="*/ 441325 w 917575"/>
              <a:gd name="connsiteY41" fmla="*/ 222250 h 2263775"/>
              <a:gd name="connsiteX42" fmla="*/ 469900 w 917575"/>
              <a:gd name="connsiteY42" fmla="*/ 171450 h 2263775"/>
              <a:gd name="connsiteX43" fmla="*/ 441325 w 917575"/>
              <a:gd name="connsiteY43" fmla="*/ 104775 h 2263775"/>
              <a:gd name="connsiteX44" fmla="*/ 419100 w 917575"/>
              <a:gd name="connsiteY44" fmla="*/ 57150 h 2263775"/>
              <a:gd name="connsiteX45" fmla="*/ 444500 w 917575"/>
              <a:gd name="connsiteY45" fmla="*/ 0 h 2263775"/>
              <a:gd name="connsiteX0" fmla="*/ 917575 w 917575"/>
              <a:gd name="connsiteY0" fmla="*/ 2263775 h 2263775"/>
              <a:gd name="connsiteX1" fmla="*/ 901700 w 917575"/>
              <a:gd name="connsiteY1" fmla="*/ 2206625 h 2263775"/>
              <a:gd name="connsiteX2" fmla="*/ 869950 w 917575"/>
              <a:gd name="connsiteY2" fmla="*/ 2162175 h 2263775"/>
              <a:gd name="connsiteX3" fmla="*/ 831850 w 917575"/>
              <a:gd name="connsiteY3" fmla="*/ 2149475 h 2263775"/>
              <a:gd name="connsiteX4" fmla="*/ 777875 w 917575"/>
              <a:gd name="connsiteY4" fmla="*/ 2152650 h 2263775"/>
              <a:gd name="connsiteX5" fmla="*/ 736600 w 917575"/>
              <a:gd name="connsiteY5" fmla="*/ 2149475 h 2263775"/>
              <a:gd name="connsiteX6" fmla="*/ 701675 w 917575"/>
              <a:gd name="connsiteY6" fmla="*/ 2130425 h 2263775"/>
              <a:gd name="connsiteX7" fmla="*/ 673100 w 917575"/>
              <a:gd name="connsiteY7" fmla="*/ 2143125 h 2263775"/>
              <a:gd name="connsiteX8" fmla="*/ 622300 w 917575"/>
              <a:gd name="connsiteY8" fmla="*/ 2130425 h 2263775"/>
              <a:gd name="connsiteX9" fmla="*/ 587375 w 917575"/>
              <a:gd name="connsiteY9" fmla="*/ 2117725 h 2263775"/>
              <a:gd name="connsiteX10" fmla="*/ 571500 w 917575"/>
              <a:gd name="connsiteY10" fmla="*/ 2111375 h 2263775"/>
              <a:gd name="connsiteX11" fmla="*/ 511175 w 917575"/>
              <a:gd name="connsiteY11" fmla="*/ 2117725 h 2263775"/>
              <a:gd name="connsiteX12" fmla="*/ 457200 w 917575"/>
              <a:gd name="connsiteY12" fmla="*/ 2073275 h 2263775"/>
              <a:gd name="connsiteX13" fmla="*/ 425450 w 917575"/>
              <a:gd name="connsiteY13" fmla="*/ 2051050 h 2263775"/>
              <a:gd name="connsiteX14" fmla="*/ 390525 w 917575"/>
              <a:gd name="connsiteY14" fmla="*/ 2038350 h 2263775"/>
              <a:gd name="connsiteX15" fmla="*/ 365125 w 917575"/>
              <a:gd name="connsiteY15" fmla="*/ 2003425 h 2263775"/>
              <a:gd name="connsiteX16" fmla="*/ 317500 w 917575"/>
              <a:gd name="connsiteY16" fmla="*/ 1990725 h 2263775"/>
              <a:gd name="connsiteX17" fmla="*/ 279400 w 917575"/>
              <a:gd name="connsiteY17" fmla="*/ 1968500 h 2263775"/>
              <a:gd name="connsiteX18" fmla="*/ 244475 w 917575"/>
              <a:gd name="connsiteY18" fmla="*/ 1971675 h 2263775"/>
              <a:gd name="connsiteX19" fmla="*/ 228600 w 917575"/>
              <a:gd name="connsiteY19" fmla="*/ 1949450 h 2263775"/>
              <a:gd name="connsiteX20" fmla="*/ 184150 w 917575"/>
              <a:gd name="connsiteY20" fmla="*/ 1936750 h 2263775"/>
              <a:gd name="connsiteX21" fmla="*/ 158750 w 917575"/>
              <a:gd name="connsiteY21" fmla="*/ 1943100 h 2263775"/>
              <a:gd name="connsiteX22" fmla="*/ 111125 w 917575"/>
              <a:gd name="connsiteY22" fmla="*/ 1936750 h 2263775"/>
              <a:gd name="connsiteX23" fmla="*/ 66675 w 917575"/>
              <a:gd name="connsiteY23" fmla="*/ 1952625 h 2263775"/>
              <a:gd name="connsiteX24" fmla="*/ 0 w 917575"/>
              <a:gd name="connsiteY24" fmla="*/ 1946275 h 2263775"/>
              <a:gd name="connsiteX25" fmla="*/ 0 w 917575"/>
              <a:gd name="connsiteY25" fmla="*/ 1946275 h 2263775"/>
              <a:gd name="connsiteX26" fmla="*/ 3175 w 917575"/>
              <a:gd name="connsiteY26" fmla="*/ 765175 h 2263775"/>
              <a:gd name="connsiteX27" fmla="*/ 28575 w 917575"/>
              <a:gd name="connsiteY27" fmla="*/ 739775 h 2263775"/>
              <a:gd name="connsiteX28" fmla="*/ 57150 w 917575"/>
              <a:gd name="connsiteY28" fmla="*/ 692150 h 2263775"/>
              <a:gd name="connsiteX29" fmla="*/ 85725 w 917575"/>
              <a:gd name="connsiteY29" fmla="*/ 701675 h 2263775"/>
              <a:gd name="connsiteX30" fmla="*/ 158750 w 917575"/>
              <a:gd name="connsiteY30" fmla="*/ 660400 h 2263775"/>
              <a:gd name="connsiteX31" fmla="*/ 174625 w 917575"/>
              <a:gd name="connsiteY31" fmla="*/ 603250 h 2263775"/>
              <a:gd name="connsiteX32" fmla="*/ 187325 w 917575"/>
              <a:gd name="connsiteY32" fmla="*/ 546100 h 2263775"/>
              <a:gd name="connsiteX33" fmla="*/ 222250 w 917575"/>
              <a:gd name="connsiteY33" fmla="*/ 482600 h 2263775"/>
              <a:gd name="connsiteX34" fmla="*/ 288925 w 917575"/>
              <a:gd name="connsiteY34" fmla="*/ 444500 h 2263775"/>
              <a:gd name="connsiteX35" fmla="*/ 327025 w 917575"/>
              <a:gd name="connsiteY35" fmla="*/ 428625 h 2263775"/>
              <a:gd name="connsiteX36" fmla="*/ 342900 w 917575"/>
              <a:gd name="connsiteY36" fmla="*/ 390525 h 2263775"/>
              <a:gd name="connsiteX37" fmla="*/ 352425 w 917575"/>
              <a:gd name="connsiteY37" fmla="*/ 352425 h 2263775"/>
              <a:gd name="connsiteX38" fmla="*/ 403225 w 917575"/>
              <a:gd name="connsiteY38" fmla="*/ 320675 h 2263775"/>
              <a:gd name="connsiteX39" fmla="*/ 400050 w 917575"/>
              <a:gd name="connsiteY39" fmla="*/ 276225 h 2263775"/>
              <a:gd name="connsiteX40" fmla="*/ 441325 w 917575"/>
              <a:gd name="connsiteY40" fmla="*/ 222250 h 2263775"/>
              <a:gd name="connsiteX41" fmla="*/ 469900 w 917575"/>
              <a:gd name="connsiteY41" fmla="*/ 171450 h 2263775"/>
              <a:gd name="connsiteX42" fmla="*/ 441325 w 917575"/>
              <a:gd name="connsiteY42" fmla="*/ 104775 h 2263775"/>
              <a:gd name="connsiteX43" fmla="*/ 419100 w 917575"/>
              <a:gd name="connsiteY43" fmla="*/ 57150 h 2263775"/>
              <a:gd name="connsiteX44" fmla="*/ 444500 w 917575"/>
              <a:gd name="connsiteY44" fmla="*/ 0 h 2263775"/>
              <a:gd name="connsiteX0" fmla="*/ 917575 w 917575"/>
              <a:gd name="connsiteY0" fmla="*/ 2263775 h 2263775"/>
              <a:gd name="connsiteX1" fmla="*/ 901700 w 917575"/>
              <a:gd name="connsiteY1" fmla="*/ 2206625 h 2263775"/>
              <a:gd name="connsiteX2" fmla="*/ 869950 w 917575"/>
              <a:gd name="connsiteY2" fmla="*/ 2162175 h 2263775"/>
              <a:gd name="connsiteX3" fmla="*/ 831850 w 917575"/>
              <a:gd name="connsiteY3" fmla="*/ 2149475 h 2263775"/>
              <a:gd name="connsiteX4" fmla="*/ 777875 w 917575"/>
              <a:gd name="connsiteY4" fmla="*/ 2152650 h 2263775"/>
              <a:gd name="connsiteX5" fmla="*/ 736600 w 917575"/>
              <a:gd name="connsiteY5" fmla="*/ 2149475 h 2263775"/>
              <a:gd name="connsiteX6" fmla="*/ 701675 w 917575"/>
              <a:gd name="connsiteY6" fmla="*/ 2130425 h 2263775"/>
              <a:gd name="connsiteX7" fmla="*/ 673100 w 917575"/>
              <a:gd name="connsiteY7" fmla="*/ 2143125 h 2263775"/>
              <a:gd name="connsiteX8" fmla="*/ 622300 w 917575"/>
              <a:gd name="connsiteY8" fmla="*/ 2130425 h 2263775"/>
              <a:gd name="connsiteX9" fmla="*/ 587375 w 917575"/>
              <a:gd name="connsiteY9" fmla="*/ 2117725 h 2263775"/>
              <a:gd name="connsiteX10" fmla="*/ 571500 w 917575"/>
              <a:gd name="connsiteY10" fmla="*/ 2111375 h 2263775"/>
              <a:gd name="connsiteX11" fmla="*/ 511175 w 917575"/>
              <a:gd name="connsiteY11" fmla="*/ 2117725 h 2263775"/>
              <a:gd name="connsiteX12" fmla="*/ 457200 w 917575"/>
              <a:gd name="connsiteY12" fmla="*/ 2073275 h 2263775"/>
              <a:gd name="connsiteX13" fmla="*/ 425450 w 917575"/>
              <a:gd name="connsiteY13" fmla="*/ 2051050 h 2263775"/>
              <a:gd name="connsiteX14" fmla="*/ 390525 w 917575"/>
              <a:gd name="connsiteY14" fmla="*/ 2038350 h 2263775"/>
              <a:gd name="connsiteX15" fmla="*/ 365125 w 917575"/>
              <a:gd name="connsiteY15" fmla="*/ 2003425 h 2263775"/>
              <a:gd name="connsiteX16" fmla="*/ 317500 w 917575"/>
              <a:gd name="connsiteY16" fmla="*/ 1990725 h 2263775"/>
              <a:gd name="connsiteX17" fmla="*/ 279400 w 917575"/>
              <a:gd name="connsiteY17" fmla="*/ 1968500 h 2263775"/>
              <a:gd name="connsiteX18" fmla="*/ 244475 w 917575"/>
              <a:gd name="connsiteY18" fmla="*/ 1971675 h 2263775"/>
              <a:gd name="connsiteX19" fmla="*/ 228600 w 917575"/>
              <a:gd name="connsiteY19" fmla="*/ 1949450 h 2263775"/>
              <a:gd name="connsiteX20" fmla="*/ 184150 w 917575"/>
              <a:gd name="connsiteY20" fmla="*/ 1936750 h 2263775"/>
              <a:gd name="connsiteX21" fmla="*/ 158750 w 917575"/>
              <a:gd name="connsiteY21" fmla="*/ 1943100 h 2263775"/>
              <a:gd name="connsiteX22" fmla="*/ 111125 w 917575"/>
              <a:gd name="connsiteY22" fmla="*/ 1936750 h 2263775"/>
              <a:gd name="connsiteX23" fmla="*/ 66675 w 917575"/>
              <a:gd name="connsiteY23" fmla="*/ 1952625 h 2263775"/>
              <a:gd name="connsiteX24" fmla="*/ 0 w 917575"/>
              <a:gd name="connsiteY24" fmla="*/ 1946275 h 2263775"/>
              <a:gd name="connsiteX25" fmla="*/ 3175 w 917575"/>
              <a:gd name="connsiteY25" fmla="*/ 765175 h 2263775"/>
              <a:gd name="connsiteX26" fmla="*/ 28575 w 917575"/>
              <a:gd name="connsiteY26" fmla="*/ 739775 h 2263775"/>
              <a:gd name="connsiteX27" fmla="*/ 57150 w 917575"/>
              <a:gd name="connsiteY27" fmla="*/ 692150 h 2263775"/>
              <a:gd name="connsiteX28" fmla="*/ 85725 w 917575"/>
              <a:gd name="connsiteY28" fmla="*/ 701675 h 2263775"/>
              <a:gd name="connsiteX29" fmla="*/ 158750 w 917575"/>
              <a:gd name="connsiteY29" fmla="*/ 660400 h 2263775"/>
              <a:gd name="connsiteX30" fmla="*/ 174625 w 917575"/>
              <a:gd name="connsiteY30" fmla="*/ 603250 h 2263775"/>
              <a:gd name="connsiteX31" fmla="*/ 187325 w 917575"/>
              <a:gd name="connsiteY31" fmla="*/ 546100 h 2263775"/>
              <a:gd name="connsiteX32" fmla="*/ 222250 w 917575"/>
              <a:gd name="connsiteY32" fmla="*/ 482600 h 2263775"/>
              <a:gd name="connsiteX33" fmla="*/ 288925 w 917575"/>
              <a:gd name="connsiteY33" fmla="*/ 444500 h 2263775"/>
              <a:gd name="connsiteX34" fmla="*/ 327025 w 917575"/>
              <a:gd name="connsiteY34" fmla="*/ 428625 h 2263775"/>
              <a:gd name="connsiteX35" fmla="*/ 342900 w 917575"/>
              <a:gd name="connsiteY35" fmla="*/ 390525 h 2263775"/>
              <a:gd name="connsiteX36" fmla="*/ 352425 w 917575"/>
              <a:gd name="connsiteY36" fmla="*/ 352425 h 2263775"/>
              <a:gd name="connsiteX37" fmla="*/ 403225 w 917575"/>
              <a:gd name="connsiteY37" fmla="*/ 320675 h 2263775"/>
              <a:gd name="connsiteX38" fmla="*/ 400050 w 917575"/>
              <a:gd name="connsiteY38" fmla="*/ 276225 h 2263775"/>
              <a:gd name="connsiteX39" fmla="*/ 441325 w 917575"/>
              <a:gd name="connsiteY39" fmla="*/ 222250 h 2263775"/>
              <a:gd name="connsiteX40" fmla="*/ 469900 w 917575"/>
              <a:gd name="connsiteY40" fmla="*/ 171450 h 2263775"/>
              <a:gd name="connsiteX41" fmla="*/ 441325 w 917575"/>
              <a:gd name="connsiteY41" fmla="*/ 104775 h 2263775"/>
              <a:gd name="connsiteX42" fmla="*/ 419100 w 917575"/>
              <a:gd name="connsiteY42" fmla="*/ 57150 h 2263775"/>
              <a:gd name="connsiteX43" fmla="*/ 444500 w 917575"/>
              <a:gd name="connsiteY43" fmla="*/ 0 h 2263775"/>
              <a:gd name="connsiteX0" fmla="*/ 917575 w 917575"/>
              <a:gd name="connsiteY0" fmla="*/ 2263775 h 2263775"/>
              <a:gd name="connsiteX1" fmla="*/ 901700 w 917575"/>
              <a:gd name="connsiteY1" fmla="*/ 2206625 h 2263775"/>
              <a:gd name="connsiteX2" fmla="*/ 869950 w 917575"/>
              <a:gd name="connsiteY2" fmla="*/ 2162175 h 2263775"/>
              <a:gd name="connsiteX3" fmla="*/ 831850 w 917575"/>
              <a:gd name="connsiteY3" fmla="*/ 2149475 h 2263775"/>
              <a:gd name="connsiteX4" fmla="*/ 777875 w 917575"/>
              <a:gd name="connsiteY4" fmla="*/ 2152650 h 2263775"/>
              <a:gd name="connsiteX5" fmla="*/ 736600 w 917575"/>
              <a:gd name="connsiteY5" fmla="*/ 2149475 h 2263775"/>
              <a:gd name="connsiteX6" fmla="*/ 701675 w 917575"/>
              <a:gd name="connsiteY6" fmla="*/ 2130425 h 2263775"/>
              <a:gd name="connsiteX7" fmla="*/ 673100 w 917575"/>
              <a:gd name="connsiteY7" fmla="*/ 2143125 h 2263775"/>
              <a:gd name="connsiteX8" fmla="*/ 622300 w 917575"/>
              <a:gd name="connsiteY8" fmla="*/ 2130425 h 2263775"/>
              <a:gd name="connsiteX9" fmla="*/ 587375 w 917575"/>
              <a:gd name="connsiteY9" fmla="*/ 2117725 h 2263775"/>
              <a:gd name="connsiteX10" fmla="*/ 571500 w 917575"/>
              <a:gd name="connsiteY10" fmla="*/ 2111375 h 2263775"/>
              <a:gd name="connsiteX11" fmla="*/ 511175 w 917575"/>
              <a:gd name="connsiteY11" fmla="*/ 2117725 h 2263775"/>
              <a:gd name="connsiteX12" fmla="*/ 457200 w 917575"/>
              <a:gd name="connsiteY12" fmla="*/ 2073275 h 2263775"/>
              <a:gd name="connsiteX13" fmla="*/ 425450 w 917575"/>
              <a:gd name="connsiteY13" fmla="*/ 2051050 h 2263775"/>
              <a:gd name="connsiteX14" fmla="*/ 390525 w 917575"/>
              <a:gd name="connsiteY14" fmla="*/ 2038350 h 2263775"/>
              <a:gd name="connsiteX15" fmla="*/ 365125 w 917575"/>
              <a:gd name="connsiteY15" fmla="*/ 2003425 h 2263775"/>
              <a:gd name="connsiteX16" fmla="*/ 317500 w 917575"/>
              <a:gd name="connsiteY16" fmla="*/ 1990725 h 2263775"/>
              <a:gd name="connsiteX17" fmla="*/ 279400 w 917575"/>
              <a:gd name="connsiteY17" fmla="*/ 1968500 h 2263775"/>
              <a:gd name="connsiteX18" fmla="*/ 244475 w 917575"/>
              <a:gd name="connsiteY18" fmla="*/ 1971675 h 2263775"/>
              <a:gd name="connsiteX19" fmla="*/ 228600 w 917575"/>
              <a:gd name="connsiteY19" fmla="*/ 1949450 h 2263775"/>
              <a:gd name="connsiteX20" fmla="*/ 184150 w 917575"/>
              <a:gd name="connsiteY20" fmla="*/ 1936750 h 2263775"/>
              <a:gd name="connsiteX21" fmla="*/ 158750 w 917575"/>
              <a:gd name="connsiteY21" fmla="*/ 1943100 h 2263775"/>
              <a:gd name="connsiteX22" fmla="*/ 111125 w 917575"/>
              <a:gd name="connsiteY22" fmla="*/ 1936750 h 2263775"/>
              <a:gd name="connsiteX23" fmla="*/ 0 w 917575"/>
              <a:gd name="connsiteY23" fmla="*/ 1946275 h 2263775"/>
              <a:gd name="connsiteX24" fmla="*/ 3175 w 917575"/>
              <a:gd name="connsiteY24" fmla="*/ 765175 h 2263775"/>
              <a:gd name="connsiteX25" fmla="*/ 28575 w 917575"/>
              <a:gd name="connsiteY25" fmla="*/ 739775 h 2263775"/>
              <a:gd name="connsiteX26" fmla="*/ 57150 w 917575"/>
              <a:gd name="connsiteY26" fmla="*/ 692150 h 2263775"/>
              <a:gd name="connsiteX27" fmla="*/ 85725 w 917575"/>
              <a:gd name="connsiteY27" fmla="*/ 701675 h 2263775"/>
              <a:gd name="connsiteX28" fmla="*/ 158750 w 917575"/>
              <a:gd name="connsiteY28" fmla="*/ 660400 h 2263775"/>
              <a:gd name="connsiteX29" fmla="*/ 174625 w 917575"/>
              <a:gd name="connsiteY29" fmla="*/ 603250 h 2263775"/>
              <a:gd name="connsiteX30" fmla="*/ 187325 w 917575"/>
              <a:gd name="connsiteY30" fmla="*/ 546100 h 2263775"/>
              <a:gd name="connsiteX31" fmla="*/ 222250 w 917575"/>
              <a:gd name="connsiteY31" fmla="*/ 482600 h 2263775"/>
              <a:gd name="connsiteX32" fmla="*/ 288925 w 917575"/>
              <a:gd name="connsiteY32" fmla="*/ 444500 h 2263775"/>
              <a:gd name="connsiteX33" fmla="*/ 327025 w 917575"/>
              <a:gd name="connsiteY33" fmla="*/ 428625 h 2263775"/>
              <a:gd name="connsiteX34" fmla="*/ 342900 w 917575"/>
              <a:gd name="connsiteY34" fmla="*/ 390525 h 2263775"/>
              <a:gd name="connsiteX35" fmla="*/ 352425 w 917575"/>
              <a:gd name="connsiteY35" fmla="*/ 352425 h 2263775"/>
              <a:gd name="connsiteX36" fmla="*/ 403225 w 917575"/>
              <a:gd name="connsiteY36" fmla="*/ 320675 h 2263775"/>
              <a:gd name="connsiteX37" fmla="*/ 400050 w 917575"/>
              <a:gd name="connsiteY37" fmla="*/ 276225 h 2263775"/>
              <a:gd name="connsiteX38" fmla="*/ 441325 w 917575"/>
              <a:gd name="connsiteY38" fmla="*/ 222250 h 2263775"/>
              <a:gd name="connsiteX39" fmla="*/ 469900 w 917575"/>
              <a:gd name="connsiteY39" fmla="*/ 171450 h 2263775"/>
              <a:gd name="connsiteX40" fmla="*/ 441325 w 917575"/>
              <a:gd name="connsiteY40" fmla="*/ 104775 h 2263775"/>
              <a:gd name="connsiteX41" fmla="*/ 419100 w 917575"/>
              <a:gd name="connsiteY41" fmla="*/ 57150 h 2263775"/>
              <a:gd name="connsiteX42" fmla="*/ 444500 w 917575"/>
              <a:gd name="connsiteY42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454025 w 914400"/>
              <a:gd name="connsiteY12" fmla="*/ 2073275 h 2263775"/>
              <a:gd name="connsiteX13" fmla="*/ 422275 w 914400"/>
              <a:gd name="connsiteY13" fmla="*/ 2051050 h 2263775"/>
              <a:gd name="connsiteX14" fmla="*/ 387350 w 914400"/>
              <a:gd name="connsiteY14" fmla="*/ 2038350 h 2263775"/>
              <a:gd name="connsiteX15" fmla="*/ 361950 w 914400"/>
              <a:gd name="connsiteY15" fmla="*/ 2003425 h 2263775"/>
              <a:gd name="connsiteX16" fmla="*/ 314325 w 914400"/>
              <a:gd name="connsiteY16" fmla="*/ 1990725 h 2263775"/>
              <a:gd name="connsiteX17" fmla="*/ 276225 w 914400"/>
              <a:gd name="connsiteY17" fmla="*/ 1968500 h 2263775"/>
              <a:gd name="connsiteX18" fmla="*/ 241300 w 914400"/>
              <a:gd name="connsiteY18" fmla="*/ 1971675 h 2263775"/>
              <a:gd name="connsiteX19" fmla="*/ 225425 w 914400"/>
              <a:gd name="connsiteY19" fmla="*/ 1949450 h 2263775"/>
              <a:gd name="connsiteX20" fmla="*/ 180975 w 914400"/>
              <a:gd name="connsiteY20" fmla="*/ 1936750 h 2263775"/>
              <a:gd name="connsiteX21" fmla="*/ 155575 w 914400"/>
              <a:gd name="connsiteY21" fmla="*/ 1943100 h 2263775"/>
              <a:gd name="connsiteX22" fmla="*/ 107950 w 914400"/>
              <a:gd name="connsiteY22" fmla="*/ 1936750 h 2263775"/>
              <a:gd name="connsiteX23" fmla="*/ 0 w 914400"/>
              <a:gd name="connsiteY23" fmla="*/ 765175 h 2263775"/>
              <a:gd name="connsiteX24" fmla="*/ 25400 w 914400"/>
              <a:gd name="connsiteY24" fmla="*/ 739775 h 2263775"/>
              <a:gd name="connsiteX25" fmla="*/ 53975 w 914400"/>
              <a:gd name="connsiteY25" fmla="*/ 692150 h 2263775"/>
              <a:gd name="connsiteX26" fmla="*/ 82550 w 914400"/>
              <a:gd name="connsiteY26" fmla="*/ 701675 h 2263775"/>
              <a:gd name="connsiteX27" fmla="*/ 155575 w 914400"/>
              <a:gd name="connsiteY27" fmla="*/ 660400 h 2263775"/>
              <a:gd name="connsiteX28" fmla="*/ 171450 w 914400"/>
              <a:gd name="connsiteY28" fmla="*/ 603250 h 2263775"/>
              <a:gd name="connsiteX29" fmla="*/ 184150 w 914400"/>
              <a:gd name="connsiteY29" fmla="*/ 546100 h 2263775"/>
              <a:gd name="connsiteX30" fmla="*/ 219075 w 914400"/>
              <a:gd name="connsiteY30" fmla="*/ 482600 h 2263775"/>
              <a:gd name="connsiteX31" fmla="*/ 285750 w 914400"/>
              <a:gd name="connsiteY31" fmla="*/ 444500 h 2263775"/>
              <a:gd name="connsiteX32" fmla="*/ 323850 w 914400"/>
              <a:gd name="connsiteY32" fmla="*/ 428625 h 2263775"/>
              <a:gd name="connsiteX33" fmla="*/ 339725 w 914400"/>
              <a:gd name="connsiteY33" fmla="*/ 390525 h 2263775"/>
              <a:gd name="connsiteX34" fmla="*/ 349250 w 914400"/>
              <a:gd name="connsiteY34" fmla="*/ 352425 h 2263775"/>
              <a:gd name="connsiteX35" fmla="*/ 400050 w 914400"/>
              <a:gd name="connsiteY35" fmla="*/ 320675 h 2263775"/>
              <a:gd name="connsiteX36" fmla="*/ 396875 w 914400"/>
              <a:gd name="connsiteY36" fmla="*/ 276225 h 2263775"/>
              <a:gd name="connsiteX37" fmla="*/ 438150 w 914400"/>
              <a:gd name="connsiteY37" fmla="*/ 222250 h 2263775"/>
              <a:gd name="connsiteX38" fmla="*/ 466725 w 914400"/>
              <a:gd name="connsiteY38" fmla="*/ 171450 h 2263775"/>
              <a:gd name="connsiteX39" fmla="*/ 438150 w 914400"/>
              <a:gd name="connsiteY39" fmla="*/ 104775 h 2263775"/>
              <a:gd name="connsiteX40" fmla="*/ 415925 w 914400"/>
              <a:gd name="connsiteY40" fmla="*/ 57150 h 2263775"/>
              <a:gd name="connsiteX41" fmla="*/ 441325 w 914400"/>
              <a:gd name="connsiteY41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454025 w 914400"/>
              <a:gd name="connsiteY12" fmla="*/ 2073275 h 2263775"/>
              <a:gd name="connsiteX13" fmla="*/ 422275 w 914400"/>
              <a:gd name="connsiteY13" fmla="*/ 2051050 h 2263775"/>
              <a:gd name="connsiteX14" fmla="*/ 387350 w 914400"/>
              <a:gd name="connsiteY14" fmla="*/ 2038350 h 2263775"/>
              <a:gd name="connsiteX15" fmla="*/ 361950 w 914400"/>
              <a:gd name="connsiteY15" fmla="*/ 2003425 h 2263775"/>
              <a:gd name="connsiteX16" fmla="*/ 314325 w 914400"/>
              <a:gd name="connsiteY16" fmla="*/ 1990725 h 2263775"/>
              <a:gd name="connsiteX17" fmla="*/ 276225 w 914400"/>
              <a:gd name="connsiteY17" fmla="*/ 1968500 h 2263775"/>
              <a:gd name="connsiteX18" fmla="*/ 241300 w 914400"/>
              <a:gd name="connsiteY18" fmla="*/ 1971675 h 2263775"/>
              <a:gd name="connsiteX19" fmla="*/ 225425 w 914400"/>
              <a:gd name="connsiteY19" fmla="*/ 1949450 h 2263775"/>
              <a:gd name="connsiteX20" fmla="*/ 180975 w 914400"/>
              <a:gd name="connsiteY20" fmla="*/ 1936750 h 2263775"/>
              <a:gd name="connsiteX21" fmla="*/ 155575 w 914400"/>
              <a:gd name="connsiteY21" fmla="*/ 1943100 h 2263775"/>
              <a:gd name="connsiteX22" fmla="*/ 0 w 914400"/>
              <a:gd name="connsiteY22" fmla="*/ 765175 h 2263775"/>
              <a:gd name="connsiteX23" fmla="*/ 25400 w 914400"/>
              <a:gd name="connsiteY23" fmla="*/ 739775 h 2263775"/>
              <a:gd name="connsiteX24" fmla="*/ 53975 w 914400"/>
              <a:gd name="connsiteY24" fmla="*/ 692150 h 2263775"/>
              <a:gd name="connsiteX25" fmla="*/ 82550 w 914400"/>
              <a:gd name="connsiteY25" fmla="*/ 701675 h 2263775"/>
              <a:gd name="connsiteX26" fmla="*/ 155575 w 914400"/>
              <a:gd name="connsiteY26" fmla="*/ 660400 h 2263775"/>
              <a:gd name="connsiteX27" fmla="*/ 171450 w 914400"/>
              <a:gd name="connsiteY27" fmla="*/ 603250 h 2263775"/>
              <a:gd name="connsiteX28" fmla="*/ 184150 w 914400"/>
              <a:gd name="connsiteY28" fmla="*/ 546100 h 2263775"/>
              <a:gd name="connsiteX29" fmla="*/ 219075 w 914400"/>
              <a:gd name="connsiteY29" fmla="*/ 482600 h 2263775"/>
              <a:gd name="connsiteX30" fmla="*/ 285750 w 914400"/>
              <a:gd name="connsiteY30" fmla="*/ 444500 h 2263775"/>
              <a:gd name="connsiteX31" fmla="*/ 323850 w 914400"/>
              <a:gd name="connsiteY31" fmla="*/ 428625 h 2263775"/>
              <a:gd name="connsiteX32" fmla="*/ 339725 w 914400"/>
              <a:gd name="connsiteY32" fmla="*/ 390525 h 2263775"/>
              <a:gd name="connsiteX33" fmla="*/ 349250 w 914400"/>
              <a:gd name="connsiteY33" fmla="*/ 352425 h 2263775"/>
              <a:gd name="connsiteX34" fmla="*/ 400050 w 914400"/>
              <a:gd name="connsiteY34" fmla="*/ 320675 h 2263775"/>
              <a:gd name="connsiteX35" fmla="*/ 396875 w 914400"/>
              <a:gd name="connsiteY35" fmla="*/ 276225 h 2263775"/>
              <a:gd name="connsiteX36" fmla="*/ 438150 w 914400"/>
              <a:gd name="connsiteY36" fmla="*/ 222250 h 2263775"/>
              <a:gd name="connsiteX37" fmla="*/ 466725 w 914400"/>
              <a:gd name="connsiteY37" fmla="*/ 171450 h 2263775"/>
              <a:gd name="connsiteX38" fmla="*/ 438150 w 914400"/>
              <a:gd name="connsiteY38" fmla="*/ 104775 h 2263775"/>
              <a:gd name="connsiteX39" fmla="*/ 415925 w 914400"/>
              <a:gd name="connsiteY39" fmla="*/ 57150 h 2263775"/>
              <a:gd name="connsiteX40" fmla="*/ 441325 w 914400"/>
              <a:gd name="connsiteY40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454025 w 914400"/>
              <a:gd name="connsiteY12" fmla="*/ 2073275 h 2263775"/>
              <a:gd name="connsiteX13" fmla="*/ 422275 w 914400"/>
              <a:gd name="connsiteY13" fmla="*/ 2051050 h 2263775"/>
              <a:gd name="connsiteX14" fmla="*/ 387350 w 914400"/>
              <a:gd name="connsiteY14" fmla="*/ 2038350 h 2263775"/>
              <a:gd name="connsiteX15" fmla="*/ 361950 w 914400"/>
              <a:gd name="connsiteY15" fmla="*/ 2003425 h 2263775"/>
              <a:gd name="connsiteX16" fmla="*/ 314325 w 914400"/>
              <a:gd name="connsiteY16" fmla="*/ 1990725 h 2263775"/>
              <a:gd name="connsiteX17" fmla="*/ 276225 w 914400"/>
              <a:gd name="connsiteY17" fmla="*/ 1968500 h 2263775"/>
              <a:gd name="connsiteX18" fmla="*/ 241300 w 914400"/>
              <a:gd name="connsiteY18" fmla="*/ 1971675 h 2263775"/>
              <a:gd name="connsiteX19" fmla="*/ 225425 w 914400"/>
              <a:gd name="connsiteY19" fmla="*/ 1949450 h 2263775"/>
              <a:gd name="connsiteX20" fmla="*/ 180975 w 914400"/>
              <a:gd name="connsiteY20" fmla="*/ 1936750 h 2263775"/>
              <a:gd name="connsiteX21" fmla="*/ 0 w 914400"/>
              <a:gd name="connsiteY21" fmla="*/ 765175 h 2263775"/>
              <a:gd name="connsiteX22" fmla="*/ 25400 w 914400"/>
              <a:gd name="connsiteY22" fmla="*/ 739775 h 2263775"/>
              <a:gd name="connsiteX23" fmla="*/ 53975 w 914400"/>
              <a:gd name="connsiteY23" fmla="*/ 692150 h 2263775"/>
              <a:gd name="connsiteX24" fmla="*/ 82550 w 914400"/>
              <a:gd name="connsiteY24" fmla="*/ 701675 h 2263775"/>
              <a:gd name="connsiteX25" fmla="*/ 155575 w 914400"/>
              <a:gd name="connsiteY25" fmla="*/ 660400 h 2263775"/>
              <a:gd name="connsiteX26" fmla="*/ 171450 w 914400"/>
              <a:gd name="connsiteY26" fmla="*/ 603250 h 2263775"/>
              <a:gd name="connsiteX27" fmla="*/ 184150 w 914400"/>
              <a:gd name="connsiteY27" fmla="*/ 546100 h 2263775"/>
              <a:gd name="connsiteX28" fmla="*/ 219075 w 914400"/>
              <a:gd name="connsiteY28" fmla="*/ 482600 h 2263775"/>
              <a:gd name="connsiteX29" fmla="*/ 285750 w 914400"/>
              <a:gd name="connsiteY29" fmla="*/ 444500 h 2263775"/>
              <a:gd name="connsiteX30" fmla="*/ 323850 w 914400"/>
              <a:gd name="connsiteY30" fmla="*/ 428625 h 2263775"/>
              <a:gd name="connsiteX31" fmla="*/ 339725 w 914400"/>
              <a:gd name="connsiteY31" fmla="*/ 390525 h 2263775"/>
              <a:gd name="connsiteX32" fmla="*/ 349250 w 914400"/>
              <a:gd name="connsiteY32" fmla="*/ 352425 h 2263775"/>
              <a:gd name="connsiteX33" fmla="*/ 400050 w 914400"/>
              <a:gd name="connsiteY33" fmla="*/ 320675 h 2263775"/>
              <a:gd name="connsiteX34" fmla="*/ 396875 w 914400"/>
              <a:gd name="connsiteY34" fmla="*/ 276225 h 2263775"/>
              <a:gd name="connsiteX35" fmla="*/ 438150 w 914400"/>
              <a:gd name="connsiteY35" fmla="*/ 222250 h 2263775"/>
              <a:gd name="connsiteX36" fmla="*/ 466725 w 914400"/>
              <a:gd name="connsiteY36" fmla="*/ 171450 h 2263775"/>
              <a:gd name="connsiteX37" fmla="*/ 438150 w 914400"/>
              <a:gd name="connsiteY37" fmla="*/ 104775 h 2263775"/>
              <a:gd name="connsiteX38" fmla="*/ 415925 w 914400"/>
              <a:gd name="connsiteY38" fmla="*/ 57150 h 2263775"/>
              <a:gd name="connsiteX39" fmla="*/ 441325 w 914400"/>
              <a:gd name="connsiteY39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454025 w 914400"/>
              <a:gd name="connsiteY12" fmla="*/ 2073275 h 2263775"/>
              <a:gd name="connsiteX13" fmla="*/ 422275 w 914400"/>
              <a:gd name="connsiteY13" fmla="*/ 2051050 h 2263775"/>
              <a:gd name="connsiteX14" fmla="*/ 387350 w 914400"/>
              <a:gd name="connsiteY14" fmla="*/ 2038350 h 2263775"/>
              <a:gd name="connsiteX15" fmla="*/ 361950 w 914400"/>
              <a:gd name="connsiteY15" fmla="*/ 2003425 h 2263775"/>
              <a:gd name="connsiteX16" fmla="*/ 314325 w 914400"/>
              <a:gd name="connsiteY16" fmla="*/ 1990725 h 2263775"/>
              <a:gd name="connsiteX17" fmla="*/ 276225 w 914400"/>
              <a:gd name="connsiteY17" fmla="*/ 1968500 h 2263775"/>
              <a:gd name="connsiteX18" fmla="*/ 241300 w 914400"/>
              <a:gd name="connsiteY18" fmla="*/ 1971675 h 2263775"/>
              <a:gd name="connsiteX19" fmla="*/ 225425 w 914400"/>
              <a:gd name="connsiteY19" fmla="*/ 1949450 h 2263775"/>
              <a:gd name="connsiteX20" fmla="*/ 0 w 914400"/>
              <a:gd name="connsiteY20" fmla="*/ 765175 h 2263775"/>
              <a:gd name="connsiteX21" fmla="*/ 25400 w 914400"/>
              <a:gd name="connsiteY21" fmla="*/ 739775 h 2263775"/>
              <a:gd name="connsiteX22" fmla="*/ 53975 w 914400"/>
              <a:gd name="connsiteY22" fmla="*/ 692150 h 2263775"/>
              <a:gd name="connsiteX23" fmla="*/ 82550 w 914400"/>
              <a:gd name="connsiteY23" fmla="*/ 701675 h 2263775"/>
              <a:gd name="connsiteX24" fmla="*/ 155575 w 914400"/>
              <a:gd name="connsiteY24" fmla="*/ 660400 h 2263775"/>
              <a:gd name="connsiteX25" fmla="*/ 171450 w 914400"/>
              <a:gd name="connsiteY25" fmla="*/ 603250 h 2263775"/>
              <a:gd name="connsiteX26" fmla="*/ 184150 w 914400"/>
              <a:gd name="connsiteY26" fmla="*/ 546100 h 2263775"/>
              <a:gd name="connsiteX27" fmla="*/ 219075 w 914400"/>
              <a:gd name="connsiteY27" fmla="*/ 482600 h 2263775"/>
              <a:gd name="connsiteX28" fmla="*/ 285750 w 914400"/>
              <a:gd name="connsiteY28" fmla="*/ 444500 h 2263775"/>
              <a:gd name="connsiteX29" fmla="*/ 323850 w 914400"/>
              <a:gd name="connsiteY29" fmla="*/ 428625 h 2263775"/>
              <a:gd name="connsiteX30" fmla="*/ 339725 w 914400"/>
              <a:gd name="connsiteY30" fmla="*/ 390525 h 2263775"/>
              <a:gd name="connsiteX31" fmla="*/ 349250 w 914400"/>
              <a:gd name="connsiteY31" fmla="*/ 352425 h 2263775"/>
              <a:gd name="connsiteX32" fmla="*/ 400050 w 914400"/>
              <a:gd name="connsiteY32" fmla="*/ 320675 h 2263775"/>
              <a:gd name="connsiteX33" fmla="*/ 396875 w 914400"/>
              <a:gd name="connsiteY33" fmla="*/ 276225 h 2263775"/>
              <a:gd name="connsiteX34" fmla="*/ 438150 w 914400"/>
              <a:gd name="connsiteY34" fmla="*/ 222250 h 2263775"/>
              <a:gd name="connsiteX35" fmla="*/ 466725 w 914400"/>
              <a:gd name="connsiteY35" fmla="*/ 171450 h 2263775"/>
              <a:gd name="connsiteX36" fmla="*/ 438150 w 914400"/>
              <a:gd name="connsiteY36" fmla="*/ 104775 h 2263775"/>
              <a:gd name="connsiteX37" fmla="*/ 415925 w 914400"/>
              <a:gd name="connsiteY37" fmla="*/ 57150 h 2263775"/>
              <a:gd name="connsiteX38" fmla="*/ 441325 w 914400"/>
              <a:gd name="connsiteY38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454025 w 914400"/>
              <a:gd name="connsiteY12" fmla="*/ 2073275 h 2263775"/>
              <a:gd name="connsiteX13" fmla="*/ 422275 w 914400"/>
              <a:gd name="connsiteY13" fmla="*/ 2051050 h 2263775"/>
              <a:gd name="connsiteX14" fmla="*/ 387350 w 914400"/>
              <a:gd name="connsiteY14" fmla="*/ 2038350 h 2263775"/>
              <a:gd name="connsiteX15" fmla="*/ 361950 w 914400"/>
              <a:gd name="connsiteY15" fmla="*/ 2003425 h 2263775"/>
              <a:gd name="connsiteX16" fmla="*/ 314325 w 914400"/>
              <a:gd name="connsiteY16" fmla="*/ 1990725 h 2263775"/>
              <a:gd name="connsiteX17" fmla="*/ 276225 w 914400"/>
              <a:gd name="connsiteY17" fmla="*/ 1968500 h 2263775"/>
              <a:gd name="connsiteX18" fmla="*/ 241300 w 914400"/>
              <a:gd name="connsiteY18" fmla="*/ 1971675 h 2263775"/>
              <a:gd name="connsiteX19" fmla="*/ 0 w 914400"/>
              <a:gd name="connsiteY19" fmla="*/ 765175 h 2263775"/>
              <a:gd name="connsiteX20" fmla="*/ 25400 w 914400"/>
              <a:gd name="connsiteY20" fmla="*/ 739775 h 2263775"/>
              <a:gd name="connsiteX21" fmla="*/ 53975 w 914400"/>
              <a:gd name="connsiteY21" fmla="*/ 692150 h 2263775"/>
              <a:gd name="connsiteX22" fmla="*/ 82550 w 914400"/>
              <a:gd name="connsiteY22" fmla="*/ 701675 h 2263775"/>
              <a:gd name="connsiteX23" fmla="*/ 155575 w 914400"/>
              <a:gd name="connsiteY23" fmla="*/ 660400 h 2263775"/>
              <a:gd name="connsiteX24" fmla="*/ 171450 w 914400"/>
              <a:gd name="connsiteY24" fmla="*/ 603250 h 2263775"/>
              <a:gd name="connsiteX25" fmla="*/ 184150 w 914400"/>
              <a:gd name="connsiteY25" fmla="*/ 546100 h 2263775"/>
              <a:gd name="connsiteX26" fmla="*/ 219075 w 914400"/>
              <a:gd name="connsiteY26" fmla="*/ 482600 h 2263775"/>
              <a:gd name="connsiteX27" fmla="*/ 285750 w 914400"/>
              <a:gd name="connsiteY27" fmla="*/ 444500 h 2263775"/>
              <a:gd name="connsiteX28" fmla="*/ 323850 w 914400"/>
              <a:gd name="connsiteY28" fmla="*/ 428625 h 2263775"/>
              <a:gd name="connsiteX29" fmla="*/ 339725 w 914400"/>
              <a:gd name="connsiteY29" fmla="*/ 390525 h 2263775"/>
              <a:gd name="connsiteX30" fmla="*/ 349250 w 914400"/>
              <a:gd name="connsiteY30" fmla="*/ 352425 h 2263775"/>
              <a:gd name="connsiteX31" fmla="*/ 400050 w 914400"/>
              <a:gd name="connsiteY31" fmla="*/ 320675 h 2263775"/>
              <a:gd name="connsiteX32" fmla="*/ 396875 w 914400"/>
              <a:gd name="connsiteY32" fmla="*/ 276225 h 2263775"/>
              <a:gd name="connsiteX33" fmla="*/ 438150 w 914400"/>
              <a:gd name="connsiteY33" fmla="*/ 222250 h 2263775"/>
              <a:gd name="connsiteX34" fmla="*/ 466725 w 914400"/>
              <a:gd name="connsiteY34" fmla="*/ 171450 h 2263775"/>
              <a:gd name="connsiteX35" fmla="*/ 438150 w 914400"/>
              <a:gd name="connsiteY35" fmla="*/ 104775 h 2263775"/>
              <a:gd name="connsiteX36" fmla="*/ 415925 w 914400"/>
              <a:gd name="connsiteY36" fmla="*/ 57150 h 2263775"/>
              <a:gd name="connsiteX37" fmla="*/ 441325 w 914400"/>
              <a:gd name="connsiteY37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454025 w 914400"/>
              <a:gd name="connsiteY12" fmla="*/ 2073275 h 2263775"/>
              <a:gd name="connsiteX13" fmla="*/ 422275 w 914400"/>
              <a:gd name="connsiteY13" fmla="*/ 2051050 h 2263775"/>
              <a:gd name="connsiteX14" fmla="*/ 387350 w 914400"/>
              <a:gd name="connsiteY14" fmla="*/ 2038350 h 2263775"/>
              <a:gd name="connsiteX15" fmla="*/ 361950 w 914400"/>
              <a:gd name="connsiteY15" fmla="*/ 2003425 h 2263775"/>
              <a:gd name="connsiteX16" fmla="*/ 314325 w 914400"/>
              <a:gd name="connsiteY16" fmla="*/ 1990725 h 2263775"/>
              <a:gd name="connsiteX17" fmla="*/ 241300 w 914400"/>
              <a:gd name="connsiteY17" fmla="*/ 1971675 h 2263775"/>
              <a:gd name="connsiteX18" fmla="*/ 0 w 914400"/>
              <a:gd name="connsiteY18" fmla="*/ 765175 h 2263775"/>
              <a:gd name="connsiteX19" fmla="*/ 25400 w 914400"/>
              <a:gd name="connsiteY19" fmla="*/ 739775 h 2263775"/>
              <a:gd name="connsiteX20" fmla="*/ 53975 w 914400"/>
              <a:gd name="connsiteY20" fmla="*/ 692150 h 2263775"/>
              <a:gd name="connsiteX21" fmla="*/ 82550 w 914400"/>
              <a:gd name="connsiteY21" fmla="*/ 701675 h 2263775"/>
              <a:gd name="connsiteX22" fmla="*/ 155575 w 914400"/>
              <a:gd name="connsiteY22" fmla="*/ 660400 h 2263775"/>
              <a:gd name="connsiteX23" fmla="*/ 171450 w 914400"/>
              <a:gd name="connsiteY23" fmla="*/ 603250 h 2263775"/>
              <a:gd name="connsiteX24" fmla="*/ 184150 w 914400"/>
              <a:gd name="connsiteY24" fmla="*/ 546100 h 2263775"/>
              <a:gd name="connsiteX25" fmla="*/ 219075 w 914400"/>
              <a:gd name="connsiteY25" fmla="*/ 482600 h 2263775"/>
              <a:gd name="connsiteX26" fmla="*/ 285750 w 914400"/>
              <a:gd name="connsiteY26" fmla="*/ 444500 h 2263775"/>
              <a:gd name="connsiteX27" fmla="*/ 323850 w 914400"/>
              <a:gd name="connsiteY27" fmla="*/ 428625 h 2263775"/>
              <a:gd name="connsiteX28" fmla="*/ 339725 w 914400"/>
              <a:gd name="connsiteY28" fmla="*/ 390525 h 2263775"/>
              <a:gd name="connsiteX29" fmla="*/ 349250 w 914400"/>
              <a:gd name="connsiteY29" fmla="*/ 352425 h 2263775"/>
              <a:gd name="connsiteX30" fmla="*/ 400050 w 914400"/>
              <a:gd name="connsiteY30" fmla="*/ 320675 h 2263775"/>
              <a:gd name="connsiteX31" fmla="*/ 396875 w 914400"/>
              <a:gd name="connsiteY31" fmla="*/ 276225 h 2263775"/>
              <a:gd name="connsiteX32" fmla="*/ 438150 w 914400"/>
              <a:gd name="connsiteY32" fmla="*/ 222250 h 2263775"/>
              <a:gd name="connsiteX33" fmla="*/ 466725 w 914400"/>
              <a:gd name="connsiteY33" fmla="*/ 171450 h 2263775"/>
              <a:gd name="connsiteX34" fmla="*/ 438150 w 914400"/>
              <a:gd name="connsiteY34" fmla="*/ 104775 h 2263775"/>
              <a:gd name="connsiteX35" fmla="*/ 415925 w 914400"/>
              <a:gd name="connsiteY35" fmla="*/ 57150 h 2263775"/>
              <a:gd name="connsiteX36" fmla="*/ 441325 w 914400"/>
              <a:gd name="connsiteY36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454025 w 914400"/>
              <a:gd name="connsiteY12" fmla="*/ 2073275 h 2263775"/>
              <a:gd name="connsiteX13" fmla="*/ 422275 w 914400"/>
              <a:gd name="connsiteY13" fmla="*/ 2051050 h 2263775"/>
              <a:gd name="connsiteX14" fmla="*/ 387350 w 914400"/>
              <a:gd name="connsiteY14" fmla="*/ 2038350 h 2263775"/>
              <a:gd name="connsiteX15" fmla="*/ 361950 w 914400"/>
              <a:gd name="connsiteY15" fmla="*/ 2003425 h 2263775"/>
              <a:gd name="connsiteX16" fmla="*/ 314325 w 914400"/>
              <a:gd name="connsiteY16" fmla="*/ 1990725 h 2263775"/>
              <a:gd name="connsiteX17" fmla="*/ 0 w 914400"/>
              <a:gd name="connsiteY17" fmla="*/ 765175 h 2263775"/>
              <a:gd name="connsiteX18" fmla="*/ 25400 w 914400"/>
              <a:gd name="connsiteY18" fmla="*/ 739775 h 2263775"/>
              <a:gd name="connsiteX19" fmla="*/ 53975 w 914400"/>
              <a:gd name="connsiteY19" fmla="*/ 692150 h 2263775"/>
              <a:gd name="connsiteX20" fmla="*/ 82550 w 914400"/>
              <a:gd name="connsiteY20" fmla="*/ 701675 h 2263775"/>
              <a:gd name="connsiteX21" fmla="*/ 155575 w 914400"/>
              <a:gd name="connsiteY21" fmla="*/ 660400 h 2263775"/>
              <a:gd name="connsiteX22" fmla="*/ 171450 w 914400"/>
              <a:gd name="connsiteY22" fmla="*/ 603250 h 2263775"/>
              <a:gd name="connsiteX23" fmla="*/ 184150 w 914400"/>
              <a:gd name="connsiteY23" fmla="*/ 546100 h 2263775"/>
              <a:gd name="connsiteX24" fmla="*/ 219075 w 914400"/>
              <a:gd name="connsiteY24" fmla="*/ 482600 h 2263775"/>
              <a:gd name="connsiteX25" fmla="*/ 285750 w 914400"/>
              <a:gd name="connsiteY25" fmla="*/ 444500 h 2263775"/>
              <a:gd name="connsiteX26" fmla="*/ 323850 w 914400"/>
              <a:gd name="connsiteY26" fmla="*/ 428625 h 2263775"/>
              <a:gd name="connsiteX27" fmla="*/ 339725 w 914400"/>
              <a:gd name="connsiteY27" fmla="*/ 390525 h 2263775"/>
              <a:gd name="connsiteX28" fmla="*/ 349250 w 914400"/>
              <a:gd name="connsiteY28" fmla="*/ 352425 h 2263775"/>
              <a:gd name="connsiteX29" fmla="*/ 400050 w 914400"/>
              <a:gd name="connsiteY29" fmla="*/ 320675 h 2263775"/>
              <a:gd name="connsiteX30" fmla="*/ 396875 w 914400"/>
              <a:gd name="connsiteY30" fmla="*/ 276225 h 2263775"/>
              <a:gd name="connsiteX31" fmla="*/ 438150 w 914400"/>
              <a:gd name="connsiteY31" fmla="*/ 222250 h 2263775"/>
              <a:gd name="connsiteX32" fmla="*/ 466725 w 914400"/>
              <a:gd name="connsiteY32" fmla="*/ 171450 h 2263775"/>
              <a:gd name="connsiteX33" fmla="*/ 438150 w 914400"/>
              <a:gd name="connsiteY33" fmla="*/ 104775 h 2263775"/>
              <a:gd name="connsiteX34" fmla="*/ 415925 w 914400"/>
              <a:gd name="connsiteY34" fmla="*/ 57150 h 2263775"/>
              <a:gd name="connsiteX35" fmla="*/ 441325 w 914400"/>
              <a:gd name="connsiteY35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454025 w 914400"/>
              <a:gd name="connsiteY12" fmla="*/ 2073275 h 2263775"/>
              <a:gd name="connsiteX13" fmla="*/ 422275 w 914400"/>
              <a:gd name="connsiteY13" fmla="*/ 2051050 h 2263775"/>
              <a:gd name="connsiteX14" fmla="*/ 387350 w 914400"/>
              <a:gd name="connsiteY14" fmla="*/ 2038350 h 2263775"/>
              <a:gd name="connsiteX15" fmla="*/ 361950 w 914400"/>
              <a:gd name="connsiteY15" fmla="*/ 2003425 h 2263775"/>
              <a:gd name="connsiteX16" fmla="*/ 0 w 914400"/>
              <a:gd name="connsiteY16" fmla="*/ 765175 h 2263775"/>
              <a:gd name="connsiteX17" fmla="*/ 25400 w 914400"/>
              <a:gd name="connsiteY17" fmla="*/ 739775 h 2263775"/>
              <a:gd name="connsiteX18" fmla="*/ 53975 w 914400"/>
              <a:gd name="connsiteY18" fmla="*/ 692150 h 2263775"/>
              <a:gd name="connsiteX19" fmla="*/ 82550 w 914400"/>
              <a:gd name="connsiteY19" fmla="*/ 701675 h 2263775"/>
              <a:gd name="connsiteX20" fmla="*/ 155575 w 914400"/>
              <a:gd name="connsiteY20" fmla="*/ 660400 h 2263775"/>
              <a:gd name="connsiteX21" fmla="*/ 171450 w 914400"/>
              <a:gd name="connsiteY21" fmla="*/ 603250 h 2263775"/>
              <a:gd name="connsiteX22" fmla="*/ 184150 w 914400"/>
              <a:gd name="connsiteY22" fmla="*/ 546100 h 2263775"/>
              <a:gd name="connsiteX23" fmla="*/ 219075 w 914400"/>
              <a:gd name="connsiteY23" fmla="*/ 482600 h 2263775"/>
              <a:gd name="connsiteX24" fmla="*/ 285750 w 914400"/>
              <a:gd name="connsiteY24" fmla="*/ 444500 h 2263775"/>
              <a:gd name="connsiteX25" fmla="*/ 323850 w 914400"/>
              <a:gd name="connsiteY25" fmla="*/ 428625 h 2263775"/>
              <a:gd name="connsiteX26" fmla="*/ 339725 w 914400"/>
              <a:gd name="connsiteY26" fmla="*/ 390525 h 2263775"/>
              <a:gd name="connsiteX27" fmla="*/ 349250 w 914400"/>
              <a:gd name="connsiteY27" fmla="*/ 352425 h 2263775"/>
              <a:gd name="connsiteX28" fmla="*/ 400050 w 914400"/>
              <a:gd name="connsiteY28" fmla="*/ 320675 h 2263775"/>
              <a:gd name="connsiteX29" fmla="*/ 396875 w 914400"/>
              <a:gd name="connsiteY29" fmla="*/ 276225 h 2263775"/>
              <a:gd name="connsiteX30" fmla="*/ 438150 w 914400"/>
              <a:gd name="connsiteY30" fmla="*/ 222250 h 2263775"/>
              <a:gd name="connsiteX31" fmla="*/ 466725 w 914400"/>
              <a:gd name="connsiteY31" fmla="*/ 171450 h 2263775"/>
              <a:gd name="connsiteX32" fmla="*/ 438150 w 914400"/>
              <a:gd name="connsiteY32" fmla="*/ 104775 h 2263775"/>
              <a:gd name="connsiteX33" fmla="*/ 415925 w 914400"/>
              <a:gd name="connsiteY33" fmla="*/ 57150 h 2263775"/>
              <a:gd name="connsiteX34" fmla="*/ 441325 w 914400"/>
              <a:gd name="connsiteY34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454025 w 914400"/>
              <a:gd name="connsiteY12" fmla="*/ 2073275 h 2263775"/>
              <a:gd name="connsiteX13" fmla="*/ 422275 w 914400"/>
              <a:gd name="connsiteY13" fmla="*/ 2051050 h 2263775"/>
              <a:gd name="connsiteX14" fmla="*/ 387350 w 914400"/>
              <a:gd name="connsiteY14" fmla="*/ 2038350 h 2263775"/>
              <a:gd name="connsiteX15" fmla="*/ 0 w 914400"/>
              <a:gd name="connsiteY15" fmla="*/ 765175 h 2263775"/>
              <a:gd name="connsiteX16" fmla="*/ 25400 w 914400"/>
              <a:gd name="connsiteY16" fmla="*/ 739775 h 2263775"/>
              <a:gd name="connsiteX17" fmla="*/ 53975 w 914400"/>
              <a:gd name="connsiteY17" fmla="*/ 692150 h 2263775"/>
              <a:gd name="connsiteX18" fmla="*/ 82550 w 914400"/>
              <a:gd name="connsiteY18" fmla="*/ 701675 h 2263775"/>
              <a:gd name="connsiteX19" fmla="*/ 155575 w 914400"/>
              <a:gd name="connsiteY19" fmla="*/ 660400 h 2263775"/>
              <a:gd name="connsiteX20" fmla="*/ 171450 w 914400"/>
              <a:gd name="connsiteY20" fmla="*/ 603250 h 2263775"/>
              <a:gd name="connsiteX21" fmla="*/ 184150 w 914400"/>
              <a:gd name="connsiteY21" fmla="*/ 546100 h 2263775"/>
              <a:gd name="connsiteX22" fmla="*/ 219075 w 914400"/>
              <a:gd name="connsiteY22" fmla="*/ 482600 h 2263775"/>
              <a:gd name="connsiteX23" fmla="*/ 285750 w 914400"/>
              <a:gd name="connsiteY23" fmla="*/ 444500 h 2263775"/>
              <a:gd name="connsiteX24" fmla="*/ 323850 w 914400"/>
              <a:gd name="connsiteY24" fmla="*/ 428625 h 2263775"/>
              <a:gd name="connsiteX25" fmla="*/ 339725 w 914400"/>
              <a:gd name="connsiteY25" fmla="*/ 390525 h 2263775"/>
              <a:gd name="connsiteX26" fmla="*/ 349250 w 914400"/>
              <a:gd name="connsiteY26" fmla="*/ 352425 h 2263775"/>
              <a:gd name="connsiteX27" fmla="*/ 400050 w 914400"/>
              <a:gd name="connsiteY27" fmla="*/ 320675 h 2263775"/>
              <a:gd name="connsiteX28" fmla="*/ 396875 w 914400"/>
              <a:gd name="connsiteY28" fmla="*/ 276225 h 2263775"/>
              <a:gd name="connsiteX29" fmla="*/ 438150 w 914400"/>
              <a:gd name="connsiteY29" fmla="*/ 222250 h 2263775"/>
              <a:gd name="connsiteX30" fmla="*/ 466725 w 914400"/>
              <a:gd name="connsiteY30" fmla="*/ 171450 h 2263775"/>
              <a:gd name="connsiteX31" fmla="*/ 438150 w 914400"/>
              <a:gd name="connsiteY31" fmla="*/ 104775 h 2263775"/>
              <a:gd name="connsiteX32" fmla="*/ 415925 w 914400"/>
              <a:gd name="connsiteY32" fmla="*/ 57150 h 2263775"/>
              <a:gd name="connsiteX33" fmla="*/ 441325 w 914400"/>
              <a:gd name="connsiteY33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454025 w 914400"/>
              <a:gd name="connsiteY12" fmla="*/ 2073275 h 2263775"/>
              <a:gd name="connsiteX13" fmla="*/ 422275 w 914400"/>
              <a:gd name="connsiteY13" fmla="*/ 2051050 h 2263775"/>
              <a:gd name="connsiteX14" fmla="*/ 0 w 914400"/>
              <a:gd name="connsiteY14" fmla="*/ 765175 h 2263775"/>
              <a:gd name="connsiteX15" fmla="*/ 25400 w 914400"/>
              <a:gd name="connsiteY15" fmla="*/ 739775 h 2263775"/>
              <a:gd name="connsiteX16" fmla="*/ 53975 w 914400"/>
              <a:gd name="connsiteY16" fmla="*/ 692150 h 2263775"/>
              <a:gd name="connsiteX17" fmla="*/ 82550 w 914400"/>
              <a:gd name="connsiteY17" fmla="*/ 701675 h 2263775"/>
              <a:gd name="connsiteX18" fmla="*/ 155575 w 914400"/>
              <a:gd name="connsiteY18" fmla="*/ 660400 h 2263775"/>
              <a:gd name="connsiteX19" fmla="*/ 171450 w 914400"/>
              <a:gd name="connsiteY19" fmla="*/ 603250 h 2263775"/>
              <a:gd name="connsiteX20" fmla="*/ 184150 w 914400"/>
              <a:gd name="connsiteY20" fmla="*/ 546100 h 2263775"/>
              <a:gd name="connsiteX21" fmla="*/ 219075 w 914400"/>
              <a:gd name="connsiteY21" fmla="*/ 482600 h 2263775"/>
              <a:gd name="connsiteX22" fmla="*/ 285750 w 914400"/>
              <a:gd name="connsiteY22" fmla="*/ 444500 h 2263775"/>
              <a:gd name="connsiteX23" fmla="*/ 323850 w 914400"/>
              <a:gd name="connsiteY23" fmla="*/ 428625 h 2263775"/>
              <a:gd name="connsiteX24" fmla="*/ 339725 w 914400"/>
              <a:gd name="connsiteY24" fmla="*/ 390525 h 2263775"/>
              <a:gd name="connsiteX25" fmla="*/ 349250 w 914400"/>
              <a:gd name="connsiteY25" fmla="*/ 352425 h 2263775"/>
              <a:gd name="connsiteX26" fmla="*/ 400050 w 914400"/>
              <a:gd name="connsiteY26" fmla="*/ 320675 h 2263775"/>
              <a:gd name="connsiteX27" fmla="*/ 396875 w 914400"/>
              <a:gd name="connsiteY27" fmla="*/ 276225 h 2263775"/>
              <a:gd name="connsiteX28" fmla="*/ 438150 w 914400"/>
              <a:gd name="connsiteY28" fmla="*/ 222250 h 2263775"/>
              <a:gd name="connsiteX29" fmla="*/ 466725 w 914400"/>
              <a:gd name="connsiteY29" fmla="*/ 171450 h 2263775"/>
              <a:gd name="connsiteX30" fmla="*/ 438150 w 914400"/>
              <a:gd name="connsiteY30" fmla="*/ 104775 h 2263775"/>
              <a:gd name="connsiteX31" fmla="*/ 415925 w 914400"/>
              <a:gd name="connsiteY31" fmla="*/ 57150 h 2263775"/>
              <a:gd name="connsiteX32" fmla="*/ 441325 w 914400"/>
              <a:gd name="connsiteY32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454025 w 914400"/>
              <a:gd name="connsiteY12" fmla="*/ 2073275 h 2263775"/>
              <a:gd name="connsiteX13" fmla="*/ 0 w 914400"/>
              <a:gd name="connsiteY13" fmla="*/ 765175 h 2263775"/>
              <a:gd name="connsiteX14" fmla="*/ 25400 w 914400"/>
              <a:gd name="connsiteY14" fmla="*/ 739775 h 2263775"/>
              <a:gd name="connsiteX15" fmla="*/ 53975 w 914400"/>
              <a:gd name="connsiteY15" fmla="*/ 692150 h 2263775"/>
              <a:gd name="connsiteX16" fmla="*/ 82550 w 914400"/>
              <a:gd name="connsiteY16" fmla="*/ 701675 h 2263775"/>
              <a:gd name="connsiteX17" fmla="*/ 155575 w 914400"/>
              <a:gd name="connsiteY17" fmla="*/ 660400 h 2263775"/>
              <a:gd name="connsiteX18" fmla="*/ 171450 w 914400"/>
              <a:gd name="connsiteY18" fmla="*/ 603250 h 2263775"/>
              <a:gd name="connsiteX19" fmla="*/ 184150 w 914400"/>
              <a:gd name="connsiteY19" fmla="*/ 546100 h 2263775"/>
              <a:gd name="connsiteX20" fmla="*/ 219075 w 914400"/>
              <a:gd name="connsiteY20" fmla="*/ 482600 h 2263775"/>
              <a:gd name="connsiteX21" fmla="*/ 285750 w 914400"/>
              <a:gd name="connsiteY21" fmla="*/ 444500 h 2263775"/>
              <a:gd name="connsiteX22" fmla="*/ 323850 w 914400"/>
              <a:gd name="connsiteY22" fmla="*/ 428625 h 2263775"/>
              <a:gd name="connsiteX23" fmla="*/ 339725 w 914400"/>
              <a:gd name="connsiteY23" fmla="*/ 390525 h 2263775"/>
              <a:gd name="connsiteX24" fmla="*/ 349250 w 914400"/>
              <a:gd name="connsiteY24" fmla="*/ 352425 h 2263775"/>
              <a:gd name="connsiteX25" fmla="*/ 400050 w 914400"/>
              <a:gd name="connsiteY25" fmla="*/ 320675 h 2263775"/>
              <a:gd name="connsiteX26" fmla="*/ 396875 w 914400"/>
              <a:gd name="connsiteY26" fmla="*/ 276225 h 2263775"/>
              <a:gd name="connsiteX27" fmla="*/ 438150 w 914400"/>
              <a:gd name="connsiteY27" fmla="*/ 222250 h 2263775"/>
              <a:gd name="connsiteX28" fmla="*/ 466725 w 914400"/>
              <a:gd name="connsiteY28" fmla="*/ 171450 h 2263775"/>
              <a:gd name="connsiteX29" fmla="*/ 438150 w 914400"/>
              <a:gd name="connsiteY29" fmla="*/ 104775 h 2263775"/>
              <a:gd name="connsiteX30" fmla="*/ 415925 w 914400"/>
              <a:gd name="connsiteY30" fmla="*/ 57150 h 2263775"/>
              <a:gd name="connsiteX31" fmla="*/ 441325 w 914400"/>
              <a:gd name="connsiteY31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508000 w 914400"/>
              <a:gd name="connsiteY11" fmla="*/ 2117725 h 2263775"/>
              <a:gd name="connsiteX12" fmla="*/ 0 w 914400"/>
              <a:gd name="connsiteY12" fmla="*/ 765175 h 2263775"/>
              <a:gd name="connsiteX13" fmla="*/ 25400 w 914400"/>
              <a:gd name="connsiteY13" fmla="*/ 739775 h 2263775"/>
              <a:gd name="connsiteX14" fmla="*/ 53975 w 914400"/>
              <a:gd name="connsiteY14" fmla="*/ 692150 h 2263775"/>
              <a:gd name="connsiteX15" fmla="*/ 82550 w 914400"/>
              <a:gd name="connsiteY15" fmla="*/ 701675 h 2263775"/>
              <a:gd name="connsiteX16" fmla="*/ 155575 w 914400"/>
              <a:gd name="connsiteY16" fmla="*/ 660400 h 2263775"/>
              <a:gd name="connsiteX17" fmla="*/ 171450 w 914400"/>
              <a:gd name="connsiteY17" fmla="*/ 603250 h 2263775"/>
              <a:gd name="connsiteX18" fmla="*/ 184150 w 914400"/>
              <a:gd name="connsiteY18" fmla="*/ 546100 h 2263775"/>
              <a:gd name="connsiteX19" fmla="*/ 219075 w 914400"/>
              <a:gd name="connsiteY19" fmla="*/ 482600 h 2263775"/>
              <a:gd name="connsiteX20" fmla="*/ 285750 w 914400"/>
              <a:gd name="connsiteY20" fmla="*/ 444500 h 2263775"/>
              <a:gd name="connsiteX21" fmla="*/ 323850 w 914400"/>
              <a:gd name="connsiteY21" fmla="*/ 428625 h 2263775"/>
              <a:gd name="connsiteX22" fmla="*/ 339725 w 914400"/>
              <a:gd name="connsiteY22" fmla="*/ 390525 h 2263775"/>
              <a:gd name="connsiteX23" fmla="*/ 349250 w 914400"/>
              <a:gd name="connsiteY23" fmla="*/ 352425 h 2263775"/>
              <a:gd name="connsiteX24" fmla="*/ 400050 w 914400"/>
              <a:gd name="connsiteY24" fmla="*/ 320675 h 2263775"/>
              <a:gd name="connsiteX25" fmla="*/ 396875 w 914400"/>
              <a:gd name="connsiteY25" fmla="*/ 276225 h 2263775"/>
              <a:gd name="connsiteX26" fmla="*/ 438150 w 914400"/>
              <a:gd name="connsiteY26" fmla="*/ 222250 h 2263775"/>
              <a:gd name="connsiteX27" fmla="*/ 466725 w 914400"/>
              <a:gd name="connsiteY27" fmla="*/ 171450 h 2263775"/>
              <a:gd name="connsiteX28" fmla="*/ 438150 w 914400"/>
              <a:gd name="connsiteY28" fmla="*/ 104775 h 2263775"/>
              <a:gd name="connsiteX29" fmla="*/ 415925 w 914400"/>
              <a:gd name="connsiteY29" fmla="*/ 57150 h 2263775"/>
              <a:gd name="connsiteX30" fmla="*/ 441325 w 914400"/>
              <a:gd name="connsiteY30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568325 w 914400"/>
              <a:gd name="connsiteY10" fmla="*/ 2111375 h 2263775"/>
              <a:gd name="connsiteX11" fmla="*/ 0 w 914400"/>
              <a:gd name="connsiteY11" fmla="*/ 765175 h 2263775"/>
              <a:gd name="connsiteX12" fmla="*/ 25400 w 914400"/>
              <a:gd name="connsiteY12" fmla="*/ 739775 h 2263775"/>
              <a:gd name="connsiteX13" fmla="*/ 53975 w 914400"/>
              <a:gd name="connsiteY13" fmla="*/ 692150 h 2263775"/>
              <a:gd name="connsiteX14" fmla="*/ 82550 w 914400"/>
              <a:gd name="connsiteY14" fmla="*/ 701675 h 2263775"/>
              <a:gd name="connsiteX15" fmla="*/ 155575 w 914400"/>
              <a:gd name="connsiteY15" fmla="*/ 660400 h 2263775"/>
              <a:gd name="connsiteX16" fmla="*/ 171450 w 914400"/>
              <a:gd name="connsiteY16" fmla="*/ 603250 h 2263775"/>
              <a:gd name="connsiteX17" fmla="*/ 184150 w 914400"/>
              <a:gd name="connsiteY17" fmla="*/ 546100 h 2263775"/>
              <a:gd name="connsiteX18" fmla="*/ 219075 w 914400"/>
              <a:gd name="connsiteY18" fmla="*/ 482600 h 2263775"/>
              <a:gd name="connsiteX19" fmla="*/ 285750 w 914400"/>
              <a:gd name="connsiteY19" fmla="*/ 444500 h 2263775"/>
              <a:gd name="connsiteX20" fmla="*/ 323850 w 914400"/>
              <a:gd name="connsiteY20" fmla="*/ 428625 h 2263775"/>
              <a:gd name="connsiteX21" fmla="*/ 339725 w 914400"/>
              <a:gd name="connsiteY21" fmla="*/ 390525 h 2263775"/>
              <a:gd name="connsiteX22" fmla="*/ 349250 w 914400"/>
              <a:gd name="connsiteY22" fmla="*/ 352425 h 2263775"/>
              <a:gd name="connsiteX23" fmla="*/ 400050 w 914400"/>
              <a:gd name="connsiteY23" fmla="*/ 320675 h 2263775"/>
              <a:gd name="connsiteX24" fmla="*/ 396875 w 914400"/>
              <a:gd name="connsiteY24" fmla="*/ 276225 h 2263775"/>
              <a:gd name="connsiteX25" fmla="*/ 438150 w 914400"/>
              <a:gd name="connsiteY25" fmla="*/ 222250 h 2263775"/>
              <a:gd name="connsiteX26" fmla="*/ 466725 w 914400"/>
              <a:gd name="connsiteY26" fmla="*/ 171450 h 2263775"/>
              <a:gd name="connsiteX27" fmla="*/ 438150 w 914400"/>
              <a:gd name="connsiteY27" fmla="*/ 104775 h 2263775"/>
              <a:gd name="connsiteX28" fmla="*/ 415925 w 914400"/>
              <a:gd name="connsiteY28" fmla="*/ 57150 h 2263775"/>
              <a:gd name="connsiteX29" fmla="*/ 441325 w 914400"/>
              <a:gd name="connsiteY29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619125 w 914400"/>
              <a:gd name="connsiteY8" fmla="*/ 2130425 h 2263775"/>
              <a:gd name="connsiteX9" fmla="*/ 584200 w 914400"/>
              <a:gd name="connsiteY9" fmla="*/ 2117725 h 2263775"/>
              <a:gd name="connsiteX10" fmla="*/ 0 w 914400"/>
              <a:gd name="connsiteY10" fmla="*/ 765175 h 2263775"/>
              <a:gd name="connsiteX11" fmla="*/ 25400 w 914400"/>
              <a:gd name="connsiteY11" fmla="*/ 739775 h 2263775"/>
              <a:gd name="connsiteX12" fmla="*/ 53975 w 914400"/>
              <a:gd name="connsiteY12" fmla="*/ 692150 h 2263775"/>
              <a:gd name="connsiteX13" fmla="*/ 82550 w 914400"/>
              <a:gd name="connsiteY13" fmla="*/ 701675 h 2263775"/>
              <a:gd name="connsiteX14" fmla="*/ 155575 w 914400"/>
              <a:gd name="connsiteY14" fmla="*/ 660400 h 2263775"/>
              <a:gd name="connsiteX15" fmla="*/ 171450 w 914400"/>
              <a:gd name="connsiteY15" fmla="*/ 603250 h 2263775"/>
              <a:gd name="connsiteX16" fmla="*/ 184150 w 914400"/>
              <a:gd name="connsiteY16" fmla="*/ 546100 h 2263775"/>
              <a:gd name="connsiteX17" fmla="*/ 219075 w 914400"/>
              <a:gd name="connsiteY17" fmla="*/ 482600 h 2263775"/>
              <a:gd name="connsiteX18" fmla="*/ 285750 w 914400"/>
              <a:gd name="connsiteY18" fmla="*/ 444500 h 2263775"/>
              <a:gd name="connsiteX19" fmla="*/ 323850 w 914400"/>
              <a:gd name="connsiteY19" fmla="*/ 428625 h 2263775"/>
              <a:gd name="connsiteX20" fmla="*/ 339725 w 914400"/>
              <a:gd name="connsiteY20" fmla="*/ 390525 h 2263775"/>
              <a:gd name="connsiteX21" fmla="*/ 349250 w 914400"/>
              <a:gd name="connsiteY21" fmla="*/ 352425 h 2263775"/>
              <a:gd name="connsiteX22" fmla="*/ 400050 w 914400"/>
              <a:gd name="connsiteY22" fmla="*/ 320675 h 2263775"/>
              <a:gd name="connsiteX23" fmla="*/ 396875 w 914400"/>
              <a:gd name="connsiteY23" fmla="*/ 276225 h 2263775"/>
              <a:gd name="connsiteX24" fmla="*/ 438150 w 914400"/>
              <a:gd name="connsiteY24" fmla="*/ 222250 h 2263775"/>
              <a:gd name="connsiteX25" fmla="*/ 466725 w 914400"/>
              <a:gd name="connsiteY25" fmla="*/ 171450 h 2263775"/>
              <a:gd name="connsiteX26" fmla="*/ 438150 w 914400"/>
              <a:gd name="connsiteY26" fmla="*/ 104775 h 2263775"/>
              <a:gd name="connsiteX27" fmla="*/ 415925 w 914400"/>
              <a:gd name="connsiteY27" fmla="*/ 57150 h 2263775"/>
              <a:gd name="connsiteX28" fmla="*/ 441325 w 914400"/>
              <a:gd name="connsiteY28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584200 w 914400"/>
              <a:gd name="connsiteY8" fmla="*/ 2117725 h 2263775"/>
              <a:gd name="connsiteX9" fmla="*/ 0 w 914400"/>
              <a:gd name="connsiteY9" fmla="*/ 765175 h 2263775"/>
              <a:gd name="connsiteX10" fmla="*/ 25400 w 914400"/>
              <a:gd name="connsiteY10" fmla="*/ 739775 h 2263775"/>
              <a:gd name="connsiteX11" fmla="*/ 53975 w 914400"/>
              <a:gd name="connsiteY11" fmla="*/ 692150 h 2263775"/>
              <a:gd name="connsiteX12" fmla="*/ 82550 w 914400"/>
              <a:gd name="connsiteY12" fmla="*/ 701675 h 2263775"/>
              <a:gd name="connsiteX13" fmla="*/ 155575 w 914400"/>
              <a:gd name="connsiteY13" fmla="*/ 660400 h 2263775"/>
              <a:gd name="connsiteX14" fmla="*/ 171450 w 914400"/>
              <a:gd name="connsiteY14" fmla="*/ 603250 h 2263775"/>
              <a:gd name="connsiteX15" fmla="*/ 184150 w 914400"/>
              <a:gd name="connsiteY15" fmla="*/ 546100 h 2263775"/>
              <a:gd name="connsiteX16" fmla="*/ 219075 w 914400"/>
              <a:gd name="connsiteY16" fmla="*/ 482600 h 2263775"/>
              <a:gd name="connsiteX17" fmla="*/ 285750 w 914400"/>
              <a:gd name="connsiteY17" fmla="*/ 444500 h 2263775"/>
              <a:gd name="connsiteX18" fmla="*/ 323850 w 914400"/>
              <a:gd name="connsiteY18" fmla="*/ 428625 h 2263775"/>
              <a:gd name="connsiteX19" fmla="*/ 339725 w 914400"/>
              <a:gd name="connsiteY19" fmla="*/ 390525 h 2263775"/>
              <a:gd name="connsiteX20" fmla="*/ 349250 w 914400"/>
              <a:gd name="connsiteY20" fmla="*/ 352425 h 2263775"/>
              <a:gd name="connsiteX21" fmla="*/ 400050 w 914400"/>
              <a:gd name="connsiteY21" fmla="*/ 320675 h 2263775"/>
              <a:gd name="connsiteX22" fmla="*/ 396875 w 914400"/>
              <a:gd name="connsiteY22" fmla="*/ 276225 h 2263775"/>
              <a:gd name="connsiteX23" fmla="*/ 438150 w 914400"/>
              <a:gd name="connsiteY23" fmla="*/ 222250 h 2263775"/>
              <a:gd name="connsiteX24" fmla="*/ 466725 w 914400"/>
              <a:gd name="connsiteY24" fmla="*/ 171450 h 2263775"/>
              <a:gd name="connsiteX25" fmla="*/ 438150 w 914400"/>
              <a:gd name="connsiteY25" fmla="*/ 104775 h 2263775"/>
              <a:gd name="connsiteX26" fmla="*/ 415925 w 914400"/>
              <a:gd name="connsiteY26" fmla="*/ 57150 h 2263775"/>
              <a:gd name="connsiteX27" fmla="*/ 441325 w 914400"/>
              <a:gd name="connsiteY27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669925 w 914400"/>
              <a:gd name="connsiteY7" fmla="*/ 2143125 h 2263775"/>
              <a:gd name="connsiteX8" fmla="*/ 0 w 914400"/>
              <a:gd name="connsiteY8" fmla="*/ 765175 h 2263775"/>
              <a:gd name="connsiteX9" fmla="*/ 25400 w 914400"/>
              <a:gd name="connsiteY9" fmla="*/ 739775 h 2263775"/>
              <a:gd name="connsiteX10" fmla="*/ 53975 w 914400"/>
              <a:gd name="connsiteY10" fmla="*/ 692150 h 2263775"/>
              <a:gd name="connsiteX11" fmla="*/ 82550 w 914400"/>
              <a:gd name="connsiteY11" fmla="*/ 701675 h 2263775"/>
              <a:gd name="connsiteX12" fmla="*/ 155575 w 914400"/>
              <a:gd name="connsiteY12" fmla="*/ 660400 h 2263775"/>
              <a:gd name="connsiteX13" fmla="*/ 171450 w 914400"/>
              <a:gd name="connsiteY13" fmla="*/ 603250 h 2263775"/>
              <a:gd name="connsiteX14" fmla="*/ 184150 w 914400"/>
              <a:gd name="connsiteY14" fmla="*/ 546100 h 2263775"/>
              <a:gd name="connsiteX15" fmla="*/ 219075 w 914400"/>
              <a:gd name="connsiteY15" fmla="*/ 482600 h 2263775"/>
              <a:gd name="connsiteX16" fmla="*/ 285750 w 914400"/>
              <a:gd name="connsiteY16" fmla="*/ 444500 h 2263775"/>
              <a:gd name="connsiteX17" fmla="*/ 323850 w 914400"/>
              <a:gd name="connsiteY17" fmla="*/ 428625 h 2263775"/>
              <a:gd name="connsiteX18" fmla="*/ 339725 w 914400"/>
              <a:gd name="connsiteY18" fmla="*/ 390525 h 2263775"/>
              <a:gd name="connsiteX19" fmla="*/ 349250 w 914400"/>
              <a:gd name="connsiteY19" fmla="*/ 352425 h 2263775"/>
              <a:gd name="connsiteX20" fmla="*/ 400050 w 914400"/>
              <a:gd name="connsiteY20" fmla="*/ 320675 h 2263775"/>
              <a:gd name="connsiteX21" fmla="*/ 396875 w 914400"/>
              <a:gd name="connsiteY21" fmla="*/ 276225 h 2263775"/>
              <a:gd name="connsiteX22" fmla="*/ 438150 w 914400"/>
              <a:gd name="connsiteY22" fmla="*/ 222250 h 2263775"/>
              <a:gd name="connsiteX23" fmla="*/ 466725 w 914400"/>
              <a:gd name="connsiteY23" fmla="*/ 171450 h 2263775"/>
              <a:gd name="connsiteX24" fmla="*/ 438150 w 914400"/>
              <a:gd name="connsiteY24" fmla="*/ 104775 h 2263775"/>
              <a:gd name="connsiteX25" fmla="*/ 415925 w 914400"/>
              <a:gd name="connsiteY25" fmla="*/ 57150 h 2263775"/>
              <a:gd name="connsiteX26" fmla="*/ 441325 w 914400"/>
              <a:gd name="connsiteY26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698500 w 914400"/>
              <a:gd name="connsiteY6" fmla="*/ 2130425 h 2263775"/>
              <a:gd name="connsiteX7" fmla="*/ 0 w 914400"/>
              <a:gd name="connsiteY7" fmla="*/ 765175 h 2263775"/>
              <a:gd name="connsiteX8" fmla="*/ 25400 w 914400"/>
              <a:gd name="connsiteY8" fmla="*/ 739775 h 2263775"/>
              <a:gd name="connsiteX9" fmla="*/ 53975 w 914400"/>
              <a:gd name="connsiteY9" fmla="*/ 692150 h 2263775"/>
              <a:gd name="connsiteX10" fmla="*/ 82550 w 914400"/>
              <a:gd name="connsiteY10" fmla="*/ 701675 h 2263775"/>
              <a:gd name="connsiteX11" fmla="*/ 155575 w 914400"/>
              <a:gd name="connsiteY11" fmla="*/ 660400 h 2263775"/>
              <a:gd name="connsiteX12" fmla="*/ 171450 w 914400"/>
              <a:gd name="connsiteY12" fmla="*/ 603250 h 2263775"/>
              <a:gd name="connsiteX13" fmla="*/ 184150 w 914400"/>
              <a:gd name="connsiteY13" fmla="*/ 546100 h 2263775"/>
              <a:gd name="connsiteX14" fmla="*/ 219075 w 914400"/>
              <a:gd name="connsiteY14" fmla="*/ 482600 h 2263775"/>
              <a:gd name="connsiteX15" fmla="*/ 285750 w 914400"/>
              <a:gd name="connsiteY15" fmla="*/ 444500 h 2263775"/>
              <a:gd name="connsiteX16" fmla="*/ 323850 w 914400"/>
              <a:gd name="connsiteY16" fmla="*/ 428625 h 2263775"/>
              <a:gd name="connsiteX17" fmla="*/ 339725 w 914400"/>
              <a:gd name="connsiteY17" fmla="*/ 390525 h 2263775"/>
              <a:gd name="connsiteX18" fmla="*/ 349250 w 914400"/>
              <a:gd name="connsiteY18" fmla="*/ 352425 h 2263775"/>
              <a:gd name="connsiteX19" fmla="*/ 400050 w 914400"/>
              <a:gd name="connsiteY19" fmla="*/ 320675 h 2263775"/>
              <a:gd name="connsiteX20" fmla="*/ 396875 w 914400"/>
              <a:gd name="connsiteY20" fmla="*/ 276225 h 2263775"/>
              <a:gd name="connsiteX21" fmla="*/ 438150 w 914400"/>
              <a:gd name="connsiteY21" fmla="*/ 222250 h 2263775"/>
              <a:gd name="connsiteX22" fmla="*/ 466725 w 914400"/>
              <a:gd name="connsiteY22" fmla="*/ 171450 h 2263775"/>
              <a:gd name="connsiteX23" fmla="*/ 438150 w 914400"/>
              <a:gd name="connsiteY23" fmla="*/ 104775 h 2263775"/>
              <a:gd name="connsiteX24" fmla="*/ 415925 w 914400"/>
              <a:gd name="connsiteY24" fmla="*/ 57150 h 2263775"/>
              <a:gd name="connsiteX25" fmla="*/ 441325 w 914400"/>
              <a:gd name="connsiteY25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733425 w 914400"/>
              <a:gd name="connsiteY5" fmla="*/ 2149475 h 2263775"/>
              <a:gd name="connsiteX6" fmla="*/ 0 w 914400"/>
              <a:gd name="connsiteY6" fmla="*/ 765175 h 2263775"/>
              <a:gd name="connsiteX7" fmla="*/ 25400 w 914400"/>
              <a:gd name="connsiteY7" fmla="*/ 739775 h 2263775"/>
              <a:gd name="connsiteX8" fmla="*/ 53975 w 914400"/>
              <a:gd name="connsiteY8" fmla="*/ 692150 h 2263775"/>
              <a:gd name="connsiteX9" fmla="*/ 82550 w 914400"/>
              <a:gd name="connsiteY9" fmla="*/ 701675 h 2263775"/>
              <a:gd name="connsiteX10" fmla="*/ 155575 w 914400"/>
              <a:gd name="connsiteY10" fmla="*/ 660400 h 2263775"/>
              <a:gd name="connsiteX11" fmla="*/ 171450 w 914400"/>
              <a:gd name="connsiteY11" fmla="*/ 603250 h 2263775"/>
              <a:gd name="connsiteX12" fmla="*/ 184150 w 914400"/>
              <a:gd name="connsiteY12" fmla="*/ 546100 h 2263775"/>
              <a:gd name="connsiteX13" fmla="*/ 219075 w 914400"/>
              <a:gd name="connsiteY13" fmla="*/ 482600 h 2263775"/>
              <a:gd name="connsiteX14" fmla="*/ 285750 w 914400"/>
              <a:gd name="connsiteY14" fmla="*/ 444500 h 2263775"/>
              <a:gd name="connsiteX15" fmla="*/ 323850 w 914400"/>
              <a:gd name="connsiteY15" fmla="*/ 428625 h 2263775"/>
              <a:gd name="connsiteX16" fmla="*/ 339725 w 914400"/>
              <a:gd name="connsiteY16" fmla="*/ 390525 h 2263775"/>
              <a:gd name="connsiteX17" fmla="*/ 349250 w 914400"/>
              <a:gd name="connsiteY17" fmla="*/ 352425 h 2263775"/>
              <a:gd name="connsiteX18" fmla="*/ 400050 w 914400"/>
              <a:gd name="connsiteY18" fmla="*/ 320675 h 2263775"/>
              <a:gd name="connsiteX19" fmla="*/ 396875 w 914400"/>
              <a:gd name="connsiteY19" fmla="*/ 276225 h 2263775"/>
              <a:gd name="connsiteX20" fmla="*/ 438150 w 914400"/>
              <a:gd name="connsiteY20" fmla="*/ 222250 h 2263775"/>
              <a:gd name="connsiteX21" fmla="*/ 466725 w 914400"/>
              <a:gd name="connsiteY21" fmla="*/ 171450 h 2263775"/>
              <a:gd name="connsiteX22" fmla="*/ 438150 w 914400"/>
              <a:gd name="connsiteY22" fmla="*/ 104775 h 2263775"/>
              <a:gd name="connsiteX23" fmla="*/ 415925 w 914400"/>
              <a:gd name="connsiteY23" fmla="*/ 57150 h 2263775"/>
              <a:gd name="connsiteX24" fmla="*/ 441325 w 914400"/>
              <a:gd name="connsiteY24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774700 w 914400"/>
              <a:gd name="connsiteY4" fmla="*/ 2152650 h 2263775"/>
              <a:gd name="connsiteX5" fmla="*/ 0 w 914400"/>
              <a:gd name="connsiteY5" fmla="*/ 765175 h 2263775"/>
              <a:gd name="connsiteX6" fmla="*/ 25400 w 914400"/>
              <a:gd name="connsiteY6" fmla="*/ 739775 h 2263775"/>
              <a:gd name="connsiteX7" fmla="*/ 53975 w 914400"/>
              <a:gd name="connsiteY7" fmla="*/ 692150 h 2263775"/>
              <a:gd name="connsiteX8" fmla="*/ 82550 w 914400"/>
              <a:gd name="connsiteY8" fmla="*/ 701675 h 2263775"/>
              <a:gd name="connsiteX9" fmla="*/ 155575 w 914400"/>
              <a:gd name="connsiteY9" fmla="*/ 660400 h 2263775"/>
              <a:gd name="connsiteX10" fmla="*/ 171450 w 914400"/>
              <a:gd name="connsiteY10" fmla="*/ 603250 h 2263775"/>
              <a:gd name="connsiteX11" fmla="*/ 184150 w 914400"/>
              <a:gd name="connsiteY11" fmla="*/ 546100 h 2263775"/>
              <a:gd name="connsiteX12" fmla="*/ 219075 w 914400"/>
              <a:gd name="connsiteY12" fmla="*/ 482600 h 2263775"/>
              <a:gd name="connsiteX13" fmla="*/ 285750 w 914400"/>
              <a:gd name="connsiteY13" fmla="*/ 444500 h 2263775"/>
              <a:gd name="connsiteX14" fmla="*/ 323850 w 914400"/>
              <a:gd name="connsiteY14" fmla="*/ 428625 h 2263775"/>
              <a:gd name="connsiteX15" fmla="*/ 339725 w 914400"/>
              <a:gd name="connsiteY15" fmla="*/ 390525 h 2263775"/>
              <a:gd name="connsiteX16" fmla="*/ 349250 w 914400"/>
              <a:gd name="connsiteY16" fmla="*/ 352425 h 2263775"/>
              <a:gd name="connsiteX17" fmla="*/ 400050 w 914400"/>
              <a:gd name="connsiteY17" fmla="*/ 320675 h 2263775"/>
              <a:gd name="connsiteX18" fmla="*/ 396875 w 914400"/>
              <a:gd name="connsiteY18" fmla="*/ 276225 h 2263775"/>
              <a:gd name="connsiteX19" fmla="*/ 438150 w 914400"/>
              <a:gd name="connsiteY19" fmla="*/ 222250 h 2263775"/>
              <a:gd name="connsiteX20" fmla="*/ 466725 w 914400"/>
              <a:gd name="connsiteY20" fmla="*/ 171450 h 2263775"/>
              <a:gd name="connsiteX21" fmla="*/ 438150 w 914400"/>
              <a:gd name="connsiteY21" fmla="*/ 104775 h 2263775"/>
              <a:gd name="connsiteX22" fmla="*/ 415925 w 914400"/>
              <a:gd name="connsiteY22" fmla="*/ 57150 h 2263775"/>
              <a:gd name="connsiteX23" fmla="*/ 441325 w 914400"/>
              <a:gd name="connsiteY23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828675 w 914400"/>
              <a:gd name="connsiteY3" fmla="*/ 2149475 h 2263775"/>
              <a:gd name="connsiteX4" fmla="*/ 0 w 914400"/>
              <a:gd name="connsiteY4" fmla="*/ 765175 h 2263775"/>
              <a:gd name="connsiteX5" fmla="*/ 25400 w 914400"/>
              <a:gd name="connsiteY5" fmla="*/ 739775 h 2263775"/>
              <a:gd name="connsiteX6" fmla="*/ 53975 w 914400"/>
              <a:gd name="connsiteY6" fmla="*/ 692150 h 2263775"/>
              <a:gd name="connsiteX7" fmla="*/ 82550 w 914400"/>
              <a:gd name="connsiteY7" fmla="*/ 701675 h 2263775"/>
              <a:gd name="connsiteX8" fmla="*/ 155575 w 914400"/>
              <a:gd name="connsiteY8" fmla="*/ 660400 h 2263775"/>
              <a:gd name="connsiteX9" fmla="*/ 171450 w 914400"/>
              <a:gd name="connsiteY9" fmla="*/ 603250 h 2263775"/>
              <a:gd name="connsiteX10" fmla="*/ 184150 w 914400"/>
              <a:gd name="connsiteY10" fmla="*/ 546100 h 2263775"/>
              <a:gd name="connsiteX11" fmla="*/ 219075 w 914400"/>
              <a:gd name="connsiteY11" fmla="*/ 482600 h 2263775"/>
              <a:gd name="connsiteX12" fmla="*/ 285750 w 914400"/>
              <a:gd name="connsiteY12" fmla="*/ 444500 h 2263775"/>
              <a:gd name="connsiteX13" fmla="*/ 323850 w 914400"/>
              <a:gd name="connsiteY13" fmla="*/ 428625 h 2263775"/>
              <a:gd name="connsiteX14" fmla="*/ 339725 w 914400"/>
              <a:gd name="connsiteY14" fmla="*/ 390525 h 2263775"/>
              <a:gd name="connsiteX15" fmla="*/ 349250 w 914400"/>
              <a:gd name="connsiteY15" fmla="*/ 352425 h 2263775"/>
              <a:gd name="connsiteX16" fmla="*/ 400050 w 914400"/>
              <a:gd name="connsiteY16" fmla="*/ 320675 h 2263775"/>
              <a:gd name="connsiteX17" fmla="*/ 396875 w 914400"/>
              <a:gd name="connsiteY17" fmla="*/ 276225 h 2263775"/>
              <a:gd name="connsiteX18" fmla="*/ 438150 w 914400"/>
              <a:gd name="connsiteY18" fmla="*/ 222250 h 2263775"/>
              <a:gd name="connsiteX19" fmla="*/ 466725 w 914400"/>
              <a:gd name="connsiteY19" fmla="*/ 171450 h 2263775"/>
              <a:gd name="connsiteX20" fmla="*/ 438150 w 914400"/>
              <a:gd name="connsiteY20" fmla="*/ 104775 h 2263775"/>
              <a:gd name="connsiteX21" fmla="*/ 415925 w 914400"/>
              <a:gd name="connsiteY21" fmla="*/ 57150 h 2263775"/>
              <a:gd name="connsiteX22" fmla="*/ 441325 w 914400"/>
              <a:gd name="connsiteY22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866775 w 914400"/>
              <a:gd name="connsiteY2" fmla="*/ 2162175 h 2263775"/>
              <a:gd name="connsiteX3" fmla="*/ 0 w 914400"/>
              <a:gd name="connsiteY3" fmla="*/ 765175 h 2263775"/>
              <a:gd name="connsiteX4" fmla="*/ 25400 w 914400"/>
              <a:gd name="connsiteY4" fmla="*/ 739775 h 2263775"/>
              <a:gd name="connsiteX5" fmla="*/ 53975 w 914400"/>
              <a:gd name="connsiteY5" fmla="*/ 692150 h 2263775"/>
              <a:gd name="connsiteX6" fmla="*/ 82550 w 914400"/>
              <a:gd name="connsiteY6" fmla="*/ 701675 h 2263775"/>
              <a:gd name="connsiteX7" fmla="*/ 155575 w 914400"/>
              <a:gd name="connsiteY7" fmla="*/ 660400 h 2263775"/>
              <a:gd name="connsiteX8" fmla="*/ 171450 w 914400"/>
              <a:gd name="connsiteY8" fmla="*/ 603250 h 2263775"/>
              <a:gd name="connsiteX9" fmla="*/ 184150 w 914400"/>
              <a:gd name="connsiteY9" fmla="*/ 546100 h 2263775"/>
              <a:gd name="connsiteX10" fmla="*/ 219075 w 914400"/>
              <a:gd name="connsiteY10" fmla="*/ 482600 h 2263775"/>
              <a:gd name="connsiteX11" fmla="*/ 285750 w 914400"/>
              <a:gd name="connsiteY11" fmla="*/ 444500 h 2263775"/>
              <a:gd name="connsiteX12" fmla="*/ 323850 w 914400"/>
              <a:gd name="connsiteY12" fmla="*/ 428625 h 2263775"/>
              <a:gd name="connsiteX13" fmla="*/ 339725 w 914400"/>
              <a:gd name="connsiteY13" fmla="*/ 390525 h 2263775"/>
              <a:gd name="connsiteX14" fmla="*/ 349250 w 914400"/>
              <a:gd name="connsiteY14" fmla="*/ 352425 h 2263775"/>
              <a:gd name="connsiteX15" fmla="*/ 400050 w 914400"/>
              <a:gd name="connsiteY15" fmla="*/ 320675 h 2263775"/>
              <a:gd name="connsiteX16" fmla="*/ 396875 w 914400"/>
              <a:gd name="connsiteY16" fmla="*/ 276225 h 2263775"/>
              <a:gd name="connsiteX17" fmla="*/ 438150 w 914400"/>
              <a:gd name="connsiteY17" fmla="*/ 222250 h 2263775"/>
              <a:gd name="connsiteX18" fmla="*/ 466725 w 914400"/>
              <a:gd name="connsiteY18" fmla="*/ 171450 h 2263775"/>
              <a:gd name="connsiteX19" fmla="*/ 438150 w 914400"/>
              <a:gd name="connsiteY19" fmla="*/ 104775 h 2263775"/>
              <a:gd name="connsiteX20" fmla="*/ 415925 w 914400"/>
              <a:gd name="connsiteY20" fmla="*/ 57150 h 2263775"/>
              <a:gd name="connsiteX21" fmla="*/ 441325 w 914400"/>
              <a:gd name="connsiteY21" fmla="*/ 0 h 2263775"/>
              <a:gd name="connsiteX0" fmla="*/ 914400 w 914400"/>
              <a:gd name="connsiteY0" fmla="*/ 2263775 h 2263775"/>
              <a:gd name="connsiteX1" fmla="*/ 898525 w 914400"/>
              <a:gd name="connsiteY1" fmla="*/ 2206625 h 2263775"/>
              <a:gd name="connsiteX2" fmla="*/ 0 w 914400"/>
              <a:gd name="connsiteY2" fmla="*/ 765175 h 2263775"/>
              <a:gd name="connsiteX3" fmla="*/ 25400 w 914400"/>
              <a:gd name="connsiteY3" fmla="*/ 739775 h 2263775"/>
              <a:gd name="connsiteX4" fmla="*/ 53975 w 914400"/>
              <a:gd name="connsiteY4" fmla="*/ 692150 h 2263775"/>
              <a:gd name="connsiteX5" fmla="*/ 82550 w 914400"/>
              <a:gd name="connsiteY5" fmla="*/ 701675 h 2263775"/>
              <a:gd name="connsiteX6" fmla="*/ 155575 w 914400"/>
              <a:gd name="connsiteY6" fmla="*/ 660400 h 2263775"/>
              <a:gd name="connsiteX7" fmla="*/ 171450 w 914400"/>
              <a:gd name="connsiteY7" fmla="*/ 603250 h 2263775"/>
              <a:gd name="connsiteX8" fmla="*/ 184150 w 914400"/>
              <a:gd name="connsiteY8" fmla="*/ 546100 h 2263775"/>
              <a:gd name="connsiteX9" fmla="*/ 219075 w 914400"/>
              <a:gd name="connsiteY9" fmla="*/ 482600 h 2263775"/>
              <a:gd name="connsiteX10" fmla="*/ 285750 w 914400"/>
              <a:gd name="connsiteY10" fmla="*/ 444500 h 2263775"/>
              <a:gd name="connsiteX11" fmla="*/ 323850 w 914400"/>
              <a:gd name="connsiteY11" fmla="*/ 428625 h 2263775"/>
              <a:gd name="connsiteX12" fmla="*/ 339725 w 914400"/>
              <a:gd name="connsiteY12" fmla="*/ 390525 h 2263775"/>
              <a:gd name="connsiteX13" fmla="*/ 349250 w 914400"/>
              <a:gd name="connsiteY13" fmla="*/ 352425 h 2263775"/>
              <a:gd name="connsiteX14" fmla="*/ 400050 w 914400"/>
              <a:gd name="connsiteY14" fmla="*/ 320675 h 2263775"/>
              <a:gd name="connsiteX15" fmla="*/ 396875 w 914400"/>
              <a:gd name="connsiteY15" fmla="*/ 276225 h 2263775"/>
              <a:gd name="connsiteX16" fmla="*/ 438150 w 914400"/>
              <a:gd name="connsiteY16" fmla="*/ 222250 h 2263775"/>
              <a:gd name="connsiteX17" fmla="*/ 466725 w 914400"/>
              <a:gd name="connsiteY17" fmla="*/ 171450 h 2263775"/>
              <a:gd name="connsiteX18" fmla="*/ 438150 w 914400"/>
              <a:gd name="connsiteY18" fmla="*/ 104775 h 2263775"/>
              <a:gd name="connsiteX19" fmla="*/ 415925 w 914400"/>
              <a:gd name="connsiteY19" fmla="*/ 57150 h 2263775"/>
              <a:gd name="connsiteX20" fmla="*/ 441325 w 914400"/>
              <a:gd name="connsiteY20" fmla="*/ 0 h 2263775"/>
              <a:gd name="connsiteX0" fmla="*/ 914400 w 914400"/>
              <a:gd name="connsiteY0" fmla="*/ 2263775 h 2263775"/>
              <a:gd name="connsiteX1" fmla="*/ 0 w 914400"/>
              <a:gd name="connsiteY1" fmla="*/ 765175 h 2263775"/>
              <a:gd name="connsiteX2" fmla="*/ 25400 w 914400"/>
              <a:gd name="connsiteY2" fmla="*/ 739775 h 2263775"/>
              <a:gd name="connsiteX3" fmla="*/ 53975 w 914400"/>
              <a:gd name="connsiteY3" fmla="*/ 692150 h 2263775"/>
              <a:gd name="connsiteX4" fmla="*/ 82550 w 914400"/>
              <a:gd name="connsiteY4" fmla="*/ 701675 h 2263775"/>
              <a:gd name="connsiteX5" fmla="*/ 155575 w 914400"/>
              <a:gd name="connsiteY5" fmla="*/ 660400 h 2263775"/>
              <a:gd name="connsiteX6" fmla="*/ 171450 w 914400"/>
              <a:gd name="connsiteY6" fmla="*/ 603250 h 2263775"/>
              <a:gd name="connsiteX7" fmla="*/ 184150 w 914400"/>
              <a:gd name="connsiteY7" fmla="*/ 546100 h 2263775"/>
              <a:gd name="connsiteX8" fmla="*/ 219075 w 914400"/>
              <a:gd name="connsiteY8" fmla="*/ 482600 h 2263775"/>
              <a:gd name="connsiteX9" fmla="*/ 285750 w 914400"/>
              <a:gd name="connsiteY9" fmla="*/ 444500 h 2263775"/>
              <a:gd name="connsiteX10" fmla="*/ 323850 w 914400"/>
              <a:gd name="connsiteY10" fmla="*/ 428625 h 2263775"/>
              <a:gd name="connsiteX11" fmla="*/ 339725 w 914400"/>
              <a:gd name="connsiteY11" fmla="*/ 390525 h 2263775"/>
              <a:gd name="connsiteX12" fmla="*/ 349250 w 914400"/>
              <a:gd name="connsiteY12" fmla="*/ 352425 h 2263775"/>
              <a:gd name="connsiteX13" fmla="*/ 400050 w 914400"/>
              <a:gd name="connsiteY13" fmla="*/ 320675 h 2263775"/>
              <a:gd name="connsiteX14" fmla="*/ 396875 w 914400"/>
              <a:gd name="connsiteY14" fmla="*/ 276225 h 2263775"/>
              <a:gd name="connsiteX15" fmla="*/ 438150 w 914400"/>
              <a:gd name="connsiteY15" fmla="*/ 222250 h 2263775"/>
              <a:gd name="connsiteX16" fmla="*/ 466725 w 914400"/>
              <a:gd name="connsiteY16" fmla="*/ 171450 h 2263775"/>
              <a:gd name="connsiteX17" fmla="*/ 438150 w 914400"/>
              <a:gd name="connsiteY17" fmla="*/ 104775 h 2263775"/>
              <a:gd name="connsiteX18" fmla="*/ 415925 w 914400"/>
              <a:gd name="connsiteY18" fmla="*/ 57150 h 2263775"/>
              <a:gd name="connsiteX19" fmla="*/ 441325 w 914400"/>
              <a:gd name="connsiteY19" fmla="*/ 0 h 2263775"/>
              <a:gd name="connsiteX0" fmla="*/ 0 w 466725"/>
              <a:gd name="connsiteY0" fmla="*/ 765175 h 765175"/>
              <a:gd name="connsiteX1" fmla="*/ 25400 w 466725"/>
              <a:gd name="connsiteY1" fmla="*/ 739775 h 765175"/>
              <a:gd name="connsiteX2" fmla="*/ 53975 w 466725"/>
              <a:gd name="connsiteY2" fmla="*/ 692150 h 765175"/>
              <a:gd name="connsiteX3" fmla="*/ 82550 w 466725"/>
              <a:gd name="connsiteY3" fmla="*/ 701675 h 765175"/>
              <a:gd name="connsiteX4" fmla="*/ 155575 w 466725"/>
              <a:gd name="connsiteY4" fmla="*/ 660400 h 765175"/>
              <a:gd name="connsiteX5" fmla="*/ 171450 w 466725"/>
              <a:gd name="connsiteY5" fmla="*/ 603250 h 765175"/>
              <a:gd name="connsiteX6" fmla="*/ 184150 w 466725"/>
              <a:gd name="connsiteY6" fmla="*/ 546100 h 765175"/>
              <a:gd name="connsiteX7" fmla="*/ 219075 w 466725"/>
              <a:gd name="connsiteY7" fmla="*/ 482600 h 765175"/>
              <a:gd name="connsiteX8" fmla="*/ 285750 w 466725"/>
              <a:gd name="connsiteY8" fmla="*/ 444500 h 765175"/>
              <a:gd name="connsiteX9" fmla="*/ 323850 w 466725"/>
              <a:gd name="connsiteY9" fmla="*/ 428625 h 765175"/>
              <a:gd name="connsiteX10" fmla="*/ 339725 w 466725"/>
              <a:gd name="connsiteY10" fmla="*/ 390525 h 765175"/>
              <a:gd name="connsiteX11" fmla="*/ 349250 w 466725"/>
              <a:gd name="connsiteY11" fmla="*/ 352425 h 765175"/>
              <a:gd name="connsiteX12" fmla="*/ 400050 w 466725"/>
              <a:gd name="connsiteY12" fmla="*/ 320675 h 765175"/>
              <a:gd name="connsiteX13" fmla="*/ 396875 w 466725"/>
              <a:gd name="connsiteY13" fmla="*/ 276225 h 765175"/>
              <a:gd name="connsiteX14" fmla="*/ 438150 w 466725"/>
              <a:gd name="connsiteY14" fmla="*/ 222250 h 765175"/>
              <a:gd name="connsiteX15" fmla="*/ 466725 w 466725"/>
              <a:gd name="connsiteY15" fmla="*/ 171450 h 765175"/>
              <a:gd name="connsiteX16" fmla="*/ 438150 w 466725"/>
              <a:gd name="connsiteY16" fmla="*/ 104775 h 765175"/>
              <a:gd name="connsiteX17" fmla="*/ 415925 w 466725"/>
              <a:gd name="connsiteY17" fmla="*/ 57150 h 765175"/>
              <a:gd name="connsiteX18" fmla="*/ 441325 w 466725"/>
              <a:gd name="connsiteY18" fmla="*/ 0 h 765175"/>
              <a:gd name="connsiteX0" fmla="*/ 0 w 477644"/>
              <a:gd name="connsiteY0" fmla="*/ 772538 h 772538"/>
              <a:gd name="connsiteX1" fmla="*/ 36319 w 477644"/>
              <a:gd name="connsiteY1" fmla="*/ 739775 h 772538"/>
              <a:gd name="connsiteX2" fmla="*/ 64894 w 477644"/>
              <a:gd name="connsiteY2" fmla="*/ 692150 h 772538"/>
              <a:gd name="connsiteX3" fmla="*/ 93469 w 477644"/>
              <a:gd name="connsiteY3" fmla="*/ 701675 h 772538"/>
              <a:gd name="connsiteX4" fmla="*/ 166494 w 477644"/>
              <a:gd name="connsiteY4" fmla="*/ 660400 h 772538"/>
              <a:gd name="connsiteX5" fmla="*/ 182369 w 477644"/>
              <a:gd name="connsiteY5" fmla="*/ 603250 h 772538"/>
              <a:gd name="connsiteX6" fmla="*/ 195069 w 477644"/>
              <a:gd name="connsiteY6" fmla="*/ 546100 h 772538"/>
              <a:gd name="connsiteX7" fmla="*/ 229994 w 477644"/>
              <a:gd name="connsiteY7" fmla="*/ 482600 h 772538"/>
              <a:gd name="connsiteX8" fmla="*/ 296669 w 477644"/>
              <a:gd name="connsiteY8" fmla="*/ 444500 h 772538"/>
              <a:gd name="connsiteX9" fmla="*/ 334769 w 477644"/>
              <a:gd name="connsiteY9" fmla="*/ 428625 h 772538"/>
              <a:gd name="connsiteX10" fmla="*/ 350644 w 477644"/>
              <a:gd name="connsiteY10" fmla="*/ 390525 h 772538"/>
              <a:gd name="connsiteX11" fmla="*/ 360169 w 477644"/>
              <a:gd name="connsiteY11" fmla="*/ 352425 h 772538"/>
              <a:gd name="connsiteX12" fmla="*/ 410969 w 477644"/>
              <a:gd name="connsiteY12" fmla="*/ 320675 h 772538"/>
              <a:gd name="connsiteX13" fmla="*/ 407794 w 477644"/>
              <a:gd name="connsiteY13" fmla="*/ 276225 h 772538"/>
              <a:gd name="connsiteX14" fmla="*/ 449069 w 477644"/>
              <a:gd name="connsiteY14" fmla="*/ 222250 h 772538"/>
              <a:gd name="connsiteX15" fmla="*/ 477644 w 477644"/>
              <a:gd name="connsiteY15" fmla="*/ 171450 h 772538"/>
              <a:gd name="connsiteX16" fmla="*/ 449069 w 477644"/>
              <a:gd name="connsiteY16" fmla="*/ 104775 h 772538"/>
              <a:gd name="connsiteX17" fmla="*/ 426844 w 477644"/>
              <a:gd name="connsiteY17" fmla="*/ 57150 h 772538"/>
              <a:gd name="connsiteX18" fmla="*/ 452244 w 477644"/>
              <a:gd name="connsiteY18" fmla="*/ 0 h 772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77644" h="772538">
                <a:moveTo>
                  <a:pt x="0" y="772538"/>
                </a:moveTo>
                <a:lnTo>
                  <a:pt x="36319" y="739775"/>
                </a:lnTo>
                <a:lnTo>
                  <a:pt x="64894" y="692150"/>
                </a:lnTo>
                <a:lnTo>
                  <a:pt x="93469" y="701675"/>
                </a:lnTo>
                <a:lnTo>
                  <a:pt x="166494" y="660400"/>
                </a:lnTo>
                <a:lnTo>
                  <a:pt x="182369" y="603250"/>
                </a:lnTo>
                <a:lnTo>
                  <a:pt x="195069" y="546100"/>
                </a:lnTo>
                <a:lnTo>
                  <a:pt x="229994" y="482600"/>
                </a:lnTo>
                <a:lnTo>
                  <a:pt x="296669" y="444500"/>
                </a:lnTo>
                <a:lnTo>
                  <a:pt x="334769" y="428625"/>
                </a:lnTo>
                <a:lnTo>
                  <a:pt x="350644" y="390525"/>
                </a:lnTo>
                <a:lnTo>
                  <a:pt x="360169" y="352425"/>
                </a:lnTo>
                <a:lnTo>
                  <a:pt x="410969" y="320675"/>
                </a:lnTo>
                <a:lnTo>
                  <a:pt x="407794" y="276225"/>
                </a:lnTo>
                <a:lnTo>
                  <a:pt x="449069" y="222250"/>
                </a:lnTo>
                <a:lnTo>
                  <a:pt x="477644" y="171450"/>
                </a:lnTo>
                <a:lnTo>
                  <a:pt x="449069" y="104775"/>
                </a:lnTo>
                <a:lnTo>
                  <a:pt x="426844" y="57150"/>
                </a:lnTo>
                <a:lnTo>
                  <a:pt x="452244" y="0"/>
                </a:lnTo>
              </a:path>
            </a:pathLst>
          </a:custGeom>
          <a:noFill/>
          <a:ln w="19050">
            <a:solidFill>
              <a:srgbClr val="0084A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8" name="Oval 624"/>
          <p:cNvSpPr/>
          <p:nvPr/>
        </p:nvSpPr>
        <p:spPr bwMode="auto">
          <a:xfrm>
            <a:off x="404919" y="3383564"/>
            <a:ext cx="114396" cy="113097"/>
          </a:xfrm>
          <a:prstGeom prst="ellipse">
            <a:avLst/>
          </a:prstGeom>
          <a:solidFill>
            <a:srgbClr val="881C1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69" name="Freeform 625"/>
          <p:cNvSpPr/>
          <p:nvPr/>
        </p:nvSpPr>
        <p:spPr bwMode="auto">
          <a:xfrm>
            <a:off x="455680" y="3422370"/>
            <a:ext cx="47290" cy="65047"/>
          </a:xfrm>
          <a:custGeom>
            <a:avLst/>
            <a:gdLst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214694 w 2214694"/>
              <a:gd name="connsiteY10" fmla="*/ 8389 h 2583809"/>
              <a:gd name="connsiteX0" fmla="*/ 1367406 w 2214694"/>
              <a:gd name="connsiteY0" fmla="*/ 0 h 2583809"/>
              <a:gd name="connsiteX1" fmla="*/ 553674 w 2214694"/>
              <a:gd name="connsiteY1" fmla="*/ 847288 h 2583809"/>
              <a:gd name="connsiteX2" fmla="*/ 1098958 w 2214694"/>
              <a:gd name="connsiteY2" fmla="*/ 872455 h 2583809"/>
              <a:gd name="connsiteX3" fmla="*/ 293615 w 2214694"/>
              <a:gd name="connsiteY3" fmla="*/ 1627464 h 2583809"/>
              <a:gd name="connsiteX4" fmla="*/ 746621 w 2214694"/>
              <a:gd name="connsiteY4" fmla="*/ 1635853 h 2583809"/>
              <a:gd name="connsiteX5" fmla="*/ 0 w 2214694"/>
              <a:gd name="connsiteY5" fmla="*/ 2583809 h 2583809"/>
              <a:gd name="connsiteX6" fmla="*/ 1560353 w 2214694"/>
              <a:gd name="connsiteY6" fmla="*/ 1317072 h 2583809"/>
              <a:gd name="connsiteX7" fmla="*/ 1157681 w 2214694"/>
              <a:gd name="connsiteY7" fmla="*/ 1317072 h 2583809"/>
              <a:gd name="connsiteX8" fmla="*/ 1971413 w 2214694"/>
              <a:gd name="connsiteY8" fmla="*/ 562062 h 2583809"/>
              <a:gd name="connsiteX9" fmla="*/ 1602298 w 2214694"/>
              <a:gd name="connsiteY9" fmla="*/ 562062 h 2583809"/>
              <a:gd name="connsiteX10" fmla="*/ 2004969 w 2214694"/>
              <a:gd name="connsiteY10" fmla="*/ 209725 h 2583809"/>
              <a:gd name="connsiteX11" fmla="*/ 2214694 w 2214694"/>
              <a:gd name="connsiteY11" fmla="*/ 8389 h 2583809"/>
              <a:gd name="connsiteX0" fmla="*/ 1367406 w 2004969"/>
              <a:gd name="connsiteY0" fmla="*/ 0 h 2583809"/>
              <a:gd name="connsiteX1" fmla="*/ 553674 w 2004969"/>
              <a:gd name="connsiteY1" fmla="*/ 847288 h 2583809"/>
              <a:gd name="connsiteX2" fmla="*/ 1098958 w 2004969"/>
              <a:gd name="connsiteY2" fmla="*/ 872455 h 2583809"/>
              <a:gd name="connsiteX3" fmla="*/ 293615 w 2004969"/>
              <a:gd name="connsiteY3" fmla="*/ 1627464 h 2583809"/>
              <a:gd name="connsiteX4" fmla="*/ 746621 w 2004969"/>
              <a:gd name="connsiteY4" fmla="*/ 1635853 h 2583809"/>
              <a:gd name="connsiteX5" fmla="*/ 0 w 2004969"/>
              <a:gd name="connsiteY5" fmla="*/ 2583809 h 2583809"/>
              <a:gd name="connsiteX6" fmla="*/ 1560353 w 2004969"/>
              <a:gd name="connsiteY6" fmla="*/ 1317072 h 2583809"/>
              <a:gd name="connsiteX7" fmla="*/ 1157681 w 2004969"/>
              <a:gd name="connsiteY7" fmla="*/ 1317072 h 2583809"/>
              <a:gd name="connsiteX8" fmla="*/ 1971413 w 2004969"/>
              <a:gd name="connsiteY8" fmla="*/ 562062 h 2583809"/>
              <a:gd name="connsiteX9" fmla="*/ 1602298 w 2004969"/>
              <a:gd name="connsiteY9" fmla="*/ 562062 h 2583809"/>
              <a:gd name="connsiteX10" fmla="*/ 2004969 w 2004969"/>
              <a:gd name="connsiteY10" fmla="*/ 209725 h 2583809"/>
              <a:gd name="connsiteX11" fmla="*/ 1375795 w 2004969"/>
              <a:gd name="connsiteY11" fmla="*/ 8389 h 2583809"/>
              <a:gd name="connsiteX0" fmla="*/ 1367406 w 2206305"/>
              <a:gd name="connsiteY0" fmla="*/ 0 h 2583809"/>
              <a:gd name="connsiteX1" fmla="*/ 553674 w 2206305"/>
              <a:gd name="connsiteY1" fmla="*/ 847288 h 2583809"/>
              <a:gd name="connsiteX2" fmla="*/ 1098958 w 2206305"/>
              <a:gd name="connsiteY2" fmla="*/ 872455 h 2583809"/>
              <a:gd name="connsiteX3" fmla="*/ 293615 w 2206305"/>
              <a:gd name="connsiteY3" fmla="*/ 1627464 h 2583809"/>
              <a:gd name="connsiteX4" fmla="*/ 746621 w 2206305"/>
              <a:gd name="connsiteY4" fmla="*/ 1635853 h 2583809"/>
              <a:gd name="connsiteX5" fmla="*/ 0 w 2206305"/>
              <a:gd name="connsiteY5" fmla="*/ 2583809 h 2583809"/>
              <a:gd name="connsiteX6" fmla="*/ 1560353 w 2206305"/>
              <a:gd name="connsiteY6" fmla="*/ 1317072 h 2583809"/>
              <a:gd name="connsiteX7" fmla="*/ 1157681 w 2206305"/>
              <a:gd name="connsiteY7" fmla="*/ 1317072 h 2583809"/>
              <a:gd name="connsiteX8" fmla="*/ 1971413 w 2206305"/>
              <a:gd name="connsiteY8" fmla="*/ 562062 h 2583809"/>
              <a:gd name="connsiteX9" fmla="*/ 1602298 w 2206305"/>
              <a:gd name="connsiteY9" fmla="*/ 562062 h 2583809"/>
              <a:gd name="connsiteX10" fmla="*/ 2206305 w 2206305"/>
              <a:gd name="connsiteY10" fmla="*/ 8389 h 2583809"/>
              <a:gd name="connsiteX11" fmla="*/ 1375795 w 2206305"/>
              <a:gd name="connsiteY11" fmla="*/ 8389 h 258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6305" h="2583809">
                <a:moveTo>
                  <a:pt x="1367406" y="0"/>
                </a:moveTo>
                <a:lnTo>
                  <a:pt x="553674" y="847288"/>
                </a:lnTo>
                <a:lnTo>
                  <a:pt x="1098958" y="872455"/>
                </a:lnTo>
                <a:lnTo>
                  <a:pt x="293615" y="1627464"/>
                </a:lnTo>
                <a:lnTo>
                  <a:pt x="746621" y="1635853"/>
                </a:lnTo>
                <a:lnTo>
                  <a:pt x="0" y="2583809"/>
                </a:lnTo>
                <a:lnTo>
                  <a:pt x="1560353" y="1317072"/>
                </a:lnTo>
                <a:lnTo>
                  <a:pt x="1157681" y="1317072"/>
                </a:lnTo>
                <a:lnTo>
                  <a:pt x="1971413" y="562062"/>
                </a:lnTo>
                <a:lnTo>
                  <a:pt x="1602298" y="562062"/>
                </a:lnTo>
                <a:lnTo>
                  <a:pt x="2206305" y="8389"/>
                </a:lnTo>
                <a:lnTo>
                  <a:pt x="1375795" y="8389"/>
                </a:lnTo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sz="24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0" name="Freeform 626"/>
          <p:cNvSpPr/>
          <p:nvPr/>
        </p:nvSpPr>
        <p:spPr bwMode="auto">
          <a:xfrm>
            <a:off x="428348" y="3410120"/>
            <a:ext cx="56281" cy="17968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5754" h="713707">
                <a:moveTo>
                  <a:pt x="0" y="461394"/>
                </a:moveTo>
                <a:cubicBezTo>
                  <a:pt x="394282" y="385893"/>
                  <a:pt x="528506" y="285226"/>
                  <a:pt x="755009" y="8389"/>
                </a:cubicBezTo>
                <a:cubicBezTo>
                  <a:pt x="1076589" y="525710"/>
                  <a:pt x="1817614" y="673915"/>
                  <a:pt x="2273416" y="0"/>
                </a:cubicBezTo>
                <a:cubicBezTo>
                  <a:pt x="2418176" y="239611"/>
                  <a:pt x="2466363" y="271244"/>
                  <a:pt x="2625754" y="343948"/>
                </a:cubicBezTo>
                <a:lnTo>
                  <a:pt x="2441196" y="536895"/>
                </a:lnTo>
                <a:cubicBezTo>
                  <a:pt x="2337218" y="481035"/>
                  <a:pt x="2321021" y="454437"/>
                  <a:pt x="2260933" y="413208"/>
                </a:cubicBezTo>
                <a:cubicBezTo>
                  <a:pt x="1785781" y="825656"/>
                  <a:pt x="1149693" y="799191"/>
                  <a:pt x="733063" y="421597"/>
                </a:cubicBezTo>
                <a:cubicBezTo>
                  <a:pt x="488709" y="623603"/>
                  <a:pt x="332136" y="701252"/>
                  <a:pt x="0" y="713064"/>
                </a:cubicBezTo>
                <a:lnTo>
                  <a:pt x="0" y="46139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71" name="Freeform 627"/>
          <p:cNvSpPr/>
          <p:nvPr/>
        </p:nvSpPr>
        <p:spPr bwMode="auto">
          <a:xfrm>
            <a:off x="428348" y="3427827"/>
            <a:ext cx="38693" cy="17745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5243" h="704886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1010753" y="458800"/>
                  <a:pt x="1437223" y="511906"/>
                  <a:pt x="1805243" y="401263"/>
                </a:cubicBezTo>
                <a:cubicBezTo>
                  <a:pt x="1740022" y="525923"/>
                  <a:pt x="1559189" y="647217"/>
                  <a:pt x="1504851" y="704071"/>
                </a:cubicBezTo>
                <a:cubicBezTo>
                  <a:pt x="1189403" y="717012"/>
                  <a:pt x="949733" y="574042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72" name="Freeform 628"/>
          <p:cNvSpPr/>
          <p:nvPr/>
        </p:nvSpPr>
        <p:spPr bwMode="auto">
          <a:xfrm>
            <a:off x="428348" y="3445689"/>
            <a:ext cx="32328" cy="17740"/>
          </a:xfrm>
          <a:custGeom>
            <a:avLst/>
            <a:gdLst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444"/>
              <a:gd name="connsiteX1" fmla="*/ 755009 w 2625754"/>
              <a:gd name="connsiteY1" fmla="*/ 8389 h 713444"/>
              <a:gd name="connsiteX2" fmla="*/ 2273416 w 2625754"/>
              <a:gd name="connsiteY2" fmla="*/ 0 h 713444"/>
              <a:gd name="connsiteX3" fmla="*/ 2625754 w 2625754"/>
              <a:gd name="connsiteY3" fmla="*/ 343948 h 713444"/>
              <a:gd name="connsiteX4" fmla="*/ 2441196 w 2625754"/>
              <a:gd name="connsiteY4" fmla="*/ 536895 h 713444"/>
              <a:gd name="connsiteX5" fmla="*/ 2290194 w 2625754"/>
              <a:gd name="connsiteY5" fmla="*/ 427838 h 713444"/>
              <a:gd name="connsiteX6" fmla="*/ 755009 w 2625754"/>
              <a:gd name="connsiteY6" fmla="*/ 436227 h 713444"/>
              <a:gd name="connsiteX7" fmla="*/ 0 w 2625754"/>
              <a:gd name="connsiteY7" fmla="*/ 713064 h 713444"/>
              <a:gd name="connsiteX8" fmla="*/ 0 w 2625754"/>
              <a:gd name="connsiteY8" fmla="*/ 461394 h 713444"/>
              <a:gd name="connsiteX0" fmla="*/ 0 w 2625754"/>
              <a:gd name="connsiteY0" fmla="*/ 461394 h 713725"/>
              <a:gd name="connsiteX1" fmla="*/ 755009 w 2625754"/>
              <a:gd name="connsiteY1" fmla="*/ 8389 h 713725"/>
              <a:gd name="connsiteX2" fmla="*/ 2273416 w 2625754"/>
              <a:gd name="connsiteY2" fmla="*/ 0 h 713725"/>
              <a:gd name="connsiteX3" fmla="*/ 2625754 w 2625754"/>
              <a:gd name="connsiteY3" fmla="*/ 343948 h 713725"/>
              <a:gd name="connsiteX4" fmla="*/ 2441196 w 2625754"/>
              <a:gd name="connsiteY4" fmla="*/ 536895 h 713725"/>
              <a:gd name="connsiteX5" fmla="*/ 2290194 w 2625754"/>
              <a:gd name="connsiteY5" fmla="*/ 427838 h 713725"/>
              <a:gd name="connsiteX6" fmla="*/ 755009 w 2625754"/>
              <a:gd name="connsiteY6" fmla="*/ 436227 h 713725"/>
              <a:gd name="connsiteX7" fmla="*/ 0 w 2625754"/>
              <a:gd name="connsiteY7" fmla="*/ 713064 h 713725"/>
              <a:gd name="connsiteX8" fmla="*/ 0 w 2625754"/>
              <a:gd name="connsiteY8" fmla="*/ 461394 h 713725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55009 w 2625754"/>
              <a:gd name="connsiteY6" fmla="*/ 43622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90194 w 2625754"/>
              <a:gd name="connsiteY5" fmla="*/ 42783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064"/>
              <a:gd name="connsiteX1" fmla="*/ 755009 w 2625754"/>
              <a:gd name="connsiteY1" fmla="*/ 8389 h 713064"/>
              <a:gd name="connsiteX2" fmla="*/ 2273416 w 2625754"/>
              <a:gd name="connsiteY2" fmla="*/ 0 h 713064"/>
              <a:gd name="connsiteX3" fmla="*/ 2625754 w 2625754"/>
              <a:gd name="connsiteY3" fmla="*/ 343948 h 713064"/>
              <a:gd name="connsiteX4" fmla="*/ 2441196 w 2625754"/>
              <a:gd name="connsiteY4" fmla="*/ 536895 h 713064"/>
              <a:gd name="connsiteX5" fmla="*/ 2260933 w 2625754"/>
              <a:gd name="connsiteY5" fmla="*/ 413208 h 713064"/>
              <a:gd name="connsiteX6" fmla="*/ 733063 w 2625754"/>
              <a:gd name="connsiteY6" fmla="*/ 421597 h 713064"/>
              <a:gd name="connsiteX7" fmla="*/ 0 w 2625754"/>
              <a:gd name="connsiteY7" fmla="*/ 713064 h 713064"/>
              <a:gd name="connsiteX8" fmla="*/ 0 w 2625754"/>
              <a:gd name="connsiteY8" fmla="*/ 461394 h 713064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61394 h 713707"/>
              <a:gd name="connsiteX1" fmla="*/ 755009 w 2625754"/>
              <a:gd name="connsiteY1" fmla="*/ 8389 h 713707"/>
              <a:gd name="connsiteX2" fmla="*/ 2273416 w 2625754"/>
              <a:gd name="connsiteY2" fmla="*/ 0 h 713707"/>
              <a:gd name="connsiteX3" fmla="*/ 2625754 w 2625754"/>
              <a:gd name="connsiteY3" fmla="*/ 343948 h 713707"/>
              <a:gd name="connsiteX4" fmla="*/ 2441196 w 2625754"/>
              <a:gd name="connsiteY4" fmla="*/ 536895 h 713707"/>
              <a:gd name="connsiteX5" fmla="*/ 2260933 w 2625754"/>
              <a:gd name="connsiteY5" fmla="*/ 413208 h 713707"/>
              <a:gd name="connsiteX6" fmla="*/ 733063 w 2625754"/>
              <a:gd name="connsiteY6" fmla="*/ 421597 h 713707"/>
              <a:gd name="connsiteX7" fmla="*/ 0 w 2625754"/>
              <a:gd name="connsiteY7" fmla="*/ 713064 h 713707"/>
              <a:gd name="connsiteX8" fmla="*/ 0 w 2625754"/>
              <a:gd name="connsiteY8" fmla="*/ 461394 h 713707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5318"/>
              <a:gd name="connsiteX1" fmla="*/ 755009 w 2625754"/>
              <a:gd name="connsiteY1" fmla="*/ 0 h 705318"/>
              <a:gd name="connsiteX2" fmla="*/ 1805243 w 2625754"/>
              <a:gd name="connsiteY2" fmla="*/ 379317 h 705318"/>
              <a:gd name="connsiteX3" fmla="*/ 2625754 w 2625754"/>
              <a:gd name="connsiteY3" fmla="*/ 335559 h 705318"/>
              <a:gd name="connsiteX4" fmla="*/ 2441196 w 2625754"/>
              <a:gd name="connsiteY4" fmla="*/ 528506 h 705318"/>
              <a:gd name="connsiteX5" fmla="*/ 2260933 w 2625754"/>
              <a:gd name="connsiteY5" fmla="*/ 404819 h 705318"/>
              <a:gd name="connsiteX6" fmla="*/ 733063 w 2625754"/>
              <a:gd name="connsiteY6" fmla="*/ 413208 h 705318"/>
              <a:gd name="connsiteX7" fmla="*/ 0 w 2625754"/>
              <a:gd name="connsiteY7" fmla="*/ 704675 h 705318"/>
              <a:gd name="connsiteX8" fmla="*/ 0 w 2625754"/>
              <a:gd name="connsiteY8" fmla="*/ 453005 h 705318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2441196 w 2625754"/>
              <a:gd name="connsiteY4" fmla="*/ 528506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675"/>
              <a:gd name="connsiteX1" fmla="*/ 755009 w 2625754"/>
              <a:gd name="connsiteY1" fmla="*/ 0 h 704675"/>
              <a:gd name="connsiteX2" fmla="*/ 1805243 w 2625754"/>
              <a:gd name="connsiteY2" fmla="*/ 379317 h 704675"/>
              <a:gd name="connsiteX3" fmla="*/ 2625754 w 2625754"/>
              <a:gd name="connsiteY3" fmla="*/ 335559 h 704675"/>
              <a:gd name="connsiteX4" fmla="*/ 1504851 w 2625754"/>
              <a:gd name="connsiteY4" fmla="*/ 704071 h 704675"/>
              <a:gd name="connsiteX5" fmla="*/ 733063 w 2625754"/>
              <a:gd name="connsiteY5" fmla="*/ 413208 h 704675"/>
              <a:gd name="connsiteX6" fmla="*/ 0 w 2625754"/>
              <a:gd name="connsiteY6" fmla="*/ 704675 h 704675"/>
              <a:gd name="connsiteX7" fmla="*/ 0 w 2625754"/>
              <a:gd name="connsiteY7" fmla="*/ 453005 h 704675"/>
              <a:gd name="connsiteX0" fmla="*/ 0 w 2625754"/>
              <a:gd name="connsiteY0" fmla="*/ 453005 h 704886"/>
              <a:gd name="connsiteX1" fmla="*/ 755009 w 2625754"/>
              <a:gd name="connsiteY1" fmla="*/ 0 h 704886"/>
              <a:gd name="connsiteX2" fmla="*/ 1805243 w 2625754"/>
              <a:gd name="connsiteY2" fmla="*/ 379317 h 704886"/>
              <a:gd name="connsiteX3" fmla="*/ 2625754 w 2625754"/>
              <a:gd name="connsiteY3" fmla="*/ 335559 h 704886"/>
              <a:gd name="connsiteX4" fmla="*/ 1504851 w 2625754"/>
              <a:gd name="connsiteY4" fmla="*/ 704071 h 704886"/>
              <a:gd name="connsiteX5" fmla="*/ 733063 w 2625754"/>
              <a:gd name="connsiteY5" fmla="*/ 413208 h 704886"/>
              <a:gd name="connsiteX6" fmla="*/ 0 w 2625754"/>
              <a:gd name="connsiteY6" fmla="*/ 704675 h 704886"/>
              <a:gd name="connsiteX7" fmla="*/ 0 w 2625754"/>
              <a:gd name="connsiteY7" fmla="*/ 453005 h 704886"/>
              <a:gd name="connsiteX0" fmla="*/ 0 w 1839244"/>
              <a:gd name="connsiteY0" fmla="*/ 453005 h 704886"/>
              <a:gd name="connsiteX1" fmla="*/ 755009 w 1839244"/>
              <a:gd name="connsiteY1" fmla="*/ 0 h 704886"/>
              <a:gd name="connsiteX2" fmla="*/ 1805243 w 1839244"/>
              <a:gd name="connsiteY2" fmla="*/ 379317 h 704886"/>
              <a:gd name="connsiteX3" fmla="*/ 1504851 w 1839244"/>
              <a:gd name="connsiteY3" fmla="*/ 704071 h 704886"/>
              <a:gd name="connsiteX4" fmla="*/ 733063 w 1839244"/>
              <a:gd name="connsiteY4" fmla="*/ 413208 h 704886"/>
              <a:gd name="connsiteX5" fmla="*/ 0 w 1839244"/>
              <a:gd name="connsiteY5" fmla="*/ 704675 h 704886"/>
              <a:gd name="connsiteX6" fmla="*/ 0 w 1839244"/>
              <a:gd name="connsiteY6" fmla="*/ 453005 h 704886"/>
              <a:gd name="connsiteX0" fmla="*/ 0 w 1830805"/>
              <a:gd name="connsiteY0" fmla="*/ 453005 h 704886"/>
              <a:gd name="connsiteX1" fmla="*/ 755009 w 1830805"/>
              <a:gd name="connsiteY1" fmla="*/ 0 h 704886"/>
              <a:gd name="connsiteX2" fmla="*/ 1805243 w 1830805"/>
              <a:gd name="connsiteY2" fmla="*/ 379317 h 704886"/>
              <a:gd name="connsiteX3" fmla="*/ 1504851 w 1830805"/>
              <a:gd name="connsiteY3" fmla="*/ 704071 h 704886"/>
              <a:gd name="connsiteX4" fmla="*/ 733063 w 1830805"/>
              <a:gd name="connsiteY4" fmla="*/ 413208 h 704886"/>
              <a:gd name="connsiteX5" fmla="*/ 0 w 1830805"/>
              <a:gd name="connsiteY5" fmla="*/ 704675 h 704886"/>
              <a:gd name="connsiteX6" fmla="*/ 0 w 1830805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379317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3"/>
              <a:gd name="connsiteY0" fmla="*/ 453005 h 704886"/>
              <a:gd name="connsiteX1" fmla="*/ 755009 w 1805243"/>
              <a:gd name="connsiteY1" fmla="*/ 0 h 704886"/>
              <a:gd name="connsiteX2" fmla="*/ 1805243 w 1805243"/>
              <a:gd name="connsiteY2" fmla="*/ 401263 h 704886"/>
              <a:gd name="connsiteX3" fmla="*/ 1504851 w 1805243"/>
              <a:gd name="connsiteY3" fmla="*/ 704071 h 704886"/>
              <a:gd name="connsiteX4" fmla="*/ 733063 w 1805243"/>
              <a:gd name="connsiteY4" fmla="*/ 413208 h 704886"/>
              <a:gd name="connsiteX5" fmla="*/ 0 w 1805243"/>
              <a:gd name="connsiteY5" fmla="*/ 704675 h 704886"/>
              <a:gd name="connsiteX6" fmla="*/ 0 w 1805243"/>
              <a:gd name="connsiteY6" fmla="*/ 453005 h 704886"/>
              <a:gd name="connsiteX0" fmla="*/ 0 w 1805244"/>
              <a:gd name="connsiteY0" fmla="*/ 453016 h 704897"/>
              <a:gd name="connsiteX1" fmla="*/ 755009 w 1805244"/>
              <a:gd name="connsiteY1" fmla="*/ 11 h 704897"/>
              <a:gd name="connsiteX2" fmla="*/ 1508274 w 1805244"/>
              <a:gd name="connsiteY2" fmla="*/ 438787 h 704897"/>
              <a:gd name="connsiteX3" fmla="*/ 1805243 w 1805244"/>
              <a:gd name="connsiteY3" fmla="*/ 401274 h 704897"/>
              <a:gd name="connsiteX4" fmla="*/ 1504851 w 1805244"/>
              <a:gd name="connsiteY4" fmla="*/ 704082 h 704897"/>
              <a:gd name="connsiteX5" fmla="*/ 733063 w 1805244"/>
              <a:gd name="connsiteY5" fmla="*/ 413219 h 704897"/>
              <a:gd name="connsiteX6" fmla="*/ 0 w 1805244"/>
              <a:gd name="connsiteY6" fmla="*/ 704686 h 704897"/>
              <a:gd name="connsiteX7" fmla="*/ 0 w 1805244"/>
              <a:gd name="connsiteY7" fmla="*/ 453016 h 704897"/>
              <a:gd name="connsiteX0" fmla="*/ 0 w 1805244"/>
              <a:gd name="connsiteY0" fmla="*/ 453016 h 726953"/>
              <a:gd name="connsiteX1" fmla="*/ 755009 w 1805244"/>
              <a:gd name="connsiteY1" fmla="*/ 11 h 726953"/>
              <a:gd name="connsiteX2" fmla="*/ 1508274 w 1805244"/>
              <a:gd name="connsiteY2" fmla="*/ 438787 h 726953"/>
              <a:gd name="connsiteX3" fmla="*/ 1805243 w 1805244"/>
              <a:gd name="connsiteY3" fmla="*/ 401274 h 726953"/>
              <a:gd name="connsiteX4" fmla="*/ 1504851 w 1805244"/>
              <a:gd name="connsiteY4" fmla="*/ 704082 h 726953"/>
              <a:gd name="connsiteX5" fmla="*/ 1259556 w 1805244"/>
              <a:gd name="connsiteY5" fmla="*/ 672874 h 726953"/>
              <a:gd name="connsiteX6" fmla="*/ 733063 w 1805244"/>
              <a:gd name="connsiteY6" fmla="*/ 413219 h 726953"/>
              <a:gd name="connsiteX7" fmla="*/ 0 w 1805244"/>
              <a:gd name="connsiteY7" fmla="*/ 704686 h 726953"/>
              <a:gd name="connsiteX8" fmla="*/ 0 w 1805244"/>
              <a:gd name="connsiteY8" fmla="*/ 453016 h 726953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26942"/>
              <a:gd name="connsiteX1" fmla="*/ 755009 w 1805244"/>
              <a:gd name="connsiteY1" fmla="*/ 0 h 726942"/>
              <a:gd name="connsiteX2" fmla="*/ 1508274 w 1805244"/>
              <a:gd name="connsiteY2" fmla="*/ 438776 h 726942"/>
              <a:gd name="connsiteX3" fmla="*/ 1805243 w 1805244"/>
              <a:gd name="connsiteY3" fmla="*/ 401263 h 726942"/>
              <a:gd name="connsiteX4" fmla="*/ 1504851 w 1805244"/>
              <a:gd name="connsiteY4" fmla="*/ 704071 h 726942"/>
              <a:gd name="connsiteX5" fmla="*/ 1259556 w 1805244"/>
              <a:gd name="connsiteY5" fmla="*/ 672863 h 726942"/>
              <a:gd name="connsiteX6" fmla="*/ 733063 w 1805244"/>
              <a:gd name="connsiteY6" fmla="*/ 413208 h 726942"/>
              <a:gd name="connsiteX7" fmla="*/ 0 w 1805244"/>
              <a:gd name="connsiteY7" fmla="*/ 704675 h 726942"/>
              <a:gd name="connsiteX8" fmla="*/ 0 w 1805244"/>
              <a:gd name="connsiteY8" fmla="*/ 453005 h 726942"/>
              <a:gd name="connsiteX0" fmla="*/ 0 w 1805244"/>
              <a:gd name="connsiteY0" fmla="*/ 453005 h 704675"/>
              <a:gd name="connsiteX1" fmla="*/ 755009 w 1805244"/>
              <a:gd name="connsiteY1" fmla="*/ 0 h 704675"/>
              <a:gd name="connsiteX2" fmla="*/ 1508274 w 1805244"/>
              <a:gd name="connsiteY2" fmla="*/ 438776 h 704675"/>
              <a:gd name="connsiteX3" fmla="*/ 1805243 w 1805244"/>
              <a:gd name="connsiteY3" fmla="*/ 401263 h 704675"/>
              <a:gd name="connsiteX4" fmla="*/ 1259556 w 1805244"/>
              <a:gd name="connsiteY4" fmla="*/ 672863 h 704675"/>
              <a:gd name="connsiteX5" fmla="*/ 733063 w 1805244"/>
              <a:gd name="connsiteY5" fmla="*/ 413208 h 704675"/>
              <a:gd name="connsiteX6" fmla="*/ 0 w 1805244"/>
              <a:gd name="connsiteY6" fmla="*/ 704675 h 704675"/>
              <a:gd name="connsiteX7" fmla="*/ 0 w 1805244"/>
              <a:gd name="connsiteY7" fmla="*/ 453005 h 704675"/>
              <a:gd name="connsiteX0" fmla="*/ 0 w 1528031"/>
              <a:gd name="connsiteY0" fmla="*/ 453005 h 704675"/>
              <a:gd name="connsiteX1" fmla="*/ 755009 w 1528031"/>
              <a:gd name="connsiteY1" fmla="*/ 0 h 704675"/>
              <a:gd name="connsiteX2" fmla="*/ 1508274 w 1528031"/>
              <a:gd name="connsiteY2" fmla="*/ 438776 h 704675"/>
              <a:gd name="connsiteX3" fmla="*/ 1259556 w 1528031"/>
              <a:gd name="connsiteY3" fmla="*/ 672863 h 704675"/>
              <a:gd name="connsiteX4" fmla="*/ 733063 w 1528031"/>
              <a:gd name="connsiteY4" fmla="*/ 413208 h 704675"/>
              <a:gd name="connsiteX5" fmla="*/ 0 w 1528031"/>
              <a:gd name="connsiteY5" fmla="*/ 704675 h 704675"/>
              <a:gd name="connsiteX6" fmla="*/ 0 w 1528031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  <a:gd name="connsiteX0" fmla="*/ 0 w 1508274"/>
              <a:gd name="connsiteY0" fmla="*/ 453005 h 704675"/>
              <a:gd name="connsiteX1" fmla="*/ 755009 w 1508274"/>
              <a:gd name="connsiteY1" fmla="*/ 0 h 704675"/>
              <a:gd name="connsiteX2" fmla="*/ 1508274 w 1508274"/>
              <a:gd name="connsiteY2" fmla="*/ 438776 h 704675"/>
              <a:gd name="connsiteX3" fmla="*/ 1259556 w 1508274"/>
              <a:gd name="connsiteY3" fmla="*/ 672863 h 704675"/>
              <a:gd name="connsiteX4" fmla="*/ 733063 w 1508274"/>
              <a:gd name="connsiteY4" fmla="*/ 413208 h 704675"/>
              <a:gd name="connsiteX5" fmla="*/ 0 w 1508274"/>
              <a:gd name="connsiteY5" fmla="*/ 704675 h 704675"/>
              <a:gd name="connsiteX6" fmla="*/ 0 w 1508274"/>
              <a:gd name="connsiteY6" fmla="*/ 453005 h 70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8274" h="704675">
                <a:moveTo>
                  <a:pt x="0" y="453005"/>
                </a:moveTo>
                <a:cubicBezTo>
                  <a:pt x="394282" y="377504"/>
                  <a:pt x="528506" y="276837"/>
                  <a:pt x="755009" y="0"/>
                </a:cubicBezTo>
                <a:cubicBezTo>
                  <a:pt x="955182" y="341443"/>
                  <a:pt x="1179615" y="430421"/>
                  <a:pt x="1508274" y="438776"/>
                </a:cubicBezTo>
                <a:cubicBezTo>
                  <a:pt x="1409485" y="565550"/>
                  <a:pt x="1381442" y="603972"/>
                  <a:pt x="1259556" y="672863"/>
                </a:cubicBezTo>
                <a:cubicBezTo>
                  <a:pt x="1079719" y="639017"/>
                  <a:pt x="942989" y="590786"/>
                  <a:pt x="733063" y="413208"/>
                </a:cubicBezTo>
                <a:cubicBezTo>
                  <a:pt x="488709" y="615214"/>
                  <a:pt x="332136" y="692863"/>
                  <a:pt x="0" y="704675"/>
                </a:cubicBezTo>
                <a:lnTo>
                  <a:pt x="0" y="45300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73" name="TextBox 272"/>
          <p:cNvSpPr txBox="1"/>
          <p:nvPr/>
        </p:nvSpPr>
        <p:spPr>
          <a:xfrm>
            <a:off x="515278" y="3328021"/>
            <a:ext cx="638491" cy="9009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>
              <a:lnSpc>
                <a:spcPct val="80000"/>
              </a:lnSpc>
            </a:pP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Warsak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240MW</a:t>
            </a:r>
          </a:p>
        </p:txBody>
      </p:sp>
      <p:sp>
        <p:nvSpPr>
          <p:cNvPr id="274" name="TextBox 273"/>
          <p:cNvSpPr txBox="1"/>
          <p:nvPr/>
        </p:nvSpPr>
        <p:spPr>
          <a:xfrm>
            <a:off x="195313" y="3637174"/>
            <a:ext cx="542968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 latinLnBrk="0">
              <a:defRPr sz="900" b="1" i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SHAWAR</a:t>
            </a:r>
          </a:p>
        </p:txBody>
      </p:sp>
      <p:sp>
        <p:nvSpPr>
          <p:cNvPr id="275" name="5-Point Star 166"/>
          <p:cNvSpPr/>
          <p:nvPr/>
        </p:nvSpPr>
        <p:spPr bwMode="auto">
          <a:xfrm>
            <a:off x="766289" y="3564651"/>
            <a:ext cx="131902" cy="130405"/>
          </a:xfrm>
          <a:prstGeom prst="star5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700"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276" name="Oval 538"/>
          <p:cNvSpPr/>
          <p:nvPr/>
        </p:nvSpPr>
        <p:spPr bwMode="auto">
          <a:xfrm>
            <a:off x="543655" y="640291"/>
            <a:ext cx="114396" cy="113097"/>
          </a:xfrm>
          <a:prstGeom prst="ellipse">
            <a:avLst/>
          </a:prstGeom>
          <a:solidFill>
            <a:srgbClr val="007A1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32" name="그룹 431"/>
          <p:cNvGrpSpPr/>
          <p:nvPr/>
        </p:nvGrpSpPr>
        <p:grpSpPr>
          <a:xfrm>
            <a:off x="555187" y="661860"/>
            <a:ext cx="77775" cy="76819"/>
            <a:chOff x="555187" y="661860"/>
            <a:chExt cx="77775" cy="76819"/>
          </a:xfrm>
        </p:grpSpPr>
        <p:sp>
          <p:nvSpPr>
            <p:cNvPr id="278" name="Oval 540"/>
            <p:cNvSpPr/>
            <p:nvPr/>
          </p:nvSpPr>
          <p:spPr>
            <a:xfrm>
              <a:off x="578454" y="661860"/>
              <a:ext cx="54508" cy="538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9" name="Freeform 541"/>
            <p:cNvSpPr/>
            <p:nvPr/>
          </p:nvSpPr>
          <p:spPr>
            <a:xfrm>
              <a:off x="555187" y="706367"/>
              <a:ext cx="33158" cy="32312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0" name="Oval 542"/>
            <p:cNvSpPr/>
            <p:nvPr/>
          </p:nvSpPr>
          <p:spPr>
            <a:xfrm>
              <a:off x="587087" y="670395"/>
              <a:ext cx="37242" cy="368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1" name="Oval 533"/>
          <p:cNvSpPr/>
          <p:nvPr/>
        </p:nvSpPr>
        <p:spPr bwMode="auto">
          <a:xfrm>
            <a:off x="682294" y="406133"/>
            <a:ext cx="114396" cy="113097"/>
          </a:xfrm>
          <a:prstGeom prst="ellipse">
            <a:avLst/>
          </a:prstGeom>
          <a:solidFill>
            <a:srgbClr val="007A1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31" name="그룹 430"/>
          <p:cNvGrpSpPr/>
          <p:nvPr/>
        </p:nvGrpSpPr>
        <p:grpSpPr>
          <a:xfrm>
            <a:off x="693830" y="427699"/>
            <a:ext cx="77775" cy="76819"/>
            <a:chOff x="693830" y="427699"/>
            <a:chExt cx="77775" cy="76819"/>
          </a:xfrm>
        </p:grpSpPr>
        <p:sp>
          <p:nvSpPr>
            <p:cNvPr id="283" name="Oval 535"/>
            <p:cNvSpPr/>
            <p:nvPr/>
          </p:nvSpPr>
          <p:spPr>
            <a:xfrm>
              <a:off x="717097" y="427699"/>
              <a:ext cx="54508" cy="538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4" name="Freeform 536"/>
            <p:cNvSpPr/>
            <p:nvPr/>
          </p:nvSpPr>
          <p:spPr>
            <a:xfrm>
              <a:off x="693830" y="472206"/>
              <a:ext cx="33158" cy="32312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5" name="Oval 537"/>
            <p:cNvSpPr/>
            <p:nvPr/>
          </p:nvSpPr>
          <p:spPr>
            <a:xfrm>
              <a:off x="725730" y="436234"/>
              <a:ext cx="37242" cy="368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6" name="Oval 528"/>
          <p:cNvSpPr/>
          <p:nvPr/>
        </p:nvSpPr>
        <p:spPr bwMode="auto">
          <a:xfrm>
            <a:off x="682294" y="57749"/>
            <a:ext cx="114396" cy="113097"/>
          </a:xfrm>
          <a:prstGeom prst="ellipse">
            <a:avLst/>
          </a:prstGeom>
          <a:solidFill>
            <a:srgbClr val="007A1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30" name="그룹 429"/>
          <p:cNvGrpSpPr/>
          <p:nvPr/>
        </p:nvGrpSpPr>
        <p:grpSpPr>
          <a:xfrm>
            <a:off x="693830" y="79315"/>
            <a:ext cx="77775" cy="76819"/>
            <a:chOff x="693830" y="79315"/>
            <a:chExt cx="77775" cy="76819"/>
          </a:xfrm>
        </p:grpSpPr>
        <p:sp>
          <p:nvSpPr>
            <p:cNvPr id="288" name="Oval 530"/>
            <p:cNvSpPr/>
            <p:nvPr/>
          </p:nvSpPr>
          <p:spPr>
            <a:xfrm>
              <a:off x="717097" y="79315"/>
              <a:ext cx="54508" cy="538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9" name="Freeform 531"/>
            <p:cNvSpPr/>
            <p:nvPr/>
          </p:nvSpPr>
          <p:spPr>
            <a:xfrm>
              <a:off x="693830" y="123822"/>
              <a:ext cx="33158" cy="32312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0" name="Oval 532"/>
            <p:cNvSpPr/>
            <p:nvPr/>
          </p:nvSpPr>
          <p:spPr>
            <a:xfrm>
              <a:off x="725730" y="87850"/>
              <a:ext cx="37242" cy="368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1" name="TextBox 290"/>
          <p:cNvSpPr txBox="1"/>
          <p:nvPr/>
        </p:nvSpPr>
        <p:spPr>
          <a:xfrm>
            <a:off x="786401" y="55208"/>
            <a:ext cx="899919" cy="9009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latinLnBrk="0">
              <a:lnSpc>
                <a:spcPct val="80000"/>
              </a:lnSpc>
            </a:pP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ari-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Muskhui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446MW</a:t>
            </a:r>
          </a:p>
        </p:txBody>
      </p:sp>
      <p:sp>
        <p:nvSpPr>
          <p:cNvPr id="292" name="TextBox 291"/>
          <p:cNvSpPr txBox="1"/>
          <p:nvPr/>
        </p:nvSpPr>
        <p:spPr>
          <a:xfrm>
            <a:off x="22000" y="252046"/>
            <a:ext cx="1070854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Torkum-Gudubar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409MW</a:t>
            </a:r>
          </a:p>
        </p:txBody>
      </p:sp>
      <p:sp>
        <p:nvSpPr>
          <p:cNvPr id="293" name="TextBox 292"/>
          <p:cNvSpPr txBox="1"/>
          <p:nvPr/>
        </p:nvSpPr>
        <p:spPr>
          <a:xfrm>
            <a:off x="46451" y="759717"/>
            <a:ext cx="1142915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Gahriat-Swir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Lasht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340MW</a:t>
            </a:r>
          </a:p>
        </p:txBody>
      </p:sp>
      <p:sp>
        <p:nvSpPr>
          <p:cNvPr id="298" name="Freeform 19"/>
          <p:cNvSpPr/>
          <p:nvPr/>
        </p:nvSpPr>
        <p:spPr bwMode="auto">
          <a:xfrm>
            <a:off x="4221788" y="4663157"/>
            <a:ext cx="1914490" cy="936635"/>
          </a:xfrm>
          <a:custGeom>
            <a:avLst/>
            <a:gdLst>
              <a:gd name="connsiteX0" fmla="*/ 2590800 w 2590800"/>
              <a:gd name="connsiteY0" fmla="*/ 752475 h 1562100"/>
              <a:gd name="connsiteX1" fmla="*/ 2324100 w 2590800"/>
              <a:gd name="connsiteY1" fmla="*/ 723900 h 1562100"/>
              <a:gd name="connsiteX2" fmla="*/ 2228850 w 2590800"/>
              <a:gd name="connsiteY2" fmla="*/ 752475 h 1562100"/>
              <a:gd name="connsiteX3" fmla="*/ 2057400 w 2590800"/>
              <a:gd name="connsiteY3" fmla="*/ 809625 h 1562100"/>
              <a:gd name="connsiteX4" fmla="*/ 1933575 w 2590800"/>
              <a:gd name="connsiteY4" fmla="*/ 781050 h 1562100"/>
              <a:gd name="connsiteX5" fmla="*/ 1857375 w 2590800"/>
              <a:gd name="connsiteY5" fmla="*/ 533400 h 1562100"/>
              <a:gd name="connsiteX6" fmla="*/ 1743075 w 2590800"/>
              <a:gd name="connsiteY6" fmla="*/ 304800 h 1562100"/>
              <a:gd name="connsiteX7" fmla="*/ 1581150 w 2590800"/>
              <a:gd name="connsiteY7" fmla="*/ 76200 h 1562100"/>
              <a:gd name="connsiteX8" fmla="*/ 1323975 w 2590800"/>
              <a:gd name="connsiteY8" fmla="*/ 0 h 1562100"/>
              <a:gd name="connsiteX9" fmla="*/ 1123950 w 2590800"/>
              <a:gd name="connsiteY9" fmla="*/ 38100 h 1562100"/>
              <a:gd name="connsiteX10" fmla="*/ 952500 w 2590800"/>
              <a:gd name="connsiteY10" fmla="*/ 66675 h 1562100"/>
              <a:gd name="connsiteX11" fmla="*/ 847725 w 2590800"/>
              <a:gd name="connsiteY11" fmla="*/ 114300 h 1562100"/>
              <a:gd name="connsiteX12" fmla="*/ 800100 w 2590800"/>
              <a:gd name="connsiteY12" fmla="*/ 228600 h 1562100"/>
              <a:gd name="connsiteX13" fmla="*/ 800100 w 2590800"/>
              <a:gd name="connsiteY13" fmla="*/ 228600 h 1562100"/>
              <a:gd name="connsiteX14" fmla="*/ 866775 w 2590800"/>
              <a:gd name="connsiteY14" fmla="*/ 352425 h 1562100"/>
              <a:gd name="connsiteX15" fmla="*/ 733425 w 2590800"/>
              <a:gd name="connsiteY15" fmla="*/ 342900 h 1562100"/>
              <a:gd name="connsiteX16" fmla="*/ 752475 w 2590800"/>
              <a:gd name="connsiteY16" fmla="*/ 466725 h 1562100"/>
              <a:gd name="connsiteX17" fmla="*/ 638175 w 2590800"/>
              <a:gd name="connsiteY17" fmla="*/ 476250 h 1562100"/>
              <a:gd name="connsiteX18" fmla="*/ 685800 w 2590800"/>
              <a:gd name="connsiteY18" fmla="*/ 619125 h 1562100"/>
              <a:gd name="connsiteX19" fmla="*/ 676275 w 2590800"/>
              <a:gd name="connsiteY19" fmla="*/ 771525 h 1562100"/>
              <a:gd name="connsiteX20" fmla="*/ 647700 w 2590800"/>
              <a:gd name="connsiteY20" fmla="*/ 904875 h 1562100"/>
              <a:gd name="connsiteX21" fmla="*/ 714375 w 2590800"/>
              <a:gd name="connsiteY21" fmla="*/ 1085850 h 1562100"/>
              <a:gd name="connsiteX22" fmla="*/ 704850 w 2590800"/>
              <a:gd name="connsiteY22" fmla="*/ 1219200 h 1562100"/>
              <a:gd name="connsiteX23" fmla="*/ 619125 w 2590800"/>
              <a:gd name="connsiteY23" fmla="*/ 1162050 h 1562100"/>
              <a:gd name="connsiteX24" fmla="*/ 561975 w 2590800"/>
              <a:gd name="connsiteY24" fmla="*/ 1219200 h 1562100"/>
              <a:gd name="connsiteX25" fmla="*/ 561975 w 2590800"/>
              <a:gd name="connsiteY25" fmla="*/ 1381125 h 1562100"/>
              <a:gd name="connsiteX26" fmla="*/ 514350 w 2590800"/>
              <a:gd name="connsiteY26" fmla="*/ 1476375 h 1562100"/>
              <a:gd name="connsiteX27" fmla="*/ 352425 w 2590800"/>
              <a:gd name="connsiteY27" fmla="*/ 1457325 h 1562100"/>
              <a:gd name="connsiteX28" fmla="*/ 304800 w 2590800"/>
              <a:gd name="connsiteY28" fmla="*/ 1533525 h 1562100"/>
              <a:gd name="connsiteX29" fmla="*/ 180975 w 2590800"/>
              <a:gd name="connsiteY29" fmla="*/ 1562100 h 1562100"/>
              <a:gd name="connsiteX30" fmla="*/ 114300 w 2590800"/>
              <a:gd name="connsiteY30" fmla="*/ 1504950 h 1562100"/>
              <a:gd name="connsiteX31" fmla="*/ 0 w 2590800"/>
              <a:gd name="connsiteY31" fmla="*/ 1543050 h 1562100"/>
              <a:gd name="connsiteX0" fmla="*/ 3156705 w 3156705"/>
              <a:gd name="connsiteY0" fmla="*/ 778053 h 1562100"/>
              <a:gd name="connsiteX1" fmla="*/ 2324100 w 3156705"/>
              <a:gd name="connsiteY1" fmla="*/ 723900 h 1562100"/>
              <a:gd name="connsiteX2" fmla="*/ 2228850 w 3156705"/>
              <a:gd name="connsiteY2" fmla="*/ 752475 h 1562100"/>
              <a:gd name="connsiteX3" fmla="*/ 2057400 w 3156705"/>
              <a:gd name="connsiteY3" fmla="*/ 809625 h 1562100"/>
              <a:gd name="connsiteX4" fmla="*/ 1933575 w 3156705"/>
              <a:gd name="connsiteY4" fmla="*/ 781050 h 1562100"/>
              <a:gd name="connsiteX5" fmla="*/ 1857375 w 3156705"/>
              <a:gd name="connsiteY5" fmla="*/ 533400 h 1562100"/>
              <a:gd name="connsiteX6" fmla="*/ 1743075 w 3156705"/>
              <a:gd name="connsiteY6" fmla="*/ 304800 h 1562100"/>
              <a:gd name="connsiteX7" fmla="*/ 1581150 w 3156705"/>
              <a:gd name="connsiteY7" fmla="*/ 76200 h 1562100"/>
              <a:gd name="connsiteX8" fmla="*/ 1323975 w 3156705"/>
              <a:gd name="connsiteY8" fmla="*/ 0 h 1562100"/>
              <a:gd name="connsiteX9" fmla="*/ 1123950 w 3156705"/>
              <a:gd name="connsiteY9" fmla="*/ 38100 h 1562100"/>
              <a:gd name="connsiteX10" fmla="*/ 952500 w 3156705"/>
              <a:gd name="connsiteY10" fmla="*/ 66675 h 1562100"/>
              <a:gd name="connsiteX11" fmla="*/ 847725 w 3156705"/>
              <a:gd name="connsiteY11" fmla="*/ 114300 h 1562100"/>
              <a:gd name="connsiteX12" fmla="*/ 800100 w 3156705"/>
              <a:gd name="connsiteY12" fmla="*/ 228600 h 1562100"/>
              <a:gd name="connsiteX13" fmla="*/ 800100 w 3156705"/>
              <a:gd name="connsiteY13" fmla="*/ 228600 h 1562100"/>
              <a:gd name="connsiteX14" fmla="*/ 866775 w 3156705"/>
              <a:gd name="connsiteY14" fmla="*/ 352425 h 1562100"/>
              <a:gd name="connsiteX15" fmla="*/ 733425 w 3156705"/>
              <a:gd name="connsiteY15" fmla="*/ 342900 h 1562100"/>
              <a:gd name="connsiteX16" fmla="*/ 752475 w 3156705"/>
              <a:gd name="connsiteY16" fmla="*/ 466725 h 1562100"/>
              <a:gd name="connsiteX17" fmla="*/ 638175 w 3156705"/>
              <a:gd name="connsiteY17" fmla="*/ 476250 h 1562100"/>
              <a:gd name="connsiteX18" fmla="*/ 685800 w 3156705"/>
              <a:gd name="connsiteY18" fmla="*/ 619125 h 1562100"/>
              <a:gd name="connsiteX19" fmla="*/ 676275 w 3156705"/>
              <a:gd name="connsiteY19" fmla="*/ 771525 h 1562100"/>
              <a:gd name="connsiteX20" fmla="*/ 647700 w 3156705"/>
              <a:gd name="connsiteY20" fmla="*/ 904875 h 1562100"/>
              <a:gd name="connsiteX21" fmla="*/ 714375 w 3156705"/>
              <a:gd name="connsiteY21" fmla="*/ 1085850 h 1562100"/>
              <a:gd name="connsiteX22" fmla="*/ 704850 w 3156705"/>
              <a:gd name="connsiteY22" fmla="*/ 1219200 h 1562100"/>
              <a:gd name="connsiteX23" fmla="*/ 619125 w 3156705"/>
              <a:gd name="connsiteY23" fmla="*/ 1162050 h 1562100"/>
              <a:gd name="connsiteX24" fmla="*/ 561975 w 3156705"/>
              <a:gd name="connsiteY24" fmla="*/ 1219200 h 1562100"/>
              <a:gd name="connsiteX25" fmla="*/ 561975 w 3156705"/>
              <a:gd name="connsiteY25" fmla="*/ 1381125 h 1562100"/>
              <a:gd name="connsiteX26" fmla="*/ 514350 w 3156705"/>
              <a:gd name="connsiteY26" fmla="*/ 1476375 h 1562100"/>
              <a:gd name="connsiteX27" fmla="*/ 352425 w 3156705"/>
              <a:gd name="connsiteY27" fmla="*/ 1457325 h 1562100"/>
              <a:gd name="connsiteX28" fmla="*/ 304800 w 3156705"/>
              <a:gd name="connsiteY28" fmla="*/ 1533525 h 1562100"/>
              <a:gd name="connsiteX29" fmla="*/ 180975 w 3156705"/>
              <a:gd name="connsiteY29" fmla="*/ 1562100 h 1562100"/>
              <a:gd name="connsiteX30" fmla="*/ 114300 w 3156705"/>
              <a:gd name="connsiteY30" fmla="*/ 1504950 h 1562100"/>
              <a:gd name="connsiteX31" fmla="*/ 0 w 3156705"/>
              <a:gd name="connsiteY31" fmla="*/ 1543050 h 1562100"/>
              <a:gd name="connsiteX0" fmla="*/ 3156705 w 3156705"/>
              <a:gd name="connsiteY0" fmla="*/ 778053 h 1562100"/>
              <a:gd name="connsiteX1" fmla="*/ 2324100 w 3156705"/>
              <a:gd name="connsiteY1" fmla="*/ 723900 h 1562100"/>
              <a:gd name="connsiteX2" fmla="*/ 2422148 w 3156705"/>
              <a:gd name="connsiteY2" fmla="*/ 889622 h 1562100"/>
              <a:gd name="connsiteX3" fmla="*/ 2228850 w 3156705"/>
              <a:gd name="connsiteY3" fmla="*/ 752475 h 1562100"/>
              <a:gd name="connsiteX4" fmla="*/ 2057400 w 3156705"/>
              <a:gd name="connsiteY4" fmla="*/ 809625 h 1562100"/>
              <a:gd name="connsiteX5" fmla="*/ 1933575 w 3156705"/>
              <a:gd name="connsiteY5" fmla="*/ 781050 h 1562100"/>
              <a:gd name="connsiteX6" fmla="*/ 1857375 w 3156705"/>
              <a:gd name="connsiteY6" fmla="*/ 533400 h 1562100"/>
              <a:gd name="connsiteX7" fmla="*/ 1743075 w 3156705"/>
              <a:gd name="connsiteY7" fmla="*/ 304800 h 1562100"/>
              <a:gd name="connsiteX8" fmla="*/ 1581150 w 3156705"/>
              <a:gd name="connsiteY8" fmla="*/ 76200 h 1562100"/>
              <a:gd name="connsiteX9" fmla="*/ 1323975 w 3156705"/>
              <a:gd name="connsiteY9" fmla="*/ 0 h 1562100"/>
              <a:gd name="connsiteX10" fmla="*/ 1123950 w 3156705"/>
              <a:gd name="connsiteY10" fmla="*/ 38100 h 1562100"/>
              <a:gd name="connsiteX11" fmla="*/ 952500 w 3156705"/>
              <a:gd name="connsiteY11" fmla="*/ 66675 h 1562100"/>
              <a:gd name="connsiteX12" fmla="*/ 847725 w 3156705"/>
              <a:gd name="connsiteY12" fmla="*/ 114300 h 1562100"/>
              <a:gd name="connsiteX13" fmla="*/ 800100 w 3156705"/>
              <a:gd name="connsiteY13" fmla="*/ 228600 h 1562100"/>
              <a:gd name="connsiteX14" fmla="*/ 800100 w 3156705"/>
              <a:gd name="connsiteY14" fmla="*/ 228600 h 1562100"/>
              <a:gd name="connsiteX15" fmla="*/ 866775 w 3156705"/>
              <a:gd name="connsiteY15" fmla="*/ 352425 h 1562100"/>
              <a:gd name="connsiteX16" fmla="*/ 733425 w 3156705"/>
              <a:gd name="connsiteY16" fmla="*/ 342900 h 1562100"/>
              <a:gd name="connsiteX17" fmla="*/ 752475 w 3156705"/>
              <a:gd name="connsiteY17" fmla="*/ 466725 h 1562100"/>
              <a:gd name="connsiteX18" fmla="*/ 638175 w 3156705"/>
              <a:gd name="connsiteY18" fmla="*/ 476250 h 1562100"/>
              <a:gd name="connsiteX19" fmla="*/ 685800 w 3156705"/>
              <a:gd name="connsiteY19" fmla="*/ 619125 h 1562100"/>
              <a:gd name="connsiteX20" fmla="*/ 676275 w 3156705"/>
              <a:gd name="connsiteY20" fmla="*/ 771525 h 1562100"/>
              <a:gd name="connsiteX21" fmla="*/ 647700 w 3156705"/>
              <a:gd name="connsiteY21" fmla="*/ 904875 h 1562100"/>
              <a:gd name="connsiteX22" fmla="*/ 714375 w 3156705"/>
              <a:gd name="connsiteY22" fmla="*/ 1085850 h 1562100"/>
              <a:gd name="connsiteX23" fmla="*/ 704850 w 3156705"/>
              <a:gd name="connsiteY23" fmla="*/ 1219200 h 1562100"/>
              <a:gd name="connsiteX24" fmla="*/ 619125 w 3156705"/>
              <a:gd name="connsiteY24" fmla="*/ 1162050 h 1562100"/>
              <a:gd name="connsiteX25" fmla="*/ 561975 w 3156705"/>
              <a:gd name="connsiteY25" fmla="*/ 1219200 h 1562100"/>
              <a:gd name="connsiteX26" fmla="*/ 561975 w 3156705"/>
              <a:gd name="connsiteY26" fmla="*/ 1381125 h 1562100"/>
              <a:gd name="connsiteX27" fmla="*/ 514350 w 3156705"/>
              <a:gd name="connsiteY27" fmla="*/ 1476375 h 1562100"/>
              <a:gd name="connsiteX28" fmla="*/ 352425 w 3156705"/>
              <a:gd name="connsiteY28" fmla="*/ 1457325 h 1562100"/>
              <a:gd name="connsiteX29" fmla="*/ 304800 w 3156705"/>
              <a:gd name="connsiteY29" fmla="*/ 1533525 h 1562100"/>
              <a:gd name="connsiteX30" fmla="*/ 180975 w 3156705"/>
              <a:gd name="connsiteY30" fmla="*/ 1562100 h 1562100"/>
              <a:gd name="connsiteX31" fmla="*/ 114300 w 3156705"/>
              <a:gd name="connsiteY31" fmla="*/ 1504950 h 1562100"/>
              <a:gd name="connsiteX32" fmla="*/ 0 w 3156705"/>
              <a:gd name="connsiteY32" fmla="*/ 1543050 h 1562100"/>
              <a:gd name="connsiteX0" fmla="*/ 3156705 w 3156705"/>
              <a:gd name="connsiteY0" fmla="*/ 778053 h 1562100"/>
              <a:gd name="connsiteX1" fmla="*/ 2324100 w 3156705"/>
              <a:gd name="connsiteY1" fmla="*/ 723900 h 1562100"/>
              <a:gd name="connsiteX2" fmla="*/ 2228850 w 3156705"/>
              <a:gd name="connsiteY2" fmla="*/ 752475 h 1562100"/>
              <a:gd name="connsiteX3" fmla="*/ 2057400 w 3156705"/>
              <a:gd name="connsiteY3" fmla="*/ 809625 h 1562100"/>
              <a:gd name="connsiteX4" fmla="*/ 1933575 w 3156705"/>
              <a:gd name="connsiteY4" fmla="*/ 781050 h 1562100"/>
              <a:gd name="connsiteX5" fmla="*/ 1857375 w 3156705"/>
              <a:gd name="connsiteY5" fmla="*/ 533400 h 1562100"/>
              <a:gd name="connsiteX6" fmla="*/ 1743075 w 3156705"/>
              <a:gd name="connsiteY6" fmla="*/ 304800 h 1562100"/>
              <a:gd name="connsiteX7" fmla="*/ 1581150 w 3156705"/>
              <a:gd name="connsiteY7" fmla="*/ 76200 h 1562100"/>
              <a:gd name="connsiteX8" fmla="*/ 1323975 w 3156705"/>
              <a:gd name="connsiteY8" fmla="*/ 0 h 1562100"/>
              <a:gd name="connsiteX9" fmla="*/ 1123950 w 3156705"/>
              <a:gd name="connsiteY9" fmla="*/ 38100 h 1562100"/>
              <a:gd name="connsiteX10" fmla="*/ 952500 w 3156705"/>
              <a:gd name="connsiteY10" fmla="*/ 66675 h 1562100"/>
              <a:gd name="connsiteX11" fmla="*/ 847725 w 3156705"/>
              <a:gd name="connsiteY11" fmla="*/ 114300 h 1562100"/>
              <a:gd name="connsiteX12" fmla="*/ 800100 w 3156705"/>
              <a:gd name="connsiteY12" fmla="*/ 228600 h 1562100"/>
              <a:gd name="connsiteX13" fmla="*/ 800100 w 3156705"/>
              <a:gd name="connsiteY13" fmla="*/ 228600 h 1562100"/>
              <a:gd name="connsiteX14" fmla="*/ 866775 w 3156705"/>
              <a:gd name="connsiteY14" fmla="*/ 352425 h 1562100"/>
              <a:gd name="connsiteX15" fmla="*/ 733425 w 3156705"/>
              <a:gd name="connsiteY15" fmla="*/ 342900 h 1562100"/>
              <a:gd name="connsiteX16" fmla="*/ 752475 w 3156705"/>
              <a:gd name="connsiteY16" fmla="*/ 466725 h 1562100"/>
              <a:gd name="connsiteX17" fmla="*/ 638175 w 3156705"/>
              <a:gd name="connsiteY17" fmla="*/ 476250 h 1562100"/>
              <a:gd name="connsiteX18" fmla="*/ 685800 w 3156705"/>
              <a:gd name="connsiteY18" fmla="*/ 619125 h 1562100"/>
              <a:gd name="connsiteX19" fmla="*/ 676275 w 3156705"/>
              <a:gd name="connsiteY19" fmla="*/ 771525 h 1562100"/>
              <a:gd name="connsiteX20" fmla="*/ 647700 w 3156705"/>
              <a:gd name="connsiteY20" fmla="*/ 904875 h 1562100"/>
              <a:gd name="connsiteX21" fmla="*/ 714375 w 3156705"/>
              <a:gd name="connsiteY21" fmla="*/ 1085850 h 1562100"/>
              <a:gd name="connsiteX22" fmla="*/ 704850 w 3156705"/>
              <a:gd name="connsiteY22" fmla="*/ 1219200 h 1562100"/>
              <a:gd name="connsiteX23" fmla="*/ 619125 w 3156705"/>
              <a:gd name="connsiteY23" fmla="*/ 1162050 h 1562100"/>
              <a:gd name="connsiteX24" fmla="*/ 561975 w 3156705"/>
              <a:gd name="connsiteY24" fmla="*/ 1219200 h 1562100"/>
              <a:gd name="connsiteX25" fmla="*/ 561975 w 3156705"/>
              <a:gd name="connsiteY25" fmla="*/ 1381125 h 1562100"/>
              <a:gd name="connsiteX26" fmla="*/ 514350 w 3156705"/>
              <a:gd name="connsiteY26" fmla="*/ 1476375 h 1562100"/>
              <a:gd name="connsiteX27" fmla="*/ 352425 w 3156705"/>
              <a:gd name="connsiteY27" fmla="*/ 1457325 h 1562100"/>
              <a:gd name="connsiteX28" fmla="*/ 304800 w 3156705"/>
              <a:gd name="connsiteY28" fmla="*/ 1533525 h 1562100"/>
              <a:gd name="connsiteX29" fmla="*/ 180975 w 3156705"/>
              <a:gd name="connsiteY29" fmla="*/ 1562100 h 1562100"/>
              <a:gd name="connsiteX30" fmla="*/ 114300 w 3156705"/>
              <a:gd name="connsiteY30" fmla="*/ 1504950 h 1562100"/>
              <a:gd name="connsiteX31" fmla="*/ 0 w 3156705"/>
              <a:gd name="connsiteY31" fmla="*/ 1543050 h 1562100"/>
              <a:gd name="connsiteX0" fmla="*/ 3156705 w 3156705"/>
              <a:gd name="connsiteY0" fmla="*/ 778053 h 1562100"/>
              <a:gd name="connsiteX1" fmla="*/ 2653412 w 3156705"/>
              <a:gd name="connsiteY1" fmla="*/ 771858 h 1562100"/>
              <a:gd name="connsiteX2" fmla="*/ 2228850 w 3156705"/>
              <a:gd name="connsiteY2" fmla="*/ 752475 h 1562100"/>
              <a:gd name="connsiteX3" fmla="*/ 2057400 w 3156705"/>
              <a:gd name="connsiteY3" fmla="*/ 809625 h 1562100"/>
              <a:gd name="connsiteX4" fmla="*/ 1933575 w 3156705"/>
              <a:gd name="connsiteY4" fmla="*/ 781050 h 1562100"/>
              <a:gd name="connsiteX5" fmla="*/ 1857375 w 3156705"/>
              <a:gd name="connsiteY5" fmla="*/ 533400 h 1562100"/>
              <a:gd name="connsiteX6" fmla="*/ 1743075 w 3156705"/>
              <a:gd name="connsiteY6" fmla="*/ 304800 h 1562100"/>
              <a:gd name="connsiteX7" fmla="*/ 1581150 w 3156705"/>
              <a:gd name="connsiteY7" fmla="*/ 76200 h 1562100"/>
              <a:gd name="connsiteX8" fmla="*/ 1323975 w 3156705"/>
              <a:gd name="connsiteY8" fmla="*/ 0 h 1562100"/>
              <a:gd name="connsiteX9" fmla="*/ 1123950 w 3156705"/>
              <a:gd name="connsiteY9" fmla="*/ 38100 h 1562100"/>
              <a:gd name="connsiteX10" fmla="*/ 952500 w 3156705"/>
              <a:gd name="connsiteY10" fmla="*/ 66675 h 1562100"/>
              <a:gd name="connsiteX11" fmla="*/ 847725 w 3156705"/>
              <a:gd name="connsiteY11" fmla="*/ 114300 h 1562100"/>
              <a:gd name="connsiteX12" fmla="*/ 800100 w 3156705"/>
              <a:gd name="connsiteY12" fmla="*/ 228600 h 1562100"/>
              <a:gd name="connsiteX13" fmla="*/ 800100 w 3156705"/>
              <a:gd name="connsiteY13" fmla="*/ 228600 h 1562100"/>
              <a:gd name="connsiteX14" fmla="*/ 866775 w 3156705"/>
              <a:gd name="connsiteY14" fmla="*/ 352425 h 1562100"/>
              <a:gd name="connsiteX15" fmla="*/ 733425 w 3156705"/>
              <a:gd name="connsiteY15" fmla="*/ 342900 h 1562100"/>
              <a:gd name="connsiteX16" fmla="*/ 752475 w 3156705"/>
              <a:gd name="connsiteY16" fmla="*/ 466725 h 1562100"/>
              <a:gd name="connsiteX17" fmla="*/ 638175 w 3156705"/>
              <a:gd name="connsiteY17" fmla="*/ 476250 h 1562100"/>
              <a:gd name="connsiteX18" fmla="*/ 685800 w 3156705"/>
              <a:gd name="connsiteY18" fmla="*/ 619125 h 1562100"/>
              <a:gd name="connsiteX19" fmla="*/ 676275 w 3156705"/>
              <a:gd name="connsiteY19" fmla="*/ 771525 h 1562100"/>
              <a:gd name="connsiteX20" fmla="*/ 647700 w 3156705"/>
              <a:gd name="connsiteY20" fmla="*/ 904875 h 1562100"/>
              <a:gd name="connsiteX21" fmla="*/ 714375 w 3156705"/>
              <a:gd name="connsiteY21" fmla="*/ 1085850 h 1562100"/>
              <a:gd name="connsiteX22" fmla="*/ 704850 w 3156705"/>
              <a:gd name="connsiteY22" fmla="*/ 1219200 h 1562100"/>
              <a:gd name="connsiteX23" fmla="*/ 619125 w 3156705"/>
              <a:gd name="connsiteY23" fmla="*/ 1162050 h 1562100"/>
              <a:gd name="connsiteX24" fmla="*/ 561975 w 3156705"/>
              <a:gd name="connsiteY24" fmla="*/ 1219200 h 1562100"/>
              <a:gd name="connsiteX25" fmla="*/ 561975 w 3156705"/>
              <a:gd name="connsiteY25" fmla="*/ 1381125 h 1562100"/>
              <a:gd name="connsiteX26" fmla="*/ 514350 w 3156705"/>
              <a:gd name="connsiteY26" fmla="*/ 1476375 h 1562100"/>
              <a:gd name="connsiteX27" fmla="*/ 352425 w 3156705"/>
              <a:gd name="connsiteY27" fmla="*/ 1457325 h 1562100"/>
              <a:gd name="connsiteX28" fmla="*/ 304800 w 3156705"/>
              <a:gd name="connsiteY28" fmla="*/ 1533525 h 1562100"/>
              <a:gd name="connsiteX29" fmla="*/ 180975 w 3156705"/>
              <a:gd name="connsiteY29" fmla="*/ 1562100 h 1562100"/>
              <a:gd name="connsiteX30" fmla="*/ 114300 w 3156705"/>
              <a:gd name="connsiteY30" fmla="*/ 1504950 h 1562100"/>
              <a:gd name="connsiteX31" fmla="*/ 0 w 3156705"/>
              <a:gd name="connsiteY31" fmla="*/ 1543050 h 1562100"/>
              <a:gd name="connsiteX0" fmla="*/ 3156705 w 3156705"/>
              <a:gd name="connsiteY0" fmla="*/ 778053 h 1562100"/>
              <a:gd name="connsiteX1" fmla="*/ 2653412 w 3156705"/>
              <a:gd name="connsiteY1" fmla="*/ 771858 h 1562100"/>
              <a:gd name="connsiteX2" fmla="*/ 2257624 w 3156705"/>
              <a:gd name="connsiteY2" fmla="*/ 778053 h 1562100"/>
              <a:gd name="connsiteX3" fmla="*/ 2057400 w 3156705"/>
              <a:gd name="connsiteY3" fmla="*/ 809625 h 1562100"/>
              <a:gd name="connsiteX4" fmla="*/ 1933575 w 3156705"/>
              <a:gd name="connsiteY4" fmla="*/ 781050 h 1562100"/>
              <a:gd name="connsiteX5" fmla="*/ 1857375 w 3156705"/>
              <a:gd name="connsiteY5" fmla="*/ 533400 h 1562100"/>
              <a:gd name="connsiteX6" fmla="*/ 1743075 w 3156705"/>
              <a:gd name="connsiteY6" fmla="*/ 304800 h 1562100"/>
              <a:gd name="connsiteX7" fmla="*/ 1581150 w 3156705"/>
              <a:gd name="connsiteY7" fmla="*/ 76200 h 1562100"/>
              <a:gd name="connsiteX8" fmla="*/ 1323975 w 3156705"/>
              <a:gd name="connsiteY8" fmla="*/ 0 h 1562100"/>
              <a:gd name="connsiteX9" fmla="*/ 1123950 w 3156705"/>
              <a:gd name="connsiteY9" fmla="*/ 38100 h 1562100"/>
              <a:gd name="connsiteX10" fmla="*/ 952500 w 3156705"/>
              <a:gd name="connsiteY10" fmla="*/ 66675 h 1562100"/>
              <a:gd name="connsiteX11" fmla="*/ 847725 w 3156705"/>
              <a:gd name="connsiteY11" fmla="*/ 114300 h 1562100"/>
              <a:gd name="connsiteX12" fmla="*/ 800100 w 3156705"/>
              <a:gd name="connsiteY12" fmla="*/ 228600 h 1562100"/>
              <a:gd name="connsiteX13" fmla="*/ 800100 w 3156705"/>
              <a:gd name="connsiteY13" fmla="*/ 228600 h 1562100"/>
              <a:gd name="connsiteX14" fmla="*/ 866775 w 3156705"/>
              <a:gd name="connsiteY14" fmla="*/ 352425 h 1562100"/>
              <a:gd name="connsiteX15" fmla="*/ 733425 w 3156705"/>
              <a:gd name="connsiteY15" fmla="*/ 342900 h 1562100"/>
              <a:gd name="connsiteX16" fmla="*/ 752475 w 3156705"/>
              <a:gd name="connsiteY16" fmla="*/ 466725 h 1562100"/>
              <a:gd name="connsiteX17" fmla="*/ 638175 w 3156705"/>
              <a:gd name="connsiteY17" fmla="*/ 476250 h 1562100"/>
              <a:gd name="connsiteX18" fmla="*/ 685800 w 3156705"/>
              <a:gd name="connsiteY18" fmla="*/ 619125 h 1562100"/>
              <a:gd name="connsiteX19" fmla="*/ 676275 w 3156705"/>
              <a:gd name="connsiteY19" fmla="*/ 771525 h 1562100"/>
              <a:gd name="connsiteX20" fmla="*/ 647700 w 3156705"/>
              <a:gd name="connsiteY20" fmla="*/ 904875 h 1562100"/>
              <a:gd name="connsiteX21" fmla="*/ 714375 w 3156705"/>
              <a:gd name="connsiteY21" fmla="*/ 1085850 h 1562100"/>
              <a:gd name="connsiteX22" fmla="*/ 704850 w 3156705"/>
              <a:gd name="connsiteY22" fmla="*/ 1219200 h 1562100"/>
              <a:gd name="connsiteX23" fmla="*/ 619125 w 3156705"/>
              <a:gd name="connsiteY23" fmla="*/ 1162050 h 1562100"/>
              <a:gd name="connsiteX24" fmla="*/ 561975 w 3156705"/>
              <a:gd name="connsiteY24" fmla="*/ 1219200 h 1562100"/>
              <a:gd name="connsiteX25" fmla="*/ 561975 w 3156705"/>
              <a:gd name="connsiteY25" fmla="*/ 1381125 h 1562100"/>
              <a:gd name="connsiteX26" fmla="*/ 514350 w 3156705"/>
              <a:gd name="connsiteY26" fmla="*/ 1476375 h 1562100"/>
              <a:gd name="connsiteX27" fmla="*/ 352425 w 3156705"/>
              <a:gd name="connsiteY27" fmla="*/ 1457325 h 1562100"/>
              <a:gd name="connsiteX28" fmla="*/ 304800 w 3156705"/>
              <a:gd name="connsiteY28" fmla="*/ 1533525 h 1562100"/>
              <a:gd name="connsiteX29" fmla="*/ 180975 w 3156705"/>
              <a:gd name="connsiteY29" fmla="*/ 1562100 h 1562100"/>
              <a:gd name="connsiteX30" fmla="*/ 114300 w 3156705"/>
              <a:gd name="connsiteY30" fmla="*/ 1504950 h 1562100"/>
              <a:gd name="connsiteX31" fmla="*/ 0 w 3156705"/>
              <a:gd name="connsiteY31" fmla="*/ 1543050 h 1562100"/>
              <a:gd name="connsiteX0" fmla="*/ 3156705 w 3156705"/>
              <a:gd name="connsiteY0" fmla="*/ 778053 h 1562100"/>
              <a:gd name="connsiteX1" fmla="*/ 2653412 w 3156705"/>
              <a:gd name="connsiteY1" fmla="*/ 771858 h 1562100"/>
              <a:gd name="connsiteX2" fmla="*/ 2257624 w 3156705"/>
              <a:gd name="connsiteY2" fmla="*/ 778053 h 1562100"/>
              <a:gd name="connsiteX3" fmla="*/ 2057400 w 3156705"/>
              <a:gd name="connsiteY3" fmla="*/ 809625 h 1562100"/>
              <a:gd name="connsiteX4" fmla="*/ 1933575 w 3156705"/>
              <a:gd name="connsiteY4" fmla="*/ 781050 h 1562100"/>
              <a:gd name="connsiteX5" fmla="*/ 1857375 w 3156705"/>
              <a:gd name="connsiteY5" fmla="*/ 533400 h 1562100"/>
              <a:gd name="connsiteX6" fmla="*/ 1743075 w 3156705"/>
              <a:gd name="connsiteY6" fmla="*/ 304800 h 1562100"/>
              <a:gd name="connsiteX7" fmla="*/ 1581150 w 3156705"/>
              <a:gd name="connsiteY7" fmla="*/ 76200 h 1562100"/>
              <a:gd name="connsiteX8" fmla="*/ 1323975 w 3156705"/>
              <a:gd name="connsiteY8" fmla="*/ 0 h 1562100"/>
              <a:gd name="connsiteX9" fmla="*/ 1123950 w 3156705"/>
              <a:gd name="connsiteY9" fmla="*/ 38100 h 1562100"/>
              <a:gd name="connsiteX10" fmla="*/ 952500 w 3156705"/>
              <a:gd name="connsiteY10" fmla="*/ 66675 h 1562100"/>
              <a:gd name="connsiteX11" fmla="*/ 847725 w 3156705"/>
              <a:gd name="connsiteY11" fmla="*/ 114300 h 1562100"/>
              <a:gd name="connsiteX12" fmla="*/ 800100 w 3156705"/>
              <a:gd name="connsiteY12" fmla="*/ 228600 h 1562100"/>
              <a:gd name="connsiteX13" fmla="*/ 800100 w 3156705"/>
              <a:gd name="connsiteY13" fmla="*/ 228600 h 1562100"/>
              <a:gd name="connsiteX14" fmla="*/ 866775 w 3156705"/>
              <a:gd name="connsiteY14" fmla="*/ 352425 h 1562100"/>
              <a:gd name="connsiteX15" fmla="*/ 733425 w 3156705"/>
              <a:gd name="connsiteY15" fmla="*/ 342900 h 1562100"/>
              <a:gd name="connsiteX16" fmla="*/ 638175 w 3156705"/>
              <a:gd name="connsiteY16" fmla="*/ 476250 h 1562100"/>
              <a:gd name="connsiteX17" fmla="*/ 685800 w 3156705"/>
              <a:gd name="connsiteY17" fmla="*/ 619125 h 1562100"/>
              <a:gd name="connsiteX18" fmla="*/ 676275 w 3156705"/>
              <a:gd name="connsiteY18" fmla="*/ 771525 h 1562100"/>
              <a:gd name="connsiteX19" fmla="*/ 647700 w 3156705"/>
              <a:gd name="connsiteY19" fmla="*/ 904875 h 1562100"/>
              <a:gd name="connsiteX20" fmla="*/ 714375 w 3156705"/>
              <a:gd name="connsiteY20" fmla="*/ 1085850 h 1562100"/>
              <a:gd name="connsiteX21" fmla="*/ 704850 w 3156705"/>
              <a:gd name="connsiteY21" fmla="*/ 1219200 h 1562100"/>
              <a:gd name="connsiteX22" fmla="*/ 619125 w 3156705"/>
              <a:gd name="connsiteY22" fmla="*/ 1162050 h 1562100"/>
              <a:gd name="connsiteX23" fmla="*/ 561975 w 3156705"/>
              <a:gd name="connsiteY23" fmla="*/ 1219200 h 1562100"/>
              <a:gd name="connsiteX24" fmla="*/ 561975 w 3156705"/>
              <a:gd name="connsiteY24" fmla="*/ 1381125 h 1562100"/>
              <a:gd name="connsiteX25" fmla="*/ 514350 w 3156705"/>
              <a:gd name="connsiteY25" fmla="*/ 1476375 h 1562100"/>
              <a:gd name="connsiteX26" fmla="*/ 352425 w 3156705"/>
              <a:gd name="connsiteY26" fmla="*/ 1457325 h 1562100"/>
              <a:gd name="connsiteX27" fmla="*/ 304800 w 3156705"/>
              <a:gd name="connsiteY27" fmla="*/ 1533525 h 1562100"/>
              <a:gd name="connsiteX28" fmla="*/ 180975 w 3156705"/>
              <a:gd name="connsiteY28" fmla="*/ 1562100 h 1562100"/>
              <a:gd name="connsiteX29" fmla="*/ 114300 w 3156705"/>
              <a:gd name="connsiteY29" fmla="*/ 1504950 h 1562100"/>
              <a:gd name="connsiteX30" fmla="*/ 0 w 3156705"/>
              <a:gd name="connsiteY30" fmla="*/ 1543050 h 1562100"/>
              <a:gd name="connsiteX0" fmla="*/ 3156705 w 3156705"/>
              <a:gd name="connsiteY0" fmla="*/ 778053 h 1562100"/>
              <a:gd name="connsiteX1" fmla="*/ 2653412 w 3156705"/>
              <a:gd name="connsiteY1" fmla="*/ 771858 h 1562100"/>
              <a:gd name="connsiteX2" fmla="*/ 2257624 w 3156705"/>
              <a:gd name="connsiteY2" fmla="*/ 778053 h 1562100"/>
              <a:gd name="connsiteX3" fmla="*/ 2057400 w 3156705"/>
              <a:gd name="connsiteY3" fmla="*/ 809625 h 1562100"/>
              <a:gd name="connsiteX4" fmla="*/ 1933575 w 3156705"/>
              <a:gd name="connsiteY4" fmla="*/ 781050 h 1562100"/>
              <a:gd name="connsiteX5" fmla="*/ 1857375 w 3156705"/>
              <a:gd name="connsiteY5" fmla="*/ 533400 h 1562100"/>
              <a:gd name="connsiteX6" fmla="*/ 1743075 w 3156705"/>
              <a:gd name="connsiteY6" fmla="*/ 304800 h 1562100"/>
              <a:gd name="connsiteX7" fmla="*/ 1581150 w 3156705"/>
              <a:gd name="connsiteY7" fmla="*/ 76200 h 1562100"/>
              <a:gd name="connsiteX8" fmla="*/ 1323975 w 3156705"/>
              <a:gd name="connsiteY8" fmla="*/ 0 h 1562100"/>
              <a:gd name="connsiteX9" fmla="*/ 1123950 w 3156705"/>
              <a:gd name="connsiteY9" fmla="*/ 38100 h 1562100"/>
              <a:gd name="connsiteX10" fmla="*/ 952500 w 3156705"/>
              <a:gd name="connsiteY10" fmla="*/ 66675 h 1562100"/>
              <a:gd name="connsiteX11" fmla="*/ 847725 w 3156705"/>
              <a:gd name="connsiteY11" fmla="*/ 114300 h 1562100"/>
              <a:gd name="connsiteX12" fmla="*/ 800100 w 3156705"/>
              <a:gd name="connsiteY12" fmla="*/ 228600 h 1562100"/>
              <a:gd name="connsiteX13" fmla="*/ 800100 w 3156705"/>
              <a:gd name="connsiteY13" fmla="*/ 228600 h 1562100"/>
              <a:gd name="connsiteX14" fmla="*/ 866775 w 3156705"/>
              <a:gd name="connsiteY14" fmla="*/ 352425 h 1562100"/>
              <a:gd name="connsiteX15" fmla="*/ 638175 w 3156705"/>
              <a:gd name="connsiteY15" fmla="*/ 476250 h 1562100"/>
              <a:gd name="connsiteX16" fmla="*/ 685800 w 3156705"/>
              <a:gd name="connsiteY16" fmla="*/ 619125 h 1562100"/>
              <a:gd name="connsiteX17" fmla="*/ 676275 w 3156705"/>
              <a:gd name="connsiteY17" fmla="*/ 771525 h 1562100"/>
              <a:gd name="connsiteX18" fmla="*/ 647700 w 3156705"/>
              <a:gd name="connsiteY18" fmla="*/ 904875 h 1562100"/>
              <a:gd name="connsiteX19" fmla="*/ 714375 w 3156705"/>
              <a:gd name="connsiteY19" fmla="*/ 1085850 h 1562100"/>
              <a:gd name="connsiteX20" fmla="*/ 704850 w 3156705"/>
              <a:gd name="connsiteY20" fmla="*/ 1219200 h 1562100"/>
              <a:gd name="connsiteX21" fmla="*/ 619125 w 3156705"/>
              <a:gd name="connsiteY21" fmla="*/ 1162050 h 1562100"/>
              <a:gd name="connsiteX22" fmla="*/ 561975 w 3156705"/>
              <a:gd name="connsiteY22" fmla="*/ 1219200 h 1562100"/>
              <a:gd name="connsiteX23" fmla="*/ 561975 w 3156705"/>
              <a:gd name="connsiteY23" fmla="*/ 1381125 h 1562100"/>
              <a:gd name="connsiteX24" fmla="*/ 514350 w 3156705"/>
              <a:gd name="connsiteY24" fmla="*/ 1476375 h 1562100"/>
              <a:gd name="connsiteX25" fmla="*/ 352425 w 3156705"/>
              <a:gd name="connsiteY25" fmla="*/ 1457325 h 1562100"/>
              <a:gd name="connsiteX26" fmla="*/ 304800 w 3156705"/>
              <a:gd name="connsiteY26" fmla="*/ 1533525 h 1562100"/>
              <a:gd name="connsiteX27" fmla="*/ 180975 w 3156705"/>
              <a:gd name="connsiteY27" fmla="*/ 1562100 h 1562100"/>
              <a:gd name="connsiteX28" fmla="*/ 114300 w 3156705"/>
              <a:gd name="connsiteY28" fmla="*/ 1504950 h 1562100"/>
              <a:gd name="connsiteX29" fmla="*/ 0 w 3156705"/>
              <a:gd name="connsiteY29" fmla="*/ 1543050 h 1562100"/>
              <a:gd name="connsiteX0" fmla="*/ 3156705 w 3156705"/>
              <a:gd name="connsiteY0" fmla="*/ 778053 h 1562100"/>
              <a:gd name="connsiteX1" fmla="*/ 2653412 w 3156705"/>
              <a:gd name="connsiteY1" fmla="*/ 771858 h 1562100"/>
              <a:gd name="connsiteX2" fmla="*/ 2257624 w 3156705"/>
              <a:gd name="connsiteY2" fmla="*/ 778053 h 1562100"/>
              <a:gd name="connsiteX3" fmla="*/ 2057400 w 3156705"/>
              <a:gd name="connsiteY3" fmla="*/ 809625 h 1562100"/>
              <a:gd name="connsiteX4" fmla="*/ 1933575 w 3156705"/>
              <a:gd name="connsiteY4" fmla="*/ 781050 h 1562100"/>
              <a:gd name="connsiteX5" fmla="*/ 1857375 w 3156705"/>
              <a:gd name="connsiteY5" fmla="*/ 533400 h 1562100"/>
              <a:gd name="connsiteX6" fmla="*/ 1743075 w 3156705"/>
              <a:gd name="connsiteY6" fmla="*/ 304800 h 1562100"/>
              <a:gd name="connsiteX7" fmla="*/ 1581150 w 3156705"/>
              <a:gd name="connsiteY7" fmla="*/ 76200 h 1562100"/>
              <a:gd name="connsiteX8" fmla="*/ 1323975 w 3156705"/>
              <a:gd name="connsiteY8" fmla="*/ 0 h 1562100"/>
              <a:gd name="connsiteX9" fmla="*/ 1123950 w 3156705"/>
              <a:gd name="connsiteY9" fmla="*/ 38100 h 1562100"/>
              <a:gd name="connsiteX10" fmla="*/ 952500 w 3156705"/>
              <a:gd name="connsiteY10" fmla="*/ 66675 h 1562100"/>
              <a:gd name="connsiteX11" fmla="*/ 847725 w 3156705"/>
              <a:gd name="connsiteY11" fmla="*/ 114300 h 1562100"/>
              <a:gd name="connsiteX12" fmla="*/ 800100 w 3156705"/>
              <a:gd name="connsiteY12" fmla="*/ 228600 h 1562100"/>
              <a:gd name="connsiteX13" fmla="*/ 800100 w 3156705"/>
              <a:gd name="connsiteY13" fmla="*/ 228600 h 1562100"/>
              <a:gd name="connsiteX14" fmla="*/ 866775 w 3156705"/>
              <a:gd name="connsiteY14" fmla="*/ 352425 h 1562100"/>
              <a:gd name="connsiteX15" fmla="*/ 685800 w 3156705"/>
              <a:gd name="connsiteY15" fmla="*/ 619125 h 1562100"/>
              <a:gd name="connsiteX16" fmla="*/ 676275 w 3156705"/>
              <a:gd name="connsiteY16" fmla="*/ 771525 h 1562100"/>
              <a:gd name="connsiteX17" fmla="*/ 647700 w 3156705"/>
              <a:gd name="connsiteY17" fmla="*/ 904875 h 1562100"/>
              <a:gd name="connsiteX18" fmla="*/ 714375 w 3156705"/>
              <a:gd name="connsiteY18" fmla="*/ 1085850 h 1562100"/>
              <a:gd name="connsiteX19" fmla="*/ 704850 w 3156705"/>
              <a:gd name="connsiteY19" fmla="*/ 1219200 h 1562100"/>
              <a:gd name="connsiteX20" fmla="*/ 619125 w 3156705"/>
              <a:gd name="connsiteY20" fmla="*/ 1162050 h 1562100"/>
              <a:gd name="connsiteX21" fmla="*/ 561975 w 3156705"/>
              <a:gd name="connsiteY21" fmla="*/ 1219200 h 1562100"/>
              <a:gd name="connsiteX22" fmla="*/ 561975 w 3156705"/>
              <a:gd name="connsiteY22" fmla="*/ 1381125 h 1562100"/>
              <a:gd name="connsiteX23" fmla="*/ 514350 w 3156705"/>
              <a:gd name="connsiteY23" fmla="*/ 1476375 h 1562100"/>
              <a:gd name="connsiteX24" fmla="*/ 352425 w 3156705"/>
              <a:gd name="connsiteY24" fmla="*/ 1457325 h 1562100"/>
              <a:gd name="connsiteX25" fmla="*/ 304800 w 3156705"/>
              <a:gd name="connsiteY25" fmla="*/ 1533525 h 1562100"/>
              <a:gd name="connsiteX26" fmla="*/ 180975 w 3156705"/>
              <a:gd name="connsiteY26" fmla="*/ 1562100 h 1562100"/>
              <a:gd name="connsiteX27" fmla="*/ 114300 w 3156705"/>
              <a:gd name="connsiteY27" fmla="*/ 1504950 h 1562100"/>
              <a:gd name="connsiteX28" fmla="*/ 0 w 3156705"/>
              <a:gd name="connsiteY28" fmla="*/ 1543050 h 1562100"/>
              <a:gd name="connsiteX0" fmla="*/ 3156705 w 3156705"/>
              <a:gd name="connsiteY0" fmla="*/ 778053 h 1562100"/>
              <a:gd name="connsiteX1" fmla="*/ 2653412 w 3156705"/>
              <a:gd name="connsiteY1" fmla="*/ 771858 h 1562100"/>
              <a:gd name="connsiteX2" fmla="*/ 2257624 w 3156705"/>
              <a:gd name="connsiteY2" fmla="*/ 778053 h 1562100"/>
              <a:gd name="connsiteX3" fmla="*/ 2057400 w 3156705"/>
              <a:gd name="connsiteY3" fmla="*/ 809625 h 1562100"/>
              <a:gd name="connsiteX4" fmla="*/ 1933575 w 3156705"/>
              <a:gd name="connsiteY4" fmla="*/ 781050 h 1562100"/>
              <a:gd name="connsiteX5" fmla="*/ 1857375 w 3156705"/>
              <a:gd name="connsiteY5" fmla="*/ 533400 h 1562100"/>
              <a:gd name="connsiteX6" fmla="*/ 1743075 w 3156705"/>
              <a:gd name="connsiteY6" fmla="*/ 304800 h 1562100"/>
              <a:gd name="connsiteX7" fmla="*/ 1581150 w 3156705"/>
              <a:gd name="connsiteY7" fmla="*/ 76200 h 1562100"/>
              <a:gd name="connsiteX8" fmla="*/ 1323975 w 3156705"/>
              <a:gd name="connsiteY8" fmla="*/ 0 h 1562100"/>
              <a:gd name="connsiteX9" fmla="*/ 1123950 w 3156705"/>
              <a:gd name="connsiteY9" fmla="*/ 38100 h 1562100"/>
              <a:gd name="connsiteX10" fmla="*/ 952500 w 3156705"/>
              <a:gd name="connsiteY10" fmla="*/ 66675 h 1562100"/>
              <a:gd name="connsiteX11" fmla="*/ 847725 w 3156705"/>
              <a:gd name="connsiteY11" fmla="*/ 114300 h 1562100"/>
              <a:gd name="connsiteX12" fmla="*/ 800100 w 3156705"/>
              <a:gd name="connsiteY12" fmla="*/ 228600 h 1562100"/>
              <a:gd name="connsiteX13" fmla="*/ 800100 w 3156705"/>
              <a:gd name="connsiteY13" fmla="*/ 228600 h 1562100"/>
              <a:gd name="connsiteX14" fmla="*/ 782955 w 3156705"/>
              <a:gd name="connsiteY14" fmla="*/ 352425 h 1562100"/>
              <a:gd name="connsiteX15" fmla="*/ 685800 w 3156705"/>
              <a:gd name="connsiteY15" fmla="*/ 619125 h 1562100"/>
              <a:gd name="connsiteX16" fmla="*/ 676275 w 3156705"/>
              <a:gd name="connsiteY16" fmla="*/ 771525 h 1562100"/>
              <a:gd name="connsiteX17" fmla="*/ 647700 w 3156705"/>
              <a:gd name="connsiteY17" fmla="*/ 904875 h 1562100"/>
              <a:gd name="connsiteX18" fmla="*/ 714375 w 3156705"/>
              <a:gd name="connsiteY18" fmla="*/ 1085850 h 1562100"/>
              <a:gd name="connsiteX19" fmla="*/ 704850 w 3156705"/>
              <a:gd name="connsiteY19" fmla="*/ 1219200 h 1562100"/>
              <a:gd name="connsiteX20" fmla="*/ 619125 w 3156705"/>
              <a:gd name="connsiteY20" fmla="*/ 1162050 h 1562100"/>
              <a:gd name="connsiteX21" fmla="*/ 561975 w 3156705"/>
              <a:gd name="connsiteY21" fmla="*/ 1219200 h 1562100"/>
              <a:gd name="connsiteX22" fmla="*/ 561975 w 3156705"/>
              <a:gd name="connsiteY22" fmla="*/ 1381125 h 1562100"/>
              <a:gd name="connsiteX23" fmla="*/ 514350 w 3156705"/>
              <a:gd name="connsiteY23" fmla="*/ 1476375 h 1562100"/>
              <a:gd name="connsiteX24" fmla="*/ 352425 w 3156705"/>
              <a:gd name="connsiteY24" fmla="*/ 1457325 h 1562100"/>
              <a:gd name="connsiteX25" fmla="*/ 304800 w 3156705"/>
              <a:gd name="connsiteY25" fmla="*/ 1533525 h 1562100"/>
              <a:gd name="connsiteX26" fmla="*/ 180975 w 3156705"/>
              <a:gd name="connsiteY26" fmla="*/ 1562100 h 1562100"/>
              <a:gd name="connsiteX27" fmla="*/ 114300 w 3156705"/>
              <a:gd name="connsiteY27" fmla="*/ 1504950 h 1562100"/>
              <a:gd name="connsiteX28" fmla="*/ 0 w 3156705"/>
              <a:gd name="connsiteY28" fmla="*/ 1543050 h 156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3156705" h="1562100">
                <a:moveTo>
                  <a:pt x="3156705" y="778053"/>
                </a:moveTo>
                <a:lnTo>
                  <a:pt x="2653412" y="771858"/>
                </a:lnTo>
                <a:cubicBezTo>
                  <a:pt x="2498770" y="767595"/>
                  <a:pt x="2302074" y="763766"/>
                  <a:pt x="2257624" y="778053"/>
                </a:cubicBezTo>
                <a:lnTo>
                  <a:pt x="2057400" y="809625"/>
                </a:lnTo>
                <a:lnTo>
                  <a:pt x="1933575" y="781050"/>
                </a:lnTo>
                <a:lnTo>
                  <a:pt x="1857375" y="533400"/>
                </a:lnTo>
                <a:lnTo>
                  <a:pt x="1743075" y="304800"/>
                </a:lnTo>
                <a:lnTo>
                  <a:pt x="1581150" y="76200"/>
                </a:lnTo>
                <a:lnTo>
                  <a:pt x="1323975" y="0"/>
                </a:lnTo>
                <a:lnTo>
                  <a:pt x="1123950" y="38100"/>
                </a:lnTo>
                <a:lnTo>
                  <a:pt x="952500" y="66675"/>
                </a:lnTo>
                <a:lnTo>
                  <a:pt x="847725" y="114300"/>
                </a:lnTo>
                <a:lnTo>
                  <a:pt x="800100" y="228600"/>
                </a:lnTo>
                <a:lnTo>
                  <a:pt x="800100" y="228600"/>
                </a:lnTo>
                <a:lnTo>
                  <a:pt x="782955" y="352425"/>
                </a:lnTo>
                <a:lnTo>
                  <a:pt x="685800" y="619125"/>
                </a:lnTo>
                <a:lnTo>
                  <a:pt x="676275" y="771525"/>
                </a:lnTo>
                <a:lnTo>
                  <a:pt x="647700" y="904875"/>
                </a:lnTo>
                <a:lnTo>
                  <a:pt x="714375" y="1085850"/>
                </a:lnTo>
                <a:lnTo>
                  <a:pt x="704850" y="1219200"/>
                </a:lnTo>
                <a:lnTo>
                  <a:pt x="619125" y="1162050"/>
                </a:lnTo>
                <a:lnTo>
                  <a:pt x="561975" y="1219200"/>
                </a:lnTo>
                <a:lnTo>
                  <a:pt x="561975" y="1381125"/>
                </a:lnTo>
                <a:lnTo>
                  <a:pt x="514350" y="1476375"/>
                </a:lnTo>
                <a:lnTo>
                  <a:pt x="352425" y="1457325"/>
                </a:lnTo>
                <a:lnTo>
                  <a:pt x="304800" y="1533525"/>
                </a:lnTo>
                <a:lnTo>
                  <a:pt x="180975" y="1562100"/>
                </a:lnTo>
                <a:lnTo>
                  <a:pt x="114300" y="1504950"/>
                </a:lnTo>
                <a:lnTo>
                  <a:pt x="0" y="1543050"/>
                </a:lnTo>
              </a:path>
            </a:pathLst>
          </a:custGeom>
          <a:noFill/>
          <a:ln w="19050">
            <a:solidFill>
              <a:srgbClr val="3861BE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1" name="자유형 300"/>
          <p:cNvSpPr/>
          <p:nvPr/>
        </p:nvSpPr>
        <p:spPr bwMode="auto">
          <a:xfrm>
            <a:off x="2581840" y="4225122"/>
            <a:ext cx="1013834" cy="665479"/>
          </a:xfrm>
          <a:custGeom>
            <a:avLst/>
            <a:gdLst>
              <a:gd name="connsiteX0" fmla="*/ 290513 w 581025"/>
              <a:gd name="connsiteY0" fmla="*/ 335756 h 385762"/>
              <a:gd name="connsiteX1" fmla="*/ 342900 w 581025"/>
              <a:gd name="connsiteY1" fmla="*/ 378618 h 385762"/>
              <a:gd name="connsiteX2" fmla="*/ 388144 w 581025"/>
              <a:gd name="connsiteY2" fmla="*/ 383381 h 385762"/>
              <a:gd name="connsiteX3" fmla="*/ 402431 w 581025"/>
              <a:gd name="connsiteY3" fmla="*/ 385762 h 385762"/>
              <a:gd name="connsiteX4" fmla="*/ 433388 w 581025"/>
              <a:gd name="connsiteY4" fmla="*/ 357187 h 385762"/>
              <a:gd name="connsiteX5" fmla="*/ 473869 w 581025"/>
              <a:gd name="connsiteY5" fmla="*/ 311943 h 385762"/>
              <a:gd name="connsiteX6" fmla="*/ 481013 w 581025"/>
              <a:gd name="connsiteY6" fmla="*/ 292893 h 385762"/>
              <a:gd name="connsiteX7" fmla="*/ 492919 w 581025"/>
              <a:gd name="connsiteY7" fmla="*/ 242887 h 385762"/>
              <a:gd name="connsiteX8" fmla="*/ 488156 w 581025"/>
              <a:gd name="connsiteY8" fmla="*/ 209550 h 385762"/>
              <a:gd name="connsiteX9" fmla="*/ 495300 w 581025"/>
              <a:gd name="connsiteY9" fmla="*/ 178593 h 385762"/>
              <a:gd name="connsiteX10" fmla="*/ 511969 w 581025"/>
              <a:gd name="connsiteY10" fmla="*/ 166687 h 385762"/>
              <a:gd name="connsiteX11" fmla="*/ 528638 w 581025"/>
              <a:gd name="connsiteY11" fmla="*/ 166687 h 385762"/>
              <a:gd name="connsiteX12" fmla="*/ 552450 w 581025"/>
              <a:gd name="connsiteY12" fmla="*/ 166687 h 385762"/>
              <a:gd name="connsiteX13" fmla="*/ 581025 w 581025"/>
              <a:gd name="connsiteY13" fmla="*/ 130968 h 385762"/>
              <a:gd name="connsiteX14" fmla="*/ 581025 w 581025"/>
              <a:gd name="connsiteY14" fmla="*/ 121443 h 385762"/>
              <a:gd name="connsiteX15" fmla="*/ 576263 w 581025"/>
              <a:gd name="connsiteY15" fmla="*/ 116681 h 385762"/>
              <a:gd name="connsiteX16" fmla="*/ 566738 w 581025"/>
              <a:gd name="connsiteY16" fmla="*/ 111918 h 385762"/>
              <a:gd name="connsiteX17" fmla="*/ 552450 w 581025"/>
              <a:gd name="connsiteY17" fmla="*/ 104775 h 385762"/>
              <a:gd name="connsiteX18" fmla="*/ 550069 w 581025"/>
              <a:gd name="connsiteY18" fmla="*/ 78581 h 385762"/>
              <a:gd name="connsiteX19" fmla="*/ 542925 w 581025"/>
              <a:gd name="connsiteY19" fmla="*/ 76200 h 385762"/>
              <a:gd name="connsiteX20" fmla="*/ 514350 w 581025"/>
              <a:gd name="connsiteY20" fmla="*/ 73818 h 385762"/>
              <a:gd name="connsiteX21" fmla="*/ 504825 w 581025"/>
              <a:gd name="connsiteY21" fmla="*/ 61912 h 385762"/>
              <a:gd name="connsiteX22" fmla="*/ 502444 w 581025"/>
              <a:gd name="connsiteY22" fmla="*/ 54768 h 385762"/>
              <a:gd name="connsiteX23" fmla="*/ 495300 w 581025"/>
              <a:gd name="connsiteY23" fmla="*/ 47625 h 385762"/>
              <a:gd name="connsiteX24" fmla="*/ 478631 w 581025"/>
              <a:gd name="connsiteY24" fmla="*/ 28575 h 385762"/>
              <a:gd name="connsiteX25" fmla="*/ 473869 w 581025"/>
              <a:gd name="connsiteY25" fmla="*/ 26193 h 385762"/>
              <a:gd name="connsiteX26" fmla="*/ 473869 w 581025"/>
              <a:gd name="connsiteY26" fmla="*/ 26193 h 385762"/>
              <a:gd name="connsiteX27" fmla="*/ 452438 w 581025"/>
              <a:gd name="connsiteY27" fmla="*/ 16668 h 385762"/>
              <a:gd name="connsiteX28" fmla="*/ 404813 w 581025"/>
              <a:gd name="connsiteY28" fmla="*/ 0 h 385762"/>
              <a:gd name="connsiteX29" fmla="*/ 350044 w 581025"/>
              <a:gd name="connsiteY29" fmla="*/ 0 h 385762"/>
              <a:gd name="connsiteX30" fmla="*/ 316706 w 581025"/>
              <a:gd name="connsiteY30" fmla="*/ 11906 h 385762"/>
              <a:gd name="connsiteX31" fmla="*/ 228600 w 581025"/>
              <a:gd name="connsiteY31" fmla="*/ 52387 h 385762"/>
              <a:gd name="connsiteX32" fmla="*/ 171450 w 581025"/>
              <a:gd name="connsiteY32" fmla="*/ 92868 h 385762"/>
              <a:gd name="connsiteX33" fmla="*/ 142875 w 581025"/>
              <a:gd name="connsiteY33" fmla="*/ 100012 h 385762"/>
              <a:gd name="connsiteX34" fmla="*/ 116681 w 581025"/>
              <a:gd name="connsiteY34" fmla="*/ 100012 h 385762"/>
              <a:gd name="connsiteX35" fmla="*/ 61913 w 581025"/>
              <a:gd name="connsiteY35" fmla="*/ 109537 h 385762"/>
              <a:gd name="connsiteX36" fmla="*/ 26194 w 581025"/>
              <a:gd name="connsiteY36" fmla="*/ 121443 h 385762"/>
              <a:gd name="connsiteX37" fmla="*/ 4763 w 581025"/>
              <a:gd name="connsiteY37" fmla="*/ 133350 h 385762"/>
              <a:gd name="connsiteX38" fmla="*/ 0 w 581025"/>
              <a:gd name="connsiteY38" fmla="*/ 140493 h 385762"/>
              <a:gd name="connsiteX39" fmla="*/ 0 w 581025"/>
              <a:gd name="connsiteY39" fmla="*/ 159543 h 385762"/>
              <a:gd name="connsiteX40" fmla="*/ 0 w 581025"/>
              <a:gd name="connsiteY40" fmla="*/ 159543 h 385762"/>
              <a:gd name="connsiteX41" fmla="*/ 35719 w 581025"/>
              <a:gd name="connsiteY41" fmla="*/ 202406 h 385762"/>
              <a:gd name="connsiteX42" fmla="*/ 52388 w 581025"/>
              <a:gd name="connsiteY42" fmla="*/ 216693 h 385762"/>
              <a:gd name="connsiteX43" fmla="*/ 61913 w 581025"/>
              <a:gd name="connsiteY43" fmla="*/ 240506 h 385762"/>
              <a:gd name="connsiteX44" fmla="*/ 64294 w 581025"/>
              <a:gd name="connsiteY44" fmla="*/ 259556 h 385762"/>
              <a:gd name="connsiteX45" fmla="*/ 76200 w 581025"/>
              <a:gd name="connsiteY45" fmla="*/ 283368 h 385762"/>
              <a:gd name="connsiteX46" fmla="*/ 102394 w 581025"/>
              <a:gd name="connsiteY46" fmla="*/ 292893 h 385762"/>
              <a:gd name="connsiteX47" fmla="*/ 145256 w 581025"/>
              <a:gd name="connsiteY47" fmla="*/ 266700 h 385762"/>
              <a:gd name="connsiteX48" fmla="*/ 164306 w 581025"/>
              <a:gd name="connsiteY48" fmla="*/ 235743 h 385762"/>
              <a:gd name="connsiteX49" fmla="*/ 157163 w 581025"/>
              <a:gd name="connsiteY49" fmla="*/ 216693 h 385762"/>
              <a:gd name="connsiteX50" fmla="*/ 219075 w 581025"/>
              <a:gd name="connsiteY50" fmla="*/ 200025 h 385762"/>
              <a:gd name="connsiteX51" fmla="*/ 242888 w 581025"/>
              <a:gd name="connsiteY51" fmla="*/ 185737 h 385762"/>
              <a:gd name="connsiteX52" fmla="*/ 261938 w 581025"/>
              <a:gd name="connsiteY52" fmla="*/ 176212 h 385762"/>
              <a:gd name="connsiteX53" fmla="*/ 280988 w 581025"/>
              <a:gd name="connsiteY53" fmla="*/ 214312 h 385762"/>
              <a:gd name="connsiteX54" fmla="*/ 300038 w 581025"/>
              <a:gd name="connsiteY54" fmla="*/ 240506 h 385762"/>
              <a:gd name="connsiteX55" fmla="*/ 323850 w 581025"/>
              <a:gd name="connsiteY55" fmla="*/ 276225 h 385762"/>
              <a:gd name="connsiteX56" fmla="*/ 338138 w 581025"/>
              <a:gd name="connsiteY56" fmla="*/ 285750 h 385762"/>
              <a:gd name="connsiteX57" fmla="*/ 338138 w 581025"/>
              <a:gd name="connsiteY57" fmla="*/ 304800 h 385762"/>
              <a:gd name="connsiteX58" fmla="*/ 290513 w 581025"/>
              <a:gd name="connsiteY58" fmla="*/ 335756 h 385762"/>
              <a:gd name="connsiteX0" fmla="*/ 290513 w 581025"/>
              <a:gd name="connsiteY0" fmla="*/ 335756 h 385762"/>
              <a:gd name="connsiteX1" fmla="*/ 342900 w 581025"/>
              <a:gd name="connsiteY1" fmla="*/ 378618 h 385762"/>
              <a:gd name="connsiteX2" fmla="*/ 388144 w 581025"/>
              <a:gd name="connsiteY2" fmla="*/ 383381 h 385762"/>
              <a:gd name="connsiteX3" fmla="*/ 402431 w 581025"/>
              <a:gd name="connsiteY3" fmla="*/ 385762 h 385762"/>
              <a:gd name="connsiteX4" fmla="*/ 433388 w 581025"/>
              <a:gd name="connsiteY4" fmla="*/ 357187 h 385762"/>
              <a:gd name="connsiteX5" fmla="*/ 473869 w 581025"/>
              <a:gd name="connsiteY5" fmla="*/ 311943 h 385762"/>
              <a:gd name="connsiteX6" fmla="*/ 481013 w 581025"/>
              <a:gd name="connsiteY6" fmla="*/ 292893 h 385762"/>
              <a:gd name="connsiteX7" fmla="*/ 492919 w 581025"/>
              <a:gd name="connsiteY7" fmla="*/ 242887 h 385762"/>
              <a:gd name="connsiteX8" fmla="*/ 488156 w 581025"/>
              <a:gd name="connsiteY8" fmla="*/ 209550 h 385762"/>
              <a:gd name="connsiteX9" fmla="*/ 495300 w 581025"/>
              <a:gd name="connsiteY9" fmla="*/ 178593 h 385762"/>
              <a:gd name="connsiteX10" fmla="*/ 511969 w 581025"/>
              <a:gd name="connsiteY10" fmla="*/ 166687 h 385762"/>
              <a:gd name="connsiteX11" fmla="*/ 528638 w 581025"/>
              <a:gd name="connsiteY11" fmla="*/ 166687 h 385762"/>
              <a:gd name="connsiteX12" fmla="*/ 552450 w 581025"/>
              <a:gd name="connsiteY12" fmla="*/ 166687 h 385762"/>
              <a:gd name="connsiteX13" fmla="*/ 581025 w 581025"/>
              <a:gd name="connsiteY13" fmla="*/ 130968 h 385762"/>
              <a:gd name="connsiteX14" fmla="*/ 581025 w 581025"/>
              <a:gd name="connsiteY14" fmla="*/ 121443 h 385762"/>
              <a:gd name="connsiteX15" fmla="*/ 576263 w 581025"/>
              <a:gd name="connsiteY15" fmla="*/ 116681 h 385762"/>
              <a:gd name="connsiteX16" fmla="*/ 566738 w 581025"/>
              <a:gd name="connsiteY16" fmla="*/ 111918 h 385762"/>
              <a:gd name="connsiteX17" fmla="*/ 552450 w 581025"/>
              <a:gd name="connsiteY17" fmla="*/ 104775 h 385762"/>
              <a:gd name="connsiteX18" fmla="*/ 550069 w 581025"/>
              <a:gd name="connsiteY18" fmla="*/ 78581 h 385762"/>
              <a:gd name="connsiteX19" fmla="*/ 542925 w 581025"/>
              <a:gd name="connsiteY19" fmla="*/ 76200 h 385762"/>
              <a:gd name="connsiteX20" fmla="*/ 514350 w 581025"/>
              <a:gd name="connsiteY20" fmla="*/ 73818 h 385762"/>
              <a:gd name="connsiteX21" fmla="*/ 502444 w 581025"/>
              <a:gd name="connsiteY21" fmla="*/ 54768 h 385762"/>
              <a:gd name="connsiteX22" fmla="*/ 495300 w 581025"/>
              <a:gd name="connsiteY22" fmla="*/ 47625 h 385762"/>
              <a:gd name="connsiteX23" fmla="*/ 478631 w 581025"/>
              <a:gd name="connsiteY23" fmla="*/ 28575 h 385762"/>
              <a:gd name="connsiteX24" fmla="*/ 473869 w 581025"/>
              <a:gd name="connsiteY24" fmla="*/ 26193 h 385762"/>
              <a:gd name="connsiteX25" fmla="*/ 473869 w 581025"/>
              <a:gd name="connsiteY25" fmla="*/ 26193 h 385762"/>
              <a:gd name="connsiteX26" fmla="*/ 452438 w 581025"/>
              <a:gd name="connsiteY26" fmla="*/ 16668 h 385762"/>
              <a:gd name="connsiteX27" fmla="*/ 404813 w 581025"/>
              <a:gd name="connsiteY27" fmla="*/ 0 h 385762"/>
              <a:gd name="connsiteX28" fmla="*/ 350044 w 581025"/>
              <a:gd name="connsiteY28" fmla="*/ 0 h 385762"/>
              <a:gd name="connsiteX29" fmla="*/ 316706 w 581025"/>
              <a:gd name="connsiteY29" fmla="*/ 11906 h 385762"/>
              <a:gd name="connsiteX30" fmla="*/ 228600 w 581025"/>
              <a:gd name="connsiteY30" fmla="*/ 52387 h 385762"/>
              <a:gd name="connsiteX31" fmla="*/ 171450 w 581025"/>
              <a:gd name="connsiteY31" fmla="*/ 92868 h 385762"/>
              <a:gd name="connsiteX32" fmla="*/ 142875 w 581025"/>
              <a:gd name="connsiteY32" fmla="*/ 100012 h 385762"/>
              <a:gd name="connsiteX33" fmla="*/ 116681 w 581025"/>
              <a:gd name="connsiteY33" fmla="*/ 100012 h 385762"/>
              <a:gd name="connsiteX34" fmla="*/ 61913 w 581025"/>
              <a:gd name="connsiteY34" fmla="*/ 109537 h 385762"/>
              <a:gd name="connsiteX35" fmla="*/ 26194 w 581025"/>
              <a:gd name="connsiteY35" fmla="*/ 121443 h 385762"/>
              <a:gd name="connsiteX36" fmla="*/ 4763 w 581025"/>
              <a:gd name="connsiteY36" fmla="*/ 133350 h 385762"/>
              <a:gd name="connsiteX37" fmla="*/ 0 w 581025"/>
              <a:gd name="connsiteY37" fmla="*/ 140493 h 385762"/>
              <a:gd name="connsiteX38" fmla="*/ 0 w 581025"/>
              <a:gd name="connsiteY38" fmla="*/ 159543 h 385762"/>
              <a:gd name="connsiteX39" fmla="*/ 0 w 581025"/>
              <a:gd name="connsiteY39" fmla="*/ 159543 h 385762"/>
              <a:gd name="connsiteX40" fmla="*/ 35719 w 581025"/>
              <a:gd name="connsiteY40" fmla="*/ 202406 h 385762"/>
              <a:gd name="connsiteX41" fmla="*/ 52388 w 581025"/>
              <a:gd name="connsiteY41" fmla="*/ 216693 h 385762"/>
              <a:gd name="connsiteX42" fmla="*/ 61913 w 581025"/>
              <a:gd name="connsiteY42" fmla="*/ 240506 h 385762"/>
              <a:gd name="connsiteX43" fmla="*/ 64294 w 581025"/>
              <a:gd name="connsiteY43" fmla="*/ 259556 h 385762"/>
              <a:gd name="connsiteX44" fmla="*/ 76200 w 581025"/>
              <a:gd name="connsiteY44" fmla="*/ 283368 h 385762"/>
              <a:gd name="connsiteX45" fmla="*/ 102394 w 581025"/>
              <a:gd name="connsiteY45" fmla="*/ 292893 h 385762"/>
              <a:gd name="connsiteX46" fmla="*/ 145256 w 581025"/>
              <a:gd name="connsiteY46" fmla="*/ 266700 h 385762"/>
              <a:gd name="connsiteX47" fmla="*/ 164306 w 581025"/>
              <a:gd name="connsiteY47" fmla="*/ 235743 h 385762"/>
              <a:gd name="connsiteX48" fmla="*/ 157163 w 581025"/>
              <a:gd name="connsiteY48" fmla="*/ 216693 h 385762"/>
              <a:gd name="connsiteX49" fmla="*/ 219075 w 581025"/>
              <a:gd name="connsiteY49" fmla="*/ 200025 h 385762"/>
              <a:gd name="connsiteX50" fmla="*/ 242888 w 581025"/>
              <a:gd name="connsiteY50" fmla="*/ 185737 h 385762"/>
              <a:gd name="connsiteX51" fmla="*/ 261938 w 581025"/>
              <a:gd name="connsiteY51" fmla="*/ 176212 h 385762"/>
              <a:gd name="connsiteX52" fmla="*/ 280988 w 581025"/>
              <a:gd name="connsiteY52" fmla="*/ 214312 h 385762"/>
              <a:gd name="connsiteX53" fmla="*/ 300038 w 581025"/>
              <a:gd name="connsiteY53" fmla="*/ 240506 h 385762"/>
              <a:gd name="connsiteX54" fmla="*/ 323850 w 581025"/>
              <a:gd name="connsiteY54" fmla="*/ 276225 h 385762"/>
              <a:gd name="connsiteX55" fmla="*/ 338138 w 581025"/>
              <a:gd name="connsiteY55" fmla="*/ 285750 h 385762"/>
              <a:gd name="connsiteX56" fmla="*/ 338138 w 581025"/>
              <a:gd name="connsiteY56" fmla="*/ 304800 h 385762"/>
              <a:gd name="connsiteX57" fmla="*/ 290513 w 581025"/>
              <a:gd name="connsiteY57" fmla="*/ 335756 h 385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81025" h="385762">
                <a:moveTo>
                  <a:pt x="290513" y="335756"/>
                </a:moveTo>
                <a:lnTo>
                  <a:pt x="342900" y="378618"/>
                </a:lnTo>
                <a:lnTo>
                  <a:pt x="388144" y="383381"/>
                </a:lnTo>
                <a:lnTo>
                  <a:pt x="402431" y="385762"/>
                </a:lnTo>
                <a:lnTo>
                  <a:pt x="433388" y="357187"/>
                </a:lnTo>
                <a:lnTo>
                  <a:pt x="473869" y="311943"/>
                </a:lnTo>
                <a:lnTo>
                  <a:pt x="481013" y="292893"/>
                </a:lnTo>
                <a:lnTo>
                  <a:pt x="492919" y="242887"/>
                </a:lnTo>
                <a:lnTo>
                  <a:pt x="488156" y="209550"/>
                </a:lnTo>
                <a:lnTo>
                  <a:pt x="495300" y="178593"/>
                </a:lnTo>
                <a:lnTo>
                  <a:pt x="511969" y="166687"/>
                </a:lnTo>
                <a:lnTo>
                  <a:pt x="528638" y="166687"/>
                </a:lnTo>
                <a:lnTo>
                  <a:pt x="552450" y="166687"/>
                </a:lnTo>
                <a:lnTo>
                  <a:pt x="581025" y="130968"/>
                </a:lnTo>
                <a:lnTo>
                  <a:pt x="581025" y="121443"/>
                </a:lnTo>
                <a:lnTo>
                  <a:pt x="576263" y="116681"/>
                </a:lnTo>
                <a:lnTo>
                  <a:pt x="566738" y="111918"/>
                </a:lnTo>
                <a:lnTo>
                  <a:pt x="552450" y="104775"/>
                </a:lnTo>
                <a:cubicBezTo>
                  <a:pt x="551656" y="96044"/>
                  <a:pt x="552841" y="86898"/>
                  <a:pt x="550069" y="78581"/>
                </a:cubicBezTo>
                <a:cubicBezTo>
                  <a:pt x="549275" y="76200"/>
                  <a:pt x="545413" y="76532"/>
                  <a:pt x="542925" y="76200"/>
                </a:cubicBezTo>
                <a:cubicBezTo>
                  <a:pt x="533451" y="74937"/>
                  <a:pt x="523875" y="74612"/>
                  <a:pt x="514350" y="73818"/>
                </a:cubicBezTo>
                <a:cubicBezTo>
                  <a:pt x="507603" y="70246"/>
                  <a:pt x="505619" y="59133"/>
                  <a:pt x="502444" y="54768"/>
                </a:cubicBezTo>
                <a:cubicBezTo>
                  <a:pt x="499269" y="50403"/>
                  <a:pt x="497367" y="50283"/>
                  <a:pt x="495300" y="47625"/>
                </a:cubicBezTo>
                <a:cubicBezTo>
                  <a:pt x="483024" y="31842"/>
                  <a:pt x="491119" y="36068"/>
                  <a:pt x="478631" y="28575"/>
                </a:cubicBezTo>
                <a:cubicBezTo>
                  <a:pt x="477109" y="27662"/>
                  <a:pt x="475456" y="26987"/>
                  <a:pt x="473869" y="26193"/>
                </a:cubicBezTo>
                <a:lnTo>
                  <a:pt x="473869" y="26193"/>
                </a:lnTo>
                <a:lnTo>
                  <a:pt x="452438" y="16668"/>
                </a:lnTo>
                <a:lnTo>
                  <a:pt x="404813" y="0"/>
                </a:lnTo>
                <a:lnTo>
                  <a:pt x="350044" y="0"/>
                </a:lnTo>
                <a:lnTo>
                  <a:pt x="316706" y="11906"/>
                </a:lnTo>
                <a:lnTo>
                  <a:pt x="228600" y="52387"/>
                </a:lnTo>
                <a:lnTo>
                  <a:pt x="171450" y="92868"/>
                </a:lnTo>
                <a:lnTo>
                  <a:pt x="142875" y="100012"/>
                </a:lnTo>
                <a:lnTo>
                  <a:pt x="116681" y="100012"/>
                </a:lnTo>
                <a:lnTo>
                  <a:pt x="61913" y="109537"/>
                </a:lnTo>
                <a:lnTo>
                  <a:pt x="26194" y="121443"/>
                </a:lnTo>
                <a:lnTo>
                  <a:pt x="4763" y="133350"/>
                </a:lnTo>
                <a:lnTo>
                  <a:pt x="0" y="140493"/>
                </a:lnTo>
                <a:lnTo>
                  <a:pt x="0" y="159543"/>
                </a:lnTo>
                <a:lnTo>
                  <a:pt x="0" y="159543"/>
                </a:lnTo>
                <a:lnTo>
                  <a:pt x="35719" y="202406"/>
                </a:lnTo>
                <a:lnTo>
                  <a:pt x="52388" y="216693"/>
                </a:lnTo>
                <a:lnTo>
                  <a:pt x="61913" y="240506"/>
                </a:lnTo>
                <a:lnTo>
                  <a:pt x="64294" y="259556"/>
                </a:lnTo>
                <a:lnTo>
                  <a:pt x="76200" y="283368"/>
                </a:lnTo>
                <a:lnTo>
                  <a:pt x="102394" y="292893"/>
                </a:lnTo>
                <a:lnTo>
                  <a:pt x="145256" y="266700"/>
                </a:lnTo>
                <a:lnTo>
                  <a:pt x="164306" y="235743"/>
                </a:lnTo>
                <a:lnTo>
                  <a:pt x="157163" y="216693"/>
                </a:lnTo>
                <a:lnTo>
                  <a:pt x="219075" y="200025"/>
                </a:lnTo>
                <a:lnTo>
                  <a:pt x="242888" y="185737"/>
                </a:lnTo>
                <a:lnTo>
                  <a:pt x="261938" y="176212"/>
                </a:lnTo>
                <a:lnTo>
                  <a:pt x="280988" y="214312"/>
                </a:lnTo>
                <a:lnTo>
                  <a:pt x="300038" y="240506"/>
                </a:lnTo>
                <a:lnTo>
                  <a:pt x="323850" y="276225"/>
                </a:lnTo>
                <a:lnTo>
                  <a:pt x="338138" y="285750"/>
                </a:lnTo>
                <a:lnTo>
                  <a:pt x="338138" y="304800"/>
                </a:lnTo>
                <a:lnTo>
                  <a:pt x="290513" y="335756"/>
                </a:lnTo>
                <a:close/>
              </a:path>
            </a:pathLst>
          </a:custGeom>
          <a:solidFill>
            <a:srgbClr val="FC6464">
              <a:alpha val="49804"/>
            </a:srgbClr>
          </a:solidFill>
          <a:ln w="9525">
            <a:solidFill>
              <a:schemeClr val="accent6">
                <a:lumMod val="40000"/>
                <a:lumOff val="60000"/>
              </a:schemeClr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600" b="0" smtClean="0"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02" name="TextBox 301"/>
          <p:cNvSpPr txBox="1"/>
          <p:nvPr/>
        </p:nvSpPr>
        <p:spPr>
          <a:xfrm>
            <a:off x="2457437" y="4402616"/>
            <a:ext cx="641842" cy="12870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 latinLnBrk="0">
              <a:defRPr sz="900" b="1" i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800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LAMABAD</a:t>
            </a:r>
          </a:p>
        </p:txBody>
      </p:sp>
      <p:sp>
        <p:nvSpPr>
          <p:cNvPr id="303" name="TextBox 302"/>
          <p:cNvSpPr txBox="1"/>
          <p:nvPr/>
        </p:nvSpPr>
        <p:spPr>
          <a:xfrm>
            <a:off x="3072808" y="2879916"/>
            <a:ext cx="66204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ko-KR"/>
            </a:defPPr>
            <a:lvl1pPr latinLnBrk="0">
              <a:defRPr sz="900" b="1" i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800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uzaffarabad</a:t>
            </a:r>
            <a:endParaRPr lang="en-US" sz="800" u="sng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428" name="그룹 427"/>
          <p:cNvGrpSpPr/>
          <p:nvPr/>
        </p:nvGrpSpPr>
        <p:grpSpPr>
          <a:xfrm>
            <a:off x="4254385" y="3329725"/>
            <a:ext cx="114662" cy="113360"/>
            <a:chOff x="4254385" y="3329725"/>
            <a:chExt cx="114662" cy="113360"/>
          </a:xfrm>
        </p:grpSpPr>
        <p:sp>
          <p:nvSpPr>
            <p:cNvPr id="311" name="Oval 444"/>
            <p:cNvSpPr/>
            <p:nvPr/>
          </p:nvSpPr>
          <p:spPr bwMode="auto">
            <a:xfrm>
              <a:off x="4254385" y="3329725"/>
              <a:ext cx="114662" cy="113360"/>
            </a:xfrm>
            <a:prstGeom prst="ellipse">
              <a:avLst/>
            </a:prstGeom>
            <a:solidFill>
              <a:srgbClr val="21538F"/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en-US"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grpSp>
          <p:nvGrpSpPr>
            <p:cNvPr id="312" name="그룹 311"/>
            <p:cNvGrpSpPr/>
            <p:nvPr/>
          </p:nvGrpSpPr>
          <p:grpSpPr>
            <a:xfrm>
              <a:off x="4285254" y="3346169"/>
              <a:ext cx="52905" cy="79925"/>
              <a:chOff x="5798686" y="3072603"/>
              <a:chExt cx="70977" cy="107226"/>
            </a:xfrm>
          </p:grpSpPr>
          <p:sp>
            <p:nvSpPr>
              <p:cNvPr id="313" name="Freeform 445"/>
              <p:cNvSpPr/>
              <p:nvPr/>
            </p:nvSpPr>
            <p:spPr bwMode="auto">
              <a:xfrm>
                <a:off x="5798686" y="3072603"/>
                <a:ext cx="38053" cy="107226"/>
              </a:xfrm>
              <a:custGeom>
                <a:avLst/>
                <a:gdLst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61021 w 1669410"/>
                  <a:gd name="connsiteY17" fmla="*/ 1442907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69410 w 1669410"/>
                  <a:gd name="connsiteY16" fmla="*/ 1149292 h 4848837"/>
                  <a:gd name="connsiteX17" fmla="*/ 1661021 w 1669410"/>
                  <a:gd name="connsiteY17" fmla="*/ 1442907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69410 w 1669410"/>
                  <a:gd name="connsiteY16" fmla="*/ 1149292 h 4848837"/>
                  <a:gd name="connsiteX17" fmla="*/ 1661021 w 1669410"/>
                  <a:gd name="connsiteY17" fmla="*/ 1442907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44243 w 1669410"/>
                  <a:gd name="connsiteY21" fmla="*/ 2290195 h 4848837"/>
                  <a:gd name="connsiteX22" fmla="*/ 1619076 w 1669410"/>
                  <a:gd name="connsiteY22" fmla="*/ 3338819 h 4848837"/>
                  <a:gd name="connsiteX0" fmla="*/ 1644243 w 1669410"/>
                  <a:gd name="connsiteY0" fmla="*/ 3313652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69410 w 1669410"/>
                  <a:gd name="connsiteY16" fmla="*/ 1149292 h 4848837"/>
                  <a:gd name="connsiteX17" fmla="*/ 1661021 w 1669410"/>
                  <a:gd name="connsiteY17" fmla="*/ 1442907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44243 w 1669410"/>
                  <a:gd name="connsiteY21" fmla="*/ 2290195 h 4848837"/>
                  <a:gd name="connsiteX22" fmla="*/ 1644243 w 1669410"/>
                  <a:gd name="connsiteY22" fmla="*/ 3313652 h 4848837"/>
                  <a:gd name="connsiteX0" fmla="*/ 1644243 w 1669410"/>
                  <a:gd name="connsiteY0" fmla="*/ 3313652 h 4848837"/>
                  <a:gd name="connsiteX1" fmla="*/ 1476463 w 1669410"/>
                  <a:gd name="connsiteY1" fmla="*/ 3196206 h 4848837"/>
                  <a:gd name="connsiteX2" fmla="*/ 1501630 w 1669410"/>
                  <a:gd name="connsiteY2" fmla="*/ 3145872 h 4848837"/>
                  <a:gd name="connsiteX3" fmla="*/ 1476463 w 1669410"/>
                  <a:gd name="connsiteY3" fmla="*/ 3003259 h 4848837"/>
                  <a:gd name="connsiteX4" fmla="*/ 1048624 w 1669410"/>
                  <a:gd name="connsiteY4" fmla="*/ 3003259 h 4848837"/>
                  <a:gd name="connsiteX5" fmla="*/ 335560 w 1669410"/>
                  <a:gd name="connsiteY5" fmla="*/ 4848837 h 4848837"/>
                  <a:gd name="connsiteX6" fmla="*/ 201336 w 1669410"/>
                  <a:gd name="connsiteY6" fmla="*/ 4362275 h 4848837"/>
                  <a:gd name="connsiteX7" fmla="*/ 629175 w 1669410"/>
                  <a:gd name="connsiteY7" fmla="*/ 3003259 h 4848837"/>
                  <a:gd name="connsiteX8" fmla="*/ 142613 w 1669410"/>
                  <a:gd name="connsiteY8" fmla="*/ 3003259 h 4848837"/>
                  <a:gd name="connsiteX9" fmla="*/ 0 w 1669410"/>
                  <a:gd name="connsiteY9" fmla="*/ 2843868 h 4848837"/>
                  <a:gd name="connsiteX10" fmla="*/ 134224 w 1669410"/>
                  <a:gd name="connsiteY10" fmla="*/ 2659310 h 4848837"/>
                  <a:gd name="connsiteX11" fmla="*/ 796955 w 1669410"/>
                  <a:gd name="connsiteY11" fmla="*/ 2659310 h 4848837"/>
                  <a:gd name="connsiteX12" fmla="*/ 1249960 w 1669410"/>
                  <a:gd name="connsiteY12" fmla="*/ 1342239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69410 w 1669410"/>
                  <a:gd name="connsiteY17" fmla="*/ 1149292 h 4848837"/>
                  <a:gd name="connsiteX18" fmla="*/ 1661021 w 1669410"/>
                  <a:gd name="connsiteY18" fmla="*/ 1442907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44243 w 1669410"/>
                  <a:gd name="connsiteY22" fmla="*/ 2290195 h 4848837"/>
                  <a:gd name="connsiteX23" fmla="*/ 1644243 w 1669410"/>
                  <a:gd name="connsiteY23" fmla="*/ 3313652 h 4848837"/>
                  <a:gd name="connsiteX0" fmla="*/ 1644243 w 1669410"/>
                  <a:gd name="connsiteY0" fmla="*/ 3313652 h 4848837"/>
                  <a:gd name="connsiteX1" fmla="*/ 1476463 w 1669410"/>
                  <a:gd name="connsiteY1" fmla="*/ 3196206 h 4848837"/>
                  <a:gd name="connsiteX2" fmla="*/ 1501630 w 1669410"/>
                  <a:gd name="connsiteY2" fmla="*/ 3145872 h 4848837"/>
                  <a:gd name="connsiteX3" fmla="*/ 1476463 w 1669410"/>
                  <a:gd name="connsiteY3" fmla="*/ 3003259 h 4848837"/>
                  <a:gd name="connsiteX4" fmla="*/ 1048624 w 1669410"/>
                  <a:gd name="connsiteY4" fmla="*/ 3003259 h 4848837"/>
                  <a:gd name="connsiteX5" fmla="*/ 335560 w 1669410"/>
                  <a:gd name="connsiteY5" fmla="*/ 4848837 h 4848837"/>
                  <a:gd name="connsiteX6" fmla="*/ 201336 w 1669410"/>
                  <a:gd name="connsiteY6" fmla="*/ 4362275 h 4848837"/>
                  <a:gd name="connsiteX7" fmla="*/ 629175 w 1669410"/>
                  <a:gd name="connsiteY7" fmla="*/ 3003259 h 4848837"/>
                  <a:gd name="connsiteX8" fmla="*/ 142613 w 1669410"/>
                  <a:gd name="connsiteY8" fmla="*/ 3003259 h 4848837"/>
                  <a:gd name="connsiteX9" fmla="*/ 0 w 1669410"/>
                  <a:gd name="connsiteY9" fmla="*/ 2843868 h 4848837"/>
                  <a:gd name="connsiteX10" fmla="*/ 134224 w 1669410"/>
                  <a:gd name="connsiteY10" fmla="*/ 2659310 h 4848837"/>
                  <a:gd name="connsiteX11" fmla="*/ 796955 w 1669410"/>
                  <a:gd name="connsiteY11" fmla="*/ 2659310 h 4848837"/>
                  <a:gd name="connsiteX12" fmla="*/ 1249960 w 1669410"/>
                  <a:gd name="connsiteY12" fmla="*/ 1342239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69410 w 1669410"/>
                  <a:gd name="connsiteY17" fmla="*/ 1149292 h 4848837"/>
                  <a:gd name="connsiteX18" fmla="*/ 1661021 w 1669410"/>
                  <a:gd name="connsiteY18" fmla="*/ 1442907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510019 w 1669410"/>
                  <a:gd name="connsiteY21" fmla="*/ 2399252 h 4848837"/>
                  <a:gd name="connsiteX22" fmla="*/ 1644243 w 1669410"/>
                  <a:gd name="connsiteY22" fmla="*/ 2290195 h 4848837"/>
                  <a:gd name="connsiteX23" fmla="*/ 1644243 w 1669410"/>
                  <a:gd name="connsiteY23" fmla="*/ 3313652 h 4848837"/>
                  <a:gd name="connsiteX0" fmla="*/ 1644243 w 1669410"/>
                  <a:gd name="connsiteY0" fmla="*/ 3313652 h 4848837"/>
                  <a:gd name="connsiteX1" fmla="*/ 1476463 w 1669410"/>
                  <a:gd name="connsiteY1" fmla="*/ 3196206 h 4848837"/>
                  <a:gd name="connsiteX2" fmla="*/ 1501630 w 1669410"/>
                  <a:gd name="connsiteY2" fmla="*/ 3145872 h 4848837"/>
                  <a:gd name="connsiteX3" fmla="*/ 1476463 w 1669410"/>
                  <a:gd name="connsiteY3" fmla="*/ 3003259 h 4848837"/>
                  <a:gd name="connsiteX4" fmla="*/ 1048624 w 1669410"/>
                  <a:gd name="connsiteY4" fmla="*/ 3003259 h 4848837"/>
                  <a:gd name="connsiteX5" fmla="*/ 335560 w 1669410"/>
                  <a:gd name="connsiteY5" fmla="*/ 4848837 h 4848837"/>
                  <a:gd name="connsiteX6" fmla="*/ 201336 w 1669410"/>
                  <a:gd name="connsiteY6" fmla="*/ 4362275 h 4848837"/>
                  <a:gd name="connsiteX7" fmla="*/ 629175 w 1669410"/>
                  <a:gd name="connsiteY7" fmla="*/ 3003259 h 4848837"/>
                  <a:gd name="connsiteX8" fmla="*/ 142613 w 1669410"/>
                  <a:gd name="connsiteY8" fmla="*/ 3003259 h 4848837"/>
                  <a:gd name="connsiteX9" fmla="*/ 0 w 1669410"/>
                  <a:gd name="connsiteY9" fmla="*/ 2843868 h 4848837"/>
                  <a:gd name="connsiteX10" fmla="*/ 134224 w 1669410"/>
                  <a:gd name="connsiteY10" fmla="*/ 2659310 h 4848837"/>
                  <a:gd name="connsiteX11" fmla="*/ 796955 w 1669410"/>
                  <a:gd name="connsiteY11" fmla="*/ 2659310 h 4848837"/>
                  <a:gd name="connsiteX12" fmla="*/ 1249960 w 1669410"/>
                  <a:gd name="connsiteY12" fmla="*/ 1342239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69410 w 1669410"/>
                  <a:gd name="connsiteY17" fmla="*/ 1149292 h 4848837"/>
                  <a:gd name="connsiteX18" fmla="*/ 1661021 w 1669410"/>
                  <a:gd name="connsiteY18" fmla="*/ 1442907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644243 w 1669410"/>
                  <a:gd name="connsiteY21" fmla="*/ 2290195 h 4848837"/>
                  <a:gd name="connsiteX22" fmla="*/ 1644243 w 1669410"/>
                  <a:gd name="connsiteY22" fmla="*/ 3313652 h 4848837"/>
                  <a:gd name="connsiteX0" fmla="*/ 1644243 w 1669410"/>
                  <a:gd name="connsiteY0" fmla="*/ 3313652 h 4848837"/>
                  <a:gd name="connsiteX1" fmla="*/ 1545260 w 1669410"/>
                  <a:gd name="connsiteY1" fmla="*/ 3224029 h 4848837"/>
                  <a:gd name="connsiteX2" fmla="*/ 1476463 w 1669410"/>
                  <a:gd name="connsiteY2" fmla="*/ 3196206 h 4848837"/>
                  <a:gd name="connsiteX3" fmla="*/ 1501630 w 1669410"/>
                  <a:gd name="connsiteY3" fmla="*/ 3145872 h 4848837"/>
                  <a:gd name="connsiteX4" fmla="*/ 1476463 w 1669410"/>
                  <a:gd name="connsiteY4" fmla="*/ 3003259 h 4848837"/>
                  <a:gd name="connsiteX5" fmla="*/ 1048624 w 1669410"/>
                  <a:gd name="connsiteY5" fmla="*/ 3003259 h 4848837"/>
                  <a:gd name="connsiteX6" fmla="*/ 335560 w 1669410"/>
                  <a:gd name="connsiteY6" fmla="*/ 4848837 h 4848837"/>
                  <a:gd name="connsiteX7" fmla="*/ 201336 w 1669410"/>
                  <a:gd name="connsiteY7" fmla="*/ 4362275 h 4848837"/>
                  <a:gd name="connsiteX8" fmla="*/ 629175 w 1669410"/>
                  <a:gd name="connsiteY8" fmla="*/ 3003259 h 4848837"/>
                  <a:gd name="connsiteX9" fmla="*/ 142613 w 1669410"/>
                  <a:gd name="connsiteY9" fmla="*/ 3003259 h 4848837"/>
                  <a:gd name="connsiteX10" fmla="*/ 0 w 1669410"/>
                  <a:gd name="connsiteY10" fmla="*/ 2843868 h 4848837"/>
                  <a:gd name="connsiteX11" fmla="*/ 134224 w 1669410"/>
                  <a:gd name="connsiteY11" fmla="*/ 2659310 h 4848837"/>
                  <a:gd name="connsiteX12" fmla="*/ 796955 w 1669410"/>
                  <a:gd name="connsiteY12" fmla="*/ 2659310 h 4848837"/>
                  <a:gd name="connsiteX13" fmla="*/ 1249960 w 1669410"/>
                  <a:gd name="connsiteY13" fmla="*/ 1342239 h 4848837"/>
                  <a:gd name="connsiteX14" fmla="*/ 1484852 w 1669410"/>
                  <a:gd name="connsiteY14" fmla="*/ 419450 h 4848837"/>
                  <a:gd name="connsiteX15" fmla="*/ 1484852 w 1669410"/>
                  <a:gd name="connsiteY15" fmla="*/ 184558 h 4848837"/>
                  <a:gd name="connsiteX16" fmla="*/ 1669410 w 1669410"/>
                  <a:gd name="connsiteY16" fmla="*/ 0 h 4848837"/>
                  <a:gd name="connsiteX17" fmla="*/ 1669410 w 1669410"/>
                  <a:gd name="connsiteY17" fmla="*/ 771787 h 4848837"/>
                  <a:gd name="connsiteX18" fmla="*/ 1669410 w 1669410"/>
                  <a:gd name="connsiteY18" fmla="*/ 1149292 h 4848837"/>
                  <a:gd name="connsiteX19" fmla="*/ 1661021 w 1669410"/>
                  <a:gd name="connsiteY19" fmla="*/ 1442907 h 4848837"/>
                  <a:gd name="connsiteX20" fmla="*/ 1199626 w 1669410"/>
                  <a:gd name="connsiteY20" fmla="*/ 2625754 h 4848837"/>
                  <a:gd name="connsiteX21" fmla="*/ 1468074 w 1669410"/>
                  <a:gd name="connsiteY21" fmla="*/ 2625754 h 4848837"/>
                  <a:gd name="connsiteX22" fmla="*/ 1644243 w 1669410"/>
                  <a:gd name="connsiteY22" fmla="*/ 2290195 h 4848837"/>
                  <a:gd name="connsiteX23" fmla="*/ 1644243 w 1669410"/>
                  <a:gd name="connsiteY23" fmla="*/ 3313652 h 4848837"/>
                  <a:gd name="connsiteX0" fmla="*/ 1644243 w 1669410"/>
                  <a:gd name="connsiteY0" fmla="*/ 3313652 h 4848837"/>
                  <a:gd name="connsiteX1" fmla="*/ 1545260 w 1669410"/>
                  <a:gd name="connsiteY1" fmla="*/ 3224029 h 4848837"/>
                  <a:gd name="connsiteX2" fmla="*/ 1501630 w 1669410"/>
                  <a:gd name="connsiteY2" fmla="*/ 3145872 h 4848837"/>
                  <a:gd name="connsiteX3" fmla="*/ 1476463 w 1669410"/>
                  <a:gd name="connsiteY3" fmla="*/ 3003259 h 4848837"/>
                  <a:gd name="connsiteX4" fmla="*/ 1048624 w 1669410"/>
                  <a:gd name="connsiteY4" fmla="*/ 3003259 h 4848837"/>
                  <a:gd name="connsiteX5" fmla="*/ 335560 w 1669410"/>
                  <a:gd name="connsiteY5" fmla="*/ 4848837 h 4848837"/>
                  <a:gd name="connsiteX6" fmla="*/ 201336 w 1669410"/>
                  <a:gd name="connsiteY6" fmla="*/ 4362275 h 4848837"/>
                  <a:gd name="connsiteX7" fmla="*/ 629175 w 1669410"/>
                  <a:gd name="connsiteY7" fmla="*/ 3003259 h 4848837"/>
                  <a:gd name="connsiteX8" fmla="*/ 142613 w 1669410"/>
                  <a:gd name="connsiteY8" fmla="*/ 3003259 h 4848837"/>
                  <a:gd name="connsiteX9" fmla="*/ 0 w 1669410"/>
                  <a:gd name="connsiteY9" fmla="*/ 2843868 h 4848837"/>
                  <a:gd name="connsiteX10" fmla="*/ 134224 w 1669410"/>
                  <a:gd name="connsiteY10" fmla="*/ 2659310 h 4848837"/>
                  <a:gd name="connsiteX11" fmla="*/ 796955 w 1669410"/>
                  <a:gd name="connsiteY11" fmla="*/ 2659310 h 4848837"/>
                  <a:gd name="connsiteX12" fmla="*/ 1249960 w 1669410"/>
                  <a:gd name="connsiteY12" fmla="*/ 1342239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69410 w 1669410"/>
                  <a:gd name="connsiteY17" fmla="*/ 1149292 h 4848837"/>
                  <a:gd name="connsiteX18" fmla="*/ 1661021 w 1669410"/>
                  <a:gd name="connsiteY18" fmla="*/ 1442907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644243 w 1669410"/>
                  <a:gd name="connsiteY21" fmla="*/ 2290195 h 4848837"/>
                  <a:gd name="connsiteX22" fmla="*/ 1644243 w 1669410"/>
                  <a:gd name="connsiteY22" fmla="*/ 3313652 h 4848837"/>
                  <a:gd name="connsiteX0" fmla="*/ 1644243 w 1669410"/>
                  <a:gd name="connsiteY0" fmla="*/ 3313652 h 4848837"/>
                  <a:gd name="connsiteX1" fmla="*/ 1545260 w 1669410"/>
                  <a:gd name="connsiteY1" fmla="*/ 3224029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69410 w 1669410"/>
                  <a:gd name="connsiteY16" fmla="*/ 1149292 h 4848837"/>
                  <a:gd name="connsiteX17" fmla="*/ 1661021 w 1669410"/>
                  <a:gd name="connsiteY17" fmla="*/ 1442907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644243 w 1669410"/>
                  <a:gd name="connsiteY20" fmla="*/ 2290195 h 4848837"/>
                  <a:gd name="connsiteX21" fmla="*/ 1644243 w 1669410"/>
                  <a:gd name="connsiteY21" fmla="*/ 3313652 h 4848837"/>
                  <a:gd name="connsiteX0" fmla="*/ 1644243 w 1669410"/>
                  <a:gd name="connsiteY0" fmla="*/ 3313652 h 4848837"/>
                  <a:gd name="connsiteX1" fmla="*/ 1476463 w 1669410"/>
                  <a:gd name="connsiteY1" fmla="*/ 3003259 h 4848837"/>
                  <a:gd name="connsiteX2" fmla="*/ 1048624 w 1669410"/>
                  <a:gd name="connsiteY2" fmla="*/ 3003259 h 4848837"/>
                  <a:gd name="connsiteX3" fmla="*/ 335560 w 1669410"/>
                  <a:gd name="connsiteY3" fmla="*/ 4848837 h 4848837"/>
                  <a:gd name="connsiteX4" fmla="*/ 201336 w 1669410"/>
                  <a:gd name="connsiteY4" fmla="*/ 4362275 h 4848837"/>
                  <a:gd name="connsiteX5" fmla="*/ 629175 w 1669410"/>
                  <a:gd name="connsiteY5" fmla="*/ 3003259 h 4848837"/>
                  <a:gd name="connsiteX6" fmla="*/ 142613 w 1669410"/>
                  <a:gd name="connsiteY6" fmla="*/ 3003259 h 4848837"/>
                  <a:gd name="connsiteX7" fmla="*/ 0 w 1669410"/>
                  <a:gd name="connsiteY7" fmla="*/ 2843868 h 4848837"/>
                  <a:gd name="connsiteX8" fmla="*/ 134224 w 1669410"/>
                  <a:gd name="connsiteY8" fmla="*/ 2659310 h 4848837"/>
                  <a:gd name="connsiteX9" fmla="*/ 796955 w 1669410"/>
                  <a:gd name="connsiteY9" fmla="*/ 2659310 h 4848837"/>
                  <a:gd name="connsiteX10" fmla="*/ 1249960 w 1669410"/>
                  <a:gd name="connsiteY10" fmla="*/ 1342239 h 4848837"/>
                  <a:gd name="connsiteX11" fmla="*/ 1484852 w 1669410"/>
                  <a:gd name="connsiteY11" fmla="*/ 419450 h 4848837"/>
                  <a:gd name="connsiteX12" fmla="*/ 1484852 w 1669410"/>
                  <a:gd name="connsiteY12" fmla="*/ 184558 h 4848837"/>
                  <a:gd name="connsiteX13" fmla="*/ 1669410 w 1669410"/>
                  <a:gd name="connsiteY13" fmla="*/ 0 h 4848837"/>
                  <a:gd name="connsiteX14" fmla="*/ 1669410 w 1669410"/>
                  <a:gd name="connsiteY14" fmla="*/ 771787 h 4848837"/>
                  <a:gd name="connsiteX15" fmla="*/ 1669410 w 1669410"/>
                  <a:gd name="connsiteY15" fmla="*/ 1149292 h 4848837"/>
                  <a:gd name="connsiteX16" fmla="*/ 1661021 w 1669410"/>
                  <a:gd name="connsiteY16" fmla="*/ 1442907 h 4848837"/>
                  <a:gd name="connsiteX17" fmla="*/ 1199626 w 1669410"/>
                  <a:gd name="connsiteY17" fmla="*/ 2625754 h 4848837"/>
                  <a:gd name="connsiteX18" fmla="*/ 1468074 w 1669410"/>
                  <a:gd name="connsiteY18" fmla="*/ 2625754 h 4848837"/>
                  <a:gd name="connsiteX19" fmla="*/ 1644243 w 1669410"/>
                  <a:gd name="connsiteY19" fmla="*/ 2290195 h 4848837"/>
                  <a:gd name="connsiteX20" fmla="*/ 1644243 w 1669410"/>
                  <a:gd name="connsiteY20" fmla="*/ 3313652 h 4848837"/>
                  <a:gd name="connsiteX0" fmla="*/ 1700428 w 1700520"/>
                  <a:gd name="connsiteY0" fmla="*/ 3313654 h 4848837"/>
                  <a:gd name="connsiteX1" fmla="*/ 1476463 w 1700520"/>
                  <a:gd name="connsiteY1" fmla="*/ 3003259 h 4848837"/>
                  <a:gd name="connsiteX2" fmla="*/ 1048624 w 1700520"/>
                  <a:gd name="connsiteY2" fmla="*/ 3003259 h 4848837"/>
                  <a:gd name="connsiteX3" fmla="*/ 335560 w 1700520"/>
                  <a:gd name="connsiteY3" fmla="*/ 4848837 h 4848837"/>
                  <a:gd name="connsiteX4" fmla="*/ 201336 w 1700520"/>
                  <a:gd name="connsiteY4" fmla="*/ 4362275 h 4848837"/>
                  <a:gd name="connsiteX5" fmla="*/ 629175 w 1700520"/>
                  <a:gd name="connsiteY5" fmla="*/ 3003259 h 4848837"/>
                  <a:gd name="connsiteX6" fmla="*/ 142613 w 1700520"/>
                  <a:gd name="connsiteY6" fmla="*/ 3003259 h 4848837"/>
                  <a:gd name="connsiteX7" fmla="*/ 0 w 1700520"/>
                  <a:gd name="connsiteY7" fmla="*/ 2843868 h 4848837"/>
                  <a:gd name="connsiteX8" fmla="*/ 134224 w 1700520"/>
                  <a:gd name="connsiteY8" fmla="*/ 2659310 h 4848837"/>
                  <a:gd name="connsiteX9" fmla="*/ 796955 w 1700520"/>
                  <a:gd name="connsiteY9" fmla="*/ 2659310 h 4848837"/>
                  <a:gd name="connsiteX10" fmla="*/ 1249960 w 1700520"/>
                  <a:gd name="connsiteY10" fmla="*/ 1342239 h 4848837"/>
                  <a:gd name="connsiteX11" fmla="*/ 1484852 w 1700520"/>
                  <a:gd name="connsiteY11" fmla="*/ 419450 h 4848837"/>
                  <a:gd name="connsiteX12" fmla="*/ 1484852 w 1700520"/>
                  <a:gd name="connsiteY12" fmla="*/ 184558 h 4848837"/>
                  <a:gd name="connsiteX13" fmla="*/ 1669410 w 1700520"/>
                  <a:gd name="connsiteY13" fmla="*/ 0 h 4848837"/>
                  <a:gd name="connsiteX14" fmla="*/ 1669410 w 1700520"/>
                  <a:gd name="connsiteY14" fmla="*/ 771787 h 4848837"/>
                  <a:gd name="connsiteX15" fmla="*/ 1669410 w 1700520"/>
                  <a:gd name="connsiteY15" fmla="*/ 1149292 h 4848837"/>
                  <a:gd name="connsiteX16" fmla="*/ 1661021 w 1700520"/>
                  <a:gd name="connsiteY16" fmla="*/ 1442907 h 4848837"/>
                  <a:gd name="connsiteX17" fmla="*/ 1199626 w 1700520"/>
                  <a:gd name="connsiteY17" fmla="*/ 2625754 h 4848837"/>
                  <a:gd name="connsiteX18" fmla="*/ 1468074 w 1700520"/>
                  <a:gd name="connsiteY18" fmla="*/ 2625754 h 4848837"/>
                  <a:gd name="connsiteX19" fmla="*/ 1644243 w 1700520"/>
                  <a:gd name="connsiteY19" fmla="*/ 2290195 h 4848837"/>
                  <a:gd name="connsiteX20" fmla="*/ 1700428 w 1700520"/>
                  <a:gd name="connsiteY20" fmla="*/ 3313654 h 4848837"/>
                  <a:gd name="connsiteX0" fmla="*/ 1700428 w 1701232"/>
                  <a:gd name="connsiteY0" fmla="*/ 3313654 h 4848837"/>
                  <a:gd name="connsiteX1" fmla="*/ 1476463 w 1701232"/>
                  <a:gd name="connsiteY1" fmla="*/ 3003259 h 4848837"/>
                  <a:gd name="connsiteX2" fmla="*/ 1048624 w 1701232"/>
                  <a:gd name="connsiteY2" fmla="*/ 3003259 h 4848837"/>
                  <a:gd name="connsiteX3" fmla="*/ 335560 w 1701232"/>
                  <a:gd name="connsiteY3" fmla="*/ 4848837 h 4848837"/>
                  <a:gd name="connsiteX4" fmla="*/ 201336 w 1701232"/>
                  <a:gd name="connsiteY4" fmla="*/ 4362275 h 4848837"/>
                  <a:gd name="connsiteX5" fmla="*/ 629175 w 1701232"/>
                  <a:gd name="connsiteY5" fmla="*/ 3003259 h 4848837"/>
                  <a:gd name="connsiteX6" fmla="*/ 142613 w 1701232"/>
                  <a:gd name="connsiteY6" fmla="*/ 3003259 h 4848837"/>
                  <a:gd name="connsiteX7" fmla="*/ 0 w 1701232"/>
                  <a:gd name="connsiteY7" fmla="*/ 2843868 h 4848837"/>
                  <a:gd name="connsiteX8" fmla="*/ 134224 w 1701232"/>
                  <a:gd name="connsiteY8" fmla="*/ 2659310 h 4848837"/>
                  <a:gd name="connsiteX9" fmla="*/ 796955 w 1701232"/>
                  <a:gd name="connsiteY9" fmla="*/ 2659310 h 4848837"/>
                  <a:gd name="connsiteX10" fmla="*/ 1249960 w 1701232"/>
                  <a:gd name="connsiteY10" fmla="*/ 1342239 h 4848837"/>
                  <a:gd name="connsiteX11" fmla="*/ 1484852 w 1701232"/>
                  <a:gd name="connsiteY11" fmla="*/ 419450 h 4848837"/>
                  <a:gd name="connsiteX12" fmla="*/ 1484852 w 1701232"/>
                  <a:gd name="connsiteY12" fmla="*/ 184558 h 4848837"/>
                  <a:gd name="connsiteX13" fmla="*/ 1669410 w 1701232"/>
                  <a:gd name="connsiteY13" fmla="*/ 0 h 4848837"/>
                  <a:gd name="connsiteX14" fmla="*/ 1669410 w 1701232"/>
                  <a:gd name="connsiteY14" fmla="*/ 771787 h 4848837"/>
                  <a:gd name="connsiteX15" fmla="*/ 1669410 w 1701232"/>
                  <a:gd name="connsiteY15" fmla="*/ 1149292 h 4848837"/>
                  <a:gd name="connsiteX16" fmla="*/ 1661021 w 1701232"/>
                  <a:gd name="connsiteY16" fmla="*/ 1442907 h 4848837"/>
                  <a:gd name="connsiteX17" fmla="*/ 1199626 w 1701232"/>
                  <a:gd name="connsiteY17" fmla="*/ 2625754 h 4848837"/>
                  <a:gd name="connsiteX18" fmla="*/ 1468074 w 1701232"/>
                  <a:gd name="connsiteY18" fmla="*/ 2625754 h 4848837"/>
                  <a:gd name="connsiteX19" fmla="*/ 1700428 w 1701232"/>
                  <a:gd name="connsiteY19" fmla="*/ 2327653 h 4848837"/>
                  <a:gd name="connsiteX20" fmla="*/ 1700428 w 1701232"/>
                  <a:gd name="connsiteY20" fmla="*/ 3313654 h 4848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01232" h="4848837">
                    <a:moveTo>
                      <a:pt x="1700428" y="3313654"/>
                    </a:moveTo>
                    <a:lnTo>
                      <a:pt x="1476463" y="3003259"/>
                    </a:lnTo>
                    <a:lnTo>
                      <a:pt x="1048624" y="3003259"/>
                    </a:lnTo>
                    <a:lnTo>
                      <a:pt x="335560" y="4848837"/>
                    </a:lnTo>
                    <a:lnTo>
                      <a:pt x="201336" y="4362275"/>
                    </a:lnTo>
                    <a:lnTo>
                      <a:pt x="629175" y="3003259"/>
                    </a:lnTo>
                    <a:lnTo>
                      <a:pt x="142613" y="3003259"/>
                    </a:lnTo>
                    <a:lnTo>
                      <a:pt x="0" y="2843868"/>
                    </a:lnTo>
                    <a:lnTo>
                      <a:pt x="134224" y="2659310"/>
                    </a:lnTo>
                    <a:lnTo>
                      <a:pt x="796955" y="2659310"/>
                    </a:lnTo>
                    <a:lnTo>
                      <a:pt x="1249960" y="1342239"/>
                    </a:lnTo>
                    <a:cubicBezTo>
                      <a:pt x="928382" y="809538"/>
                      <a:pt x="1252756" y="511729"/>
                      <a:pt x="1484852" y="419450"/>
                    </a:cubicBezTo>
                    <a:lnTo>
                      <a:pt x="1484852" y="184558"/>
                    </a:lnTo>
                    <a:lnTo>
                      <a:pt x="1669410" y="0"/>
                    </a:lnTo>
                    <a:lnTo>
                      <a:pt x="1669410" y="771787"/>
                    </a:lnTo>
                    <a:cubicBezTo>
                      <a:pt x="1414944" y="794158"/>
                      <a:pt x="1496037" y="1084976"/>
                      <a:pt x="1669410" y="1149292"/>
                    </a:cubicBezTo>
                    <a:lnTo>
                      <a:pt x="1661021" y="1442907"/>
                    </a:lnTo>
                    <a:lnTo>
                      <a:pt x="1199626" y="2625754"/>
                    </a:lnTo>
                    <a:lnTo>
                      <a:pt x="1468074" y="2625754"/>
                    </a:lnTo>
                    <a:lnTo>
                      <a:pt x="1700428" y="2327653"/>
                    </a:lnTo>
                    <a:cubicBezTo>
                      <a:pt x="1697632" y="2688380"/>
                      <a:pt x="1703224" y="2952927"/>
                      <a:pt x="1700428" y="331365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6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314" name="Freeform 446"/>
              <p:cNvSpPr/>
              <p:nvPr/>
            </p:nvSpPr>
            <p:spPr bwMode="auto">
              <a:xfrm flipH="1">
                <a:off x="5832322" y="3072603"/>
                <a:ext cx="37341" cy="107226"/>
              </a:xfrm>
              <a:custGeom>
                <a:avLst/>
                <a:gdLst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199626 w 1669410"/>
                  <a:gd name="connsiteY12" fmla="*/ 637564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35854 w 1669410"/>
                  <a:gd name="connsiteY17" fmla="*/ 1140903 h 4848837"/>
                  <a:gd name="connsiteX18" fmla="*/ 1635854 w 1669410"/>
                  <a:gd name="connsiteY18" fmla="*/ 1510019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27465 w 1669410"/>
                  <a:gd name="connsiteY22" fmla="*/ 2256639 h 4848837"/>
                  <a:gd name="connsiteX23" fmla="*/ 1619076 w 1669410"/>
                  <a:gd name="connsiteY23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35854 w 1669410"/>
                  <a:gd name="connsiteY17" fmla="*/ 1510019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35854 w 1669410"/>
                  <a:gd name="connsiteY16" fmla="*/ 1140903 h 4848837"/>
                  <a:gd name="connsiteX17" fmla="*/ 1661021 w 1669410"/>
                  <a:gd name="connsiteY17" fmla="*/ 1442907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69410 w 1669410"/>
                  <a:gd name="connsiteY16" fmla="*/ 1149292 h 4848837"/>
                  <a:gd name="connsiteX17" fmla="*/ 1661021 w 1669410"/>
                  <a:gd name="connsiteY17" fmla="*/ 1442907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27465 w 1669410"/>
                  <a:gd name="connsiteY21" fmla="*/ 2256639 h 4848837"/>
                  <a:gd name="connsiteX22" fmla="*/ 1619076 w 1669410"/>
                  <a:gd name="connsiteY22" fmla="*/ 3338819 h 4848837"/>
                  <a:gd name="connsiteX0" fmla="*/ 1619076 w 1669410"/>
                  <a:gd name="connsiteY0" fmla="*/ 3338819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69410 w 1669410"/>
                  <a:gd name="connsiteY16" fmla="*/ 1149292 h 4848837"/>
                  <a:gd name="connsiteX17" fmla="*/ 1661021 w 1669410"/>
                  <a:gd name="connsiteY17" fmla="*/ 1442907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44243 w 1669410"/>
                  <a:gd name="connsiteY21" fmla="*/ 2290195 h 4848837"/>
                  <a:gd name="connsiteX22" fmla="*/ 1619076 w 1669410"/>
                  <a:gd name="connsiteY22" fmla="*/ 3338819 h 4848837"/>
                  <a:gd name="connsiteX0" fmla="*/ 1644243 w 1669410"/>
                  <a:gd name="connsiteY0" fmla="*/ 3313652 h 4848837"/>
                  <a:gd name="connsiteX1" fmla="*/ 1476463 w 1669410"/>
                  <a:gd name="connsiteY1" fmla="*/ 3196206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69410 w 1669410"/>
                  <a:gd name="connsiteY16" fmla="*/ 1149292 h 4848837"/>
                  <a:gd name="connsiteX17" fmla="*/ 1661021 w 1669410"/>
                  <a:gd name="connsiteY17" fmla="*/ 1442907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468074 w 1669410"/>
                  <a:gd name="connsiteY20" fmla="*/ 2399252 h 4848837"/>
                  <a:gd name="connsiteX21" fmla="*/ 1644243 w 1669410"/>
                  <a:gd name="connsiteY21" fmla="*/ 2290195 h 4848837"/>
                  <a:gd name="connsiteX22" fmla="*/ 1644243 w 1669410"/>
                  <a:gd name="connsiteY22" fmla="*/ 3313652 h 4848837"/>
                  <a:gd name="connsiteX0" fmla="*/ 1644243 w 1669410"/>
                  <a:gd name="connsiteY0" fmla="*/ 3313652 h 4848837"/>
                  <a:gd name="connsiteX1" fmla="*/ 1476463 w 1669410"/>
                  <a:gd name="connsiteY1" fmla="*/ 3196206 h 4848837"/>
                  <a:gd name="connsiteX2" fmla="*/ 1501630 w 1669410"/>
                  <a:gd name="connsiteY2" fmla="*/ 3145872 h 4848837"/>
                  <a:gd name="connsiteX3" fmla="*/ 1476463 w 1669410"/>
                  <a:gd name="connsiteY3" fmla="*/ 3003259 h 4848837"/>
                  <a:gd name="connsiteX4" fmla="*/ 1048624 w 1669410"/>
                  <a:gd name="connsiteY4" fmla="*/ 3003259 h 4848837"/>
                  <a:gd name="connsiteX5" fmla="*/ 335560 w 1669410"/>
                  <a:gd name="connsiteY5" fmla="*/ 4848837 h 4848837"/>
                  <a:gd name="connsiteX6" fmla="*/ 201336 w 1669410"/>
                  <a:gd name="connsiteY6" fmla="*/ 4362275 h 4848837"/>
                  <a:gd name="connsiteX7" fmla="*/ 629175 w 1669410"/>
                  <a:gd name="connsiteY7" fmla="*/ 3003259 h 4848837"/>
                  <a:gd name="connsiteX8" fmla="*/ 142613 w 1669410"/>
                  <a:gd name="connsiteY8" fmla="*/ 3003259 h 4848837"/>
                  <a:gd name="connsiteX9" fmla="*/ 0 w 1669410"/>
                  <a:gd name="connsiteY9" fmla="*/ 2843868 h 4848837"/>
                  <a:gd name="connsiteX10" fmla="*/ 134224 w 1669410"/>
                  <a:gd name="connsiteY10" fmla="*/ 2659310 h 4848837"/>
                  <a:gd name="connsiteX11" fmla="*/ 796955 w 1669410"/>
                  <a:gd name="connsiteY11" fmla="*/ 2659310 h 4848837"/>
                  <a:gd name="connsiteX12" fmla="*/ 1249960 w 1669410"/>
                  <a:gd name="connsiteY12" fmla="*/ 1342239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69410 w 1669410"/>
                  <a:gd name="connsiteY17" fmla="*/ 1149292 h 4848837"/>
                  <a:gd name="connsiteX18" fmla="*/ 1661021 w 1669410"/>
                  <a:gd name="connsiteY18" fmla="*/ 1442907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468074 w 1669410"/>
                  <a:gd name="connsiteY21" fmla="*/ 2399252 h 4848837"/>
                  <a:gd name="connsiteX22" fmla="*/ 1644243 w 1669410"/>
                  <a:gd name="connsiteY22" fmla="*/ 2290195 h 4848837"/>
                  <a:gd name="connsiteX23" fmla="*/ 1644243 w 1669410"/>
                  <a:gd name="connsiteY23" fmla="*/ 3313652 h 4848837"/>
                  <a:gd name="connsiteX0" fmla="*/ 1644243 w 1669410"/>
                  <a:gd name="connsiteY0" fmla="*/ 3313652 h 4848837"/>
                  <a:gd name="connsiteX1" fmla="*/ 1476463 w 1669410"/>
                  <a:gd name="connsiteY1" fmla="*/ 3196206 h 4848837"/>
                  <a:gd name="connsiteX2" fmla="*/ 1501630 w 1669410"/>
                  <a:gd name="connsiteY2" fmla="*/ 3145872 h 4848837"/>
                  <a:gd name="connsiteX3" fmla="*/ 1476463 w 1669410"/>
                  <a:gd name="connsiteY3" fmla="*/ 3003259 h 4848837"/>
                  <a:gd name="connsiteX4" fmla="*/ 1048624 w 1669410"/>
                  <a:gd name="connsiteY4" fmla="*/ 3003259 h 4848837"/>
                  <a:gd name="connsiteX5" fmla="*/ 335560 w 1669410"/>
                  <a:gd name="connsiteY5" fmla="*/ 4848837 h 4848837"/>
                  <a:gd name="connsiteX6" fmla="*/ 201336 w 1669410"/>
                  <a:gd name="connsiteY6" fmla="*/ 4362275 h 4848837"/>
                  <a:gd name="connsiteX7" fmla="*/ 629175 w 1669410"/>
                  <a:gd name="connsiteY7" fmla="*/ 3003259 h 4848837"/>
                  <a:gd name="connsiteX8" fmla="*/ 142613 w 1669410"/>
                  <a:gd name="connsiteY8" fmla="*/ 3003259 h 4848837"/>
                  <a:gd name="connsiteX9" fmla="*/ 0 w 1669410"/>
                  <a:gd name="connsiteY9" fmla="*/ 2843868 h 4848837"/>
                  <a:gd name="connsiteX10" fmla="*/ 134224 w 1669410"/>
                  <a:gd name="connsiteY10" fmla="*/ 2659310 h 4848837"/>
                  <a:gd name="connsiteX11" fmla="*/ 796955 w 1669410"/>
                  <a:gd name="connsiteY11" fmla="*/ 2659310 h 4848837"/>
                  <a:gd name="connsiteX12" fmla="*/ 1249960 w 1669410"/>
                  <a:gd name="connsiteY12" fmla="*/ 1342239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69410 w 1669410"/>
                  <a:gd name="connsiteY17" fmla="*/ 1149292 h 4848837"/>
                  <a:gd name="connsiteX18" fmla="*/ 1661021 w 1669410"/>
                  <a:gd name="connsiteY18" fmla="*/ 1442907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510019 w 1669410"/>
                  <a:gd name="connsiteY21" fmla="*/ 2399252 h 4848837"/>
                  <a:gd name="connsiteX22" fmla="*/ 1644243 w 1669410"/>
                  <a:gd name="connsiteY22" fmla="*/ 2290195 h 4848837"/>
                  <a:gd name="connsiteX23" fmla="*/ 1644243 w 1669410"/>
                  <a:gd name="connsiteY23" fmla="*/ 3313652 h 4848837"/>
                  <a:gd name="connsiteX0" fmla="*/ 1644243 w 1669410"/>
                  <a:gd name="connsiteY0" fmla="*/ 3313652 h 4848837"/>
                  <a:gd name="connsiteX1" fmla="*/ 1476463 w 1669410"/>
                  <a:gd name="connsiteY1" fmla="*/ 3196206 h 4848837"/>
                  <a:gd name="connsiteX2" fmla="*/ 1501630 w 1669410"/>
                  <a:gd name="connsiteY2" fmla="*/ 3145872 h 4848837"/>
                  <a:gd name="connsiteX3" fmla="*/ 1476463 w 1669410"/>
                  <a:gd name="connsiteY3" fmla="*/ 3003259 h 4848837"/>
                  <a:gd name="connsiteX4" fmla="*/ 1048624 w 1669410"/>
                  <a:gd name="connsiteY4" fmla="*/ 3003259 h 4848837"/>
                  <a:gd name="connsiteX5" fmla="*/ 335560 w 1669410"/>
                  <a:gd name="connsiteY5" fmla="*/ 4848837 h 4848837"/>
                  <a:gd name="connsiteX6" fmla="*/ 201336 w 1669410"/>
                  <a:gd name="connsiteY6" fmla="*/ 4362275 h 4848837"/>
                  <a:gd name="connsiteX7" fmla="*/ 629175 w 1669410"/>
                  <a:gd name="connsiteY7" fmla="*/ 3003259 h 4848837"/>
                  <a:gd name="connsiteX8" fmla="*/ 142613 w 1669410"/>
                  <a:gd name="connsiteY8" fmla="*/ 3003259 h 4848837"/>
                  <a:gd name="connsiteX9" fmla="*/ 0 w 1669410"/>
                  <a:gd name="connsiteY9" fmla="*/ 2843868 h 4848837"/>
                  <a:gd name="connsiteX10" fmla="*/ 134224 w 1669410"/>
                  <a:gd name="connsiteY10" fmla="*/ 2659310 h 4848837"/>
                  <a:gd name="connsiteX11" fmla="*/ 796955 w 1669410"/>
                  <a:gd name="connsiteY11" fmla="*/ 2659310 h 4848837"/>
                  <a:gd name="connsiteX12" fmla="*/ 1249960 w 1669410"/>
                  <a:gd name="connsiteY12" fmla="*/ 1342239 h 4848837"/>
                  <a:gd name="connsiteX13" fmla="*/ 1484852 w 1669410"/>
                  <a:gd name="connsiteY13" fmla="*/ 419450 h 4848837"/>
                  <a:gd name="connsiteX14" fmla="*/ 1484852 w 1669410"/>
                  <a:gd name="connsiteY14" fmla="*/ 184558 h 4848837"/>
                  <a:gd name="connsiteX15" fmla="*/ 1669410 w 1669410"/>
                  <a:gd name="connsiteY15" fmla="*/ 0 h 4848837"/>
                  <a:gd name="connsiteX16" fmla="*/ 1669410 w 1669410"/>
                  <a:gd name="connsiteY16" fmla="*/ 771787 h 4848837"/>
                  <a:gd name="connsiteX17" fmla="*/ 1669410 w 1669410"/>
                  <a:gd name="connsiteY17" fmla="*/ 1149292 h 4848837"/>
                  <a:gd name="connsiteX18" fmla="*/ 1661021 w 1669410"/>
                  <a:gd name="connsiteY18" fmla="*/ 1442907 h 4848837"/>
                  <a:gd name="connsiteX19" fmla="*/ 1199626 w 1669410"/>
                  <a:gd name="connsiteY19" fmla="*/ 2625754 h 4848837"/>
                  <a:gd name="connsiteX20" fmla="*/ 1468074 w 1669410"/>
                  <a:gd name="connsiteY20" fmla="*/ 2625754 h 4848837"/>
                  <a:gd name="connsiteX21" fmla="*/ 1644243 w 1669410"/>
                  <a:gd name="connsiteY21" fmla="*/ 2290195 h 4848837"/>
                  <a:gd name="connsiteX22" fmla="*/ 1644243 w 1669410"/>
                  <a:gd name="connsiteY22" fmla="*/ 3313652 h 4848837"/>
                  <a:gd name="connsiteX0" fmla="*/ 1644243 w 1669410"/>
                  <a:gd name="connsiteY0" fmla="*/ 3313652 h 4848837"/>
                  <a:gd name="connsiteX1" fmla="*/ 1501630 w 1669410"/>
                  <a:gd name="connsiteY1" fmla="*/ 3145872 h 4848837"/>
                  <a:gd name="connsiteX2" fmla="*/ 1476463 w 1669410"/>
                  <a:gd name="connsiteY2" fmla="*/ 3003259 h 4848837"/>
                  <a:gd name="connsiteX3" fmla="*/ 1048624 w 1669410"/>
                  <a:gd name="connsiteY3" fmla="*/ 3003259 h 4848837"/>
                  <a:gd name="connsiteX4" fmla="*/ 335560 w 1669410"/>
                  <a:gd name="connsiteY4" fmla="*/ 4848837 h 4848837"/>
                  <a:gd name="connsiteX5" fmla="*/ 201336 w 1669410"/>
                  <a:gd name="connsiteY5" fmla="*/ 4362275 h 4848837"/>
                  <a:gd name="connsiteX6" fmla="*/ 629175 w 1669410"/>
                  <a:gd name="connsiteY6" fmla="*/ 3003259 h 4848837"/>
                  <a:gd name="connsiteX7" fmla="*/ 142613 w 1669410"/>
                  <a:gd name="connsiteY7" fmla="*/ 3003259 h 4848837"/>
                  <a:gd name="connsiteX8" fmla="*/ 0 w 1669410"/>
                  <a:gd name="connsiteY8" fmla="*/ 2843868 h 4848837"/>
                  <a:gd name="connsiteX9" fmla="*/ 134224 w 1669410"/>
                  <a:gd name="connsiteY9" fmla="*/ 2659310 h 4848837"/>
                  <a:gd name="connsiteX10" fmla="*/ 796955 w 1669410"/>
                  <a:gd name="connsiteY10" fmla="*/ 2659310 h 4848837"/>
                  <a:gd name="connsiteX11" fmla="*/ 1249960 w 1669410"/>
                  <a:gd name="connsiteY11" fmla="*/ 1342239 h 4848837"/>
                  <a:gd name="connsiteX12" fmla="*/ 1484852 w 1669410"/>
                  <a:gd name="connsiteY12" fmla="*/ 419450 h 4848837"/>
                  <a:gd name="connsiteX13" fmla="*/ 1484852 w 1669410"/>
                  <a:gd name="connsiteY13" fmla="*/ 184558 h 4848837"/>
                  <a:gd name="connsiteX14" fmla="*/ 1669410 w 1669410"/>
                  <a:gd name="connsiteY14" fmla="*/ 0 h 4848837"/>
                  <a:gd name="connsiteX15" fmla="*/ 1669410 w 1669410"/>
                  <a:gd name="connsiteY15" fmla="*/ 771787 h 4848837"/>
                  <a:gd name="connsiteX16" fmla="*/ 1669410 w 1669410"/>
                  <a:gd name="connsiteY16" fmla="*/ 1149292 h 4848837"/>
                  <a:gd name="connsiteX17" fmla="*/ 1661021 w 1669410"/>
                  <a:gd name="connsiteY17" fmla="*/ 1442907 h 4848837"/>
                  <a:gd name="connsiteX18" fmla="*/ 1199626 w 1669410"/>
                  <a:gd name="connsiteY18" fmla="*/ 2625754 h 4848837"/>
                  <a:gd name="connsiteX19" fmla="*/ 1468074 w 1669410"/>
                  <a:gd name="connsiteY19" fmla="*/ 2625754 h 4848837"/>
                  <a:gd name="connsiteX20" fmla="*/ 1644243 w 1669410"/>
                  <a:gd name="connsiteY20" fmla="*/ 2290195 h 4848837"/>
                  <a:gd name="connsiteX21" fmla="*/ 1644243 w 1669410"/>
                  <a:gd name="connsiteY21" fmla="*/ 3313652 h 4848837"/>
                  <a:gd name="connsiteX0" fmla="*/ 1644243 w 1669410"/>
                  <a:gd name="connsiteY0" fmla="*/ 3313652 h 4848837"/>
                  <a:gd name="connsiteX1" fmla="*/ 1476463 w 1669410"/>
                  <a:gd name="connsiteY1" fmla="*/ 3003259 h 4848837"/>
                  <a:gd name="connsiteX2" fmla="*/ 1048624 w 1669410"/>
                  <a:gd name="connsiteY2" fmla="*/ 3003259 h 4848837"/>
                  <a:gd name="connsiteX3" fmla="*/ 335560 w 1669410"/>
                  <a:gd name="connsiteY3" fmla="*/ 4848837 h 4848837"/>
                  <a:gd name="connsiteX4" fmla="*/ 201336 w 1669410"/>
                  <a:gd name="connsiteY4" fmla="*/ 4362275 h 4848837"/>
                  <a:gd name="connsiteX5" fmla="*/ 629175 w 1669410"/>
                  <a:gd name="connsiteY5" fmla="*/ 3003259 h 4848837"/>
                  <a:gd name="connsiteX6" fmla="*/ 142613 w 1669410"/>
                  <a:gd name="connsiteY6" fmla="*/ 3003259 h 4848837"/>
                  <a:gd name="connsiteX7" fmla="*/ 0 w 1669410"/>
                  <a:gd name="connsiteY7" fmla="*/ 2843868 h 4848837"/>
                  <a:gd name="connsiteX8" fmla="*/ 134224 w 1669410"/>
                  <a:gd name="connsiteY8" fmla="*/ 2659310 h 4848837"/>
                  <a:gd name="connsiteX9" fmla="*/ 796955 w 1669410"/>
                  <a:gd name="connsiteY9" fmla="*/ 2659310 h 4848837"/>
                  <a:gd name="connsiteX10" fmla="*/ 1249960 w 1669410"/>
                  <a:gd name="connsiteY10" fmla="*/ 1342239 h 4848837"/>
                  <a:gd name="connsiteX11" fmla="*/ 1484852 w 1669410"/>
                  <a:gd name="connsiteY11" fmla="*/ 419450 h 4848837"/>
                  <a:gd name="connsiteX12" fmla="*/ 1484852 w 1669410"/>
                  <a:gd name="connsiteY12" fmla="*/ 184558 h 4848837"/>
                  <a:gd name="connsiteX13" fmla="*/ 1669410 w 1669410"/>
                  <a:gd name="connsiteY13" fmla="*/ 0 h 4848837"/>
                  <a:gd name="connsiteX14" fmla="*/ 1669410 w 1669410"/>
                  <a:gd name="connsiteY14" fmla="*/ 771787 h 4848837"/>
                  <a:gd name="connsiteX15" fmla="*/ 1669410 w 1669410"/>
                  <a:gd name="connsiteY15" fmla="*/ 1149292 h 4848837"/>
                  <a:gd name="connsiteX16" fmla="*/ 1661021 w 1669410"/>
                  <a:gd name="connsiteY16" fmla="*/ 1442907 h 4848837"/>
                  <a:gd name="connsiteX17" fmla="*/ 1199626 w 1669410"/>
                  <a:gd name="connsiteY17" fmla="*/ 2625754 h 4848837"/>
                  <a:gd name="connsiteX18" fmla="*/ 1468074 w 1669410"/>
                  <a:gd name="connsiteY18" fmla="*/ 2625754 h 4848837"/>
                  <a:gd name="connsiteX19" fmla="*/ 1644243 w 1669410"/>
                  <a:gd name="connsiteY19" fmla="*/ 2290195 h 4848837"/>
                  <a:gd name="connsiteX20" fmla="*/ 1644243 w 1669410"/>
                  <a:gd name="connsiteY20" fmla="*/ 3313652 h 4848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669410" h="4848837">
                    <a:moveTo>
                      <a:pt x="1644243" y="3313652"/>
                    </a:moveTo>
                    <a:lnTo>
                      <a:pt x="1476463" y="3003259"/>
                    </a:lnTo>
                    <a:lnTo>
                      <a:pt x="1048624" y="3003259"/>
                    </a:lnTo>
                    <a:lnTo>
                      <a:pt x="335560" y="4848837"/>
                    </a:lnTo>
                    <a:lnTo>
                      <a:pt x="201336" y="4362275"/>
                    </a:lnTo>
                    <a:lnTo>
                      <a:pt x="629175" y="3003259"/>
                    </a:lnTo>
                    <a:lnTo>
                      <a:pt x="142613" y="3003259"/>
                    </a:lnTo>
                    <a:lnTo>
                      <a:pt x="0" y="2843868"/>
                    </a:lnTo>
                    <a:lnTo>
                      <a:pt x="134224" y="2659310"/>
                    </a:lnTo>
                    <a:lnTo>
                      <a:pt x="796955" y="2659310"/>
                    </a:lnTo>
                    <a:lnTo>
                      <a:pt x="1249960" y="1342239"/>
                    </a:lnTo>
                    <a:cubicBezTo>
                      <a:pt x="928382" y="809538"/>
                      <a:pt x="1252756" y="511729"/>
                      <a:pt x="1484852" y="419450"/>
                    </a:cubicBezTo>
                    <a:lnTo>
                      <a:pt x="1484852" y="184558"/>
                    </a:lnTo>
                    <a:lnTo>
                      <a:pt x="1669410" y="0"/>
                    </a:lnTo>
                    <a:lnTo>
                      <a:pt x="1669410" y="771787"/>
                    </a:lnTo>
                    <a:cubicBezTo>
                      <a:pt x="1414944" y="794158"/>
                      <a:pt x="1496037" y="1084976"/>
                      <a:pt x="1669410" y="1149292"/>
                    </a:cubicBezTo>
                    <a:lnTo>
                      <a:pt x="1661021" y="1442907"/>
                    </a:lnTo>
                    <a:lnTo>
                      <a:pt x="1199626" y="2625754"/>
                    </a:lnTo>
                    <a:lnTo>
                      <a:pt x="1468074" y="2625754"/>
                    </a:lnTo>
                    <a:lnTo>
                      <a:pt x="1644243" y="2290195"/>
                    </a:lnTo>
                    <a:cubicBezTo>
                      <a:pt x="1641447" y="2650922"/>
                      <a:pt x="1647039" y="2952925"/>
                      <a:pt x="1644243" y="331365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6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04" name="5-Point Star 168"/>
          <p:cNvSpPr/>
          <p:nvPr/>
        </p:nvSpPr>
        <p:spPr bwMode="auto">
          <a:xfrm>
            <a:off x="3750147" y="2906202"/>
            <a:ext cx="131902" cy="130405"/>
          </a:xfrm>
          <a:prstGeom prst="star5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700"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05" name="5-Point Star 154"/>
          <p:cNvSpPr/>
          <p:nvPr/>
        </p:nvSpPr>
        <p:spPr bwMode="auto">
          <a:xfrm>
            <a:off x="3131068" y="4390746"/>
            <a:ext cx="175455" cy="176202"/>
          </a:xfrm>
          <a:prstGeom prst="star5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700"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48" name="TextBox 347"/>
          <p:cNvSpPr txBox="1"/>
          <p:nvPr/>
        </p:nvSpPr>
        <p:spPr>
          <a:xfrm>
            <a:off x="4385340" y="3261914"/>
            <a:ext cx="1009892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Chakothi</a:t>
            </a:r>
            <a:r>
              <a:rPr lang="en-US" sz="7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-Hattian </a:t>
            </a:r>
            <a:r>
              <a:rPr lang="en-US" sz="600" b="1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500MW</a:t>
            </a:r>
            <a:endParaRPr lang="en-US" sz="600" b="1" i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76" name="Freeform 18"/>
          <p:cNvSpPr/>
          <p:nvPr/>
        </p:nvSpPr>
        <p:spPr bwMode="auto">
          <a:xfrm>
            <a:off x="4065817" y="4206261"/>
            <a:ext cx="491024" cy="85667"/>
          </a:xfrm>
          <a:custGeom>
            <a:avLst/>
            <a:gdLst>
              <a:gd name="connsiteX0" fmla="*/ 0 w 809625"/>
              <a:gd name="connsiteY0" fmla="*/ 95250 h 142875"/>
              <a:gd name="connsiteX1" fmla="*/ 142875 w 809625"/>
              <a:gd name="connsiteY1" fmla="*/ 38100 h 142875"/>
              <a:gd name="connsiteX2" fmla="*/ 266700 w 809625"/>
              <a:gd name="connsiteY2" fmla="*/ 123825 h 142875"/>
              <a:gd name="connsiteX3" fmla="*/ 485775 w 809625"/>
              <a:gd name="connsiteY3" fmla="*/ 142875 h 142875"/>
              <a:gd name="connsiteX4" fmla="*/ 609600 w 809625"/>
              <a:gd name="connsiteY4" fmla="*/ 104775 h 142875"/>
              <a:gd name="connsiteX5" fmla="*/ 695325 w 809625"/>
              <a:gd name="connsiteY5" fmla="*/ 9525 h 142875"/>
              <a:gd name="connsiteX6" fmla="*/ 809625 w 809625"/>
              <a:gd name="connsiteY6" fmla="*/ 0 h 14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9625" h="142875">
                <a:moveTo>
                  <a:pt x="0" y="95250"/>
                </a:moveTo>
                <a:lnTo>
                  <a:pt x="142875" y="38100"/>
                </a:lnTo>
                <a:lnTo>
                  <a:pt x="266700" y="123825"/>
                </a:lnTo>
                <a:lnTo>
                  <a:pt x="485775" y="142875"/>
                </a:lnTo>
                <a:lnTo>
                  <a:pt x="609600" y="104775"/>
                </a:lnTo>
                <a:lnTo>
                  <a:pt x="695325" y="9525"/>
                </a:lnTo>
                <a:lnTo>
                  <a:pt x="809625" y="0"/>
                </a:lnTo>
              </a:path>
            </a:pathLst>
          </a:custGeom>
          <a:noFill/>
          <a:ln w="19050">
            <a:solidFill>
              <a:srgbClr val="3861BE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7" name="Oval 468"/>
          <p:cNvSpPr/>
          <p:nvPr/>
        </p:nvSpPr>
        <p:spPr bwMode="auto">
          <a:xfrm>
            <a:off x="4022904" y="5111247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78" name="Freeform 469"/>
          <p:cNvSpPr/>
          <p:nvPr/>
        </p:nvSpPr>
        <p:spPr bwMode="auto">
          <a:xfrm>
            <a:off x="4049709" y="5121199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79" name="Freeform 470"/>
          <p:cNvSpPr/>
          <p:nvPr/>
        </p:nvSpPr>
        <p:spPr bwMode="auto">
          <a:xfrm flipH="1">
            <a:off x="4079948" y="5121199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80" name="Oval 465"/>
          <p:cNvSpPr/>
          <p:nvPr/>
        </p:nvSpPr>
        <p:spPr bwMode="auto">
          <a:xfrm>
            <a:off x="4115333" y="5333981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81" name="Oval 459"/>
          <p:cNvSpPr/>
          <p:nvPr/>
        </p:nvSpPr>
        <p:spPr bwMode="auto">
          <a:xfrm>
            <a:off x="4560143" y="4997023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82" name="Freeform 460"/>
          <p:cNvSpPr/>
          <p:nvPr/>
        </p:nvSpPr>
        <p:spPr bwMode="auto">
          <a:xfrm>
            <a:off x="4586949" y="5006976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83" name="Freeform 461"/>
          <p:cNvSpPr/>
          <p:nvPr/>
        </p:nvSpPr>
        <p:spPr bwMode="auto">
          <a:xfrm flipH="1">
            <a:off x="4617185" y="5006976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84" name="Oval 456"/>
          <p:cNvSpPr/>
          <p:nvPr/>
        </p:nvSpPr>
        <p:spPr bwMode="auto">
          <a:xfrm>
            <a:off x="4623688" y="4848532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85" name="Freeform 457"/>
          <p:cNvSpPr/>
          <p:nvPr/>
        </p:nvSpPr>
        <p:spPr bwMode="auto">
          <a:xfrm>
            <a:off x="4650494" y="4858487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86" name="Freeform 458"/>
          <p:cNvSpPr/>
          <p:nvPr/>
        </p:nvSpPr>
        <p:spPr bwMode="auto">
          <a:xfrm flipH="1">
            <a:off x="4680731" y="4858487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87" name="Oval 453"/>
          <p:cNvSpPr/>
          <p:nvPr/>
        </p:nvSpPr>
        <p:spPr bwMode="auto">
          <a:xfrm>
            <a:off x="4733446" y="4665771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88" name="Freeform 454"/>
          <p:cNvSpPr/>
          <p:nvPr/>
        </p:nvSpPr>
        <p:spPr bwMode="auto">
          <a:xfrm>
            <a:off x="4760252" y="4675729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89" name="Freeform 455"/>
          <p:cNvSpPr/>
          <p:nvPr/>
        </p:nvSpPr>
        <p:spPr bwMode="auto">
          <a:xfrm flipH="1">
            <a:off x="4790489" y="4675729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90" name="Oval 450"/>
          <p:cNvSpPr/>
          <p:nvPr/>
        </p:nvSpPr>
        <p:spPr bwMode="auto">
          <a:xfrm>
            <a:off x="4375287" y="4231721"/>
            <a:ext cx="114396" cy="113097"/>
          </a:xfrm>
          <a:prstGeom prst="ellipse">
            <a:avLst/>
          </a:prstGeom>
          <a:solidFill>
            <a:srgbClr val="21538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91" name="Freeform 451"/>
          <p:cNvSpPr/>
          <p:nvPr/>
        </p:nvSpPr>
        <p:spPr bwMode="auto">
          <a:xfrm>
            <a:off x="4402093" y="4241679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92" name="Freeform 452"/>
          <p:cNvSpPr/>
          <p:nvPr/>
        </p:nvSpPr>
        <p:spPr bwMode="auto">
          <a:xfrm flipH="1">
            <a:off x="4432330" y="4241679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93" name="TextBox 392"/>
          <p:cNvSpPr txBox="1"/>
          <p:nvPr/>
        </p:nvSpPr>
        <p:spPr>
          <a:xfrm>
            <a:off x="3541361" y="5365495"/>
            <a:ext cx="549672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arot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720MW</a:t>
            </a:r>
          </a:p>
        </p:txBody>
      </p:sp>
      <p:sp>
        <p:nvSpPr>
          <p:cNvPr id="394" name="TextBox 393"/>
          <p:cNvSpPr txBox="1"/>
          <p:nvPr/>
        </p:nvSpPr>
        <p:spPr>
          <a:xfrm>
            <a:off x="4286602" y="4899045"/>
            <a:ext cx="278187" cy="2091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otli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/>
            </a:r>
            <a:b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</a:br>
            <a:r>
              <a:rPr lang="en-US" sz="600" b="1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00MW</a:t>
            </a:r>
            <a:endParaRPr lang="en-US" sz="600" b="1" i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395" name="TextBox 394"/>
          <p:cNvSpPr txBox="1"/>
          <p:nvPr/>
        </p:nvSpPr>
        <p:spPr>
          <a:xfrm>
            <a:off x="4426253" y="4497081"/>
            <a:ext cx="564754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Sehra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130MW</a:t>
            </a:r>
          </a:p>
        </p:txBody>
      </p:sp>
      <p:sp>
        <p:nvSpPr>
          <p:cNvPr id="396" name="TextBox 395"/>
          <p:cNvSpPr txBox="1"/>
          <p:nvPr/>
        </p:nvSpPr>
        <p:spPr>
          <a:xfrm>
            <a:off x="4504416" y="4230943"/>
            <a:ext cx="635139" cy="11261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Harighel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53MW</a:t>
            </a:r>
          </a:p>
        </p:txBody>
      </p:sp>
      <p:sp>
        <p:nvSpPr>
          <p:cNvPr id="397" name="TextBox 396"/>
          <p:cNvSpPr txBox="1"/>
          <p:nvPr/>
        </p:nvSpPr>
        <p:spPr>
          <a:xfrm>
            <a:off x="4754581" y="4792005"/>
            <a:ext cx="523028" cy="15685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atinLnBrk="0">
              <a:lnSpc>
                <a:spcPct val="75000"/>
              </a:lnSpc>
            </a:pPr>
            <a:r>
              <a:rPr lang="en-US" altLang="ko-KR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Dakhari</a:t>
            </a:r>
            <a:endParaRPr lang="en-US" altLang="ko-KR" sz="7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75000"/>
              </a:lnSpc>
            </a:pP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2MW</a:t>
            </a:r>
          </a:p>
        </p:txBody>
      </p:sp>
      <p:sp>
        <p:nvSpPr>
          <p:cNvPr id="398" name="Oval 573"/>
          <p:cNvSpPr/>
          <p:nvPr/>
        </p:nvSpPr>
        <p:spPr bwMode="auto">
          <a:xfrm>
            <a:off x="4073254" y="4798038"/>
            <a:ext cx="114396" cy="113097"/>
          </a:xfrm>
          <a:prstGeom prst="ellipse">
            <a:avLst/>
          </a:prstGeom>
          <a:solidFill>
            <a:srgbClr val="007A1D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grpSp>
        <p:nvGrpSpPr>
          <p:cNvPr id="427" name="그룹 426"/>
          <p:cNvGrpSpPr/>
          <p:nvPr/>
        </p:nvGrpSpPr>
        <p:grpSpPr>
          <a:xfrm>
            <a:off x="4084787" y="4819604"/>
            <a:ext cx="77775" cy="76819"/>
            <a:chOff x="4084787" y="4819604"/>
            <a:chExt cx="77775" cy="76819"/>
          </a:xfrm>
        </p:grpSpPr>
        <p:sp>
          <p:nvSpPr>
            <p:cNvPr id="400" name="Oval 575"/>
            <p:cNvSpPr/>
            <p:nvPr/>
          </p:nvSpPr>
          <p:spPr>
            <a:xfrm>
              <a:off x="4108054" y="4819604"/>
              <a:ext cx="54508" cy="5388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1" name="Freeform 576"/>
            <p:cNvSpPr/>
            <p:nvPr/>
          </p:nvSpPr>
          <p:spPr>
            <a:xfrm>
              <a:off x="4084787" y="4864111"/>
              <a:ext cx="33158" cy="32312"/>
            </a:xfrm>
            <a:custGeom>
              <a:avLst/>
              <a:gdLst>
                <a:gd name="connsiteX0" fmla="*/ 3674533 w 3683000"/>
                <a:gd name="connsiteY0" fmla="*/ 143933 h 4038600"/>
                <a:gd name="connsiteX1" fmla="*/ 2057400 w 3683000"/>
                <a:gd name="connsiteY1" fmla="*/ 0 h 4038600"/>
                <a:gd name="connsiteX2" fmla="*/ 1625600 w 3683000"/>
                <a:gd name="connsiteY2" fmla="*/ 2269067 h 4038600"/>
                <a:gd name="connsiteX3" fmla="*/ 1176866 w 3683000"/>
                <a:gd name="connsiteY3" fmla="*/ 2463800 h 4038600"/>
                <a:gd name="connsiteX4" fmla="*/ 0 w 3683000"/>
                <a:gd name="connsiteY4" fmla="*/ 3623733 h 4038600"/>
                <a:gd name="connsiteX5" fmla="*/ 372533 w 3683000"/>
                <a:gd name="connsiteY5" fmla="*/ 4038600 h 4038600"/>
                <a:gd name="connsiteX6" fmla="*/ 1574800 w 3683000"/>
                <a:gd name="connsiteY6" fmla="*/ 2887133 h 4038600"/>
                <a:gd name="connsiteX7" fmla="*/ 1794933 w 3683000"/>
                <a:gd name="connsiteY7" fmla="*/ 2429933 h 4038600"/>
                <a:gd name="connsiteX8" fmla="*/ 3683000 w 3683000"/>
                <a:gd name="connsiteY8" fmla="*/ 2455333 h 4038600"/>
                <a:gd name="connsiteX9" fmla="*/ 3674533 w 3683000"/>
                <a:gd name="connsiteY9" fmla="*/ 143933 h 4038600"/>
                <a:gd name="connsiteX0" fmla="*/ 3674533 w 3683000"/>
                <a:gd name="connsiteY0" fmla="*/ 251257 h 4145924"/>
                <a:gd name="connsiteX1" fmla="*/ 2057400 w 3683000"/>
                <a:gd name="connsiteY1" fmla="*/ 107324 h 4145924"/>
                <a:gd name="connsiteX2" fmla="*/ 1625600 w 3683000"/>
                <a:gd name="connsiteY2" fmla="*/ 2376391 h 4145924"/>
                <a:gd name="connsiteX3" fmla="*/ 1176866 w 3683000"/>
                <a:gd name="connsiteY3" fmla="*/ 2571124 h 4145924"/>
                <a:gd name="connsiteX4" fmla="*/ 0 w 3683000"/>
                <a:gd name="connsiteY4" fmla="*/ 3731057 h 4145924"/>
                <a:gd name="connsiteX5" fmla="*/ 372533 w 3683000"/>
                <a:gd name="connsiteY5" fmla="*/ 4145924 h 4145924"/>
                <a:gd name="connsiteX6" fmla="*/ 1574800 w 3683000"/>
                <a:gd name="connsiteY6" fmla="*/ 2994457 h 4145924"/>
                <a:gd name="connsiteX7" fmla="*/ 1794933 w 3683000"/>
                <a:gd name="connsiteY7" fmla="*/ 2537257 h 4145924"/>
                <a:gd name="connsiteX8" fmla="*/ 3683000 w 3683000"/>
                <a:gd name="connsiteY8" fmla="*/ 2562657 h 4145924"/>
                <a:gd name="connsiteX9" fmla="*/ 3674533 w 3683000"/>
                <a:gd name="connsiteY9" fmla="*/ 251257 h 4145924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320625 h 4215292"/>
                <a:gd name="connsiteX1" fmla="*/ 2057400 w 3683000"/>
                <a:gd name="connsiteY1" fmla="*/ 176692 h 4215292"/>
                <a:gd name="connsiteX2" fmla="*/ 1625600 w 3683000"/>
                <a:gd name="connsiteY2" fmla="*/ 2445759 h 4215292"/>
                <a:gd name="connsiteX3" fmla="*/ 1176866 w 3683000"/>
                <a:gd name="connsiteY3" fmla="*/ 2640492 h 4215292"/>
                <a:gd name="connsiteX4" fmla="*/ 0 w 3683000"/>
                <a:gd name="connsiteY4" fmla="*/ 3800425 h 4215292"/>
                <a:gd name="connsiteX5" fmla="*/ 372533 w 3683000"/>
                <a:gd name="connsiteY5" fmla="*/ 4215292 h 4215292"/>
                <a:gd name="connsiteX6" fmla="*/ 1574800 w 3683000"/>
                <a:gd name="connsiteY6" fmla="*/ 3063825 h 4215292"/>
                <a:gd name="connsiteX7" fmla="*/ 1794933 w 3683000"/>
                <a:gd name="connsiteY7" fmla="*/ 2606625 h 4215292"/>
                <a:gd name="connsiteX8" fmla="*/ 3683000 w 3683000"/>
                <a:gd name="connsiteY8" fmla="*/ 2632025 h 4215292"/>
                <a:gd name="connsiteX9" fmla="*/ 3674533 w 3683000"/>
                <a:gd name="connsiteY9" fmla="*/ 320625 h 4215292"/>
                <a:gd name="connsiteX0" fmla="*/ 3674533 w 3683000"/>
                <a:gd name="connsiteY0" fmla="*/ 404 h 3895071"/>
                <a:gd name="connsiteX1" fmla="*/ 1625600 w 3683000"/>
                <a:gd name="connsiteY1" fmla="*/ 2125538 h 3895071"/>
                <a:gd name="connsiteX2" fmla="*/ 1176866 w 3683000"/>
                <a:gd name="connsiteY2" fmla="*/ 2320271 h 3895071"/>
                <a:gd name="connsiteX3" fmla="*/ 0 w 3683000"/>
                <a:gd name="connsiteY3" fmla="*/ 3480204 h 3895071"/>
                <a:gd name="connsiteX4" fmla="*/ 372533 w 3683000"/>
                <a:gd name="connsiteY4" fmla="*/ 3895071 h 3895071"/>
                <a:gd name="connsiteX5" fmla="*/ 1574800 w 3683000"/>
                <a:gd name="connsiteY5" fmla="*/ 2743604 h 3895071"/>
                <a:gd name="connsiteX6" fmla="*/ 1794933 w 3683000"/>
                <a:gd name="connsiteY6" fmla="*/ 2286404 h 3895071"/>
                <a:gd name="connsiteX7" fmla="*/ 3683000 w 3683000"/>
                <a:gd name="connsiteY7" fmla="*/ 2311804 h 3895071"/>
                <a:gd name="connsiteX8" fmla="*/ 3674533 w 3683000"/>
                <a:gd name="connsiteY8" fmla="*/ 404 h 3895071"/>
                <a:gd name="connsiteX0" fmla="*/ 3683000 w 3683000"/>
                <a:gd name="connsiteY0" fmla="*/ 186276 h 1769543"/>
                <a:gd name="connsiteX1" fmla="*/ 1625600 w 3683000"/>
                <a:gd name="connsiteY1" fmla="*/ 10 h 1769543"/>
                <a:gd name="connsiteX2" fmla="*/ 1176866 w 3683000"/>
                <a:gd name="connsiteY2" fmla="*/ 194743 h 1769543"/>
                <a:gd name="connsiteX3" fmla="*/ 0 w 3683000"/>
                <a:gd name="connsiteY3" fmla="*/ 1354676 h 1769543"/>
                <a:gd name="connsiteX4" fmla="*/ 372533 w 3683000"/>
                <a:gd name="connsiteY4" fmla="*/ 1769543 h 1769543"/>
                <a:gd name="connsiteX5" fmla="*/ 1574800 w 3683000"/>
                <a:gd name="connsiteY5" fmla="*/ 618076 h 1769543"/>
                <a:gd name="connsiteX6" fmla="*/ 1794933 w 3683000"/>
                <a:gd name="connsiteY6" fmla="*/ 160876 h 1769543"/>
                <a:gd name="connsiteX7" fmla="*/ 3683000 w 3683000"/>
                <a:gd name="connsiteY7" fmla="*/ 186276 h 1769543"/>
                <a:gd name="connsiteX0" fmla="*/ 1794933 w 1795586"/>
                <a:gd name="connsiteY0" fmla="*/ 161213 h 1769880"/>
                <a:gd name="connsiteX1" fmla="*/ 1625600 w 1795586"/>
                <a:gd name="connsiteY1" fmla="*/ 347 h 1769880"/>
                <a:gd name="connsiteX2" fmla="*/ 1176866 w 1795586"/>
                <a:gd name="connsiteY2" fmla="*/ 195080 h 1769880"/>
                <a:gd name="connsiteX3" fmla="*/ 0 w 1795586"/>
                <a:gd name="connsiteY3" fmla="*/ 1355013 h 1769880"/>
                <a:gd name="connsiteX4" fmla="*/ 372533 w 1795586"/>
                <a:gd name="connsiteY4" fmla="*/ 1769880 h 1769880"/>
                <a:gd name="connsiteX5" fmla="*/ 1574800 w 1795586"/>
                <a:gd name="connsiteY5" fmla="*/ 618413 h 1769880"/>
                <a:gd name="connsiteX6" fmla="*/ 1794933 w 1795586"/>
                <a:gd name="connsiteY6" fmla="*/ 161213 h 176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95586" h="1769880">
                  <a:moveTo>
                    <a:pt x="1794933" y="161213"/>
                  </a:moveTo>
                  <a:cubicBezTo>
                    <a:pt x="1803400" y="58202"/>
                    <a:pt x="1728611" y="-5297"/>
                    <a:pt x="1625600" y="347"/>
                  </a:cubicBezTo>
                  <a:lnTo>
                    <a:pt x="1176866" y="195080"/>
                  </a:lnTo>
                  <a:lnTo>
                    <a:pt x="0" y="1355013"/>
                  </a:lnTo>
                  <a:lnTo>
                    <a:pt x="372533" y="1769880"/>
                  </a:lnTo>
                  <a:lnTo>
                    <a:pt x="1574800" y="618413"/>
                  </a:lnTo>
                  <a:lnTo>
                    <a:pt x="1794933" y="161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2" name="Oval 577"/>
            <p:cNvSpPr/>
            <p:nvPr/>
          </p:nvSpPr>
          <p:spPr>
            <a:xfrm>
              <a:off x="4116687" y="4828139"/>
              <a:ext cx="37242" cy="36819"/>
            </a:xfrm>
            <a:prstGeom prst="ellipse">
              <a:avLst/>
            </a:prstGeom>
            <a:solidFill>
              <a:srgbClr val="007A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3" name="TextBox 402"/>
          <p:cNvSpPr txBox="1"/>
          <p:nvPr/>
        </p:nvSpPr>
        <p:spPr>
          <a:xfrm>
            <a:off x="3523509" y="4782521"/>
            <a:ext cx="519507" cy="1126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latinLnBrk="0"/>
            <a:r>
              <a:rPr lang="en-US" sz="7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Mahl</a:t>
            </a:r>
            <a:r>
              <a:rPr lang="en-US" sz="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 </a:t>
            </a:r>
            <a:r>
              <a:rPr lang="en-US" sz="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600MW</a:t>
            </a:r>
          </a:p>
        </p:txBody>
      </p:sp>
      <p:sp>
        <p:nvSpPr>
          <p:cNvPr id="405" name="Freeform 469"/>
          <p:cNvSpPr/>
          <p:nvPr/>
        </p:nvSpPr>
        <p:spPr bwMode="auto">
          <a:xfrm>
            <a:off x="4140196" y="5347418"/>
            <a:ext cx="31127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196206 h 4848837"/>
              <a:gd name="connsiteX3" fmla="*/ 1501630 w 1669410"/>
              <a:gd name="connsiteY3" fmla="*/ 3145872 h 4848837"/>
              <a:gd name="connsiteX4" fmla="*/ 1476463 w 1669410"/>
              <a:gd name="connsiteY4" fmla="*/ 3003259 h 4848837"/>
              <a:gd name="connsiteX5" fmla="*/ 1048624 w 1669410"/>
              <a:gd name="connsiteY5" fmla="*/ 3003259 h 4848837"/>
              <a:gd name="connsiteX6" fmla="*/ 335560 w 1669410"/>
              <a:gd name="connsiteY6" fmla="*/ 4848837 h 4848837"/>
              <a:gd name="connsiteX7" fmla="*/ 201336 w 1669410"/>
              <a:gd name="connsiteY7" fmla="*/ 4362275 h 4848837"/>
              <a:gd name="connsiteX8" fmla="*/ 629175 w 1669410"/>
              <a:gd name="connsiteY8" fmla="*/ 3003259 h 4848837"/>
              <a:gd name="connsiteX9" fmla="*/ 142613 w 1669410"/>
              <a:gd name="connsiteY9" fmla="*/ 3003259 h 4848837"/>
              <a:gd name="connsiteX10" fmla="*/ 0 w 1669410"/>
              <a:gd name="connsiteY10" fmla="*/ 2843868 h 4848837"/>
              <a:gd name="connsiteX11" fmla="*/ 134224 w 1669410"/>
              <a:gd name="connsiteY11" fmla="*/ 2659310 h 4848837"/>
              <a:gd name="connsiteX12" fmla="*/ 796955 w 1669410"/>
              <a:gd name="connsiteY12" fmla="*/ 2659310 h 4848837"/>
              <a:gd name="connsiteX13" fmla="*/ 1249960 w 1669410"/>
              <a:gd name="connsiteY13" fmla="*/ 1342239 h 4848837"/>
              <a:gd name="connsiteX14" fmla="*/ 1484852 w 1669410"/>
              <a:gd name="connsiteY14" fmla="*/ 419450 h 4848837"/>
              <a:gd name="connsiteX15" fmla="*/ 1484852 w 1669410"/>
              <a:gd name="connsiteY15" fmla="*/ 184558 h 4848837"/>
              <a:gd name="connsiteX16" fmla="*/ 1669410 w 1669410"/>
              <a:gd name="connsiteY16" fmla="*/ 0 h 4848837"/>
              <a:gd name="connsiteX17" fmla="*/ 1669410 w 1669410"/>
              <a:gd name="connsiteY17" fmla="*/ 771787 h 4848837"/>
              <a:gd name="connsiteX18" fmla="*/ 1669410 w 1669410"/>
              <a:gd name="connsiteY18" fmla="*/ 1149292 h 4848837"/>
              <a:gd name="connsiteX19" fmla="*/ 1661021 w 1669410"/>
              <a:gd name="connsiteY19" fmla="*/ 1442907 h 4848837"/>
              <a:gd name="connsiteX20" fmla="*/ 1199626 w 1669410"/>
              <a:gd name="connsiteY20" fmla="*/ 2625754 h 4848837"/>
              <a:gd name="connsiteX21" fmla="*/ 1468074 w 1669410"/>
              <a:gd name="connsiteY21" fmla="*/ 2625754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45260 w 1669410"/>
              <a:gd name="connsiteY1" fmla="*/ 3224029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  <a:gd name="connsiteX0" fmla="*/ 1700428 w 1700520"/>
              <a:gd name="connsiteY0" fmla="*/ 3313654 h 4848837"/>
              <a:gd name="connsiteX1" fmla="*/ 1476463 w 1700520"/>
              <a:gd name="connsiteY1" fmla="*/ 3003259 h 4848837"/>
              <a:gd name="connsiteX2" fmla="*/ 1048624 w 1700520"/>
              <a:gd name="connsiteY2" fmla="*/ 3003259 h 4848837"/>
              <a:gd name="connsiteX3" fmla="*/ 335560 w 1700520"/>
              <a:gd name="connsiteY3" fmla="*/ 4848837 h 4848837"/>
              <a:gd name="connsiteX4" fmla="*/ 201336 w 1700520"/>
              <a:gd name="connsiteY4" fmla="*/ 4362275 h 4848837"/>
              <a:gd name="connsiteX5" fmla="*/ 629175 w 1700520"/>
              <a:gd name="connsiteY5" fmla="*/ 3003259 h 4848837"/>
              <a:gd name="connsiteX6" fmla="*/ 142613 w 1700520"/>
              <a:gd name="connsiteY6" fmla="*/ 3003259 h 4848837"/>
              <a:gd name="connsiteX7" fmla="*/ 0 w 1700520"/>
              <a:gd name="connsiteY7" fmla="*/ 2843868 h 4848837"/>
              <a:gd name="connsiteX8" fmla="*/ 134224 w 1700520"/>
              <a:gd name="connsiteY8" fmla="*/ 2659310 h 4848837"/>
              <a:gd name="connsiteX9" fmla="*/ 796955 w 1700520"/>
              <a:gd name="connsiteY9" fmla="*/ 2659310 h 4848837"/>
              <a:gd name="connsiteX10" fmla="*/ 1249960 w 1700520"/>
              <a:gd name="connsiteY10" fmla="*/ 1342239 h 4848837"/>
              <a:gd name="connsiteX11" fmla="*/ 1484852 w 1700520"/>
              <a:gd name="connsiteY11" fmla="*/ 419450 h 4848837"/>
              <a:gd name="connsiteX12" fmla="*/ 1484852 w 1700520"/>
              <a:gd name="connsiteY12" fmla="*/ 184558 h 4848837"/>
              <a:gd name="connsiteX13" fmla="*/ 1669410 w 1700520"/>
              <a:gd name="connsiteY13" fmla="*/ 0 h 4848837"/>
              <a:gd name="connsiteX14" fmla="*/ 1669410 w 1700520"/>
              <a:gd name="connsiteY14" fmla="*/ 771787 h 4848837"/>
              <a:gd name="connsiteX15" fmla="*/ 1669410 w 1700520"/>
              <a:gd name="connsiteY15" fmla="*/ 1149292 h 4848837"/>
              <a:gd name="connsiteX16" fmla="*/ 1661021 w 1700520"/>
              <a:gd name="connsiteY16" fmla="*/ 1442907 h 4848837"/>
              <a:gd name="connsiteX17" fmla="*/ 1199626 w 1700520"/>
              <a:gd name="connsiteY17" fmla="*/ 2625754 h 4848837"/>
              <a:gd name="connsiteX18" fmla="*/ 1468074 w 1700520"/>
              <a:gd name="connsiteY18" fmla="*/ 2625754 h 4848837"/>
              <a:gd name="connsiteX19" fmla="*/ 1644243 w 1700520"/>
              <a:gd name="connsiteY19" fmla="*/ 2290195 h 4848837"/>
              <a:gd name="connsiteX20" fmla="*/ 1700428 w 1700520"/>
              <a:gd name="connsiteY20" fmla="*/ 3313654 h 4848837"/>
              <a:gd name="connsiteX0" fmla="*/ 1700428 w 1701232"/>
              <a:gd name="connsiteY0" fmla="*/ 3313654 h 4848837"/>
              <a:gd name="connsiteX1" fmla="*/ 1476463 w 1701232"/>
              <a:gd name="connsiteY1" fmla="*/ 3003259 h 4848837"/>
              <a:gd name="connsiteX2" fmla="*/ 1048624 w 1701232"/>
              <a:gd name="connsiteY2" fmla="*/ 3003259 h 4848837"/>
              <a:gd name="connsiteX3" fmla="*/ 335560 w 1701232"/>
              <a:gd name="connsiteY3" fmla="*/ 4848837 h 4848837"/>
              <a:gd name="connsiteX4" fmla="*/ 201336 w 1701232"/>
              <a:gd name="connsiteY4" fmla="*/ 4362275 h 4848837"/>
              <a:gd name="connsiteX5" fmla="*/ 629175 w 1701232"/>
              <a:gd name="connsiteY5" fmla="*/ 3003259 h 4848837"/>
              <a:gd name="connsiteX6" fmla="*/ 142613 w 1701232"/>
              <a:gd name="connsiteY6" fmla="*/ 3003259 h 4848837"/>
              <a:gd name="connsiteX7" fmla="*/ 0 w 1701232"/>
              <a:gd name="connsiteY7" fmla="*/ 2843868 h 4848837"/>
              <a:gd name="connsiteX8" fmla="*/ 134224 w 1701232"/>
              <a:gd name="connsiteY8" fmla="*/ 2659310 h 4848837"/>
              <a:gd name="connsiteX9" fmla="*/ 796955 w 1701232"/>
              <a:gd name="connsiteY9" fmla="*/ 2659310 h 4848837"/>
              <a:gd name="connsiteX10" fmla="*/ 1249960 w 1701232"/>
              <a:gd name="connsiteY10" fmla="*/ 1342239 h 4848837"/>
              <a:gd name="connsiteX11" fmla="*/ 1484852 w 1701232"/>
              <a:gd name="connsiteY11" fmla="*/ 419450 h 4848837"/>
              <a:gd name="connsiteX12" fmla="*/ 1484852 w 1701232"/>
              <a:gd name="connsiteY12" fmla="*/ 184558 h 4848837"/>
              <a:gd name="connsiteX13" fmla="*/ 1669410 w 1701232"/>
              <a:gd name="connsiteY13" fmla="*/ 0 h 4848837"/>
              <a:gd name="connsiteX14" fmla="*/ 1669410 w 1701232"/>
              <a:gd name="connsiteY14" fmla="*/ 771787 h 4848837"/>
              <a:gd name="connsiteX15" fmla="*/ 1669410 w 1701232"/>
              <a:gd name="connsiteY15" fmla="*/ 1149292 h 4848837"/>
              <a:gd name="connsiteX16" fmla="*/ 1661021 w 1701232"/>
              <a:gd name="connsiteY16" fmla="*/ 1442907 h 4848837"/>
              <a:gd name="connsiteX17" fmla="*/ 1199626 w 1701232"/>
              <a:gd name="connsiteY17" fmla="*/ 2625754 h 4848837"/>
              <a:gd name="connsiteX18" fmla="*/ 1468074 w 1701232"/>
              <a:gd name="connsiteY18" fmla="*/ 2625754 h 4848837"/>
              <a:gd name="connsiteX19" fmla="*/ 1700428 w 1701232"/>
              <a:gd name="connsiteY19" fmla="*/ 2327653 h 4848837"/>
              <a:gd name="connsiteX20" fmla="*/ 1700428 w 1701232"/>
              <a:gd name="connsiteY20" fmla="*/ 3313654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701232" h="4848837">
                <a:moveTo>
                  <a:pt x="1700428" y="3313654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700428" y="2327653"/>
                </a:lnTo>
                <a:cubicBezTo>
                  <a:pt x="1697632" y="2688380"/>
                  <a:pt x="1703224" y="2952927"/>
                  <a:pt x="1700428" y="331365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406" name="Freeform 470"/>
          <p:cNvSpPr/>
          <p:nvPr/>
        </p:nvSpPr>
        <p:spPr bwMode="auto">
          <a:xfrm flipH="1">
            <a:off x="4170435" y="5347418"/>
            <a:ext cx="30546" cy="87711"/>
          </a:xfrm>
          <a:custGeom>
            <a:avLst/>
            <a:gdLst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199626 w 1669410"/>
              <a:gd name="connsiteY12" fmla="*/ 637564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35854 w 1669410"/>
              <a:gd name="connsiteY17" fmla="*/ 1140903 h 4848837"/>
              <a:gd name="connsiteX18" fmla="*/ 1635854 w 1669410"/>
              <a:gd name="connsiteY18" fmla="*/ 1510019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27465 w 1669410"/>
              <a:gd name="connsiteY22" fmla="*/ 2256639 h 4848837"/>
              <a:gd name="connsiteX23" fmla="*/ 1619076 w 1669410"/>
              <a:gd name="connsiteY23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35854 w 1669410"/>
              <a:gd name="connsiteY17" fmla="*/ 1510019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35854 w 1669410"/>
              <a:gd name="connsiteY16" fmla="*/ 1140903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27465 w 1669410"/>
              <a:gd name="connsiteY21" fmla="*/ 2256639 h 4848837"/>
              <a:gd name="connsiteX22" fmla="*/ 1619076 w 1669410"/>
              <a:gd name="connsiteY22" fmla="*/ 3338819 h 4848837"/>
              <a:gd name="connsiteX0" fmla="*/ 1619076 w 1669410"/>
              <a:gd name="connsiteY0" fmla="*/ 3338819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19076 w 1669410"/>
              <a:gd name="connsiteY22" fmla="*/ 3338819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468074 w 1669410"/>
              <a:gd name="connsiteY20" fmla="*/ 2399252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468074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510019 w 1669410"/>
              <a:gd name="connsiteY21" fmla="*/ 2399252 h 4848837"/>
              <a:gd name="connsiteX22" fmla="*/ 1644243 w 1669410"/>
              <a:gd name="connsiteY22" fmla="*/ 2290195 h 4848837"/>
              <a:gd name="connsiteX23" fmla="*/ 1644243 w 1669410"/>
              <a:gd name="connsiteY23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196206 h 4848837"/>
              <a:gd name="connsiteX2" fmla="*/ 1501630 w 1669410"/>
              <a:gd name="connsiteY2" fmla="*/ 3145872 h 4848837"/>
              <a:gd name="connsiteX3" fmla="*/ 1476463 w 1669410"/>
              <a:gd name="connsiteY3" fmla="*/ 3003259 h 4848837"/>
              <a:gd name="connsiteX4" fmla="*/ 1048624 w 1669410"/>
              <a:gd name="connsiteY4" fmla="*/ 3003259 h 4848837"/>
              <a:gd name="connsiteX5" fmla="*/ 335560 w 1669410"/>
              <a:gd name="connsiteY5" fmla="*/ 4848837 h 4848837"/>
              <a:gd name="connsiteX6" fmla="*/ 201336 w 1669410"/>
              <a:gd name="connsiteY6" fmla="*/ 4362275 h 4848837"/>
              <a:gd name="connsiteX7" fmla="*/ 629175 w 1669410"/>
              <a:gd name="connsiteY7" fmla="*/ 3003259 h 4848837"/>
              <a:gd name="connsiteX8" fmla="*/ 142613 w 1669410"/>
              <a:gd name="connsiteY8" fmla="*/ 3003259 h 4848837"/>
              <a:gd name="connsiteX9" fmla="*/ 0 w 1669410"/>
              <a:gd name="connsiteY9" fmla="*/ 2843868 h 4848837"/>
              <a:gd name="connsiteX10" fmla="*/ 134224 w 1669410"/>
              <a:gd name="connsiteY10" fmla="*/ 2659310 h 4848837"/>
              <a:gd name="connsiteX11" fmla="*/ 796955 w 1669410"/>
              <a:gd name="connsiteY11" fmla="*/ 2659310 h 4848837"/>
              <a:gd name="connsiteX12" fmla="*/ 1249960 w 1669410"/>
              <a:gd name="connsiteY12" fmla="*/ 1342239 h 4848837"/>
              <a:gd name="connsiteX13" fmla="*/ 1484852 w 1669410"/>
              <a:gd name="connsiteY13" fmla="*/ 419450 h 4848837"/>
              <a:gd name="connsiteX14" fmla="*/ 1484852 w 1669410"/>
              <a:gd name="connsiteY14" fmla="*/ 184558 h 4848837"/>
              <a:gd name="connsiteX15" fmla="*/ 1669410 w 1669410"/>
              <a:gd name="connsiteY15" fmla="*/ 0 h 4848837"/>
              <a:gd name="connsiteX16" fmla="*/ 1669410 w 1669410"/>
              <a:gd name="connsiteY16" fmla="*/ 771787 h 4848837"/>
              <a:gd name="connsiteX17" fmla="*/ 1669410 w 1669410"/>
              <a:gd name="connsiteY17" fmla="*/ 1149292 h 4848837"/>
              <a:gd name="connsiteX18" fmla="*/ 1661021 w 1669410"/>
              <a:gd name="connsiteY18" fmla="*/ 1442907 h 4848837"/>
              <a:gd name="connsiteX19" fmla="*/ 1199626 w 1669410"/>
              <a:gd name="connsiteY19" fmla="*/ 2625754 h 4848837"/>
              <a:gd name="connsiteX20" fmla="*/ 1468074 w 1669410"/>
              <a:gd name="connsiteY20" fmla="*/ 2625754 h 4848837"/>
              <a:gd name="connsiteX21" fmla="*/ 1644243 w 1669410"/>
              <a:gd name="connsiteY21" fmla="*/ 2290195 h 4848837"/>
              <a:gd name="connsiteX22" fmla="*/ 1644243 w 1669410"/>
              <a:gd name="connsiteY22" fmla="*/ 3313652 h 4848837"/>
              <a:gd name="connsiteX0" fmla="*/ 1644243 w 1669410"/>
              <a:gd name="connsiteY0" fmla="*/ 3313652 h 4848837"/>
              <a:gd name="connsiteX1" fmla="*/ 1501630 w 1669410"/>
              <a:gd name="connsiteY1" fmla="*/ 3145872 h 4848837"/>
              <a:gd name="connsiteX2" fmla="*/ 1476463 w 1669410"/>
              <a:gd name="connsiteY2" fmla="*/ 3003259 h 4848837"/>
              <a:gd name="connsiteX3" fmla="*/ 1048624 w 1669410"/>
              <a:gd name="connsiteY3" fmla="*/ 3003259 h 4848837"/>
              <a:gd name="connsiteX4" fmla="*/ 335560 w 1669410"/>
              <a:gd name="connsiteY4" fmla="*/ 4848837 h 4848837"/>
              <a:gd name="connsiteX5" fmla="*/ 201336 w 1669410"/>
              <a:gd name="connsiteY5" fmla="*/ 4362275 h 4848837"/>
              <a:gd name="connsiteX6" fmla="*/ 629175 w 1669410"/>
              <a:gd name="connsiteY6" fmla="*/ 3003259 h 4848837"/>
              <a:gd name="connsiteX7" fmla="*/ 142613 w 1669410"/>
              <a:gd name="connsiteY7" fmla="*/ 3003259 h 4848837"/>
              <a:gd name="connsiteX8" fmla="*/ 0 w 1669410"/>
              <a:gd name="connsiteY8" fmla="*/ 2843868 h 4848837"/>
              <a:gd name="connsiteX9" fmla="*/ 134224 w 1669410"/>
              <a:gd name="connsiteY9" fmla="*/ 2659310 h 4848837"/>
              <a:gd name="connsiteX10" fmla="*/ 796955 w 1669410"/>
              <a:gd name="connsiteY10" fmla="*/ 2659310 h 4848837"/>
              <a:gd name="connsiteX11" fmla="*/ 1249960 w 1669410"/>
              <a:gd name="connsiteY11" fmla="*/ 1342239 h 4848837"/>
              <a:gd name="connsiteX12" fmla="*/ 1484852 w 1669410"/>
              <a:gd name="connsiteY12" fmla="*/ 419450 h 4848837"/>
              <a:gd name="connsiteX13" fmla="*/ 1484852 w 1669410"/>
              <a:gd name="connsiteY13" fmla="*/ 184558 h 4848837"/>
              <a:gd name="connsiteX14" fmla="*/ 1669410 w 1669410"/>
              <a:gd name="connsiteY14" fmla="*/ 0 h 4848837"/>
              <a:gd name="connsiteX15" fmla="*/ 1669410 w 1669410"/>
              <a:gd name="connsiteY15" fmla="*/ 771787 h 4848837"/>
              <a:gd name="connsiteX16" fmla="*/ 1669410 w 1669410"/>
              <a:gd name="connsiteY16" fmla="*/ 1149292 h 4848837"/>
              <a:gd name="connsiteX17" fmla="*/ 1661021 w 1669410"/>
              <a:gd name="connsiteY17" fmla="*/ 1442907 h 4848837"/>
              <a:gd name="connsiteX18" fmla="*/ 1199626 w 1669410"/>
              <a:gd name="connsiteY18" fmla="*/ 2625754 h 4848837"/>
              <a:gd name="connsiteX19" fmla="*/ 1468074 w 1669410"/>
              <a:gd name="connsiteY19" fmla="*/ 2625754 h 4848837"/>
              <a:gd name="connsiteX20" fmla="*/ 1644243 w 1669410"/>
              <a:gd name="connsiteY20" fmla="*/ 2290195 h 4848837"/>
              <a:gd name="connsiteX21" fmla="*/ 1644243 w 1669410"/>
              <a:gd name="connsiteY21" fmla="*/ 3313652 h 4848837"/>
              <a:gd name="connsiteX0" fmla="*/ 1644243 w 1669410"/>
              <a:gd name="connsiteY0" fmla="*/ 3313652 h 4848837"/>
              <a:gd name="connsiteX1" fmla="*/ 1476463 w 1669410"/>
              <a:gd name="connsiteY1" fmla="*/ 3003259 h 4848837"/>
              <a:gd name="connsiteX2" fmla="*/ 1048624 w 1669410"/>
              <a:gd name="connsiteY2" fmla="*/ 3003259 h 4848837"/>
              <a:gd name="connsiteX3" fmla="*/ 335560 w 1669410"/>
              <a:gd name="connsiteY3" fmla="*/ 4848837 h 4848837"/>
              <a:gd name="connsiteX4" fmla="*/ 201336 w 1669410"/>
              <a:gd name="connsiteY4" fmla="*/ 4362275 h 4848837"/>
              <a:gd name="connsiteX5" fmla="*/ 629175 w 1669410"/>
              <a:gd name="connsiteY5" fmla="*/ 3003259 h 4848837"/>
              <a:gd name="connsiteX6" fmla="*/ 142613 w 1669410"/>
              <a:gd name="connsiteY6" fmla="*/ 3003259 h 4848837"/>
              <a:gd name="connsiteX7" fmla="*/ 0 w 1669410"/>
              <a:gd name="connsiteY7" fmla="*/ 2843868 h 4848837"/>
              <a:gd name="connsiteX8" fmla="*/ 134224 w 1669410"/>
              <a:gd name="connsiteY8" fmla="*/ 2659310 h 4848837"/>
              <a:gd name="connsiteX9" fmla="*/ 796955 w 1669410"/>
              <a:gd name="connsiteY9" fmla="*/ 2659310 h 4848837"/>
              <a:gd name="connsiteX10" fmla="*/ 1249960 w 1669410"/>
              <a:gd name="connsiteY10" fmla="*/ 1342239 h 4848837"/>
              <a:gd name="connsiteX11" fmla="*/ 1484852 w 1669410"/>
              <a:gd name="connsiteY11" fmla="*/ 419450 h 4848837"/>
              <a:gd name="connsiteX12" fmla="*/ 1484852 w 1669410"/>
              <a:gd name="connsiteY12" fmla="*/ 184558 h 4848837"/>
              <a:gd name="connsiteX13" fmla="*/ 1669410 w 1669410"/>
              <a:gd name="connsiteY13" fmla="*/ 0 h 4848837"/>
              <a:gd name="connsiteX14" fmla="*/ 1669410 w 1669410"/>
              <a:gd name="connsiteY14" fmla="*/ 771787 h 4848837"/>
              <a:gd name="connsiteX15" fmla="*/ 1669410 w 1669410"/>
              <a:gd name="connsiteY15" fmla="*/ 1149292 h 4848837"/>
              <a:gd name="connsiteX16" fmla="*/ 1661021 w 1669410"/>
              <a:gd name="connsiteY16" fmla="*/ 1442907 h 4848837"/>
              <a:gd name="connsiteX17" fmla="*/ 1199626 w 1669410"/>
              <a:gd name="connsiteY17" fmla="*/ 2625754 h 4848837"/>
              <a:gd name="connsiteX18" fmla="*/ 1468074 w 1669410"/>
              <a:gd name="connsiteY18" fmla="*/ 2625754 h 4848837"/>
              <a:gd name="connsiteX19" fmla="*/ 1644243 w 1669410"/>
              <a:gd name="connsiteY19" fmla="*/ 2290195 h 4848837"/>
              <a:gd name="connsiteX20" fmla="*/ 1644243 w 1669410"/>
              <a:gd name="connsiteY20" fmla="*/ 3313652 h 4848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69410" h="4848837">
                <a:moveTo>
                  <a:pt x="1644243" y="3313652"/>
                </a:moveTo>
                <a:lnTo>
                  <a:pt x="1476463" y="3003259"/>
                </a:lnTo>
                <a:lnTo>
                  <a:pt x="1048624" y="3003259"/>
                </a:lnTo>
                <a:lnTo>
                  <a:pt x="335560" y="4848837"/>
                </a:lnTo>
                <a:lnTo>
                  <a:pt x="201336" y="4362275"/>
                </a:lnTo>
                <a:lnTo>
                  <a:pt x="629175" y="3003259"/>
                </a:lnTo>
                <a:lnTo>
                  <a:pt x="142613" y="3003259"/>
                </a:lnTo>
                <a:lnTo>
                  <a:pt x="0" y="2843868"/>
                </a:lnTo>
                <a:lnTo>
                  <a:pt x="134224" y="2659310"/>
                </a:lnTo>
                <a:lnTo>
                  <a:pt x="796955" y="2659310"/>
                </a:lnTo>
                <a:lnTo>
                  <a:pt x="1249960" y="1342239"/>
                </a:lnTo>
                <a:cubicBezTo>
                  <a:pt x="928382" y="809538"/>
                  <a:pt x="1252756" y="511729"/>
                  <a:pt x="1484852" y="419450"/>
                </a:cubicBezTo>
                <a:lnTo>
                  <a:pt x="1484852" y="184558"/>
                </a:lnTo>
                <a:lnTo>
                  <a:pt x="1669410" y="0"/>
                </a:lnTo>
                <a:lnTo>
                  <a:pt x="1669410" y="771787"/>
                </a:lnTo>
                <a:cubicBezTo>
                  <a:pt x="1414944" y="794158"/>
                  <a:pt x="1496037" y="1084976"/>
                  <a:pt x="1669410" y="1149292"/>
                </a:cubicBezTo>
                <a:lnTo>
                  <a:pt x="1661021" y="1442907"/>
                </a:lnTo>
                <a:lnTo>
                  <a:pt x="1199626" y="2625754"/>
                </a:lnTo>
                <a:lnTo>
                  <a:pt x="1468074" y="2625754"/>
                </a:lnTo>
                <a:lnTo>
                  <a:pt x="1644243" y="2290195"/>
                </a:lnTo>
                <a:cubicBezTo>
                  <a:pt x="1641447" y="2650922"/>
                  <a:pt x="1647039" y="2952925"/>
                  <a:pt x="1644243" y="33136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en-US" sz="60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407" name="직사각형 406"/>
          <p:cNvSpPr/>
          <p:nvPr/>
        </p:nvSpPr>
        <p:spPr bwMode="auto">
          <a:xfrm>
            <a:off x="-19674" y="24061"/>
            <a:ext cx="9925675" cy="6819358"/>
          </a:xfrm>
          <a:prstGeom prst="rect">
            <a:avLst/>
          </a:prstGeom>
          <a:solidFill>
            <a:schemeClr val="bg1">
              <a:alpha val="4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400" b="0" smtClean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445" name="Rectangle 2"/>
          <p:cNvSpPr>
            <a:spLocks noChangeArrowheads="1"/>
          </p:cNvSpPr>
          <p:nvPr/>
        </p:nvSpPr>
        <p:spPr bwMode="auto">
          <a:xfrm>
            <a:off x="0" y="0"/>
            <a:ext cx="9906000" cy="432000"/>
          </a:xfrm>
          <a:prstGeom prst="rect">
            <a:avLst/>
          </a:prstGeom>
          <a:gradFill>
            <a:gsLst>
              <a:gs pos="59000">
                <a:srgbClr val="4A6093"/>
              </a:gs>
              <a:gs pos="27000">
                <a:schemeClr val="accent3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/>
        </p:spPr>
        <p:txBody>
          <a:bodyPr wrap="none" lIns="91423" tIns="45712" rIns="91423" bIns="45712" anchor="ctr"/>
          <a:lstStyle/>
          <a:p>
            <a:pPr algn="ctr"/>
            <a:endParaRPr lang="ko-KR" altLang="ko-KR" sz="1800" dirty="0">
              <a:ea typeface="맑은 고딕" pitchFamily="50" charset="-127"/>
            </a:endParaRPr>
          </a:p>
        </p:txBody>
      </p:sp>
      <p:sp>
        <p:nvSpPr>
          <p:cNvPr id="446" name="제목 10"/>
          <p:cNvSpPr txBox="1">
            <a:spLocks/>
          </p:cNvSpPr>
          <p:nvPr/>
        </p:nvSpPr>
        <p:spPr>
          <a:xfrm>
            <a:off x="250140" y="24853"/>
            <a:ext cx="7028572" cy="368157"/>
          </a:xfrm>
          <a:prstGeom prst="rect">
            <a:avLst/>
          </a:prstGeom>
        </p:spPr>
        <p:txBody>
          <a:bodyPr/>
          <a:lstStyle>
            <a:lvl1pPr algn="ctr" defTabSz="914235" rtl="0" eaLnBrk="1" latinLnBrk="1" hangingPunct="1">
              <a:spcBef>
                <a:spcPct val="0"/>
              </a:spcBef>
              <a:buNone/>
              <a:defRPr kumimoji="1" lang="ko-KR" altLang="en-US" sz="1600" b="1" kern="1200" baseline="0">
                <a:solidFill>
                  <a:schemeClr val="tx1"/>
                </a:solidFill>
                <a:latin typeface="Arial" pitchFamily="34" charset="0"/>
                <a:ea typeface="HY헤드라인M" pitchFamily="18" charset="-127"/>
                <a:cs typeface="Arial" pitchFamily="34" charset="0"/>
              </a:defRPr>
            </a:lvl1pPr>
          </a:lstStyle>
          <a:p>
            <a:pPr algn="l">
              <a:lnSpc>
                <a:spcPct val="120000"/>
              </a:lnSpc>
            </a:pPr>
            <a:r>
              <a:rPr lang="en-US" altLang="ko-KR" dirty="0" smtClean="0">
                <a:solidFill>
                  <a:schemeClr val="bg1"/>
                </a:solidFill>
                <a:latin typeface="+mj-ea"/>
                <a:ea typeface="+mj-ea"/>
              </a:rPr>
              <a:t>Pakistan </a:t>
            </a:r>
            <a:r>
              <a:rPr lang="en-US" altLang="ko-KR" dirty="0" err="1" smtClean="0">
                <a:solidFill>
                  <a:schemeClr val="bg1"/>
                </a:solidFill>
                <a:latin typeface="+mj-ea"/>
                <a:ea typeface="+mj-ea"/>
              </a:rPr>
              <a:t>Gulpur</a:t>
            </a:r>
            <a:r>
              <a:rPr lang="en-US" altLang="ko-KR" dirty="0" smtClean="0">
                <a:solidFill>
                  <a:schemeClr val="bg1"/>
                </a:solidFill>
                <a:latin typeface="+mj-ea"/>
                <a:ea typeface="+mj-ea"/>
              </a:rPr>
              <a:t> Hydropower Project : Outline</a:t>
            </a:r>
            <a:endParaRPr lang="ko-KR" altLang="en-US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grpSp>
        <p:nvGrpSpPr>
          <p:cNvPr id="447" name="Group 398"/>
          <p:cNvGrpSpPr/>
          <p:nvPr/>
        </p:nvGrpSpPr>
        <p:grpSpPr>
          <a:xfrm>
            <a:off x="9140637" y="16669"/>
            <a:ext cx="764103" cy="415331"/>
            <a:chOff x="1124867" y="3167149"/>
            <a:chExt cx="1196851" cy="650553"/>
          </a:xfrm>
        </p:grpSpPr>
        <p:sp>
          <p:nvSpPr>
            <p:cNvPr id="448" name="Freeform 399"/>
            <p:cNvSpPr/>
            <p:nvPr/>
          </p:nvSpPr>
          <p:spPr>
            <a:xfrm>
              <a:off x="1148586" y="3167149"/>
              <a:ext cx="1170752" cy="501468"/>
            </a:xfrm>
            <a:custGeom>
              <a:avLst/>
              <a:gdLst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926975 w 6168044"/>
                <a:gd name="connsiteY24" fmla="*/ 2144683 h 2460567"/>
                <a:gd name="connsiteX25" fmla="*/ 5652655 w 6168044"/>
                <a:gd name="connsiteY25" fmla="*/ 1911927 h 2460567"/>
                <a:gd name="connsiteX26" fmla="*/ 5095702 w 6168044"/>
                <a:gd name="connsiteY26" fmla="*/ 1363287 h 2460567"/>
                <a:gd name="connsiteX27" fmla="*/ 4713317 w 6168044"/>
                <a:gd name="connsiteY27" fmla="*/ 897774 h 2460567"/>
                <a:gd name="connsiteX28" fmla="*/ 4305993 w 6168044"/>
                <a:gd name="connsiteY28" fmla="*/ 340822 h 2460567"/>
                <a:gd name="connsiteX29" fmla="*/ 4305993 w 6168044"/>
                <a:gd name="connsiteY29" fmla="*/ 2128058 h 2460567"/>
                <a:gd name="connsiteX30" fmla="*/ 4181302 w 6168044"/>
                <a:gd name="connsiteY30" fmla="*/ 2128058 h 2460567"/>
                <a:gd name="connsiteX31" fmla="*/ 4181302 w 6168044"/>
                <a:gd name="connsiteY31" fmla="*/ 266007 h 2460567"/>
                <a:gd name="connsiteX32" fmla="*/ 3840480 w 6168044"/>
                <a:gd name="connsiteY32" fmla="*/ 748145 h 2460567"/>
                <a:gd name="connsiteX33" fmla="*/ 3449782 w 6168044"/>
                <a:gd name="connsiteY33" fmla="*/ 1246909 h 2460567"/>
                <a:gd name="connsiteX34" fmla="*/ 3084022 w 6168044"/>
                <a:gd name="connsiteY34" fmla="*/ 1654233 h 2460567"/>
                <a:gd name="connsiteX35" fmla="*/ 2601884 w 6168044"/>
                <a:gd name="connsiteY35" fmla="*/ 2061556 h 2460567"/>
                <a:gd name="connsiteX36" fmla="*/ 2385753 w 6168044"/>
                <a:gd name="connsiteY36" fmla="*/ 2244436 h 2460567"/>
                <a:gd name="connsiteX37" fmla="*/ 2003367 w 6168044"/>
                <a:gd name="connsiteY37" fmla="*/ 2377440 h 2460567"/>
                <a:gd name="connsiteX38" fmla="*/ 1695797 w 6168044"/>
                <a:gd name="connsiteY38" fmla="*/ 2294313 h 2460567"/>
                <a:gd name="connsiteX39" fmla="*/ 1379913 w 6168044"/>
                <a:gd name="connsiteY39" fmla="*/ 2103120 h 2460567"/>
                <a:gd name="connsiteX40" fmla="*/ 1105593 w 6168044"/>
                <a:gd name="connsiteY40" fmla="*/ 1878676 h 2460567"/>
                <a:gd name="connsiteX41" fmla="*/ 914400 w 6168044"/>
                <a:gd name="connsiteY41" fmla="*/ 1670858 h 2460567"/>
                <a:gd name="connsiteX42" fmla="*/ 665018 w 6168044"/>
                <a:gd name="connsiteY42" fmla="*/ 1305098 h 2460567"/>
                <a:gd name="connsiteX43" fmla="*/ 665018 w 6168044"/>
                <a:gd name="connsiteY43" fmla="*/ 2460567 h 2460567"/>
                <a:gd name="connsiteX44" fmla="*/ 532015 w 6168044"/>
                <a:gd name="connsiteY44" fmla="*/ 2460567 h 2460567"/>
                <a:gd name="connsiteX45" fmla="*/ 540327 w 6168044"/>
                <a:gd name="connsiteY45" fmla="*/ 1596043 h 2460567"/>
                <a:gd name="connsiteX46" fmla="*/ 482138 w 6168044"/>
                <a:gd name="connsiteY46" fmla="*/ 1654233 h 2460567"/>
                <a:gd name="connsiteX47" fmla="*/ 299258 w 6168044"/>
                <a:gd name="connsiteY47" fmla="*/ 2044931 h 2460567"/>
                <a:gd name="connsiteX48" fmla="*/ 116378 w 6168044"/>
                <a:gd name="connsiteY48" fmla="*/ 2360814 h 2460567"/>
                <a:gd name="connsiteX49" fmla="*/ 74815 w 6168044"/>
                <a:gd name="connsiteY49" fmla="*/ 2452254 h 2460567"/>
                <a:gd name="connsiteX50" fmla="*/ 0 w 6168044"/>
                <a:gd name="connsiteY50" fmla="*/ 2377440 h 2460567"/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926975 w 6168044"/>
                <a:gd name="connsiteY24" fmla="*/ 2144683 h 2460567"/>
                <a:gd name="connsiteX25" fmla="*/ 5744564 w 6168044"/>
                <a:gd name="connsiteY25" fmla="*/ 1985880 h 2460567"/>
                <a:gd name="connsiteX26" fmla="*/ 5652655 w 6168044"/>
                <a:gd name="connsiteY26" fmla="*/ 1911927 h 2460567"/>
                <a:gd name="connsiteX27" fmla="*/ 5095702 w 6168044"/>
                <a:gd name="connsiteY27" fmla="*/ 1363287 h 2460567"/>
                <a:gd name="connsiteX28" fmla="*/ 4713317 w 6168044"/>
                <a:gd name="connsiteY28" fmla="*/ 897774 h 2460567"/>
                <a:gd name="connsiteX29" fmla="*/ 4305993 w 6168044"/>
                <a:gd name="connsiteY29" fmla="*/ 340822 h 2460567"/>
                <a:gd name="connsiteX30" fmla="*/ 4305993 w 6168044"/>
                <a:gd name="connsiteY30" fmla="*/ 2128058 h 2460567"/>
                <a:gd name="connsiteX31" fmla="*/ 4181302 w 6168044"/>
                <a:gd name="connsiteY31" fmla="*/ 2128058 h 2460567"/>
                <a:gd name="connsiteX32" fmla="*/ 4181302 w 6168044"/>
                <a:gd name="connsiteY32" fmla="*/ 266007 h 2460567"/>
                <a:gd name="connsiteX33" fmla="*/ 3840480 w 6168044"/>
                <a:gd name="connsiteY33" fmla="*/ 748145 h 2460567"/>
                <a:gd name="connsiteX34" fmla="*/ 3449782 w 6168044"/>
                <a:gd name="connsiteY34" fmla="*/ 1246909 h 2460567"/>
                <a:gd name="connsiteX35" fmla="*/ 3084022 w 6168044"/>
                <a:gd name="connsiteY35" fmla="*/ 1654233 h 2460567"/>
                <a:gd name="connsiteX36" fmla="*/ 2601884 w 6168044"/>
                <a:gd name="connsiteY36" fmla="*/ 2061556 h 2460567"/>
                <a:gd name="connsiteX37" fmla="*/ 2385753 w 6168044"/>
                <a:gd name="connsiteY37" fmla="*/ 2244436 h 2460567"/>
                <a:gd name="connsiteX38" fmla="*/ 2003367 w 6168044"/>
                <a:gd name="connsiteY38" fmla="*/ 2377440 h 2460567"/>
                <a:gd name="connsiteX39" fmla="*/ 1695797 w 6168044"/>
                <a:gd name="connsiteY39" fmla="*/ 2294313 h 2460567"/>
                <a:gd name="connsiteX40" fmla="*/ 1379913 w 6168044"/>
                <a:gd name="connsiteY40" fmla="*/ 2103120 h 2460567"/>
                <a:gd name="connsiteX41" fmla="*/ 1105593 w 6168044"/>
                <a:gd name="connsiteY41" fmla="*/ 1878676 h 2460567"/>
                <a:gd name="connsiteX42" fmla="*/ 914400 w 6168044"/>
                <a:gd name="connsiteY42" fmla="*/ 1670858 h 2460567"/>
                <a:gd name="connsiteX43" fmla="*/ 665018 w 6168044"/>
                <a:gd name="connsiteY43" fmla="*/ 1305098 h 2460567"/>
                <a:gd name="connsiteX44" fmla="*/ 665018 w 6168044"/>
                <a:gd name="connsiteY44" fmla="*/ 2460567 h 2460567"/>
                <a:gd name="connsiteX45" fmla="*/ 532015 w 6168044"/>
                <a:gd name="connsiteY45" fmla="*/ 2460567 h 2460567"/>
                <a:gd name="connsiteX46" fmla="*/ 540327 w 6168044"/>
                <a:gd name="connsiteY46" fmla="*/ 1596043 h 2460567"/>
                <a:gd name="connsiteX47" fmla="*/ 482138 w 6168044"/>
                <a:gd name="connsiteY47" fmla="*/ 1654233 h 2460567"/>
                <a:gd name="connsiteX48" fmla="*/ 299258 w 6168044"/>
                <a:gd name="connsiteY48" fmla="*/ 2044931 h 2460567"/>
                <a:gd name="connsiteX49" fmla="*/ 116378 w 6168044"/>
                <a:gd name="connsiteY49" fmla="*/ 2360814 h 2460567"/>
                <a:gd name="connsiteX50" fmla="*/ 74815 w 6168044"/>
                <a:gd name="connsiteY50" fmla="*/ 2452254 h 2460567"/>
                <a:gd name="connsiteX51" fmla="*/ 0 w 6168044"/>
                <a:gd name="connsiteY51" fmla="*/ 2377440 h 2460567"/>
                <a:gd name="connsiteX0" fmla="*/ 0 w 6168044"/>
                <a:gd name="connsiteY0" fmla="*/ 2377440 h 2460567"/>
                <a:gd name="connsiteX1" fmla="*/ 290946 w 6168044"/>
                <a:gd name="connsiteY1" fmla="*/ 1812174 h 2460567"/>
                <a:gd name="connsiteX2" fmla="*/ 565266 w 6168044"/>
                <a:gd name="connsiteY2" fmla="*/ 1130531 h 2460567"/>
                <a:gd name="connsiteX3" fmla="*/ 590204 w 6168044"/>
                <a:gd name="connsiteY3" fmla="*/ 1014153 h 2460567"/>
                <a:gd name="connsiteX4" fmla="*/ 665018 w 6168044"/>
                <a:gd name="connsiteY4" fmla="*/ 1005840 h 2460567"/>
                <a:gd name="connsiteX5" fmla="*/ 756458 w 6168044"/>
                <a:gd name="connsiteY5" fmla="*/ 1246909 h 2460567"/>
                <a:gd name="connsiteX6" fmla="*/ 964277 w 6168044"/>
                <a:gd name="connsiteY6" fmla="*/ 1554480 h 2460567"/>
                <a:gd name="connsiteX7" fmla="*/ 1263535 w 6168044"/>
                <a:gd name="connsiteY7" fmla="*/ 1886989 h 2460567"/>
                <a:gd name="connsiteX8" fmla="*/ 1612669 w 6168044"/>
                <a:gd name="connsiteY8" fmla="*/ 2128058 h 2460567"/>
                <a:gd name="connsiteX9" fmla="*/ 1928553 w 6168044"/>
                <a:gd name="connsiteY9" fmla="*/ 2252749 h 2460567"/>
                <a:gd name="connsiteX10" fmla="*/ 2144684 w 6168044"/>
                <a:gd name="connsiteY10" fmla="*/ 2227811 h 2460567"/>
                <a:gd name="connsiteX11" fmla="*/ 2452255 w 6168044"/>
                <a:gd name="connsiteY11" fmla="*/ 2044931 h 2460567"/>
                <a:gd name="connsiteX12" fmla="*/ 2743200 w 6168044"/>
                <a:gd name="connsiteY12" fmla="*/ 1795549 h 2460567"/>
                <a:gd name="connsiteX13" fmla="*/ 3158837 w 6168044"/>
                <a:gd name="connsiteY13" fmla="*/ 1371600 h 2460567"/>
                <a:gd name="connsiteX14" fmla="*/ 3474720 w 6168044"/>
                <a:gd name="connsiteY14" fmla="*/ 1005840 h 2460567"/>
                <a:gd name="connsiteX15" fmla="*/ 3898669 w 6168044"/>
                <a:gd name="connsiteY15" fmla="*/ 440574 h 2460567"/>
                <a:gd name="connsiteX16" fmla="*/ 4148051 w 6168044"/>
                <a:gd name="connsiteY16" fmla="*/ 24938 h 2460567"/>
                <a:gd name="connsiteX17" fmla="*/ 4197927 w 6168044"/>
                <a:gd name="connsiteY17" fmla="*/ 0 h 2460567"/>
                <a:gd name="connsiteX18" fmla="*/ 4272742 w 6168044"/>
                <a:gd name="connsiteY18" fmla="*/ 24938 h 2460567"/>
                <a:gd name="connsiteX19" fmla="*/ 4447309 w 6168044"/>
                <a:gd name="connsiteY19" fmla="*/ 299258 h 2460567"/>
                <a:gd name="connsiteX20" fmla="*/ 4862946 w 6168044"/>
                <a:gd name="connsiteY20" fmla="*/ 856211 h 2460567"/>
                <a:gd name="connsiteX21" fmla="*/ 5261957 w 6168044"/>
                <a:gd name="connsiteY21" fmla="*/ 1330036 h 2460567"/>
                <a:gd name="connsiteX22" fmla="*/ 5735782 w 6168044"/>
                <a:gd name="connsiteY22" fmla="*/ 1778923 h 2460567"/>
                <a:gd name="connsiteX23" fmla="*/ 6168044 w 6168044"/>
                <a:gd name="connsiteY23" fmla="*/ 2144683 h 2460567"/>
                <a:gd name="connsiteX24" fmla="*/ 5744564 w 6168044"/>
                <a:gd name="connsiteY24" fmla="*/ 1985880 h 2460567"/>
                <a:gd name="connsiteX25" fmla="*/ 5652655 w 6168044"/>
                <a:gd name="connsiteY25" fmla="*/ 1911927 h 2460567"/>
                <a:gd name="connsiteX26" fmla="*/ 5095702 w 6168044"/>
                <a:gd name="connsiteY26" fmla="*/ 1363287 h 2460567"/>
                <a:gd name="connsiteX27" fmla="*/ 4713317 w 6168044"/>
                <a:gd name="connsiteY27" fmla="*/ 897774 h 2460567"/>
                <a:gd name="connsiteX28" fmla="*/ 4305993 w 6168044"/>
                <a:gd name="connsiteY28" fmla="*/ 340822 h 2460567"/>
                <a:gd name="connsiteX29" fmla="*/ 4305993 w 6168044"/>
                <a:gd name="connsiteY29" fmla="*/ 2128058 h 2460567"/>
                <a:gd name="connsiteX30" fmla="*/ 4181302 w 6168044"/>
                <a:gd name="connsiteY30" fmla="*/ 2128058 h 2460567"/>
                <a:gd name="connsiteX31" fmla="*/ 4181302 w 6168044"/>
                <a:gd name="connsiteY31" fmla="*/ 266007 h 2460567"/>
                <a:gd name="connsiteX32" fmla="*/ 3840480 w 6168044"/>
                <a:gd name="connsiteY32" fmla="*/ 748145 h 2460567"/>
                <a:gd name="connsiteX33" fmla="*/ 3449782 w 6168044"/>
                <a:gd name="connsiteY33" fmla="*/ 1246909 h 2460567"/>
                <a:gd name="connsiteX34" fmla="*/ 3084022 w 6168044"/>
                <a:gd name="connsiteY34" fmla="*/ 1654233 h 2460567"/>
                <a:gd name="connsiteX35" fmla="*/ 2601884 w 6168044"/>
                <a:gd name="connsiteY35" fmla="*/ 2061556 h 2460567"/>
                <a:gd name="connsiteX36" fmla="*/ 2385753 w 6168044"/>
                <a:gd name="connsiteY36" fmla="*/ 2244436 h 2460567"/>
                <a:gd name="connsiteX37" fmla="*/ 2003367 w 6168044"/>
                <a:gd name="connsiteY37" fmla="*/ 2377440 h 2460567"/>
                <a:gd name="connsiteX38" fmla="*/ 1695797 w 6168044"/>
                <a:gd name="connsiteY38" fmla="*/ 2294313 h 2460567"/>
                <a:gd name="connsiteX39" fmla="*/ 1379913 w 6168044"/>
                <a:gd name="connsiteY39" fmla="*/ 2103120 h 2460567"/>
                <a:gd name="connsiteX40" fmla="*/ 1105593 w 6168044"/>
                <a:gd name="connsiteY40" fmla="*/ 1878676 h 2460567"/>
                <a:gd name="connsiteX41" fmla="*/ 914400 w 6168044"/>
                <a:gd name="connsiteY41" fmla="*/ 1670858 h 2460567"/>
                <a:gd name="connsiteX42" fmla="*/ 665018 w 6168044"/>
                <a:gd name="connsiteY42" fmla="*/ 1305098 h 2460567"/>
                <a:gd name="connsiteX43" fmla="*/ 665018 w 6168044"/>
                <a:gd name="connsiteY43" fmla="*/ 2460567 h 2460567"/>
                <a:gd name="connsiteX44" fmla="*/ 532015 w 6168044"/>
                <a:gd name="connsiteY44" fmla="*/ 2460567 h 2460567"/>
                <a:gd name="connsiteX45" fmla="*/ 540327 w 6168044"/>
                <a:gd name="connsiteY45" fmla="*/ 1596043 h 2460567"/>
                <a:gd name="connsiteX46" fmla="*/ 482138 w 6168044"/>
                <a:gd name="connsiteY46" fmla="*/ 1654233 h 2460567"/>
                <a:gd name="connsiteX47" fmla="*/ 299258 w 6168044"/>
                <a:gd name="connsiteY47" fmla="*/ 2044931 h 2460567"/>
                <a:gd name="connsiteX48" fmla="*/ 116378 w 6168044"/>
                <a:gd name="connsiteY48" fmla="*/ 2360814 h 2460567"/>
                <a:gd name="connsiteX49" fmla="*/ 74815 w 6168044"/>
                <a:gd name="connsiteY49" fmla="*/ 2452254 h 2460567"/>
                <a:gd name="connsiteX50" fmla="*/ 0 w 6168044"/>
                <a:gd name="connsiteY50" fmla="*/ 2377440 h 2460567"/>
                <a:gd name="connsiteX0" fmla="*/ 0 w 5744564"/>
                <a:gd name="connsiteY0" fmla="*/ 2377440 h 2460567"/>
                <a:gd name="connsiteX1" fmla="*/ 290946 w 5744564"/>
                <a:gd name="connsiteY1" fmla="*/ 1812174 h 2460567"/>
                <a:gd name="connsiteX2" fmla="*/ 565266 w 5744564"/>
                <a:gd name="connsiteY2" fmla="*/ 1130531 h 2460567"/>
                <a:gd name="connsiteX3" fmla="*/ 590204 w 5744564"/>
                <a:gd name="connsiteY3" fmla="*/ 1014153 h 2460567"/>
                <a:gd name="connsiteX4" fmla="*/ 665018 w 5744564"/>
                <a:gd name="connsiteY4" fmla="*/ 1005840 h 2460567"/>
                <a:gd name="connsiteX5" fmla="*/ 756458 w 5744564"/>
                <a:gd name="connsiteY5" fmla="*/ 1246909 h 2460567"/>
                <a:gd name="connsiteX6" fmla="*/ 964277 w 5744564"/>
                <a:gd name="connsiteY6" fmla="*/ 1554480 h 2460567"/>
                <a:gd name="connsiteX7" fmla="*/ 1263535 w 5744564"/>
                <a:gd name="connsiteY7" fmla="*/ 1886989 h 2460567"/>
                <a:gd name="connsiteX8" fmla="*/ 1612669 w 5744564"/>
                <a:gd name="connsiteY8" fmla="*/ 2128058 h 2460567"/>
                <a:gd name="connsiteX9" fmla="*/ 1928553 w 5744564"/>
                <a:gd name="connsiteY9" fmla="*/ 2252749 h 2460567"/>
                <a:gd name="connsiteX10" fmla="*/ 2144684 w 5744564"/>
                <a:gd name="connsiteY10" fmla="*/ 2227811 h 2460567"/>
                <a:gd name="connsiteX11" fmla="*/ 2452255 w 5744564"/>
                <a:gd name="connsiteY11" fmla="*/ 2044931 h 2460567"/>
                <a:gd name="connsiteX12" fmla="*/ 2743200 w 5744564"/>
                <a:gd name="connsiteY12" fmla="*/ 1795549 h 2460567"/>
                <a:gd name="connsiteX13" fmla="*/ 3158837 w 5744564"/>
                <a:gd name="connsiteY13" fmla="*/ 1371600 h 2460567"/>
                <a:gd name="connsiteX14" fmla="*/ 3474720 w 5744564"/>
                <a:gd name="connsiteY14" fmla="*/ 1005840 h 2460567"/>
                <a:gd name="connsiteX15" fmla="*/ 3898669 w 5744564"/>
                <a:gd name="connsiteY15" fmla="*/ 440574 h 2460567"/>
                <a:gd name="connsiteX16" fmla="*/ 4148051 w 5744564"/>
                <a:gd name="connsiteY16" fmla="*/ 24938 h 2460567"/>
                <a:gd name="connsiteX17" fmla="*/ 4197927 w 5744564"/>
                <a:gd name="connsiteY17" fmla="*/ 0 h 2460567"/>
                <a:gd name="connsiteX18" fmla="*/ 4272742 w 5744564"/>
                <a:gd name="connsiteY18" fmla="*/ 24938 h 2460567"/>
                <a:gd name="connsiteX19" fmla="*/ 4447309 w 5744564"/>
                <a:gd name="connsiteY19" fmla="*/ 299258 h 2460567"/>
                <a:gd name="connsiteX20" fmla="*/ 4862946 w 5744564"/>
                <a:gd name="connsiteY20" fmla="*/ 856211 h 2460567"/>
                <a:gd name="connsiteX21" fmla="*/ 5261957 w 5744564"/>
                <a:gd name="connsiteY21" fmla="*/ 1330036 h 2460567"/>
                <a:gd name="connsiteX22" fmla="*/ 5735782 w 5744564"/>
                <a:gd name="connsiteY22" fmla="*/ 1778923 h 2460567"/>
                <a:gd name="connsiteX23" fmla="*/ 5744564 w 5744564"/>
                <a:gd name="connsiteY23" fmla="*/ 1985880 h 2460567"/>
                <a:gd name="connsiteX24" fmla="*/ 5652655 w 5744564"/>
                <a:gd name="connsiteY24" fmla="*/ 1911927 h 2460567"/>
                <a:gd name="connsiteX25" fmla="*/ 5095702 w 5744564"/>
                <a:gd name="connsiteY25" fmla="*/ 1363287 h 2460567"/>
                <a:gd name="connsiteX26" fmla="*/ 4713317 w 5744564"/>
                <a:gd name="connsiteY26" fmla="*/ 897774 h 2460567"/>
                <a:gd name="connsiteX27" fmla="*/ 4305993 w 5744564"/>
                <a:gd name="connsiteY27" fmla="*/ 340822 h 2460567"/>
                <a:gd name="connsiteX28" fmla="*/ 4305993 w 5744564"/>
                <a:gd name="connsiteY28" fmla="*/ 2128058 h 2460567"/>
                <a:gd name="connsiteX29" fmla="*/ 4181302 w 5744564"/>
                <a:gd name="connsiteY29" fmla="*/ 2128058 h 2460567"/>
                <a:gd name="connsiteX30" fmla="*/ 4181302 w 5744564"/>
                <a:gd name="connsiteY30" fmla="*/ 266007 h 2460567"/>
                <a:gd name="connsiteX31" fmla="*/ 3840480 w 5744564"/>
                <a:gd name="connsiteY31" fmla="*/ 748145 h 2460567"/>
                <a:gd name="connsiteX32" fmla="*/ 3449782 w 5744564"/>
                <a:gd name="connsiteY32" fmla="*/ 1246909 h 2460567"/>
                <a:gd name="connsiteX33" fmla="*/ 3084022 w 5744564"/>
                <a:gd name="connsiteY33" fmla="*/ 1654233 h 2460567"/>
                <a:gd name="connsiteX34" fmla="*/ 2601884 w 5744564"/>
                <a:gd name="connsiteY34" fmla="*/ 2061556 h 2460567"/>
                <a:gd name="connsiteX35" fmla="*/ 2385753 w 5744564"/>
                <a:gd name="connsiteY35" fmla="*/ 2244436 h 2460567"/>
                <a:gd name="connsiteX36" fmla="*/ 2003367 w 5744564"/>
                <a:gd name="connsiteY36" fmla="*/ 2377440 h 2460567"/>
                <a:gd name="connsiteX37" fmla="*/ 1695797 w 5744564"/>
                <a:gd name="connsiteY37" fmla="*/ 2294313 h 2460567"/>
                <a:gd name="connsiteX38" fmla="*/ 1379913 w 5744564"/>
                <a:gd name="connsiteY38" fmla="*/ 2103120 h 2460567"/>
                <a:gd name="connsiteX39" fmla="*/ 1105593 w 5744564"/>
                <a:gd name="connsiteY39" fmla="*/ 1878676 h 2460567"/>
                <a:gd name="connsiteX40" fmla="*/ 914400 w 5744564"/>
                <a:gd name="connsiteY40" fmla="*/ 1670858 h 2460567"/>
                <a:gd name="connsiteX41" fmla="*/ 665018 w 5744564"/>
                <a:gd name="connsiteY41" fmla="*/ 1305098 h 2460567"/>
                <a:gd name="connsiteX42" fmla="*/ 665018 w 5744564"/>
                <a:gd name="connsiteY42" fmla="*/ 2460567 h 2460567"/>
                <a:gd name="connsiteX43" fmla="*/ 532015 w 5744564"/>
                <a:gd name="connsiteY43" fmla="*/ 2460567 h 2460567"/>
                <a:gd name="connsiteX44" fmla="*/ 540327 w 5744564"/>
                <a:gd name="connsiteY44" fmla="*/ 1596043 h 2460567"/>
                <a:gd name="connsiteX45" fmla="*/ 482138 w 5744564"/>
                <a:gd name="connsiteY45" fmla="*/ 1654233 h 2460567"/>
                <a:gd name="connsiteX46" fmla="*/ 299258 w 5744564"/>
                <a:gd name="connsiteY46" fmla="*/ 2044931 h 2460567"/>
                <a:gd name="connsiteX47" fmla="*/ 116378 w 5744564"/>
                <a:gd name="connsiteY47" fmla="*/ 2360814 h 2460567"/>
                <a:gd name="connsiteX48" fmla="*/ 74815 w 5744564"/>
                <a:gd name="connsiteY48" fmla="*/ 2452254 h 2460567"/>
                <a:gd name="connsiteX49" fmla="*/ 0 w 5744564"/>
                <a:gd name="connsiteY49" fmla="*/ 2377440 h 2460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744564" h="2460567">
                  <a:moveTo>
                    <a:pt x="0" y="2377440"/>
                  </a:moveTo>
                  <a:lnTo>
                    <a:pt x="290946" y="1812174"/>
                  </a:lnTo>
                  <a:lnTo>
                    <a:pt x="565266" y="1130531"/>
                  </a:lnTo>
                  <a:lnTo>
                    <a:pt x="590204" y="1014153"/>
                  </a:lnTo>
                  <a:lnTo>
                    <a:pt x="665018" y="1005840"/>
                  </a:lnTo>
                  <a:lnTo>
                    <a:pt x="756458" y="1246909"/>
                  </a:lnTo>
                  <a:lnTo>
                    <a:pt x="964277" y="1554480"/>
                  </a:lnTo>
                  <a:lnTo>
                    <a:pt x="1263535" y="1886989"/>
                  </a:lnTo>
                  <a:lnTo>
                    <a:pt x="1612669" y="2128058"/>
                  </a:lnTo>
                  <a:lnTo>
                    <a:pt x="1928553" y="2252749"/>
                  </a:lnTo>
                  <a:lnTo>
                    <a:pt x="2144684" y="2227811"/>
                  </a:lnTo>
                  <a:lnTo>
                    <a:pt x="2452255" y="2044931"/>
                  </a:lnTo>
                  <a:lnTo>
                    <a:pt x="2743200" y="1795549"/>
                  </a:lnTo>
                  <a:lnTo>
                    <a:pt x="3158837" y="1371600"/>
                  </a:lnTo>
                  <a:lnTo>
                    <a:pt x="3474720" y="1005840"/>
                  </a:lnTo>
                  <a:lnTo>
                    <a:pt x="3898669" y="440574"/>
                  </a:lnTo>
                  <a:lnTo>
                    <a:pt x="4148051" y="24938"/>
                  </a:lnTo>
                  <a:lnTo>
                    <a:pt x="4197927" y="0"/>
                  </a:lnTo>
                  <a:lnTo>
                    <a:pt x="4272742" y="24938"/>
                  </a:lnTo>
                  <a:lnTo>
                    <a:pt x="4447309" y="299258"/>
                  </a:lnTo>
                  <a:lnTo>
                    <a:pt x="4862946" y="856211"/>
                  </a:lnTo>
                  <a:lnTo>
                    <a:pt x="5261957" y="1330036"/>
                  </a:lnTo>
                  <a:lnTo>
                    <a:pt x="5735782" y="1778923"/>
                  </a:lnTo>
                  <a:lnTo>
                    <a:pt x="5744564" y="1985880"/>
                  </a:lnTo>
                  <a:lnTo>
                    <a:pt x="5652655" y="1911927"/>
                  </a:lnTo>
                  <a:lnTo>
                    <a:pt x="5095702" y="1363287"/>
                  </a:lnTo>
                  <a:lnTo>
                    <a:pt x="4713317" y="897774"/>
                  </a:lnTo>
                  <a:lnTo>
                    <a:pt x="4305993" y="340822"/>
                  </a:lnTo>
                  <a:lnTo>
                    <a:pt x="4305993" y="2128058"/>
                  </a:lnTo>
                  <a:lnTo>
                    <a:pt x="4181302" y="2128058"/>
                  </a:lnTo>
                  <a:lnTo>
                    <a:pt x="4181302" y="266007"/>
                  </a:lnTo>
                  <a:lnTo>
                    <a:pt x="3840480" y="748145"/>
                  </a:lnTo>
                  <a:lnTo>
                    <a:pt x="3449782" y="1246909"/>
                  </a:lnTo>
                  <a:lnTo>
                    <a:pt x="3084022" y="1654233"/>
                  </a:lnTo>
                  <a:lnTo>
                    <a:pt x="2601884" y="2061556"/>
                  </a:lnTo>
                  <a:lnTo>
                    <a:pt x="2385753" y="2244436"/>
                  </a:lnTo>
                  <a:lnTo>
                    <a:pt x="2003367" y="2377440"/>
                  </a:lnTo>
                  <a:lnTo>
                    <a:pt x="1695797" y="2294313"/>
                  </a:lnTo>
                  <a:lnTo>
                    <a:pt x="1379913" y="2103120"/>
                  </a:lnTo>
                  <a:lnTo>
                    <a:pt x="1105593" y="1878676"/>
                  </a:lnTo>
                  <a:lnTo>
                    <a:pt x="914400" y="1670858"/>
                  </a:lnTo>
                  <a:lnTo>
                    <a:pt x="665018" y="1305098"/>
                  </a:lnTo>
                  <a:lnTo>
                    <a:pt x="665018" y="2460567"/>
                  </a:lnTo>
                  <a:lnTo>
                    <a:pt x="532015" y="2460567"/>
                  </a:lnTo>
                  <a:cubicBezTo>
                    <a:pt x="534786" y="2172392"/>
                    <a:pt x="537556" y="1884218"/>
                    <a:pt x="540327" y="1596043"/>
                  </a:cubicBezTo>
                  <a:lnTo>
                    <a:pt x="482138" y="1654233"/>
                  </a:lnTo>
                  <a:lnTo>
                    <a:pt x="299258" y="2044931"/>
                  </a:lnTo>
                  <a:lnTo>
                    <a:pt x="116378" y="2360814"/>
                  </a:lnTo>
                  <a:lnTo>
                    <a:pt x="74815" y="2452254"/>
                  </a:lnTo>
                  <a:lnTo>
                    <a:pt x="0" y="2377440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9" name="Freeform 400"/>
            <p:cNvSpPr/>
            <p:nvPr/>
          </p:nvSpPr>
          <p:spPr>
            <a:xfrm>
              <a:off x="2039707" y="3168843"/>
              <a:ext cx="279630" cy="294047"/>
            </a:xfrm>
            <a:custGeom>
              <a:avLst/>
              <a:gdLst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554480 w 2219498"/>
                <a:gd name="connsiteY4" fmla="*/ 1512916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837112 w 2219498"/>
                <a:gd name="connsiteY8" fmla="*/ 1928552 h 2161309"/>
                <a:gd name="connsiteX9" fmla="*/ 1413163 w 2219498"/>
                <a:gd name="connsiteY9" fmla="*/ 1512916 h 2161309"/>
                <a:gd name="connsiteX10" fmla="*/ 897774 w 2219498"/>
                <a:gd name="connsiteY10" fmla="*/ 964276 h 2161309"/>
                <a:gd name="connsiteX11" fmla="*/ 523702 w 2219498"/>
                <a:gd name="connsiteY11" fmla="*/ 507076 h 2161309"/>
                <a:gd name="connsiteX12" fmla="*/ 290945 w 2219498"/>
                <a:gd name="connsiteY12" fmla="*/ 216130 h 2161309"/>
                <a:gd name="connsiteX13" fmla="*/ 290945 w 2219498"/>
                <a:gd name="connsiteY13" fmla="*/ 423949 h 2161309"/>
                <a:gd name="connsiteX14" fmla="*/ 157942 w 2219498"/>
                <a:gd name="connsiteY14" fmla="*/ 266007 h 2161309"/>
                <a:gd name="connsiteX15" fmla="*/ 157942 w 2219498"/>
                <a:gd name="connsiteY15" fmla="*/ 141316 h 2161309"/>
                <a:gd name="connsiteX16" fmla="*/ 58189 w 2219498"/>
                <a:gd name="connsiteY16" fmla="*/ 141316 h 2161309"/>
                <a:gd name="connsiteX17" fmla="*/ 0 w 2219498"/>
                <a:gd name="connsiteY17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1554480 w 2219498"/>
                <a:gd name="connsiteY5" fmla="*/ 1512916 h 2161309"/>
                <a:gd name="connsiteX6" fmla="*/ 2044931 w 2219498"/>
                <a:gd name="connsiteY6" fmla="*/ 1978429 h 2161309"/>
                <a:gd name="connsiteX7" fmla="*/ 2219498 w 2219498"/>
                <a:gd name="connsiteY7" fmla="*/ 2103120 h 2161309"/>
                <a:gd name="connsiteX8" fmla="*/ 2177934 w 2219498"/>
                <a:gd name="connsiteY8" fmla="*/ 2161309 h 2161309"/>
                <a:gd name="connsiteX9" fmla="*/ 1837112 w 2219498"/>
                <a:gd name="connsiteY9" fmla="*/ 1928552 h 2161309"/>
                <a:gd name="connsiteX10" fmla="*/ 1413163 w 2219498"/>
                <a:gd name="connsiteY10" fmla="*/ 1512916 h 2161309"/>
                <a:gd name="connsiteX11" fmla="*/ 897774 w 2219498"/>
                <a:gd name="connsiteY11" fmla="*/ 964276 h 2161309"/>
                <a:gd name="connsiteX12" fmla="*/ 523702 w 2219498"/>
                <a:gd name="connsiteY12" fmla="*/ 507076 h 2161309"/>
                <a:gd name="connsiteX13" fmla="*/ 290945 w 2219498"/>
                <a:gd name="connsiteY13" fmla="*/ 216130 h 2161309"/>
                <a:gd name="connsiteX14" fmla="*/ 290945 w 2219498"/>
                <a:gd name="connsiteY14" fmla="*/ 423949 h 2161309"/>
                <a:gd name="connsiteX15" fmla="*/ 157942 w 2219498"/>
                <a:gd name="connsiteY15" fmla="*/ 266007 h 2161309"/>
                <a:gd name="connsiteX16" fmla="*/ 157942 w 2219498"/>
                <a:gd name="connsiteY16" fmla="*/ 141316 h 2161309"/>
                <a:gd name="connsiteX17" fmla="*/ 58189 w 2219498"/>
                <a:gd name="connsiteY17" fmla="*/ 141316 h 2161309"/>
                <a:gd name="connsiteX18" fmla="*/ 0 w 2219498"/>
                <a:gd name="connsiteY18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1554480 w 2219498"/>
                <a:gd name="connsiteY5" fmla="*/ 1512916 h 2161309"/>
                <a:gd name="connsiteX6" fmla="*/ 2044931 w 2219498"/>
                <a:gd name="connsiteY6" fmla="*/ 1978429 h 2161309"/>
                <a:gd name="connsiteX7" fmla="*/ 2219498 w 2219498"/>
                <a:gd name="connsiteY7" fmla="*/ 2103120 h 2161309"/>
                <a:gd name="connsiteX8" fmla="*/ 2177934 w 2219498"/>
                <a:gd name="connsiteY8" fmla="*/ 2161309 h 2161309"/>
                <a:gd name="connsiteX9" fmla="*/ 1837112 w 2219498"/>
                <a:gd name="connsiteY9" fmla="*/ 1928552 h 2161309"/>
                <a:gd name="connsiteX10" fmla="*/ 1366425 w 2219498"/>
                <a:gd name="connsiteY10" fmla="*/ 1442808 h 2161309"/>
                <a:gd name="connsiteX11" fmla="*/ 897774 w 2219498"/>
                <a:gd name="connsiteY11" fmla="*/ 964276 h 2161309"/>
                <a:gd name="connsiteX12" fmla="*/ 523702 w 2219498"/>
                <a:gd name="connsiteY12" fmla="*/ 507076 h 2161309"/>
                <a:gd name="connsiteX13" fmla="*/ 290945 w 2219498"/>
                <a:gd name="connsiteY13" fmla="*/ 216130 h 2161309"/>
                <a:gd name="connsiteX14" fmla="*/ 290945 w 2219498"/>
                <a:gd name="connsiteY14" fmla="*/ 423949 h 2161309"/>
                <a:gd name="connsiteX15" fmla="*/ 157942 w 2219498"/>
                <a:gd name="connsiteY15" fmla="*/ 266007 h 2161309"/>
                <a:gd name="connsiteX16" fmla="*/ 157942 w 2219498"/>
                <a:gd name="connsiteY16" fmla="*/ 141316 h 2161309"/>
                <a:gd name="connsiteX17" fmla="*/ 58189 w 2219498"/>
                <a:gd name="connsiteY17" fmla="*/ 141316 h 2161309"/>
                <a:gd name="connsiteX18" fmla="*/ 0 w 2219498"/>
                <a:gd name="connsiteY18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837112 w 2219498"/>
                <a:gd name="connsiteY8" fmla="*/ 1928552 h 2161309"/>
                <a:gd name="connsiteX9" fmla="*/ 1366425 w 2219498"/>
                <a:gd name="connsiteY9" fmla="*/ 1442808 h 2161309"/>
                <a:gd name="connsiteX10" fmla="*/ 897774 w 2219498"/>
                <a:gd name="connsiteY10" fmla="*/ 964276 h 2161309"/>
                <a:gd name="connsiteX11" fmla="*/ 523702 w 2219498"/>
                <a:gd name="connsiteY11" fmla="*/ 507076 h 2161309"/>
                <a:gd name="connsiteX12" fmla="*/ 290945 w 2219498"/>
                <a:gd name="connsiteY12" fmla="*/ 216130 h 2161309"/>
                <a:gd name="connsiteX13" fmla="*/ 290945 w 2219498"/>
                <a:gd name="connsiteY13" fmla="*/ 423949 h 2161309"/>
                <a:gd name="connsiteX14" fmla="*/ 157942 w 2219498"/>
                <a:gd name="connsiteY14" fmla="*/ 266007 h 2161309"/>
                <a:gd name="connsiteX15" fmla="*/ 157942 w 2219498"/>
                <a:gd name="connsiteY15" fmla="*/ 141316 h 2161309"/>
                <a:gd name="connsiteX16" fmla="*/ 58189 w 2219498"/>
                <a:gd name="connsiteY16" fmla="*/ 141316 h 2161309"/>
                <a:gd name="connsiteX17" fmla="*/ 0 w 2219498"/>
                <a:gd name="connsiteY17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044931 w 2219498"/>
                <a:gd name="connsiteY5" fmla="*/ 1978429 h 2161309"/>
                <a:gd name="connsiteX6" fmla="*/ 2219498 w 2219498"/>
                <a:gd name="connsiteY6" fmla="*/ 2103120 h 2161309"/>
                <a:gd name="connsiteX7" fmla="*/ 2177934 w 2219498"/>
                <a:gd name="connsiteY7" fmla="*/ 2161309 h 2161309"/>
                <a:gd name="connsiteX8" fmla="*/ 1366425 w 2219498"/>
                <a:gd name="connsiteY8" fmla="*/ 1442808 h 2161309"/>
                <a:gd name="connsiteX9" fmla="*/ 897774 w 2219498"/>
                <a:gd name="connsiteY9" fmla="*/ 964276 h 2161309"/>
                <a:gd name="connsiteX10" fmla="*/ 523702 w 2219498"/>
                <a:gd name="connsiteY10" fmla="*/ 507076 h 2161309"/>
                <a:gd name="connsiteX11" fmla="*/ 290945 w 2219498"/>
                <a:gd name="connsiteY11" fmla="*/ 216130 h 2161309"/>
                <a:gd name="connsiteX12" fmla="*/ 290945 w 2219498"/>
                <a:gd name="connsiteY12" fmla="*/ 423949 h 2161309"/>
                <a:gd name="connsiteX13" fmla="*/ 157942 w 2219498"/>
                <a:gd name="connsiteY13" fmla="*/ 266007 h 2161309"/>
                <a:gd name="connsiteX14" fmla="*/ 157942 w 2219498"/>
                <a:gd name="connsiteY14" fmla="*/ 141316 h 2161309"/>
                <a:gd name="connsiteX15" fmla="*/ 58189 w 2219498"/>
                <a:gd name="connsiteY15" fmla="*/ 141316 h 2161309"/>
                <a:gd name="connsiteX16" fmla="*/ 0 w 2219498"/>
                <a:gd name="connsiteY16" fmla="*/ 0 h 2161309"/>
                <a:gd name="connsiteX0" fmla="*/ 0 w 2219498"/>
                <a:gd name="connsiteY0" fmla="*/ 0 h 2161309"/>
                <a:gd name="connsiteX1" fmla="*/ 290945 w 2219498"/>
                <a:gd name="connsiteY1" fmla="*/ 0 h 2161309"/>
                <a:gd name="connsiteX2" fmla="*/ 681643 w 2219498"/>
                <a:gd name="connsiteY2" fmla="*/ 532014 h 2161309"/>
                <a:gd name="connsiteX3" fmla="*/ 1147156 w 2219498"/>
                <a:gd name="connsiteY3" fmla="*/ 1080654 h 2161309"/>
                <a:gd name="connsiteX4" fmla="*/ 1372067 w 2219498"/>
                <a:gd name="connsiteY4" fmla="*/ 1334938 h 2161309"/>
                <a:gd name="connsiteX5" fmla="*/ 2219498 w 2219498"/>
                <a:gd name="connsiteY5" fmla="*/ 2103120 h 2161309"/>
                <a:gd name="connsiteX6" fmla="*/ 2177934 w 2219498"/>
                <a:gd name="connsiteY6" fmla="*/ 2161309 h 2161309"/>
                <a:gd name="connsiteX7" fmla="*/ 1366425 w 2219498"/>
                <a:gd name="connsiteY7" fmla="*/ 1442808 h 2161309"/>
                <a:gd name="connsiteX8" fmla="*/ 897774 w 2219498"/>
                <a:gd name="connsiteY8" fmla="*/ 964276 h 2161309"/>
                <a:gd name="connsiteX9" fmla="*/ 523702 w 2219498"/>
                <a:gd name="connsiteY9" fmla="*/ 507076 h 2161309"/>
                <a:gd name="connsiteX10" fmla="*/ 290945 w 2219498"/>
                <a:gd name="connsiteY10" fmla="*/ 216130 h 2161309"/>
                <a:gd name="connsiteX11" fmla="*/ 290945 w 2219498"/>
                <a:gd name="connsiteY11" fmla="*/ 423949 h 2161309"/>
                <a:gd name="connsiteX12" fmla="*/ 157942 w 2219498"/>
                <a:gd name="connsiteY12" fmla="*/ 266007 h 2161309"/>
                <a:gd name="connsiteX13" fmla="*/ 157942 w 2219498"/>
                <a:gd name="connsiteY13" fmla="*/ 141316 h 2161309"/>
                <a:gd name="connsiteX14" fmla="*/ 58189 w 2219498"/>
                <a:gd name="connsiteY14" fmla="*/ 141316 h 2161309"/>
                <a:gd name="connsiteX15" fmla="*/ 0 w 2219498"/>
                <a:gd name="connsiteY15" fmla="*/ 0 h 2161309"/>
                <a:gd name="connsiteX0" fmla="*/ 0 w 2177933"/>
                <a:gd name="connsiteY0" fmla="*/ 0 h 2161309"/>
                <a:gd name="connsiteX1" fmla="*/ 290945 w 2177933"/>
                <a:gd name="connsiteY1" fmla="*/ 0 h 2161309"/>
                <a:gd name="connsiteX2" fmla="*/ 681643 w 2177933"/>
                <a:gd name="connsiteY2" fmla="*/ 532014 h 2161309"/>
                <a:gd name="connsiteX3" fmla="*/ 1147156 w 2177933"/>
                <a:gd name="connsiteY3" fmla="*/ 1080654 h 2161309"/>
                <a:gd name="connsiteX4" fmla="*/ 1372067 w 2177933"/>
                <a:gd name="connsiteY4" fmla="*/ 1334938 h 2161309"/>
                <a:gd name="connsiteX5" fmla="*/ 2177934 w 2177933"/>
                <a:gd name="connsiteY5" fmla="*/ 2161309 h 2161309"/>
                <a:gd name="connsiteX6" fmla="*/ 1366425 w 2177933"/>
                <a:gd name="connsiteY6" fmla="*/ 1442808 h 2161309"/>
                <a:gd name="connsiteX7" fmla="*/ 897774 w 2177933"/>
                <a:gd name="connsiteY7" fmla="*/ 964276 h 2161309"/>
                <a:gd name="connsiteX8" fmla="*/ 523702 w 2177933"/>
                <a:gd name="connsiteY8" fmla="*/ 507076 h 2161309"/>
                <a:gd name="connsiteX9" fmla="*/ 290945 w 2177933"/>
                <a:gd name="connsiteY9" fmla="*/ 216130 h 2161309"/>
                <a:gd name="connsiteX10" fmla="*/ 290945 w 2177933"/>
                <a:gd name="connsiteY10" fmla="*/ 423949 h 2161309"/>
                <a:gd name="connsiteX11" fmla="*/ 157942 w 2177933"/>
                <a:gd name="connsiteY11" fmla="*/ 266007 h 2161309"/>
                <a:gd name="connsiteX12" fmla="*/ 157942 w 2177933"/>
                <a:gd name="connsiteY12" fmla="*/ 141316 h 2161309"/>
                <a:gd name="connsiteX13" fmla="*/ 58189 w 2177933"/>
                <a:gd name="connsiteY13" fmla="*/ 141316 h 2161309"/>
                <a:gd name="connsiteX14" fmla="*/ 0 w 2177933"/>
                <a:gd name="connsiteY14" fmla="*/ 0 h 2161309"/>
                <a:gd name="connsiteX0" fmla="*/ 0 w 1372067"/>
                <a:gd name="connsiteY0" fmla="*/ 0 h 1442808"/>
                <a:gd name="connsiteX1" fmla="*/ 290945 w 1372067"/>
                <a:gd name="connsiteY1" fmla="*/ 0 h 1442808"/>
                <a:gd name="connsiteX2" fmla="*/ 681643 w 1372067"/>
                <a:gd name="connsiteY2" fmla="*/ 532014 h 1442808"/>
                <a:gd name="connsiteX3" fmla="*/ 1147156 w 1372067"/>
                <a:gd name="connsiteY3" fmla="*/ 1080654 h 1442808"/>
                <a:gd name="connsiteX4" fmla="*/ 1372067 w 1372067"/>
                <a:gd name="connsiteY4" fmla="*/ 1334938 h 1442808"/>
                <a:gd name="connsiteX5" fmla="*/ 1366425 w 1372067"/>
                <a:gd name="connsiteY5" fmla="*/ 1442808 h 1442808"/>
                <a:gd name="connsiteX6" fmla="*/ 897774 w 1372067"/>
                <a:gd name="connsiteY6" fmla="*/ 964276 h 1442808"/>
                <a:gd name="connsiteX7" fmla="*/ 523702 w 1372067"/>
                <a:gd name="connsiteY7" fmla="*/ 507076 h 1442808"/>
                <a:gd name="connsiteX8" fmla="*/ 290945 w 1372067"/>
                <a:gd name="connsiteY8" fmla="*/ 216130 h 1442808"/>
                <a:gd name="connsiteX9" fmla="*/ 290945 w 1372067"/>
                <a:gd name="connsiteY9" fmla="*/ 423949 h 1442808"/>
                <a:gd name="connsiteX10" fmla="*/ 157942 w 1372067"/>
                <a:gd name="connsiteY10" fmla="*/ 266007 h 1442808"/>
                <a:gd name="connsiteX11" fmla="*/ 157942 w 1372067"/>
                <a:gd name="connsiteY11" fmla="*/ 141316 h 1442808"/>
                <a:gd name="connsiteX12" fmla="*/ 58189 w 1372067"/>
                <a:gd name="connsiteY12" fmla="*/ 141316 h 1442808"/>
                <a:gd name="connsiteX13" fmla="*/ 0 w 1372067"/>
                <a:gd name="connsiteY13" fmla="*/ 0 h 1442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72067" h="1442808">
                  <a:moveTo>
                    <a:pt x="0" y="0"/>
                  </a:moveTo>
                  <a:lnTo>
                    <a:pt x="290945" y="0"/>
                  </a:lnTo>
                  <a:lnTo>
                    <a:pt x="681643" y="532014"/>
                  </a:lnTo>
                  <a:lnTo>
                    <a:pt x="1147156" y="1080654"/>
                  </a:lnTo>
                  <a:lnTo>
                    <a:pt x="1372067" y="1334938"/>
                  </a:lnTo>
                  <a:lnTo>
                    <a:pt x="1366425" y="1442808"/>
                  </a:lnTo>
                  <a:lnTo>
                    <a:pt x="897774" y="964276"/>
                  </a:lnTo>
                  <a:lnTo>
                    <a:pt x="523702" y="507076"/>
                  </a:lnTo>
                  <a:lnTo>
                    <a:pt x="290945" y="216130"/>
                  </a:lnTo>
                  <a:lnTo>
                    <a:pt x="290945" y="423949"/>
                  </a:lnTo>
                  <a:lnTo>
                    <a:pt x="157942" y="266007"/>
                  </a:lnTo>
                  <a:lnTo>
                    <a:pt x="157942" y="141316"/>
                  </a:lnTo>
                  <a:lnTo>
                    <a:pt x="58189" y="1413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0" name="Freeform 401"/>
            <p:cNvSpPr/>
            <p:nvPr/>
          </p:nvSpPr>
          <p:spPr>
            <a:xfrm>
              <a:off x="1295977" y="3375529"/>
              <a:ext cx="149085" cy="177886"/>
            </a:xfrm>
            <a:custGeom>
              <a:avLst/>
              <a:gdLst>
                <a:gd name="connsiteX0" fmla="*/ 0 w 731520"/>
                <a:gd name="connsiteY0" fmla="*/ 0 h 872837"/>
                <a:gd name="connsiteX1" fmla="*/ 157942 w 731520"/>
                <a:gd name="connsiteY1" fmla="*/ 0 h 872837"/>
                <a:gd name="connsiteX2" fmla="*/ 299259 w 731520"/>
                <a:gd name="connsiteY2" fmla="*/ 274320 h 872837"/>
                <a:gd name="connsiteX3" fmla="*/ 482139 w 731520"/>
                <a:gd name="connsiteY3" fmla="*/ 565266 h 872837"/>
                <a:gd name="connsiteX4" fmla="*/ 731520 w 731520"/>
                <a:gd name="connsiteY4" fmla="*/ 872837 h 872837"/>
                <a:gd name="connsiteX5" fmla="*/ 648393 w 731520"/>
                <a:gd name="connsiteY5" fmla="*/ 864524 h 872837"/>
                <a:gd name="connsiteX6" fmla="*/ 415637 w 731520"/>
                <a:gd name="connsiteY6" fmla="*/ 606829 h 872837"/>
                <a:gd name="connsiteX7" fmla="*/ 191193 w 731520"/>
                <a:gd name="connsiteY7" fmla="*/ 257695 h 872837"/>
                <a:gd name="connsiteX8" fmla="*/ 149630 w 731520"/>
                <a:gd name="connsiteY8" fmla="*/ 274320 h 872837"/>
                <a:gd name="connsiteX9" fmla="*/ 58190 w 731520"/>
                <a:gd name="connsiteY9" fmla="*/ 124691 h 872837"/>
                <a:gd name="connsiteX10" fmla="*/ 0 w 731520"/>
                <a:gd name="connsiteY10" fmla="*/ 0 h 87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1520" h="872837">
                  <a:moveTo>
                    <a:pt x="0" y="0"/>
                  </a:moveTo>
                  <a:lnTo>
                    <a:pt x="157942" y="0"/>
                  </a:lnTo>
                  <a:lnTo>
                    <a:pt x="299259" y="274320"/>
                  </a:lnTo>
                  <a:lnTo>
                    <a:pt x="482139" y="565266"/>
                  </a:lnTo>
                  <a:lnTo>
                    <a:pt x="731520" y="872837"/>
                  </a:lnTo>
                  <a:lnTo>
                    <a:pt x="648393" y="864524"/>
                  </a:lnTo>
                  <a:lnTo>
                    <a:pt x="415637" y="606829"/>
                  </a:lnTo>
                  <a:lnTo>
                    <a:pt x="191193" y="257695"/>
                  </a:lnTo>
                  <a:lnTo>
                    <a:pt x="149630" y="274320"/>
                  </a:lnTo>
                  <a:lnTo>
                    <a:pt x="58190" y="1246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1" name="Freeform 402"/>
            <p:cNvSpPr/>
            <p:nvPr/>
          </p:nvSpPr>
          <p:spPr>
            <a:xfrm>
              <a:off x="1124867" y="3268798"/>
              <a:ext cx="1196851" cy="548904"/>
            </a:xfrm>
            <a:custGeom>
              <a:avLst/>
              <a:gdLst>
                <a:gd name="connsiteX0" fmla="*/ 4414058 w 6567055"/>
                <a:gd name="connsiteY0" fmla="*/ 0 h 2693324"/>
                <a:gd name="connsiteX1" fmla="*/ 4663440 w 6567055"/>
                <a:gd name="connsiteY1" fmla="*/ 0 h 2693324"/>
                <a:gd name="connsiteX2" fmla="*/ 4779818 w 6567055"/>
                <a:gd name="connsiteY2" fmla="*/ 307571 h 2693324"/>
                <a:gd name="connsiteX3" fmla="*/ 4779818 w 6567055"/>
                <a:gd name="connsiteY3" fmla="*/ 1612670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6442364 w 6567055"/>
                <a:gd name="connsiteY3" fmla="*/ 1637608 h 2693324"/>
                <a:gd name="connsiteX4" fmla="*/ 6567055 w 6567055"/>
                <a:gd name="connsiteY4" fmla="*/ 1712422 h 2693324"/>
                <a:gd name="connsiteX5" fmla="*/ 6567055 w 6567055"/>
                <a:gd name="connsiteY5" fmla="*/ 1778924 h 2693324"/>
                <a:gd name="connsiteX6" fmla="*/ 4763193 w 6567055"/>
                <a:gd name="connsiteY6" fmla="*/ 1778924 h 2693324"/>
                <a:gd name="connsiteX7" fmla="*/ 4779818 w 6567055"/>
                <a:gd name="connsiteY7" fmla="*/ 2094808 h 2693324"/>
                <a:gd name="connsiteX8" fmla="*/ 4846320 w 6567055"/>
                <a:gd name="connsiteY8" fmla="*/ 2593571 h 2693324"/>
                <a:gd name="connsiteX9" fmla="*/ 4879571 w 6567055"/>
                <a:gd name="connsiteY9" fmla="*/ 2693324 h 2693324"/>
                <a:gd name="connsiteX10" fmla="*/ 4164676 w 6567055"/>
                <a:gd name="connsiteY10" fmla="*/ 2693324 h 2693324"/>
                <a:gd name="connsiteX11" fmla="*/ 4256116 w 6567055"/>
                <a:gd name="connsiteY11" fmla="*/ 2327564 h 2693324"/>
                <a:gd name="connsiteX12" fmla="*/ 4297680 w 6567055"/>
                <a:gd name="connsiteY12" fmla="*/ 1803862 h 2693324"/>
                <a:gd name="connsiteX13" fmla="*/ 3940233 w 6567055"/>
                <a:gd name="connsiteY13" fmla="*/ 1795550 h 2693324"/>
                <a:gd name="connsiteX14" fmla="*/ 2651760 w 6567055"/>
                <a:gd name="connsiteY14" fmla="*/ 1886990 h 2693324"/>
                <a:gd name="connsiteX15" fmla="*/ 1604356 w 6567055"/>
                <a:gd name="connsiteY15" fmla="*/ 1986742 h 2693324"/>
                <a:gd name="connsiteX16" fmla="*/ 1014153 w 6567055"/>
                <a:gd name="connsiteY16" fmla="*/ 2086495 h 2693324"/>
                <a:gd name="connsiteX17" fmla="*/ 1014153 w 6567055"/>
                <a:gd name="connsiteY17" fmla="*/ 2402379 h 2693324"/>
                <a:gd name="connsiteX18" fmla="*/ 1072342 w 6567055"/>
                <a:gd name="connsiteY18" fmla="*/ 2693324 h 2693324"/>
                <a:gd name="connsiteX19" fmla="*/ 606829 w 6567055"/>
                <a:gd name="connsiteY19" fmla="*/ 2693324 h 2693324"/>
                <a:gd name="connsiteX20" fmla="*/ 665018 w 6567055"/>
                <a:gd name="connsiteY20" fmla="*/ 2385753 h 2693324"/>
                <a:gd name="connsiteX21" fmla="*/ 665018 w 6567055"/>
                <a:gd name="connsiteY21" fmla="*/ 2169622 h 2693324"/>
                <a:gd name="connsiteX22" fmla="*/ 274320 w 6567055"/>
                <a:gd name="connsiteY22" fmla="*/ 2219499 h 2693324"/>
                <a:gd name="connsiteX23" fmla="*/ 0 w 6567055"/>
                <a:gd name="connsiteY23" fmla="*/ 2269375 h 2693324"/>
                <a:gd name="connsiteX24" fmla="*/ 8313 w 6567055"/>
                <a:gd name="connsiteY24" fmla="*/ 2186248 h 2693324"/>
                <a:gd name="connsiteX25" fmla="*/ 324196 w 6567055"/>
                <a:gd name="connsiteY25" fmla="*/ 2069870 h 2693324"/>
                <a:gd name="connsiteX26" fmla="*/ 656705 w 6567055"/>
                <a:gd name="connsiteY26" fmla="*/ 1978430 h 2693324"/>
                <a:gd name="connsiteX27" fmla="*/ 897775 w 6567055"/>
                <a:gd name="connsiteY27" fmla="*/ 1920240 h 2693324"/>
                <a:gd name="connsiteX28" fmla="*/ 897775 w 6567055"/>
                <a:gd name="connsiteY28" fmla="*/ 931026 h 2693324"/>
                <a:gd name="connsiteX29" fmla="*/ 997527 w 6567055"/>
                <a:gd name="connsiteY29" fmla="*/ 1047404 h 2693324"/>
                <a:gd name="connsiteX30" fmla="*/ 997527 w 6567055"/>
                <a:gd name="connsiteY30" fmla="*/ 1920240 h 2693324"/>
                <a:gd name="connsiteX31" fmla="*/ 1704109 w 6567055"/>
                <a:gd name="connsiteY31" fmla="*/ 1828800 h 2693324"/>
                <a:gd name="connsiteX32" fmla="*/ 2651760 w 6567055"/>
                <a:gd name="connsiteY32" fmla="*/ 1712422 h 2693324"/>
                <a:gd name="connsiteX33" fmla="*/ 4056611 w 6567055"/>
                <a:gd name="connsiteY33" fmla="*/ 1620982 h 2693324"/>
                <a:gd name="connsiteX34" fmla="*/ 4663440 w 6567055"/>
                <a:gd name="connsiteY34" fmla="*/ 1604357 h 2693324"/>
                <a:gd name="connsiteX35" fmla="*/ 4663440 w 6567055"/>
                <a:gd name="connsiteY35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442364 w 6567055"/>
                <a:gd name="connsiteY4" fmla="*/ 1637608 h 2693324"/>
                <a:gd name="connsiteX5" fmla="*/ 6567055 w 6567055"/>
                <a:gd name="connsiteY5" fmla="*/ 1712422 h 2693324"/>
                <a:gd name="connsiteX6" fmla="*/ 6567055 w 6567055"/>
                <a:gd name="connsiteY6" fmla="*/ 1778924 h 2693324"/>
                <a:gd name="connsiteX7" fmla="*/ 5860938 w 6567055"/>
                <a:gd name="connsiteY7" fmla="*/ 1779220 h 2693324"/>
                <a:gd name="connsiteX8" fmla="*/ 4763193 w 6567055"/>
                <a:gd name="connsiteY8" fmla="*/ 1778924 h 2693324"/>
                <a:gd name="connsiteX9" fmla="*/ 4779818 w 6567055"/>
                <a:gd name="connsiteY9" fmla="*/ 2094808 h 2693324"/>
                <a:gd name="connsiteX10" fmla="*/ 4846320 w 6567055"/>
                <a:gd name="connsiteY10" fmla="*/ 2593571 h 2693324"/>
                <a:gd name="connsiteX11" fmla="*/ 4879571 w 6567055"/>
                <a:gd name="connsiteY11" fmla="*/ 2693324 h 2693324"/>
                <a:gd name="connsiteX12" fmla="*/ 4164676 w 6567055"/>
                <a:gd name="connsiteY12" fmla="*/ 2693324 h 2693324"/>
                <a:gd name="connsiteX13" fmla="*/ 4256116 w 6567055"/>
                <a:gd name="connsiteY13" fmla="*/ 2327564 h 2693324"/>
                <a:gd name="connsiteX14" fmla="*/ 4297680 w 6567055"/>
                <a:gd name="connsiteY14" fmla="*/ 1803862 h 2693324"/>
                <a:gd name="connsiteX15" fmla="*/ 3940233 w 6567055"/>
                <a:gd name="connsiteY15" fmla="*/ 1795550 h 2693324"/>
                <a:gd name="connsiteX16" fmla="*/ 2651760 w 6567055"/>
                <a:gd name="connsiteY16" fmla="*/ 1886990 h 2693324"/>
                <a:gd name="connsiteX17" fmla="*/ 1604356 w 6567055"/>
                <a:gd name="connsiteY17" fmla="*/ 1986742 h 2693324"/>
                <a:gd name="connsiteX18" fmla="*/ 1014153 w 6567055"/>
                <a:gd name="connsiteY18" fmla="*/ 2086495 h 2693324"/>
                <a:gd name="connsiteX19" fmla="*/ 1014153 w 6567055"/>
                <a:gd name="connsiteY19" fmla="*/ 2402379 h 2693324"/>
                <a:gd name="connsiteX20" fmla="*/ 1072342 w 6567055"/>
                <a:gd name="connsiteY20" fmla="*/ 2693324 h 2693324"/>
                <a:gd name="connsiteX21" fmla="*/ 606829 w 6567055"/>
                <a:gd name="connsiteY21" fmla="*/ 2693324 h 2693324"/>
                <a:gd name="connsiteX22" fmla="*/ 665018 w 6567055"/>
                <a:gd name="connsiteY22" fmla="*/ 2385753 h 2693324"/>
                <a:gd name="connsiteX23" fmla="*/ 665018 w 6567055"/>
                <a:gd name="connsiteY23" fmla="*/ 2169622 h 2693324"/>
                <a:gd name="connsiteX24" fmla="*/ 274320 w 6567055"/>
                <a:gd name="connsiteY24" fmla="*/ 2219499 h 2693324"/>
                <a:gd name="connsiteX25" fmla="*/ 0 w 6567055"/>
                <a:gd name="connsiteY25" fmla="*/ 2269375 h 2693324"/>
                <a:gd name="connsiteX26" fmla="*/ 8313 w 6567055"/>
                <a:gd name="connsiteY26" fmla="*/ 2186248 h 2693324"/>
                <a:gd name="connsiteX27" fmla="*/ 324196 w 6567055"/>
                <a:gd name="connsiteY27" fmla="*/ 2069870 h 2693324"/>
                <a:gd name="connsiteX28" fmla="*/ 656705 w 6567055"/>
                <a:gd name="connsiteY28" fmla="*/ 1978430 h 2693324"/>
                <a:gd name="connsiteX29" fmla="*/ 897775 w 6567055"/>
                <a:gd name="connsiteY29" fmla="*/ 1920240 h 2693324"/>
                <a:gd name="connsiteX30" fmla="*/ 897775 w 6567055"/>
                <a:gd name="connsiteY30" fmla="*/ 931026 h 2693324"/>
                <a:gd name="connsiteX31" fmla="*/ 997527 w 6567055"/>
                <a:gd name="connsiteY31" fmla="*/ 1047404 h 2693324"/>
                <a:gd name="connsiteX32" fmla="*/ 997527 w 6567055"/>
                <a:gd name="connsiteY32" fmla="*/ 1920240 h 2693324"/>
                <a:gd name="connsiteX33" fmla="*/ 1704109 w 6567055"/>
                <a:gd name="connsiteY33" fmla="*/ 1828800 h 2693324"/>
                <a:gd name="connsiteX34" fmla="*/ 2651760 w 6567055"/>
                <a:gd name="connsiteY34" fmla="*/ 1712422 h 2693324"/>
                <a:gd name="connsiteX35" fmla="*/ 4056611 w 6567055"/>
                <a:gd name="connsiteY35" fmla="*/ 1620982 h 2693324"/>
                <a:gd name="connsiteX36" fmla="*/ 4663440 w 6567055"/>
                <a:gd name="connsiteY36" fmla="*/ 1604357 h 2693324"/>
                <a:gd name="connsiteX37" fmla="*/ 4663440 w 6567055"/>
                <a:gd name="connsiteY37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567055 w 6567055"/>
                <a:gd name="connsiteY4" fmla="*/ 1712422 h 2693324"/>
                <a:gd name="connsiteX5" fmla="*/ 6567055 w 6567055"/>
                <a:gd name="connsiteY5" fmla="*/ 1778924 h 2693324"/>
                <a:gd name="connsiteX6" fmla="*/ 5860938 w 6567055"/>
                <a:gd name="connsiteY6" fmla="*/ 1779220 h 2693324"/>
                <a:gd name="connsiteX7" fmla="*/ 4763193 w 6567055"/>
                <a:gd name="connsiteY7" fmla="*/ 1778924 h 2693324"/>
                <a:gd name="connsiteX8" fmla="*/ 4779818 w 6567055"/>
                <a:gd name="connsiteY8" fmla="*/ 2094808 h 2693324"/>
                <a:gd name="connsiteX9" fmla="*/ 4846320 w 6567055"/>
                <a:gd name="connsiteY9" fmla="*/ 2593571 h 2693324"/>
                <a:gd name="connsiteX10" fmla="*/ 4879571 w 6567055"/>
                <a:gd name="connsiteY10" fmla="*/ 2693324 h 2693324"/>
                <a:gd name="connsiteX11" fmla="*/ 4164676 w 6567055"/>
                <a:gd name="connsiteY11" fmla="*/ 2693324 h 2693324"/>
                <a:gd name="connsiteX12" fmla="*/ 4256116 w 6567055"/>
                <a:gd name="connsiteY12" fmla="*/ 2327564 h 2693324"/>
                <a:gd name="connsiteX13" fmla="*/ 4297680 w 6567055"/>
                <a:gd name="connsiteY13" fmla="*/ 1803862 h 2693324"/>
                <a:gd name="connsiteX14" fmla="*/ 3940233 w 6567055"/>
                <a:gd name="connsiteY14" fmla="*/ 1795550 h 2693324"/>
                <a:gd name="connsiteX15" fmla="*/ 2651760 w 6567055"/>
                <a:gd name="connsiteY15" fmla="*/ 1886990 h 2693324"/>
                <a:gd name="connsiteX16" fmla="*/ 1604356 w 6567055"/>
                <a:gd name="connsiteY16" fmla="*/ 1986742 h 2693324"/>
                <a:gd name="connsiteX17" fmla="*/ 1014153 w 6567055"/>
                <a:gd name="connsiteY17" fmla="*/ 2086495 h 2693324"/>
                <a:gd name="connsiteX18" fmla="*/ 1014153 w 6567055"/>
                <a:gd name="connsiteY18" fmla="*/ 2402379 h 2693324"/>
                <a:gd name="connsiteX19" fmla="*/ 1072342 w 6567055"/>
                <a:gd name="connsiteY19" fmla="*/ 2693324 h 2693324"/>
                <a:gd name="connsiteX20" fmla="*/ 606829 w 6567055"/>
                <a:gd name="connsiteY20" fmla="*/ 2693324 h 2693324"/>
                <a:gd name="connsiteX21" fmla="*/ 665018 w 6567055"/>
                <a:gd name="connsiteY21" fmla="*/ 2385753 h 2693324"/>
                <a:gd name="connsiteX22" fmla="*/ 665018 w 6567055"/>
                <a:gd name="connsiteY22" fmla="*/ 2169622 h 2693324"/>
                <a:gd name="connsiteX23" fmla="*/ 274320 w 6567055"/>
                <a:gd name="connsiteY23" fmla="*/ 2219499 h 2693324"/>
                <a:gd name="connsiteX24" fmla="*/ 0 w 6567055"/>
                <a:gd name="connsiteY24" fmla="*/ 2269375 h 2693324"/>
                <a:gd name="connsiteX25" fmla="*/ 8313 w 6567055"/>
                <a:gd name="connsiteY25" fmla="*/ 2186248 h 2693324"/>
                <a:gd name="connsiteX26" fmla="*/ 324196 w 6567055"/>
                <a:gd name="connsiteY26" fmla="*/ 2069870 h 2693324"/>
                <a:gd name="connsiteX27" fmla="*/ 656705 w 6567055"/>
                <a:gd name="connsiteY27" fmla="*/ 1978430 h 2693324"/>
                <a:gd name="connsiteX28" fmla="*/ 897775 w 6567055"/>
                <a:gd name="connsiteY28" fmla="*/ 1920240 h 2693324"/>
                <a:gd name="connsiteX29" fmla="*/ 897775 w 6567055"/>
                <a:gd name="connsiteY29" fmla="*/ 931026 h 2693324"/>
                <a:gd name="connsiteX30" fmla="*/ 997527 w 6567055"/>
                <a:gd name="connsiteY30" fmla="*/ 1047404 h 2693324"/>
                <a:gd name="connsiteX31" fmla="*/ 997527 w 6567055"/>
                <a:gd name="connsiteY31" fmla="*/ 1920240 h 2693324"/>
                <a:gd name="connsiteX32" fmla="*/ 1704109 w 6567055"/>
                <a:gd name="connsiteY32" fmla="*/ 1828800 h 2693324"/>
                <a:gd name="connsiteX33" fmla="*/ 2651760 w 6567055"/>
                <a:gd name="connsiteY33" fmla="*/ 1712422 h 2693324"/>
                <a:gd name="connsiteX34" fmla="*/ 4056611 w 6567055"/>
                <a:gd name="connsiteY34" fmla="*/ 1620982 h 2693324"/>
                <a:gd name="connsiteX35" fmla="*/ 4663440 w 6567055"/>
                <a:gd name="connsiteY35" fmla="*/ 1604357 h 2693324"/>
                <a:gd name="connsiteX36" fmla="*/ 4663440 w 6567055"/>
                <a:gd name="connsiteY36" fmla="*/ 157942 h 2693324"/>
                <a:gd name="connsiteX0" fmla="*/ 4663440 w 6567055"/>
                <a:gd name="connsiteY0" fmla="*/ 0 h 2693324"/>
                <a:gd name="connsiteX1" fmla="*/ 4779818 w 6567055"/>
                <a:gd name="connsiteY1" fmla="*/ 307571 h 2693324"/>
                <a:gd name="connsiteX2" fmla="*/ 4779818 w 6567055"/>
                <a:gd name="connsiteY2" fmla="*/ 1612670 h 2693324"/>
                <a:gd name="connsiteX3" fmla="*/ 5872621 w 6567055"/>
                <a:gd name="connsiteY3" fmla="*/ 1615644 h 2693324"/>
                <a:gd name="connsiteX4" fmla="*/ 6567055 w 6567055"/>
                <a:gd name="connsiteY4" fmla="*/ 1778924 h 2693324"/>
                <a:gd name="connsiteX5" fmla="*/ 5860938 w 6567055"/>
                <a:gd name="connsiteY5" fmla="*/ 1779220 h 2693324"/>
                <a:gd name="connsiteX6" fmla="*/ 4763193 w 6567055"/>
                <a:gd name="connsiteY6" fmla="*/ 1778924 h 2693324"/>
                <a:gd name="connsiteX7" fmla="*/ 4779818 w 6567055"/>
                <a:gd name="connsiteY7" fmla="*/ 2094808 h 2693324"/>
                <a:gd name="connsiteX8" fmla="*/ 4846320 w 6567055"/>
                <a:gd name="connsiteY8" fmla="*/ 2593571 h 2693324"/>
                <a:gd name="connsiteX9" fmla="*/ 4879571 w 6567055"/>
                <a:gd name="connsiteY9" fmla="*/ 2693324 h 2693324"/>
                <a:gd name="connsiteX10" fmla="*/ 4164676 w 6567055"/>
                <a:gd name="connsiteY10" fmla="*/ 2693324 h 2693324"/>
                <a:gd name="connsiteX11" fmla="*/ 4256116 w 6567055"/>
                <a:gd name="connsiteY11" fmla="*/ 2327564 h 2693324"/>
                <a:gd name="connsiteX12" fmla="*/ 4297680 w 6567055"/>
                <a:gd name="connsiteY12" fmla="*/ 1803862 h 2693324"/>
                <a:gd name="connsiteX13" fmla="*/ 3940233 w 6567055"/>
                <a:gd name="connsiteY13" fmla="*/ 1795550 h 2693324"/>
                <a:gd name="connsiteX14" fmla="*/ 2651760 w 6567055"/>
                <a:gd name="connsiteY14" fmla="*/ 1886990 h 2693324"/>
                <a:gd name="connsiteX15" fmla="*/ 1604356 w 6567055"/>
                <a:gd name="connsiteY15" fmla="*/ 1986742 h 2693324"/>
                <a:gd name="connsiteX16" fmla="*/ 1014153 w 6567055"/>
                <a:gd name="connsiteY16" fmla="*/ 2086495 h 2693324"/>
                <a:gd name="connsiteX17" fmla="*/ 1014153 w 6567055"/>
                <a:gd name="connsiteY17" fmla="*/ 2402379 h 2693324"/>
                <a:gd name="connsiteX18" fmla="*/ 1072342 w 6567055"/>
                <a:gd name="connsiteY18" fmla="*/ 2693324 h 2693324"/>
                <a:gd name="connsiteX19" fmla="*/ 606829 w 6567055"/>
                <a:gd name="connsiteY19" fmla="*/ 2693324 h 2693324"/>
                <a:gd name="connsiteX20" fmla="*/ 665018 w 6567055"/>
                <a:gd name="connsiteY20" fmla="*/ 2385753 h 2693324"/>
                <a:gd name="connsiteX21" fmla="*/ 665018 w 6567055"/>
                <a:gd name="connsiteY21" fmla="*/ 2169622 h 2693324"/>
                <a:gd name="connsiteX22" fmla="*/ 274320 w 6567055"/>
                <a:gd name="connsiteY22" fmla="*/ 2219499 h 2693324"/>
                <a:gd name="connsiteX23" fmla="*/ 0 w 6567055"/>
                <a:gd name="connsiteY23" fmla="*/ 2269375 h 2693324"/>
                <a:gd name="connsiteX24" fmla="*/ 8313 w 6567055"/>
                <a:gd name="connsiteY24" fmla="*/ 2186248 h 2693324"/>
                <a:gd name="connsiteX25" fmla="*/ 324196 w 6567055"/>
                <a:gd name="connsiteY25" fmla="*/ 2069870 h 2693324"/>
                <a:gd name="connsiteX26" fmla="*/ 656705 w 6567055"/>
                <a:gd name="connsiteY26" fmla="*/ 1978430 h 2693324"/>
                <a:gd name="connsiteX27" fmla="*/ 897775 w 6567055"/>
                <a:gd name="connsiteY27" fmla="*/ 1920240 h 2693324"/>
                <a:gd name="connsiteX28" fmla="*/ 897775 w 6567055"/>
                <a:gd name="connsiteY28" fmla="*/ 931026 h 2693324"/>
                <a:gd name="connsiteX29" fmla="*/ 997527 w 6567055"/>
                <a:gd name="connsiteY29" fmla="*/ 1047404 h 2693324"/>
                <a:gd name="connsiteX30" fmla="*/ 997527 w 6567055"/>
                <a:gd name="connsiteY30" fmla="*/ 1920240 h 2693324"/>
                <a:gd name="connsiteX31" fmla="*/ 1704109 w 6567055"/>
                <a:gd name="connsiteY31" fmla="*/ 1828800 h 2693324"/>
                <a:gd name="connsiteX32" fmla="*/ 2651760 w 6567055"/>
                <a:gd name="connsiteY32" fmla="*/ 1712422 h 2693324"/>
                <a:gd name="connsiteX33" fmla="*/ 4056611 w 6567055"/>
                <a:gd name="connsiteY33" fmla="*/ 1620982 h 2693324"/>
                <a:gd name="connsiteX34" fmla="*/ 4663440 w 6567055"/>
                <a:gd name="connsiteY34" fmla="*/ 1604357 h 2693324"/>
                <a:gd name="connsiteX35" fmla="*/ 4663440 w 6567055"/>
                <a:gd name="connsiteY35" fmla="*/ 157942 h 2693324"/>
                <a:gd name="connsiteX0" fmla="*/ 4663440 w 5872621"/>
                <a:gd name="connsiteY0" fmla="*/ 0 h 2693324"/>
                <a:gd name="connsiteX1" fmla="*/ 4779818 w 5872621"/>
                <a:gd name="connsiteY1" fmla="*/ 307571 h 2693324"/>
                <a:gd name="connsiteX2" fmla="*/ 4779818 w 5872621"/>
                <a:gd name="connsiteY2" fmla="*/ 1612670 h 2693324"/>
                <a:gd name="connsiteX3" fmla="*/ 5872621 w 5872621"/>
                <a:gd name="connsiteY3" fmla="*/ 1615644 h 2693324"/>
                <a:gd name="connsiteX4" fmla="*/ 5860938 w 5872621"/>
                <a:gd name="connsiteY4" fmla="*/ 1779220 h 2693324"/>
                <a:gd name="connsiteX5" fmla="*/ 4763193 w 5872621"/>
                <a:gd name="connsiteY5" fmla="*/ 1778924 h 2693324"/>
                <a:gd name="connsiteX6" fmla="*/ 4779818 w 5872621"/>
                <a:gd name="connsiteY6" fmla="*/ 2094808 h 2693324"/>
                <a:gd name="connsiteX7" fmla="*/ 4846320 w 5872621"/>
                <a:gd name="connsiteY7" fmla="*/ 2593571 h 2693324"/>
                <a:gd name="connsiteX8" fmla="*/ 4879571 w 5872621"/>
                <a:gd name="connsiteY8" fmla="*/ 2693324 h 2693324"/>
                <a:gd name="connsiteX9" fmla="*/ 4164676 w 5872621"/>
                <a:gd name="connsiteY9" fmla="*/ 2693324 h 2693324"/>
                <a:gd name="connsiteX10" fmla="*/ 4256116 w 5872621"/>
                <a:gd name="connsiteY10" fmla="*/ 2327564 h 2693324"/>
                <a:gd name="connsiteX11" fmla="*/ 4297680 w 5872621"/>
                <a:gd name="connsiteY11" fmla="*/ 1803862 h 2693324"/>
                <a:gd name="connsiteX12" fmla="*/ 3940233 w 5872621"/>
                <a:gd name="connsiteY12" fmla="*/ 1795550 h 2693324"/>
                <a:gd name="connsiteX13" fmla="*/ 2651760 w 5872621"/>
                <a:gd name="connsiteY13" fmla="*/ 1886990 h 2693324"/>
                <a:gd name="connsiteX14" fmla="*/ 1604356 w 5872621"/>
                <a:gd name="connsiteY14" fmla="*/ 1986742 h 2693324"/>
                <a:gd name="connsiteX15" fmla="*/ 1014153 w 5872621"/>
                <a:gd name="connsiteY15" fmla="*/ 2086495 h 2693324"/>
                <a:gd name="connsiteX16" fmla="*/ 1014153 w 5872621"/>
                <a:gd name="connsiteY16" fmla="*/ 2402379 h 2693324"/>
                <a:gd name="connsiteX17" fmla="*/ 1072342 w 5872621"/>
                <a:gd name="connsiteY17" fmla="*/ 2693324 h 2693324"/>
                <a:gd name="connsiteX18" fmla="*/ 606829 w 5872621"/>
                <a:gd name="connsiteY18" fmla="*/ 2693324 h 2693324"/>
                <a:gd name="connsiteX19" fmla="*/ 665018 w 5872621"/>
                <a:gd name="connsiteY19" fmla="*/ 2385753 h 2693324"/>
                <a:gd name="connsiteX20" fmla="*/ 665018 w 5872621"/>
                <a:gd name="connsiteY20" fmla="*/ 2169622 h 2693324"/>
                <a:gd name="connsiteX21" fmla="*/ 274320 w 5872621"/>
                <a:gd name="connsiteY21" fmla="*/ 2219499 h 2693324"/>
                <a:gd name="connsiteX22" fmla="*/ 0 w 5872621"/>
                <a:gd name="connsiteY22" fmla="*/ 2269375 h 2693324"/>
                <a:gd name="connsiteX23" fmla="*/ 8313 w 5872621"/>
                <a:gd name="connsiteY23" fmla="*/ 2186248 h 2693324"/>
                <a:gd name="connsiteX24" fmla="*/ 324196 w 5872621"/>
                <a:gd name="connsiteY24" fmla="*/ 2069870 h 2693324"/>
                <a:gd name="connsiteX25" fmla="*/ 656705 w 5872621"/>
                <a:gd name="connsiteY25" fmla="*/ 1978430 h 2693324"/>
                <a:gd name="connsiteX26" fmla="*/ 897775 w 5872621"/>
                <a:gd name="connsiteY26" fmla="*/ 1920240 h 2693324"/>
                <a:gd name="connsiteX27" fmla="*/ 897775 w 5872621"/>
                <a:gd name="connsiteY27" fmla="*/ 931026 h 2693324"/>
                <a:gd name="connsiteX28" fmla="*/ 997527 w 5872621"/>
                <a:gd name="connsiteY28" fmla="*/ 1047404 h 2693324"/>
                <a:gd name="connsiteX29" fmla="*/ 997527 w 5872621"/>
                <a:gd name="connsiteY29" fmla="*/ 1920240 h 2693324"/>
                <a:gd name="connsiteX30" fmla="*/ 1704109 w 5872621"/>
                <a:gd name="connsiteY30" fmla="*/ 1828800 h 2693324"/>
                <a:gd name="connsiteX31" fmla="*/ 2651760 w 5872621"/>
                <a:gd name="connsiteY31" fmla="*/ 1712422 h 2693324"/>
                <a:gd name="connsiteX32" fmla="*/ 4056611 w 5872621"/>
                <a:gd name="connsiteY32" fmla="*/ 1620982 h 2693324"/>
                <a:gd name="connsiteX33" fmla="*/ 4663440 w 5872621"/>
                <a:gd name="connsiteY33" fmla="*/ 1604357 h 2693324"/>
                <a:gd name="connsiteX34" fmla="*/ 4663440 w 5872621"/>
                <a:gd name="connsiteY34" fmla="*/ 157942 h 269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872621" h="2693324">
                  <a:moveTo>
                    <a:pt x="4663440" y="0"/>
                  </a:moveTo>
                  <a:lnTo>
                    <a:pt x="4779818" y="307571"/>
                  </a:lnTo>
                  <a:lnTo>
                    <a:pt x="4779818" y="1612670"/>
                  </a:lnTo>
                  <a:lnTo>
                    <a:pt x="5872621" y="1615644"/>
                  </a:lnTo>
                  <a:lnTo>
                    <a:pt x="5860938" y="1779220"/>
                  </a:lnTo>
                  <a:lnTo>
                    <a:pt x="4763193" y="1778924"/>
                  </a:lnTo>
                  <a:lnTo>
                    <a:pt x="4779818" y="2094808"/>
                  </a:lnTo>
                  <a:lnTo>
                    <a:pt x="4846320" y="2593571"/>
                  </a:lnTo>
                  <a:lnTo>
                    <a:pt x="4879571" y="2693324"/>
                  </a:lnTo>
                  <a:lnTo>
                    <a:pt x="4164676" y="2693324"/>
                  </a:lnTo>
                  <a:lnTo>
                    <a:pt x="4256116" y="2327564"/>
                  </a:lnTo>
                  <a:lnTo>
                    <a:pt x="4297680" y="1803862"/>
                  </a:lnTo>
                  <a:lnTo>
                    <a:pt x="3940233" y="1795550"/>
                  </a:lnTo>
                  <a:lnTo>
                    <a:pt x="2651760" y="1886990"/>
                  </a:lnTo>
                  <a:lnTo>
                    <a:pt x="1604356" y="1986742"/>
                  </a:lnTo>
                  <a:lnTo>
                    <a:pt x="1014153" y="2086495"/>
                  </a:lnTo>
                  <a:lnTo>
                    <a:pt x="1014153" y="2402379"/>
                  </a:lnTo>
                  <a:lnTo>
                    <a:pt x="1072342" y="2693324"/>
                  </a:lnTo>
                  <a:lnTo>
                    <a:pt x="606829" y="2693324"/>
                  </a:lnTo>
                  <a:lnTo>
                    <a:pt x="665018" y="2385753"/>
                  </a:lnTo>
                  <a:lnTo>
                    <a:pt x="665018" y="2169622"/>
                  </a:lnTo>
                  <a:lnTo>
                    <a:pt x="274320" y="2219499"/>
                  </a:lnTo>
                  <a:lnTo>
                    <a:pt x="0" y="2269375"/>
                  </a:lnTo>
                  <a:lnTo>
                    <a:pt x="8313" y="2186248"/>
                  </a:lnTo>
                  <a:lnTo>
                    <a:pt x="324196" y="2069870"/>
                  </a:lnTo>
                  <a:lnTo>
                    <a:pt x="656705" y="1978430"/>
                  </a:lnTo>
                  <a:lnTo>
                    <a:pt x="897775" y="1920240"/>
                  </a:lnTo>
                  <a:lnTo>
                    <a:pt x="897775" y="931026"/>
                  </a:lnTo>
                  <a:lnTo>
                    <a:pt x="997527" y="1047404"/>
                  </a:lnTo>
                  <a:lnTo>
                    <a:pt x="997527" y="1920240"/>
                  </a:lnTo>
                  <a:lnTo>
                    <a:pt x="1704109" y="1828800"/>
                  </a:lnTo>
                  <a:lnTo>
                    <a:pt x="2651760" y="1712422"/>
                  </a:lnTo>
                  <a:lnTo>
                    <a:pt x="4056611" y="1620982"/>
                  </a:lnTo>
                  <a:lnTo>
                    <a:pt x="4663440" y="1604357"/>
                  </a:lnTo>
                  <a:lnTo>
                    <a:pt x="4663440" y="157942"/>
                  </a:lnTo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2" name="Freeform 403"/>
            <p:cNvSpPr/>
            <p:nvPr/>
          </p:nvSpPr>
          <p:spPr>
            <a:xfrm>
              <a:off x="1196022" y="3529697"/>
              <a:ext cx="74543" cy="133838"/>
            </a:xfrm>
            <a:custGeom>
              <a:avLst/>
              <a:gdLst>
                <a:gd name="connsiteX0" fmla="*/ 0 w 365760"/>
                <a:gd name="connsiteY0" fmla="*/ 656706 h 656706"/>
                <a:gd name="connsiteX1" fmla="*/ 182880 w 365760"/>
                <a:gd name="connsiteY1" fmla="*/ 365760 h 656706"/>
                <a:gd name="connsiteX2" fmla="*/ 365760 w 365760"/>
                <a:gd name="connsiteY2" fmla="*/ 0 h 656706"/>
                <a:gd name="connsiteX3" fmla="*/ 357447 w 365760"/>
                <a:gd name="connsiteY3" fmla="*/ 207819 h 656706"/>
                <a:gd name="connsiteX4" fmla="*/ 166254 w 365760"/>
                <a:gd name="connsiteY4" fmla="*/ 532015 h 656706"/>
                <a:gd name="connsiteX5" fmla="*/ 0 w 365760"/>
                <a:gd name="connsiteY5" fmla="*/ 656706 h 656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760" h="656706">
                  <a:moveTo>
                    <a:pt x="0" y="656706"/>
                  </a:moveTo>
                  <a:lnTo>
                    <a:pt x="182880" y="365760"/>
                  </a:lnTo>
                  <a:lnTo>
                    <a:pt x="365760" y="0"/>
                  </a:lnTo>
                  <a:lnTo>
                    <a:pt x="357447" y="207819"/>
                  </a:lnTo>
                  <a:lnTo>
                    <a:pt x="166254" y="532015"/>
                  </a:lnTo>
                  <a:lnTo>
                    <a:pt x="0" y="656706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3" name="Freeform 404"/>
            <p:cNvSpPr/>
            <p:nvPr/>
          </p:nvSpPr>
          <p:spPr>
            <a:xfrm>
              <a:off x="1736456" y="3285739"/>
              <a:ext cx="277840" cy="308335"/>
            </a:xfrm>
            <a:custGeom>
              <a:avLst/>
              <a:gdLst>
                <a:gd name="connsiteX0" fmla="*/ 0 w 1363287"/>
                <a:gd name="connsiteY0" fmla="*/ 1512916 h 1512916"/>
                <a:gd name="connsiteX1" fmla="*/ 490450 w 1363287"/>
                <a:gd name="connsiteY1" fmla="*/ 1039091 h 1512916"/>
                <a:gd name="connsiteX2" fmla="*/ 1064029 w 1363287"/>
                <a:gd name="connsiteY2" fmla="*/ 415636 h 1512916"/>
                <a:gd name="connsiteX3" fmla="*/ 1363287 w 1363287"/>
                <a:gd name="connsiteY3" fmla="*/ 0 h 1512916"/>
                <a:gd name="connsiteX4" fmla="*/ 1330036 w 1363287"/>
                <a:gd name="connsiteY4" fmla="*/ 249382 h 1512916"/>
                <a:gd name="connsiteX5" fmla="*/ 889461 w 1363287"/>
                <a:gd name="connsiteY5" fmla="*/ 756458 h 1512916"/>
                <a:gd name="connsiteX6" fmla="*/ 457200 w 1363287"/>
                <a:gd name="connsiteY6" fmla="*/ 1180407 h 1512916"/>
                <a:gd name="connsiteX7" fmla="*/ 74814 w 1363287"/>
                <a:gd name="connsiteY7" fmla="*/ 1512916 h 1512916"/>
                <a:gd name="connsiteX8" fmla="*/ 0 w 1363287"/>
                <a:gd name="connsiteY8" fmla="*/ 1512916 h 151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3287" h="1512916">
                  <a:moveTo>
                    <a:pt x="0" y="1512916"/>
                  </a:moveTo>
                  <a:lnTo>
                    <a:pt x="490450" y="1039091"/>
                  </a:lnTo>
                  <a:lnTo>
                    <a:pt x="1064029" y="415636"/>
                  </a:lnTo>
                  <a:lnTo>
                    <a:pt x="1363287" y="0"/>
                  </a:lnTo>
                  <a:lnTo>
                    <a:pt x="1330036" y="249382"/>
                  </a:lnTo>
                  <a:lnTo>
                    <a:pt x="889461" y="756458"/>
                  </a:lnTo>
                  <a:lnTo>
                    <a:pt x="457200" y="1180407"/>
                  </a:lnTo>
                  <a:lnTo>
                    <a:pt x="74814" y="1512916"/>
                  </a:lnTo>
                  <a:lnTo>
                    <a:pt x="0" y="1512916"/>
                  </a:lnTo>
                  <a:close/>
                </a:path>
              </a:pathLst>
            </a:custGeom>
            <a:solidFill>
              <a:srgbClr val="BEC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54" name="그룹 453"/>
          <p:cNvGrpSpPr/>
          <p:nvPr/>
        </p:nvGrpSpPr>
        <p:grpSpPr>
          <a:xfrm>
            <a:off x="7604629" y="5721171"/>
            <a:ext cx="1004883" cy="1004882"/>
            <a:chOff x="7445798" y="5805460"/>
            <a:chExt cx="936000" cy="936000"/>
          </a:xfrm>
        </p:grpSpPr>
        <p:sp>
          <p:nvSpPr>
            <p:cNvPr id="455" name="Oval 85"/>
            <p:cNvSpPr/>
            <p:nvPr/>
          </p:nvSpPr>
          <p:spPr>
            <a:xfrm>
              <a:off x="7445798" y="5805460"/>
              <a:ext cx="936000" cy="936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6" name="Freeform 87"/>
            <p:cNvSpPr/>
            <p:nvPr/>
          </p:nvSpPr>
          <p:spPr>
            <a:xfrm>
              <a:off x="7595451" y="5844939"/>
              <a:ext cx="718320" cy="613397"/>
            </a:xfrm>
            <a:custGeom>
              <a:avLst/>
              <a:gdLst>
                <a:gd name="connsiteX0" fmla="*/ 0 w 5178829"/>
                <a:gd name="connsiteY0" fmla="*/ 2219498 h 4422371"/>
                <a:gd name="connsiteX1" fmla="*/ 232756 w 5178829"/>
                <a:gd name="connsiteY1" fmla="*/ 1928553 h 4422371"/>
                <a:gd name="connsiteX2" fmla="*/ 399011 w 5178829"/>
                <a:gd name="connsiteY2" fmla="*/ 2078182 h 4422371"/>
                <a:gd name="connsiteX3" fmla="*/ 507076 w 5178829"/>
                <a:gd name="connsiteY3" fmla="*/ 1870364 h 4422371"/>
                <a:gd name="connsiteX4" fmla="*/ 507076 w 5178829"/>
                <a:gd name="connsiteY4" fmla="*/ 1870364 h 4422371"/>
                <a:gd name="connsiteX5" fmla="*/ 731520 w 5178829"/>
                <a:gd name="connsiteY5" fmla="*/ 1770611 h 4422371"/>
                <a:gd name="connsiteX6" fmla="*/ 556953 w 5178829"/>
                <a:gd name="connsiteY6" fmla="*/ 1662545 h 4422371"/>
                <a:gd name="connsiteX7" fmla="*/ 723207 w 5178829"/>
                <a:gd name="connsiteY7" fmla="*/ 1496291 h 4422371"/>
                <a:gd name="connsiteX8" fmla="*/ 448887 w 5178829"/>
                <a:gd name="connsiteY8" fmla="*/ 1546167 h 4422371"/>
                <a:gd name="connsiteX9" fmla="*/ 606829 w 5178829"/>
                <a:gd name="connsiteY9" fmla="*/ 1404851 h 4422371"/>
                <a:gd name="connsiteX10" fmla="*/ 864524 w 5178829"/>
                <a:gd name="connsiteY10" fmla="*/ 1346662 h 4422371"/>
                <a:gd name="connsiteX11" fmla="*/ 714895 w 5178829"/>
                <a:gd name="connsiteY11" fmla="*/ 1787236 h 4422371"/>
                <a:gd name="connsiteX12" fmla="*/ 1014153 w 5178829"/>
                <a:gd name="connsiteY12" fmla="*/ 1729047 h 4422371"/>
                <a:gd name="connsiteX13" fmla="*/ 1371600 w 5178829"/>
                <a:gd name="connsiteY13" fmla="*/ 1828800 h 4422371"/>
                <a:gd name="connsiteX14" fmla="*/ 1579418 w 5178829"/>
                <a:gd name="connsiteY14" fmla="*/ 1629294 h 4422371"/>
                <a:gd name="connsiteX15" fmla="*/ 1828800 w 5178829"/>
                <a:gd name="connsiteY15" fmla="*/ 1620982 h 4422371"/>
                <a:gd name="connsiteX16" fmla="*/ 1546167 w 5178829"/>
                <a:gd name="connsiteY16" fmla="*/ 1571105 h 4422371"/>
                <a:gd name="connsiteX17" fmla="*/ 1712422 w 5178829"/>
                <a:gd name="connsiteY17" fmla="*/ 1280160 h 4422371"/>
                <a:gd name="connsiteX18" fmla="*/ 1512916 w 5178829"/>
                <a:gd name="connsiteY18" fmla="*/ 1371600 h 4422371"/>
                <a:gd name="connsiteX19" fmla="*/ 1221971 w 5178829"/>
                <a:gd name="connsiteY19" fmla="*/ 1720734 h 4422371"/>
                <a:gd name="connsiteX20" fmla="*/ 1188720 w 5178829"/>
                <a:gd name="connsiteY20" fmla="*/ 1504604 h 4422371"/>
                <a:gd name="connsiteX21" fmla="*/ 1097280 w 5178829"/>
                <a:gd name="connsiteY21" fmla="*/ 1479665 h 4422371"/>
                <a:gd name="connsiteX22" fmla="*/ 1230284 w 5178829"/>
                <a:gd name="connsiteY22" fmla="*/ 1271847 h 4422371"/>
                <a:gd name="connsiteX23" fmla="*/ 1945178 w 5178829"/>
                <a:gd name="connsiteY23" fmla="*/ 1080654 h 4422371"/>
                <a:gd name="connsiteX24" fmla="*/ 2169622 w 5178829"/>
                <a:gd name="connsiteY24" fmla="*/ 1305098 h 4422371"/>
                <a:gd name="connsiteX25" fmla="*/ 1928553 w 5178829"/>
                <a:gd name="connsiteY25" fmla="*/ 1296785 h 4422371"/>
                <a:gd name="connsiteX26" fmla="*/ 1936865 w 5178829"/>
                <a:gd name="connsiteY26" fmla="*/ 1463040 h 4422371"/>
                <a:gd name="connsiteX27" fmla="*/ 2310938 w 5178829"/>
                <a:gd name="connsiteY27" fmla="*/ 1238596 h 4422371"/>
                <a:gd name="connsiteX28" fmla="*/ 2560320 w 5178829"/>
                <a:gd name="connsiteY28" fmla="*/ 1213658 h 4422371"/>
                <a:gd name="connsiteX29" fmla="*/ 2693324 w 5178829"/>
                <a:gd name="connsiteY29" fmla="*/ 989214 h 4422371"/>
                <a:gd name="connsiteX30" fmla="*/ 2826327 w 5178829"/>
                <a:gd name="connsiteY30" fmla="*/ 1221971 h 4422371"/>
                <a:gd name="connsiteX31" fmla="*/ 2768138 w 5178829"/>
                <a:gd name="connsiteY31" fmla="*/ 964276 h 4422371"/>
                <a:gd name="connsiteX32" fmla="*/ 2967644 w 5178829"/>
                <a:gd name="connsiteY32" fmla="*/ 1022465 h 4422371"/>
                <a:gd name="connsiteX33" fmla="*/ 2826327 w 5178829"/>
                <a:gd name="connsiteY33" fmla="*/ 872836 h 4422371"/>
                <a:gd name="connsiteX34" fmla="*/ 2984269 w 5178829"/>
                <a:gd name="connsiteY34" fmla="*/ 631767 h 4422371"/>
                <a:gd name="connsiteX35" fmla="*/ 3125585 w 5178829"/>
                <a:gd name="connsiteY35" fmla="*/ 739833 h 4422371"/>
                <a:gd name="connsiteX36" fmla="*/ 3408218 w 5178829"/>
                <a:gd name="connsiteY36" fmla="*/ 565265 h 4422371"/>
                <a:gd name="connsiteX37" fmla="*/ 3366655 w 5178829"/>
                <a:gd name="connsiteY37" fmla="*/ 374073 h 4422371"/>
                <a:gd name="connsiteX38" fmla="*/ 3383280 w 5178829"/>
                <a:gd name="connsiteY38" fmla="*/ 257694 h 4422371"/>
                <a:gd name="connsiteX39" fmla="*/ 3192087 w 5178829"/>
                <a:gd name="connsiteY39" fmla="*/ 0 h 4422371"/>
                <a:gd name="connsiteX40" fmla="*/ 3582785 w 5178829"/>
                <a:gd name="connsiteY40" fmla="*/ 133004 h 4422371"/>
                <a:gd name="connsiteX41" fmla="*/ 4355869 w 5178829"/>
                <a:gd name="connsiteY41" fmla="*/ 565265 h 4422371"/>
                <a:gd name="connsiteX42" fmla="*/ 4064924 w 5178829"/>
                <a:gd name="connsiteY42" fmla="*/ 515389 h 4422371"/>
                <a:gd name="connsiteX43" fmla="*/ 3815542 w 5178829"/>
                <a:gd name="connsiteY43" fmla="*/ 324196 h 4422371"/>
                <a:gd name="connsiteX44" fmla="*/ 3915295 w 5178829"/>
                <a:gd name="connsiteY44" fmla="*/ 490451 h 4422371"/>
                <a:gd name="connsiteX45" fmla="*/ 4015047 w 5178829"/>
                <a:gd name="connsiteY45" fmla="*/ 540327 h 4422371"/>
                <a:gd name="connsiteX46" fmla="*/ 4073236 w 5178829"/>
                <a:gd name="connsiteY46" fmla="*/ 698269 h 4422371"/>
                <a:gd name="connsiteX47" fmla="*/ 4297680 w 5178829"/>
                <a:gd name="connsiteY47" fmla="*/ 955964 h 4422371"/>
                <a:gd name="connsiteX48" fmla="*/ 4355869 w 5178829"/>
                <a:gd name="connsiteY48" fmla="*/ 822960 h 4422371"/>
                <a:gd name="connsiteX49" fmla="*/ 4630189 w 5178829"/>
                <a:gd name="connsiteY49" fmla="*/ 1113905 h 4422371"/>
                <a:gd name="connsiteX50" fmla="*/ 4838007 w 5178829"/>
                <a:gd name="connsiteY50" fmla="*/ 1404851 h 4422371"/>
                <a:gd name="connsiteX51" fmla="*/ 4771505 w 5178829"/>
                <a:gd name="connsiteY51" fmla="*/ 1421476 h 4422371"/>
                <a:gd name="connsiteX52" fmla="*/ 4854633 w 5178829"/>
                <a:gd name="connsiteY52" fmla="*/ 1670858 h 4422371"/>
                <a:gd name="connsiteX53" fmla="*/ 5054138 w 5178829"/>
                <a:gd name="connsiteY53" fmla="*/ 1778924 h 4422371"/>
                <a:gd name="connsiteX54" fmla="*/ 4995949 w 5178829"/>
                <a:gd name="connsiteY54" fmla="*/ 1895302 h 4422371"/>
                <a:gd name="connsiteX55" fmla="*/ 4804756 w 5178829"/>
                <a:gd name="connsiteY55" fmla="*/ 1729047 h 4422371"/>
                <a:gd name="connsiteX56" fmla="*/ 4771505 w 5178829"/>
                <a:gd name="connsiteY56" fmla="*/ 1787236 h 4422371"/>
                <a:gd name="connsiteX57" fmla="*/ 4771505 w 5178829"/>
                <a:gd name="connsiteY57" fmla="*/ 1970116 h 4422371"/>
                <a:gd name="connsiteX58" fmla="*/ 4987636 w 5178829"/>
                <a:gd name="connsiteY58" fmla="*/ 2078182 h 4422371"/>
                <a:gd name="connsiteX59" fmla="*/ 5137265 w 5178829"/>
                <a:gd name="connsiteY59" fmla="*/ 2327564 h 4422371"/>
                <a:gd name="connsiteX60" fmla="*/ 5178829 w 5178829"/>
                <a:gd name="connsiteY60" fmla="*/ 2693324 h 4422371"/>
                <a:gd name="connsiteX61" fmla="*/ 5037513 w 5178829"/>
                <a:gd name="connsiteY61" fmla="*/ 3009207 h 4422371"/>
                <a:gd name="connsiteX62" fmla="*/ 4954385 w 5178829"/>
                <a:gd name="connsiteY62" fmla="*/ 3142211 h 4422371"/>
                <a:gd name="connsiteX63" fmla="*/ 5012575 w 5178829"/>
                <a:gd name="connsiteY63" fmla="*/ 3291840 h 4422371"/>
                <a:gd name="connsiteX64" fmla="*/ 5145578 w 5178829"/>
                <a:gd name="connsiteY64" fmla="*/ 3366654 h 4422371"/>
                <a:gd name="connsiteX65" fmla="*/ 5170516 w 5178829"/>
                <a:gd name="connsiteY65" fmla="*/ 3566160 h 4422371"/>
                <a:gd name="connsiteX66" fmla="*/ 5054138 w 5178829"/>
                <a:gd name="connsiteY66" fmla="*/ 3732414 h 4422371"/>
                <a:gd name="connsiteX67" fmla="*/ 4829695 w 5178829"/>
                <a:gd name="connsiteY67" fmla="*/ 3640974 h 4422371"/>
                <a:gd name="connsiteX68" fmla="*/ 4871258 w 5178829"/>
                <a:gd name="connsiteY68" fmla="*/ 3898669 h 4422371"/>
                <a:gd name="connsiteX69" fmla="*/ 5029200 w 5178829"/>
                <a:gd name="connsiteY69" fmla="*/ 4031673 h 4422371"/>
                <a:gd name="connsiteX70" fmla="*/ 5029200 w 5178829"/>
                <a:gd name="connsiteY70" fmla="*/ 4222865 h 4422371"/>
                <a:gd name="connsiteX71" fmla="*/ 4754880 w 5178829"/>
                <a:gd name="connsiteY71" fmla="*/ 3931920 h 4422371"/>
                <a:gd name="connsiteX72" fmla="*/ 4796444 w 5178829"/>
                <a:gd name="connsiteY72" fmla="*/ 3765665 h 4422371"/>
                <a:gd name="connsiteX73" fmla="*/ 4671753 w 5178829"/>
                <a:gd name="connsiteY73" fmla="*/ 3549534 h 4422371"/>
                <a:gd name="connsiteX74" fmla="*/ 4580313 w 5178829"/>
                <a:gd name="connsiteY74" fmla="*/ 3665913 h 4422371"/>
                <a:gd name="connsiteX75" fmla="*/ 4522124 w 5178829"/>
                <a:gd name="connsiteY75" fmla="*/ 3507971 h 4422371"/>
                <a:gd name="connsiteX76" fmla="*/ 4372495 w 5178829"/>
                <a:gd name="connsiteY76" fmla="*/ 3366654 h 4422371"/>
                <a:gd name="connsiteX77" fmla="*/ 4123113 w 5178829"/>
                <a:gd name="connsiteY77" fmla="*/ 3682538 h 4422371"/>
                <a:gd name="connsiteX78" fmla="*/ 3956858 w 5178829"/>
                <a:gd name="connsiteY78" fmla="*/ 3981796 h 4422371"/>
                <a:gd name="connsiteX79" fmla="*/ 3965171 w 5178829"/>
                <a:gd name="connsiteY79" fmla="*/ 4256116 h 4422371"/>
                <a:gd name="connsiteX80" fmla="*/ 3865418 w 5178829"/>
                <a:gd name="connsiteY80" fmla="*/ 4422371 h 4422371"/>
                <a:gd name="connsiteX81" fmla="*/ 3607724 w 5178829"/>
                <a:gd name="connsiteY81" fmla="*/ 4089862 h 4422371"/>
                <a:gd name="connsiteX82" fmla="*/ 3516284 w 5178829"/>
                <a:gd name="connsiteY82" fmla="*/ 3732414 h 4422371"/>
                <a:gd name="connsiteX83" fmla="*/ 3449782 w 5178829"/>
                <a:gd name="connsiteY83" fmla="*/ 3773978 h 4422371"/>
                <a:gd name="connsiteX84" fmla="*/ 3175462 w 5178829"/>
                <a:gd name="connsiteY84" fmla="*/ 3591098 h 4422371"/>
                <a:gd name="connsiteX85" fmla="*/ 2934393 w 5178829"/>
                <a:gd name="connsiteY85" fmla="*/ 3616036 h 4422371"/>
                <a:gd name="connsiteX86" fmla="*/ 2709949 w 5178829"/>
                <a:gd name="connsiteY86" fmla="*/ 3607724 h 4422371"/>
                <a:gd name="connsiteX87" fmla="*/ 2685011 w 5178829"/>
                <a:gd name="connsiteY87" fmla="*/ 3541222 h 4422371"/>
                <a:gd name="connsiteX88" fmla="*/ 2576945 w 5178829"/>
                <a:gd name="connsiteY88" fmla="*/ 3574473 h 4422371"/>
                <a:gd name="connsiteX89" fmla="*/ 2402378 w 5178829"/>
                <a:gd name="connsiteY89" fmla="*/ 3491345 h 4422371"/>
                <a:gd name="connsiteX90" fmla="*/ 2319251 w 5178829"/>
                <a:gd name="connsiteY90" fmla="*/ 3366654 h 4422371"/>
                <a:gd name="connsiteX91" fmla="*/ 2219498 w 5178829"/>
                <a:gd name="connsiteY91" fmla="*/ 3383280 h 4422371"/>
                <a:gd name="connsiteX92" fmla="*/ 2252749 w 5178829"/>
                <a:gd name="connsiteY92" fmla="*/ 3524596 h 4422371"/>
                <a:gd name="connsiteX93" fmla="*/ 2402378 w 5178829"/>
                <a:gd name="connsiteY93" fmla="*/ 3732414 h 4422371"/>
                <a:gd name="connsiteX94" fmla="*/ 2543695 w 5178829"/>
                <a:gd name="connsiteY94" fmla="*/ 3749040 h 4422371"/>
                <a:gd name="connsiteX95" fmla="*/ 2660073 w 5178829"/>
                <a:gd name="connsiteY95" fmla="*/ 3616036 h 4422371"/>
                <a:gd name="connsiteX96" fmla="*/ 2693324 w 5178829"/>
                <a:gd name="connsiteY96" fmla="*/ 3707476 h 4422371"/>
                <a:gd name="connsiteX97" fmla="*/ 2867891 w 5178829"/>
                <a:gd name="connsiteY97" fmla="*/ 3848793 h 4422371"/>
                <a:gd name="connsiteX98" fmla="*/ 2685011 w 5178829"/>
                <a:gd name="connsiteY98" fmla="*/ 4073236 h 4422371"/>
                <a:gd name="connsiteX99" fmla="*/ 2435629 w 5178829"/>
                <a:gd name="connsiteY99" fmla="*/ 4214553 h 4422371"/>
                <a:gd name="connsiteX100" fmla="*/ 1945178 w 5178829"/>
                <a:gd name="connsiteY100" fmla="*/ 4380807 h 4422371"/>
                <a:gd name="connsiteX101" fmla="*/ 1895302 w 5178829"/>
                <a:gd name="connsiteY101" fmla="*/ 4098174 h 4422371"/>
                <a:gd name="connsiteX102" fmla="*/ 1571105 w 5178829"/>
                <a:gd name="connsiteY102" fmla="*/ 3433156 h 4422371"/>
                <a:gd name="connsiteX103" fmla="*/ 1562793 w 5178829"/>
                <a:gd name="connsiteY103" fmla="*/ 3250276 h 4422371"/>
                <a:gd name="connsiteX104" fmla="*/ 1687484 w 5178829"/>
                <a:gd name="connsiteY104" fmla="*/ 2934393 h 4422371"/>
                <a:gd name="connsiteX105" fmla="*/ 1371600 w 5178829"/>
                <a:gd name="connsiteY105" fmla="*/ 2901142 h 4422371"/>
                <a:gd name="connsiteX106" fmla="*/ 1271847 w 5178829"/>
                <a:gd name="connsiteY106" fmla="*/ 2793076 h 4422371"/>
                <a:gd name="connsiteX107" fmla="*/ 1338349 w 5178829"/>
                <a:gd name="connsiteY107" fmla="*/ 2685011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0 w 5178830"/>
                <a:gd name="connsiteY107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74568 w 5178830"/>
                <a:gd name="connsiteY107" fmla="*/ 2277687 h 4422371"/>
                <a:gd name="connsiteX108" fmla="*/ 0 w 5178830"/>
                <a:gd name="connsiteY108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74816 w 5178830"/>
                <a:gd name="connsiteY107" fmla="*/ 2335876 h 4422371"/>
                <a:gd name="connsiteX108" fmla="*/ 0 w 5178830"/>
                <a:gd name="connsiteY108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82881 w 5178830"/>
                <a:gd name="connsiteY107" fmla="*/ 2377440 h 4422371"/>
                <a:gd name="connsiteX108" fmla="*/ 74816 w 5178830"/>
                <a:gd name="connsiteY108" fmla="*/ 2335876 h 4422371"/>
                <a:gd name="connsiteX109" fmla="*/ 0 w 5178830"/>
                <a:gd name="connsiteY109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324197 w 5178830"/>
                <a:gd name="connsiteY107" fmla="*/ 2419004 h 4422371"/>
                <a:gd name="connsiteX108" fmla="*/ 182881 w 5178830"/>
                <a:gd name="connsiteY108" fmla="*/ 2377440 h 4422371"/>
                <a:gd name="connsiteX109" fmla="*/ 74816 w 5178830"/>
                <a:gd name="connsiteY109" fmla="*/ 2335876 h 4422371"/>
                <a:gd name="connsiteX110" fmla="*/ 0 w 5178830"/>
                <a:gd name="connsiteY110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307572 w 5178830"/>
                <a:gd name="connsiteY107" fmla="*/ 2352502 h 4422371"/>
                <a:gd name="connsiteX108" fmla="*/ 182881 w 5178830"/>
                <a:gd name="connsiteY108" fmla="*/ 2377440 h 4422371"/>
                <a:gd name="connsiteX109" fmla="*/ 74816 w 5178830"/>
                <a:gd name="connsiteY109" fmla="*/ 2335876 h 4422371"/>
                <a:gd name="connsiteX110" fmla="*/ 0 w 5178830"/>
                <a:gd name="connsiteY110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473826 w 5178830"/>
                <a:gd name="connsiteY107" fmla="*/ 2443942 h 4422371"/>
                <a:gd name="connsiteX108" fmla="*/ 307572 w 5178830"/>
                <a:gd name="connsiteY108" fmla="*/ 2352502 h 4422371"/>
                <a:gd name="connsiteX109" fmla="*/ 182881 w 5178830"/>
                <a:gd name="connsiteY109" fmla="*/ 2377440 h 4422371"/>
                <a:gd name="connsiteX110" fmla="*/ 74816 w 5178830"/>
                <a:gd name="connsiteY110" fmla="*/ 2335876 h 4422371"/>
                <a:gd name="connsiteX111" fmla="*/ 0 w 5178830"/>
                <a:gd name="connsiteY111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407325 w 5178830"/>
                <a:gd name="connsiteY107" fmla="*/ 2252749 h 4422371"/>
                <a:gd name="connsiteX108" fmla="*/ 307572 w 5178830"/>
                <a:gd name="connsiteY108" fmla="*/ 2352502 h 4422371"/>
                <a:gd name="connsiteX109" fmla="*/ 182881 w 5178830"/>
                <a:gd name="connsiteY109" fmla="*/ 2377440 h 4422371"/>
                <a:gd name="connsiteX110" fmla="*/ 74816 w 5178830"/>
                <a:gd name="connsiteY110" fmla="*/ 2335876 h 4422371"/>
                <a:gd name="connsiteX111" fmla="*/ 0 w 5178830"/>
                <a:gd name="connsiteY111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590205 w 5178830"/>
                <a:gd name="connsiteY107" fmla="*/ 2360814 h 4422371"/>
                <a:gd name="connsiteX108" fmla="*/ 407325 w 5178830"/>
                <a:gd name="connsiteY108" fmla="*/ 2252749 h 4422371"/>
                <a:gd name="connsiteX109" fmla="*/ 307572 w 5178830"/>
                <a:gd name="connsiteY109" fmla="*/ 2352502 h 4422371"/>
                <a:gd name="connsiteX110" fmla="*/ 182881 w 5178830"/>
                <a:gd name="connsiteY110" fmla="*/ 2377440 h 4422371"/>
                <a:gd name="connsiteX111" fmla="*/ 74816 w 5178830"/>
                <a:gd name="connsiteY111" fmla="*/ 2335876 h 4422371"/>
                <a:gd name="connsiteX112" fmla="*/ 0 w 5178830"/>
                <a:gd name="connsiteY112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556954 w 5178830"/>
                <a:gd name="connsiteY107" fmla="*/ 2169622 h 4422371"/>
                <a:gd name="connsiteX108" fmla="*/ 407325 w 5178830"/>
                <a:gd name="connsiteY108" fmla="*/ 2252749 h 4422371"/>
                <a:gd name="connsiteX109" fmla="*/ 307572 w 5178830"/>
                <a:gd name="connsiteY109" fmla="*/ 2352502 h 4422371"/>
                <a:gd name="connsiteX110" fmla="*/ 182881 w 5178830"/>
                <a:gd name="connsiteY110" fmla="*/ 2377440 h 4422371"/>
                <a:gd name="connsiteX111" fmla="*/ 74816 w 5178830"/>
                <a:gd name="connsiteY111" fmla="*/ 2335876 h 4422371"/>
                <a:gd name="connsiteX112" fmla="*/ 0 w 5178830"/>
                <a:gd name="connsiteY112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631768 w 5178830"/>
                <a:gd name="connsiteY107" fmla="*/ 2236124 h 4422371"/>
                <a:gd name="connsiteX108" fmla="*/ 556954 w 5178830"/>
                <a:gd name="connsiteY108" fmla="*/ 2169622 h 4422371"/>
                <a:gd name="connsiteX109" fmla="*/ 407325 w 5178830"/>
                <a:gd name="connsiteY109" fmla="*/ 2252749 h 4422371"/>
                <a:gd name="connsiteX110" fmla="*/ 307572 w 5178830"/>
                <a:gd name="connsiteY110" fmla="*/ 2352502 h 4422371"/>
                <a:gd name="connsiteX111" fmla="*/ 182881 w 5178830"/>
                <a:gd name="connsiteY111" fmla="*/ 2377440 h 4422371"/>
                <a:gd name="connsiteX112" fmla="*/ 74816 w 5178830"/>
                <a:gd name="connsiteY112" fmla="*/ 2335876 h 4422371"/>
                <a:gd name="connsiteX113" fmla="*/ 0 w 5178830"/>
                <a:gd name="connsiteY113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698270 w 5178830"/>
                <a:gd name="connsiteY107" fmla="*/ 2286000 h 4422371"/>
                <a:gd name="connsiteX108" fmla="*/ 631768 w 5178830"/>
                <a:gd name="connsiteY108" fmla="*/ 2236124 h 4422371"/>
                <a:gd name="connsiteX109" fmla="*/ 556954 w 5178830"/>
                <a:gd name="connsiteY109" fmla="*/ 2169622 h 4422371"/>
                <a:gd name="connsiteX110" fmla="*/ 407325 w 5178830"/>
                <a:gd name="connsiteY110" fmla="*/ 2252749 h 4422371"/>
                <a:gd name="connsiteX111" fmla="*/ 307572 w 5178830"/>
                <a:gd name="connsiteY111" fmla="*/ 2352502 h 4422371"/>
                <a:gd name="connsiteX112" fmla="*/ 182881 w 5178830"/>
                <a:gd name="connsiteY112" fmla="*/ 2377440 h 4422371"/>
                <a:gd name="connsiteX113" fmla="*/ 74816 w 5178830"/>
                <a:gd name="connsiteY113" fmla="*/ 2335876 h 4422371"/>
                <a:gd name="connsiteX114" fmla="*/ 0 w 5178830"/>
                <a:gd name="connsiteY114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731521 w 5178830"/>
                <a:gd name="connsiteY107" fmla="*/ 2211185 h 4422371"/>
                <a:gd name="connsiteX108" fmla="*/ 698270 w 5178830"/>
                <a:gd name="connsiteY108" fmla="*/ 2286000 h 4422371"/>
                <a:gd name="connsiteX109" fmla="*/ 631768 w 5178830"/>
                <a:gd name="connsiteY109" fmla="*/ 2236124 h 4422371"/>
                <a:gd name="connsiteX110" fmla="*/ 556954 w 5178830"/>
                <a:gd name="connsiteY110" fmla="*/ 2169622 h 4422371"/>
                <a:gd name="connsiteX111" fmla="*/ 407325 w 5178830"/>
                <a:gd name="connsiteY111" fmla="*/ 2252749 h 4422371"/>
                <a:gd name="connsiteX112" fmla="*/ 307572 w 5178830"/>
                <a:gd name="connsiteY112" fmla="*/ 2352502 h 4422371"/>
                <a:gd name="connsiteX113" fmla="*/ 182881 w 5178830"/>
                <a:gd name="connsiteY113" fmla="*/ 2377440 h 4422371"/>
                <a:gd name="connsiteX114" fmla="*/ 74816 w 5178830"/>
                <a:gd name="connsiteY114" fmla="*/ 2335876 h 4422371"/>
                <a:gd name="connsiteX115" fmla="*/ 0 w 5178830"/>
                <a:gd name="connsiteY115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731521 w 5178830"/>
                <a:gd name="connsiteY107" fmla="*/ 2211185 h 4422371"/>
                <a:gd name="connsiteX108" fmla="*/ 631768 w 5178830"/>
                <a:gd name="connsiteY108" fmla="*/ 2236124 h 4422371"/>
                <a:gd name="connsiteX109" fmla="*/ 556954 w 5178830"/>
                <a:gd name="connsiteY109" fmla="*/ 2169622 h 4422371"/>
                <a:gd name="connsiteX110" fmla="*/ 407325 w 5178830"/>
                <a:gd name="connsiteY110" fmla="*/ 2252749 h 4422371"/>
                <a:gd name="connsiteX111" fmla="*/ 307572 w 5178830"/>
                <a:gd name="connsiteY111" fmla="*/ 2352502 h 4422371"/>
                <a:gd name="connsiteX112" fmla="*/ 182881 w 5178830"/>
                <a:gd name="connsiteY112" fmla="*/ 2377440 h 4422371"/>
                <a:gd name="connsiteX113" fmla="*/ 74816 w 5178830"/>
                <a:gd name="connsiteY113" fmla="*/ 2335876 h 4422371"/>
                <a:gd name="connsiteX114" fmla="*/ 0 w 5178830"/>
                <a:gd name="connsiteY114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789710 w 5178830"/>
                <a:gd name="connsiteY107" fmla="*/ 2261062 h 4422371"/>
                <a:gd name="connsiteX108" fmla="*/ 731521 w 5178830"/>
                <a:gd name="connsiteY108" fmla="*/ 2211185 h 4422371"/>
                <a:gd name="connsiteX109" fmla="*/ 631768 w 5178830"/>
                <a:gd name="connsiteY109" fmla="*/ 2236124 h 4422371"/>
                <a:gd name="connsiteX110" fmla="*/ 556954 w 5178830"/>
                <a:gd name="connsiteY110" fmla="*/ 2169622 h 4422371"/>
                <a:gd name="connsiteX111" fmla="*/ 407325 w 5178830"/>
                <a:gd name="connsiteY111" fmla="*/ 2252749 h 4422371"/>
                <a:gd name="connsiteX112" fmla="*/ 307572 w 5178830"/>
                <a:gd name="connsiteY112" fmla="*/ 2352502 h 4422371"/>
                <a:gd name="connsiteX113" fmla="*/ 182881 w 5178830"/>
                <a:gd name="connsiteY113" fmla="*/ 2377440 h 4422371"/>
                <a:gd name="connsiteX114" fmla="*/ 74816 w 5178830"/>
                <a:gd name="connsiteY114" fmla="*/ 2335876 h 4422371"/>
                <a:gd name="connsiteX115" fmla="*/ 0 w 5178830"/>
                <a:gd name="connsiteY115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881150 w 5178830"/>
                <a:gd name="connsiteY107" fmla="*/ 2618509 h 4422371"/>
                <a:gd name="connsiteX108" fmla="*/ 731521 w 5178830"/>
                <a:gd name="connsiteY108" fmla="*/ 2211185 h 4422371"/>
                <a:gd name="connsiteX109" fmla="*/ 631768 w 5178830"/>
                <a:gd name="connsiteY109" fmla="*/ 2236124 h 4422371"/>
                <a:gd name="connsiteX110" fmla="*/ 556954 w 5178830"/>
                <a:gd name="connsiteY110" fmla="*/ 2169622 h 4422371"/>
                <a:gd name="connsiteX111" fmla="*/ 407325 w 5178830"/>
                <a:gd name="connsiteY111" fmla="*/ 2252749 h 4422371"/>
                <a:gd name="connsiteX112" fmla="*/ 307572 w 5178830"/>
                <a:gd name="connsiteY112" fmla="*/ 2352502 h 4422371"/>
                <a:gd name="connsiteX113" fmla="*/ 182881 w 5178830"/>
                <a:gd name="connsiteY113" fmla="*/ 2377440 h 4422371"/>
                <a:gd name="connsiteX114" fmla="*/ 74816 w 5178830"/>
                <a:gd name="connsiteY114" fmla="*/ 2335876 h 4422371"/>
                <a:gd name="connsiteX115" fmla="*/ 0 w 5178830"/>
                <a:gd name="connsiteY115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105594 w 5178830"/>
                <a:gd name="connsiteY107" fmla="*/ 2726574 h 4422371"/>
                <a:gd name="connsiteX108" fmla="*/ 881150 w 5178830"/>
                <a:gd name="connsiteY108" fmla="*/ 2618509 h 4422371"/>
                <a:gd name="connsiteX109" fmla="*/ 731521 w 5178830"/>
                <a:gd name="connsiteY109" fmla="*/ 2211185 h 4422371"/>
                <a:gd name="connsiteX110" fmla="*/ 631768 w 5178830"/>
                <a:gd name="connsiteY110" fmla="*/ 2236124 h 4422371"/>
                <a:gd name="connsiteX111" fmla="*/ 556954 w 5178830"/>
                <a:gd name="connsiteY111" fmla="*/ 2169622 h 4422371"/>
                <a:gd name="connsiteX112" fmla="*/ 407325 w 5178830"/>
                <a:gd name="connsiteY112" fmla="*/ 2252749 h 4422371"/>
                <a:gd name="connsiteX113" fmla="*/ 307572 w 5178830"/>
                <a:gd name="connsiteY113" fmla="*/ 2352502 h 4422371"/>
                <a:gd name="connsiteX114" fmla="*/ 182881 w 5178830"/>
                <a:gd name="connsiteY114" fmla="*/ 2377440 h 4422371"/>
                <a:gd name="connsiteX115" fmla="*/ 74816 w 5178830"/>
                <a:gd name="connsiteY115" fmla="*/ 2335876 h 4422371"/>
                <a:gd name="connsiteX116" fmla="*/ 0 w 5178830"/>
                <a:gd name="connsiteY116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955965 w 5178830"/>
                <a:gd name="connsiteY107" fmla="*/ 2535382 h 4422371"/>
                <a:gd name="connsiteX108" fmla="*/ 881150 w 5178830"/>
                <a:gd name="connsiteY108" fmla="*/ 2618509 h 4422371"/>
                <a:gd name="connsiteX109" fmla="*/ 731521 w 5178830"/>
                <a:gd name="connsiteY109" fmla="*/ 2211185 h 4422371"/>
                <a:gd name="connsiteX110" fmla="*/ 631768 w 5178830"/>
                <a:gd name="connsiteY110" fmla="*/ 2236124 h 4422371"/>
                <a:gd name="connsiteX111" fmla="*/ 556954 w 5178830"/>
                <a:gd name="connsiteY111" fmla="*/ 2169622 h 4422371"/>
                <a:gd name="connsiteX112" fmla="*/ 407325 w 5178830"/>
                <a:gd name="connsiteY112" fmla="*/ 2252749 h 4422371"/>
                <a:gd name="connsiteX113" fmla="*/ 307572 w 5178830"/>
                <a:gd name="connsiteY113" fmla="*/ 2352502 h 4422371"/>
                <a:gd name="connsiteX114" fmla="*/ 182881 w 5178830"/>
                <a:gd name="connsiteY114" fmla="*/ 2377440 h 4422371"/>
                <a:gd name="connsiteX115" fmla="*/ 74816 w 5178830"/>
                <a:gd name="connsiteY115" fmla="*/ 2335876 h 4422371"/>
                <a:gd name="connsiteX116" fmla="*/ 0 w 5178830"/>
                <a:gd name="connsiteY116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113906 w 5178830"/>
                <a:gd name="connsiteY107" fmla="*/ 2668385 h 4422371"/>
                <a:gd name="connsiteX108" fmla="*/ 955965 w 5178830"/>
                <a:gd name="connsiteY108" fmla="*/ 2535382 h 4422371"/>
                <a:gd name="connsiteX109" fmla="*/ 881150 w 5178830"/>
                <a:gd name="connsiteY109" fmla="*/ 2618509 h 4422371"/>
                <a:gd name="connsiteX110" fmla="*/ 731521 w 5178830"/>
                <a:gd name="connsiteY110" fmla="*/ 2211185 h 4422371"/>
                <a:gd name="connsiteX111" fmla="*/ 631768 w 5178830"/>
                <a:gd name="connsiteY111" fmla="*/ 2236124 h 4422371"/>
                <a:gd name="connsiteX112" fmla="*/ 556954 w 5178830"/>
                <a:gd name="connsiteY112" fmla="*/ 2169622 h 4422371"/>
                <a:gd name="connsiteX113" fmla="*/ 407325 w 5178830"/>
                <a:gd name="connsiteY113" fmla="*/ 2252749 h 4422371"/>
                <a:gd name="connsiteX114" fmla="*/ 307572 w 5178830"/>
                <a:gd name="connsiteY114" fmla="*/ 2352502 h 4422371"/>
                <a:gd name="connsiteX115" fmla="*/ 182881 w 5178830"/>
                <a:gd name="connsiteY115" fmla="*/ 2377440 h 4422371"/>
                <a:gd name="connsiteX116" fmla="*/ 74816 w 5178830"/>
                <a:gd name="connsiteY116" fmla="*/ 2335876 h 4422371"/>
                <a:gd name="connsiteX117" fmla="*/ 0 w 5178830"/>
                <a:gd name="connsiteY117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814648 w 5178830"/>
                <a:gd name="connsiteY107" fmla="*/ 2211185 h 4422371"/>
                <a:gd name="connsiteX108" fmla="*/ 955965 w 5178830"/>
                <a:gd name="connsiteY108" fmla="*/ 2535382 h 4422371"/>
                <a:gd name="connsiteX109" fmla="*/ 881150 w 5178830"/>
                <a:gd name="connsiteY109" fmla="*/ 2618509 h 4422371"/>
                <a:gd name="connsiteX110" fmla="*/ 731521 w 5178830"/>
                <a:gd name="connsiteY110" fmla="*/ 2211185 h 4422371"/>
                <a:gd name="connsiteX111" fmla="*/ 631768 w 5178830"/>
                <a:gd name="connsiteY111" fmla="*/ 2236124 h 4422371"/>
                <a:gd name="connsiteX112" fmla="*/ 556954 w 5178830"/>
                <a:gd name="connsiteY112" fmla="*/ 2169622 h 4422371"/>
                <a:gd name="connsiteX113" fmla="*/ 407325 w 5178830"/>
                <a:gd name="connsiteY113" fmla="*/ 2252749 h 4422371"/>
                <a:gd name="connsiteX114" fmla="*/ 307572 w 5178830"/>
                <a:gd name="connsiteY114" fmla="*/ 2352502 h 4422371"/>
                <a:gd name="connsiteX115" fmla="*/ 182881 w 5178830"/>
                <a:gd name="connsiteY115" fmla="*/ 2377440 h 4422371"/>
                <a:gd name="connsiteX116" fmla="*/ 74816 w 5178830"/>
                <a:gd name="connsiteY116" fmla="*/ 2335876 h 4422371"/>
                <a:gd name="connsiteX117" fmla="*/ 0 w 5178830"/>
                <a:gd name="connsiteY117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039092 w 5178830"/>
                <a:gd name="connsiteY107" fmla="*/ 2510444 h 4422371"/>
                <a:gd name="connsiteX108" fmla="*/ 814648 w 5178830"/>
                <a:gd name="connsiteY108" fmla="*/ 2211185 h 4422371"/>
                <a:gd name="connsiteX109" fmla="*/ 955965 w 5178830"/>
                <a:gd name="connsiteY109" fmla="*/ 2535382 h 4422371"/>
                <a:gd name="connsiteX110" fmla="*/ 881150 w 5178830"/>
                <a:gd name="connsiteY110" fmla="*/ 2618509 h 4422371"/>
                <a:gd name="connsiteX111" fmla="*/ 731521 w 5178830"/>
                <a:gd name="connsiteY111" fmla="*/ 2211185 h 4422371"/>
                <a:gd name="connsiteX112" fmla="*/ 631768 w 5178830"/>
                <a:gd name="connsiteY112" fmla="*/ 2236124 h 4422371"/>
                <a:gd name="connsiteX113" fmla="*/ 556954 w 5178830"/>
                <a:gd name="connsiteY113" fmla="*/ 2169622 h 4422371"/>
                <a:gd name="connsiteX114" fmla="*/ 407325 w 5178830"/>
                <a:gd name="connsiteY114" fmla="*/ 2252749 h 4422371"/>
                <a:gd name="connsiteX115" fmla="*/ 307572 w 5178830"/>
                <a:gd name="connsiteY115" fmla="*/ 2352502 h 4422371"/>
                <a:gd name="connsiteX116" fmla="*/ 182881 w 5178830"/>
                <a:gd name="connsiteY116" fmla="*/ 2377440 h 4422371"/>
                <a:gd name="connsiteX117" fmla="*/ 74816 w 5178830"/>
                <a:gd name="connsiteY117" fmla="*/ 2335876 h 4422371"/>
                <a:gd name="connsiteX118" fmla="*/ 0 w 5178830"/>
                <a:gd name="connsiteY118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922714 w 5178830"/>
                <a:gd name="connsiteY107" fmla="*/ 2186247 h 4422371"/>
                <a:gd name="connsiteX108" fmla="*/ 814648 w 5178830"/>
                <a:gd name="connsiteY108" fmla="*/ 2211185 h 4422371"/>
                <a:gd name="connsiteX109" fmla="*/ 955965 w 5178830"/>
                <a:gd name="connsiteY109" fmla="*/ 2535382 h 4422371"/>
                <a:gd name="connsiteX110" fmla="*/ 881150 w 5178830"/>
                <a:gd name="connsiteY110" fmla="*/ 2618509 h 4422371"/>
                <a:gd name="connsiteX111" fmla="*/ 731521 w 5178830"/>
                <a:gd name="connsiteY111" fmla="*/ 2211185 h 4422371"/>
                <a:gd name="connsiteX112" fmla="*/ 631768 w 5178830"/>
                <a:gd name="connsiteY112" fmla="*/ 2236124 h 4422371"/>
                <a:gd name="connsiteX113" fmla="*/ 556954 w 5178830"/>
                <a:gd name="connsiteY113" fmla="*/ 2169622 h 4422371"/>
                <a:gd name="connsiteX114" fmla="*/ 407325 w 5178830"/>
                <a:gd name="connsiteY114" fmla="*/ 2252749 h 4422371"/>
                <a:gd name="connsiteX115" fmla="*/ 307572 w 5178830"/>
                <a:gd name="connsiteY115" fmla="*/ 2352502 h 4422371"/>
                <a:gd name="connsiteX116" fmla="*/ 182881 w 5178830"/>
                <a:gd name="connsiteY116" fmla="*/ 2377440 h 4422371"/>
                <a:gd name="connsiteX117" fmla="*/ 74816 w 5178830"/>
                <a:gd name="connsiteY117" fmla="*/ 2335876 h 4422371"/>
                <a:gd name="connsiteX118" fmla="*/ 0 w 5178830"/>
                <a:gd name="connsiteY118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122219 w 5178830"/>
                <a:gd name="connsiteY107" fmla="*/ 2535382 h 4422371"/>
                <a:gd name="connsiteX108" fmla="*/ 922714 w 5178830"/>
                <a:gd name="connsiteY108" fmla="*/ 2186247 h 4422371"/>
                <a:gd name="connsiteX109" fmla="*/ 814648 w 5178830"/>
                <a:gd name="connsiteY109" fmla="*/ 2211185 h 4422371"/>
                <a:gd name="connsiteX110" fmla="*/ 955965 w 5178830"/>
                <a:gd name="connsiteY110" fmla="*/ 2535382 h 4422371"/>
                <a:gd name="connsiteX111" fmla="*/ 881150 w 5178830"/>
                <a:gd name="connsiteY111" fmla="*/ 2618509 h 4422371"/>
                <a:gd name="connsiteX112" fmla="*/ 731521 w 5178830"/>
                <a:gd name="connsiteY112" fmla="*/ 2211185 h 4422371"/>
                <a:gd name="connsiteX113" fmla="*/ 631768 w 5178830"/>
                <a:gd name="connsiteY113" fmla="*/ 2236124 h 4422371"/>
                <a:gd name="connsiteX114" fmla="*/ 556954 w 5178830"/>
                <a:gd name="connsiteY114" fmla="*/ 2169622 h 4422371"/>
                <a:gd name="connsiteX115" fmla="*/ 407325 w 5178830"/>
                <a:gd name="connsiteY115" fmla="*/ 2252749 h 4422371"/>
                <a:gd name="connsiteX116" fmla="*/ 307572 w 5178830"/>
                <a:gd name="connsiteY116" fmla="*/ 2352502 h 4422371"/>
                <a:gd name="connsiteX117" fmla="*/ 182881 w 5178830"/>
                <a:gd name="connsiteY117" fmla="*/ 2377440 h 4422371"/>
                <a:gd name="connsiteX118" fmla="*/ 74816 w 5178830"/>
                <a:gd name="connsiteY118" fmla="*/ 2335876 h 4422371"/>
                <a:gd name="connsiteX119" fmla="*/ 0 w 5178830"/>
                <a:gd name="connsiteY119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039092 w 5178830"/>
                <a:gd name="connsiteY107" fmla="*/ 2527069 h 4422371"/>
                <a:gd name="connsiteX108" fmla="*/ 922714 w 5178830"/>
                <a:gd name="connsiteY108" fmla="*/ 2186247 h 4422371"/>
                <a:gd name="connsiteX109" fmla="*/ 814648 w 5178830"/>
                <a:gd name="connsiteY109" fmla="*/ 2211185 h 4422371"/>
                <a:gd name="connsiteX110" fmla="*/ 955965 w 5178830"/>
                <a:gd name="connsiteY110" fmla="*/ 2535382 h 4422371"/>
                <a:gd name="connsiteX111" fmla="*/ 881150 w 5178830"/>
                <a:gd name="connsiteY111" fmla="*/ 2618509 h 4422371"/>
                <a:gd name="connsiteX112" fmla="*/ 731521 w 5178830"/>
                <a:gd name="connsiteY112" fmla="*/ 2211185 h 4422371"/>
                <a:gd name="connsiteX113" fmla="*/ 631768 w 5178830"/>
                <a:gd name="connsiteY113" fmla="*/ 2236124 h 4422371"/>
                <a:gd name="connsiteX114" fmla="*/ 556954 w 5178830"/>
                <a:gd name="connsiteY114" fmla="*/ 2169622 h 4422371"/>
                <a:gd name="connsiteX115" fmla="*/ 407325 w 5178830"/>
                <a:gd name="connsiteY115" fmla="*/ 2252749 h 4422371"/>
                <a:gd name="connsiteX116" fmla="*/ 307572 w 5178830"/>
                <a:gd name="connsiteY116" fmla="*/ 2352502 h 4422371"/>
                <a:gd name="connsiteX117" fmla="*/ 182881 w 5178830"/>
                <a:gd name="connsiteY117" fmla="*/ 2377440 h 4422371"/>
                <a:gd name="connsiteX118" fmla="*/ 74816 w 5178830"/>
                <a:gd name="connsiteY118" fmla="*/ 2335876 h 4422371"/>
                <a:gd name="connsiteX119" fmla="*/ 0 w 5178830"/>
                <a:gd name="connsiteY119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188721 w 5178830"/>
                <a:gd name="connsiteY107" fmla="*/ 2709949 h 4422371"/>
                <a:gd name="connsiteX108" fmla="*/ 1039092 w 5178830"/>
                <a:gd name="connsiteY108" fmla="*/ 2527069 h 4422371"/>
                <a:gd name="connsiteX109" fmla="*/ 922714 w 5178830"/>
                <a:gd name="connsiteY109" fmla="*/ 2186247 h 4422371"/>
                <a:gd name="connsiteX110" fmla="*/ 814648 w 5178830"/>
                <a:gd name="connsiteY110" fmla="*/ 2211185 h 4422371"/>
                <a:gd name="connsiteX111" fmla="*/ 955965 w 5178830"/>
                <a:gd name="connsiteY111" fmla="*/ 2535382 h 4422371"/>
                <a:gd name="connsiteX112" fmla="*/ 881150 w 5178830"/>
                <a:gd name="connsiteY112" fmla="*/ 2618509 h 4422371"/>
                <a:gd name="connsiteX113" fmla="*/ 731521 w 5178830"/>
                <a:gd name="connsiteY113" fmla="*/ 2211185 h 4422371"/>
                <a:gd name="connsiteX114" fmla="*/ 631768 w 5178830"/>
                <a:gd name="connsiteY114" fmla="*/ 2236124 h 4422371"/>
                <a:gd name="connsiteX115" fmla="*/ 556954 w 5178830"/>
                <a:gd name="connsiteY115" fmla="*/ 2169622 h 4422371"/>
                <a:gd name="connsiteX116" fmla="*/ 407325 w 5178830"/>
                <a:gd name="connsiteY116" fmla="*/ 2252749 h 4422371"/>
                <a:gd name="connsiteX117" fmla="*/ 307572 w 5178830"/>
                <a:gd name="connsiteY117" fmla="*/ 2352502 h 4422371"/>
                <a:gd name="connsiteX118" fmla="*/ 182881 w 5178830"/>
                <a:gd name="connsiteY118" fmla="*/ 2377440 h 4422371"/>
                <a:gd name="connsiteX119" fmla="*/ 74816 w 5178830"/>
                <a:gd name="connsiteY119" fmla="*/ 2335876 h 4422371"/>
                <a:gd name="connsiteX120" fmla="*/ 0 w 5178830"/>
                <a:gd name="connsiteY120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064030 w 5178830"/>
                <a:gd name="connsiteY107" fmla="*/ 2851265 h 4422371"/>
                <a:gd name="connsiteX108" fmla="*/ 1039092 w 5178830"/>
                <a:gd name="connsiteY108" fmla="*/ 2527069 h 4422371"/>
                <a:gd name="connsiteX109" fmla="*/ 922714 w 5178830"/>
                <a:gd name="connsiteY109" fmla="*/ 2186247 h 4422371"/>
                <a:gd name="connsiteX110" fmla="*/ 814648 w 5178830"/>
                <a:gd name="connsiteY110" fmla="*/ 2211185 h 4422371"/>
                <a:gd name="connsiteX111" fmla="*/ 955965 w 5178830"/>
                <a:gd name="connsiteY111" fmla="*/ 2535382 h 4422371"/>
                <a:gd name="connsiteX112" fmla="*/ 881150 w 5178830"/>
                <a:gd name="connsiteY112" fmla="*/ 2618509 h 4422371"/>
                <a:gd name="connsiteX113" fmla="*/ 731521 w 5178830"/>
                <a:gd name="connsiteY113" fmla="*/ 2211185 h 4422371"/>
                <a:gd name="connsiteX114" fmla="*/ 631768 w 5178830"/>
                <a:gd name="connsiteY114" fmla="*/ 2236124 h 4422371"/>
                <a:gd name="connsiteX115" fmla="*/ 556954 w 5178830"/>
                <a:gd name="connsiteY115" fmla="*/ 2169622 h 4422371"/>
                <a:gd name="connsiteX116" fmla="*/ 407325 w 5178830"/>
                <a:gd name="connsiteY116" fmla="*/ 2252749 h 4422371"/>
                <a:gd name="connsiteX117" fmla="*/ 307572 w 5178830"/>
                <a:gd name="connsiteY117" fmla="*/ 2352502 h 4422371"/>
                <a:gd name="connsiteX118" fmla="*/ 182881 w 5178830"/>
                <a:gd name="connsiteY118" fmla="*/ 2377440 h 4422371"/>
                <a:gd name="connsiteX119" fmla="*/ 74816 w 5178830"/>
                <a:gd name="connsiteY119" fmla="*/ 2335876 h 4422371"/>
                <a:gd name="connsiteX120" fmla="*/ 0 w 5178830"/>
                <a:gd name="connsiteY120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163783 w 5178830"/>
                <a:gd name="connsiteY107" fmla="*/ 2818014 h 4422371"/>
                <a:gd name="connsiteX108" fmla="*/ 1064030 w 5178830"/>
                <a:gd name="connsiteY108" fmla="*/ 2851265 h 4422371"/>
                <a:gd name="connsiteX109" fmla="*/ 1039092 w 5178830"/>
                <a:gd name="connsiteY109" fmla="*/ 2527069 h 4422371"/>
                <a:gd name="connsiteX110" fmla="*/ 922714 w 5178830"/>
                <a:gd name="connsiteY110" fmla="*/ 2186247 h 4422371"/>
                <a:gd name="connsiteX111" fmla="*/ 814648 w 5178830"/>
                <a:gd name="connsiteY111" fmla="*/ 2211185 h 4422371"/>
                <a:gd name="connsiteX112" fmla="*/ 955965 w 5178830"/>
                <a:gd name="connsiteY112" fmla="*/ 2535382 h 4422371"/>
                <a:gd name="connsiteX113" fmla="*/ 881150 w 5178830"/>
                <a:gd name="connsiteY113" fmla="*/ 2618509 h 4422371"/>
                <a:gd name="connsiteX114" fmla="*/ 731521 w 5178830"/>
                <a:gd name="connsiteY114" fmla="*/ 2211185 h 4422371"/>
                <a:gd name="connsiteX115" fmla="*/ 631768 w 5178830"/>
                <a:gd name="connsiteY115" fmla="*/ 2236124 h 4422371"/>
                <a:gd name="connsiteX116" fmla="*/ 556954 w 5178830"/>
                <a:gd name="connsiteY116" fmla="*/ 2169622 h 4422371"/>
                <a:gd name="connsiteX117" fmla="*/ 407325 w 5178830"/>
                <a:gd name="connsiteY117" fmla="*/ 2252749 h 4422371"/>
                <a:gd name="connsiteX118" fmla="*/ 307572 w 5178830"/>
                <a:gd name="connsiteY118" fmla="*/ 2352502 h 4422371"/>
                <a:gd name="connsiteX119" fmla="*/ 182881 w 5178830"/>
                <a:gd name="connsiteY119" fmla="*/ 2377440 h 4422371"/>
                <a:gd name="connsiteX120" fmla="*/ 74816 w 5178830"/>
                <a:gd name="connsiteY120" fmla="*/ 2335876 h 4422371"/>
                <a:gd name="connsiteX121" fmla="*/ 0 w 5178830"/>
                <a:gd name="connsiteY121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180408 w 5178830"/>
                <a:gd name="connsiteY107" fmla="*/ 2585258 h 4422371"/>
                <a:gd name="connsiteX108" fmla="*/ 1064030 w 5178830"/>
                <a:gd name="connsiteY108" fmla="*/ 2851265 h 4422371"/>
                <a:gd name="connsiteX109" fmla="*/ 1039092 w 5178830"/>
                <a:gd name="connsiteY109" fmla="*/ 2527069 h 4422371"/>
                <a:gd name="connsiteX110" fmla="*/ 922714 w 5178830"/>
                <a:gd name="connsiteY110" fmla="*/ 2186247 h 4422371"/>
                <a:gd name="connsiteX111" fmla="*/ 814648 w 5178830"/>
                <a:gd name="connsiteY111" fmla="*/ 2211185 h 4422371"/>
                <a:gd name="connsiteX112" fmla="*/ 955965 w 5178830"/>
                <a:gd name="connsiteY112" fmla="*/ 2535382 h 4422371"/>
                <a:gd name="connsiteX113" fmla="*/ 881150 w 5178830"/>
                <a:gd name="connsiteY113" fmla="*/ 2618509 h 4422371"/>
                <a:gd name="connsiteX114" fmla="*/ 731521 w 5178830"/>
                <a:gd name="connsiteY114" fmla="*/ 2211185 h 4422371"/>
                <a:gd name="connsiteX115" fmla="*/ 631768 w 5178830"/>
                <a:gd name="connsiteY115" fmla="*/ 2236124 h 4422371"/>
                <a:gd name="connsiteX116" fmla="*/ 556954 w 5178830"/>
                <a:gd name="connsiteY116" fmla="*/ 2169622 h 4422371"/>
                <a:gd name="connsiteX117" fmla="*/ 407325 w 5178830"/>
                <a:gd name="connsiteY117" fmla="*/ 2252749 h 4422371"/>
                <a:gd name="connsiteX118" fmla="*/ 307572 w 5178830"/>
                <a:gd name="connsiteY118" fmla="*/ 2352502 h 4422371"/>
                <a:gd name="connsiteX119" fmla="*/ 182881 w 5178830"/>
                <a:gd name="connsiteY119" fmla="*/ 2377440 h 4422371"/>
                <a:gd name="connsiteX120" fmla="*/ 74816 w 5178830"/>
                <a:gd name="connsiteY120" fmla="*/ 2335876 h 4422371"/>
                <a:gd name="connsiteX121" fmla="*/ 0 w 5178830"/>
                <a:gd name="connsiteY121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238597 w 5178830"/>
                <a:gd name="connsiteY107" fmla="*/ 2734887 h 4422371"/>
                <a:gd name="connsiteX108" fmla="*/ 1180408 w 5178830"/>
                <a:gd name="connsiteY108" fmla="*/ 2585258 h 4422371"/>
                <a:gd name="connsiteX109" fmla="*/ 1064030 w 5178830"/>
                <a:gd name="connsiteY109" fmla="*/ 2851265 h 4422371"/>
                <a:gd name="connsiteX110" fmla="*/ 1039092 w 5178830"/>
                <a:gd name="connsiteY110" fmla="*/ 2527069 h 4422371"/>
                <a:gd name="connsiteX111" fmla="*/ 922714 w 5178830"/>
                <a:gd name="connsiteY111" fmla="*/ 2186247 h 4422371"/>
                <a:gd name="connsiteX112" fmla="*/ 814648 w 5178830"/>
                <a:gd name="connsiteY112" fmla="*/ 2211185 h 4422371"/>
                <a:gd name="connsiteX113" fmla="*/ 955965 w 5178830"/>
                <a:gd name="connsiteY113" fmla="*/ 2535382 h 4422371"/>
                <a:gd name="connsiteX114" fmla="*/ 881150 w 5178830"/>
                <a:gd name="connsiteY114" fmla="*/ 2618509 h 4422371"/>
                <a:gd name="connsiteX115" fmla="*/ 731521 w 5178830"/>
                <a:gd name="connsiteY115" fmla="*/ 2211185 h 4422371"/>
                <a:gd name="connsiteX116" fmla="*/ 631768 w 5178830"/>
                <a:gd name="connsiteY116" fmla="*/ 2236124 h 4422371"/>
                <a:gd name="connsiteX117" fmla="*/ 556954 w 5178830"/>
                <a:gd name="connsiteY117" fmla="*/ 2169622 h 4422371"/>
                <a:gd name="connsiteX118" fmla="*/ 407325 w 5178830"/>
                <a:gd name="connsiteY118" fmla="*/ 2252749 h 4422371"/>
                <a:gd name="connsiteX119" fmla="*/ 307572 w 5178830"/>
                <a:gd name="connsiteY119" fmla="*/ 2352502 h 4422371"/>
                <a:gd name="connsiteX120" fmla="*/ 182881 w 5178830"/>
                <a:gd name="connsiteY120" fmla="*/ 2377440 h 4422371"/>
                <a:gd name="connsiteX121" fmla="*/ 74816 w 5178830"/>
                <a:gd name="connsiteY121" fmla="*/ 2335876 h 4422371"/>
                <a:gd name="connsiteX122" fmla="*/ 0 w 5178830"/>
                <a:gd name="connsiteY122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2036618 w 5178830"/>
                <a:gd name="connsiteY107" fmla="*/ 2319251 h 4422371"/>
                <a:gd name="connsiteX108" fmla="*/ 1180408 w 5178830"/>
                <a:gd name="connsiteY108" fmla="*/ 2585258 h 4422371"/>
                <a:gd name="connsiteX109" fmla="*/ 1064030 w 5178830"/>
                <a:gd name="connsiteY109" fmla="*/ 2851265 h 4422371"/>
                <a:gd name="connsiteX110" fmla="*/ 1039092 w 5178830"/>
                <a:gd name="connsiteY110" fmla="*/ 2527069 h 4422371"/>
                <a:gd name="connsiteX111" fmla="*/ 922714 w 5178830"/>
                <a:gd name="connsiteY111" fmla="*/ 2186247 h 4422371"/>
                <a:gd name="connsiteX112" fmla="*/ 814648 w 5178830"/>
                <a:gd name="connsiteY112" fmla="*/ 2211185 h 4422371"/>
                <a:gd name="connsiteX113" fmla="*/ 955965 w 5178830"/>
                <a:gd name="connsiteY113" fmla="*/ 2535382 h 4422371"/>
                <a:gd name="connsiteX114" fmla="*/ 881150 w 5178830"/>
                <a:gd name="connsiteY114" fmla="*/ 2618509 h 4422371"/>
                <a:gd name="connsiteX115" fmla="*/ 731521 w 5178830"/>
                <a:gd name="connsiteY115" fmla="*/ 2211185 h 4422371"/>
                <a:gd name="connsiteX116" fmla="*/ 631768 w 5178830"/>
                <a:gd name="connsiteY116" fmla="*/ 2236124 h 4422371"/>
                <a:gd name="connsiteX117" fmla="*/ 556954 w 5178830"/>
                <a:gd name="connsiteY117" fmla="*/ 2169622 h 4422371"/>
                <a:gd name="connsiteX118" fmla="*/ 407325 w 5178830"/>
                <a:gd name="connsiteY118" fmla="*/ 2252749 h 4422371"/>
                <a:gd name="connsiteX119" fmla="*/ 307572 w 5178830"/>
                <a:gd name="connsiteY119" fmla="*/ 2352502 h 4422371"/>
                <a:gd name="connsiteX120" fmla="*/ 182881 w 5178830"/>
                <a:gd name="connsiteY120" fmla="*/ 2377440 h 4422371"/>
                <a:gd name="connsiteX121" fmla="*/ 74816 w 5178830"/>
                <a:gd name="connsiteY121" fmla="*/ 2335876 h 4422371"/>
                <a:gd name="connsiteX122" fmla="*/ 0 w 5178830"/>
                <a:gd name="connsiteY122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2036618 w 5178830"/>
                <a:gd name="connsiteY107" fmla="*/ 2319251 h 4422371"/>
                <a:gd name="connsiteX108" fmla="*/ 1496292 w 5178830"/>
                <a:gd name="connsiteY108" fmla="*/ 2468880 h 4422371"/>
                <a:gd name="connsiteX109" fmla="*/ 1180408 w 5178830"/>
                <a:gd name="connsiteY109" fmla="*/ 2585258 h 4422371"/>
                <a:gd name="connsiteX110" fmla="*/ 1064030 w 5178830"/>
                <a:gd name="connsiteY110" fmla="*/ 2851265 h 4422371"/>
                <a:gd name="connsiteX111" fmla="*/ 1039092 w 5178830"/>
                <a:gd name="connsiteY111" fmla="*/ 2527069 h 4422371"/>
                <a:gd name="connsiteX112" fmla="*/ 922714 w 5178830"/>
                <a:gd name="connsiteY112" fmla="*/ 2186247 h 4422371"/>
                <a:gd name="connsiteX113" fmla="*/ 814648 w 5178830"/>
                <a:gd name="connsiteY113" fmla="*/ 2211185 h 4422371"/>
                <a:gd name="connsiteX114" fmla="*/ 955965 w 5178830"/>
                <a:gd name="connsiteY114" fmla="*/ 2535382 h 4422371"/>
                <a:gd name="connsiteX115" fmla="*/ 881150 w 5178830"/>
                <a:gd name="connsiteY115" fmla="*/ 2618509 h 4422371"/>
                <a:gd name="connsiteX116" fmla="*/ 731521 w 5178830"/>
                <a:gd name="connsiteY116" fmla="*/ 2211185 h 4422371"/>
                <a:gd name="connsiteX117" fmla="*/ 631768 w 5178830"/>
                <a:gd name="connsiteY117" fmla="*/ 2236124 h 4422371"/>
                <a:gd name="connsiteX118" fmla="*/ 556954 w 5178830"/>
                <a:gd name="connsiteY118" fmla="*/ 2169622 h 4422371"/>
                <a:gd name="connsiteX119" fmla="*/ 407325 w 5178830"/>
                <a:gd name="connsiteY119" fmla="*/ 2252749 h 4422371"/>
                <a:gd name="connsiteX120" fmla="*/ 307572 w 5178830"/>
                <a:gd name="connsiteY120" fmla="*/ 2352502 h 4422371"/>
                <a:gd name="connsiteX121" fmla="*/ 182881 w 5178830"/>
                <a:gd name="connsiteY121" fmla="*/ 2377440 h 4422371"/>
                <a:gd name="connsiteX122" fmla="*/ 74816 w 5178830"/>
                <a:gd name="connsiteY122" fmla="*/ 2335876 h 4422371"/>
                <a:gd name="connsiteX123" fmla="*/ 0 w 5178830"/>
                <a:gd name="connsiteY123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2036618 w 5178830"/>
                <a:gd name="connsiteY107" fmla="*/ 2319251 h 4422371"/>
                <a:gd name="connsiteX108" fmla="*/ 1338350 w 5178830"/>
                <a:gd name="connsiteY108" fmla="*/ 2626822 h 4422371"/>
                <a:gd name="connsiteX109" fmla="*/ 1180408 w 5178830"/>
                <a:gd name="connsiteY109" fmla="*/ 2585258 h 4422371"/>
                <a:gd name="connsiteX110" fmla="*/ 1064030 w 5178830"/>
                <a:gd name="connsiteY110" fmla="*/ 2851265 h 4422371"/>
                <a:gd name="connsiteX111" fmla="*/ 1039092 w 5178830"/>
                <a:gd name="connsiteY111" fmla="*/ 2527069 h 4422371"/>
                <a:gd name="connsiteX112" fmla="*/ 922714 w 5178830"/>
                <a:gd name="connsiteY112" fmla="*/ 2186247 h 4422371"/>
                <a:gd name="connsiteX113" fmla="*/ 814648 w 5178830"/>
                <a:gd name="connsiteY113" fmla="*/ 2211185 h 4422371"/>
                <a:gd name="connsiteX114" fmla="*/ 955965 w 5178830"/>
                <a:gd name="connsiteY114" fmla="*/ 2535382 h 4422371"/>
                <a:gd name="connsiteX115" fmla="*/ 881150 w 5178830"/>
                <a:gd name="connsiteY115" fmla="*/ 2618509 h 4422371"/>
                <a:gd name="connsiteX116" fmla="*/ 731521 w 5178830"/>
                <a:gd name="connsiteY116" fmla="*/ 2211185 h 4422371"/>
                <a:gd name="connsiteX117" fmla="*/ 631768 w 5178830"/>
                <a:gd name="connsiteY117" fmla="*/ 2236124 h 4422371"/>
                <a:gd name="connsiteX118" fmla="*/ 556954 w 5178830"/>
                <a:gd name="connsiteY118" fmla="*/ 2169622 h 4422371"/>
                <a:gd name="connsiteX119" fmla="*/ 407325 w 5178830"/>
                <a:gd name="connsiteY119" fmla="*/ 2252749 h 4422371"/>
                <a:gd name="connsiteX120" fmla="*/ 307572 w 5178830"/>
                <a:gd name="connsiteY120" fmla="*/ 2352502 h 4422371"/>
                <a:gd name="connsiteX121" fmla="*/ 182881 w 5178830"/>
                <a:gd name="connsiteY121" fmla="*/ 2377440 h 4422371"/>
                <a:gd name="connsiteX122" fmla="*/ 74816 w 5178830"/>
                <a:gd name="connsiteY122" fmla="*/ 2335876 h 4422371"/>
                <a:gd name="connsiteX123" fmla="*/ 0 w 5178830"/>
                <a:gd name="connsiteY123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2036618 w 5178830"/>
                <a:gd name="connsiteY107" fmla="*/ 2319251 h 4422371"/>
                <a:gd name="connsiteX108" fmla="*/ 1662546 w 5178830"/>
                <a:gd name="connsiteY108" fmla="*/ 2477193 h 4422371"/>
                <a:gd name="connsiteX109" fmla="*/ 1338350 w 5178830"/>
                <a:gd name="connsiteY109" fmla="*/ 2626822 h 4422371"/>
                <a:gd name="connsiteX110" fmla="*/ 1180408 w 5178830"/>
                <a:gd name="connsiteY110" fmla="*/ 2585258 h 4422371"/>
                <a:gd name="connsiteX111" fmla="*/ 1064030 w 5178830"/>
                <a:gd name="connsiteY111" fmla="*/ 2851265 h 4422371"/>
                <a:gd name="connsiteX112" fmla="*/ 1039092 w 5178830"/>
                <a:gd name="connsiteY112" fmla="*/ 2527069 h 4422371"/>
                <a:gd name="connsiteX113" fmla="*/ 922714 w 5178830"/>
                <a:gd name="connsiteY113" fmla="*/ 2186247 h 4422371"/>
                <a:gd name="connsiteX114" fmla="*/ 814648 w 5178830"/>
                <a:gd name="connsiteY114" fmla="*/ 2211185 h 4422371"/>
                <a:gd name="connsiteX115" fmla="*/ 955965 w 5178830"/>
                <a:gd name="connsiteY115" fmla="*/ 2535382 h 4422371"/>
                <a:gd name="connsiteX116" fmla="*/ 881150 w 5178830"/>
                <a:gd name="connsiteY116" fmla="*/ 2618509 h 4422371"/>
                <a:gd name="connsiteX117" fmla="*/ 731521 w 5178830"/>
                <a:gd name="connsiteY117" fmla="*/ 2211185 h 4422371"/>
                <a:gd name="connsiteX118" fmla="*/ 631768 w 5178830"/>
                <a:gd name="connsiteY118" fmla="*/ 2236124 h 4422371"/>
                <a:gd name="connsiteX119" fmla="*/ 556954 w 5178830"/>
                <a:gd name="connsiteY119" fmla="*/ 2169622 h 4422371"/>
                <a:gd name="connsiteX120" fmla="*/ 407325 w 5178830"/>
                <a:gd name="connsiteY120" fmla="*/ 2252749 h 4422371"/>
                <a:gd name="connsiteX121" fmla="*/ 307572 w 5178830"/>
                <a:gd name="connsiteY121" fmla="*/ 2352502 h 4422371"/>
                <a:gd name="connsiteX122" fmla="*/ 182881 w 5178830"/>
                <a:gd name="connsiteY122" fmla="*/ 2377440 h 4422371"/>
                <a:gd name="connsiteX123" fmla="*/ 74816 w 5178830"/>
                <a:gd name="connsiteY123" fmla="*/ 2335876 h 4422371"/>
                <a:gd name="connsiteX124" fmla="*/ 0 w 5178830"/>
                <a:gd name="connsiteY124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2036618 w 5178830"/>
                <a:gd name="connsiteY107" fmla="*/ 2319251 h 4422371"/>
                <a:gd name="connsiteX108" fmla="*/ 1479666 w 5178830"/>
                <a:gd name="connsiteY108" fmla="*/ 2402379 h 4422371"/>
                <a:gd name="connsiteX109" fmla="*/ 1338350 w 5178830"/>
                <a:gd name="connsiteY109" fmla="*/ 2626822 h 4422371"/>
                <a:gd name="connsiteX110" fmla="*/ 1180408 w 5178830"/>
                <a:gd name="connsiteY110" fmla="*/ 2585258 h 4422371"/>
                <a:gd name="connsiteX111" fmla="*/ 1064030 w 5178830"/>
                <a:gd name="connsiteY111" fmla="*/ 2851265 h 4422371"/>
                <a:gd name="connsiteX112" fmla="*/ 1039092 w 5178830"/>
                <a:gd name="connsiteY112" fmla="*/ 2527069 h 4422371"/>
                <a:gd name="connsiteX113" fmla="*/ 922714 w 5178830"/>
                <a:gd name="connsiteY113" fmla="*/ 2186247 h 4422371"/>
                <a:gd name="connsiteX114" fmla="*/ 814648 w 5178830"/>
                <a:gd name="connsiteY114" fmla="*/ 2211185 h 4422371"/>
                <a:gd name="connsiteX115" fmla="*/ 955965 w 5178830"/>
                <a:gd name="connsiteY115" fmla="*/ 2535382 h 4422371"/>
                <a:gd name="connsiteX116" fmla="*/ 881150 w 5178830"/>
                <a:gd name="connsiteY116" fmla="*/ 2618509 h 4422371"/>
                <a:gd name="connsiteX117" fmla="*/ 731521 w 5178830"/>
                <a:gd name="connsiteY117" fmla="*/ 2211185 h 4422371"/>
                <a:gd name="connsiteX118" fmla="*/ 631768 w 5178830"/>
                <a:gd name="connsiteY118" fmla="*/ 2236124 h 4422371"/>
                <a:gd name="connsiteX119" fmla="*/ 556954 w 5178830"/>
                <a:gd name="connsiteY119" fmla="*/ 2169622 h 4422371"/>
                <a:gd name="connsiteX120" fmla="*/ 407325 w 5178830"/>
                <a:gd name="connsiteY120" fmla="*/ 2252749 h 4422371"/>
                <a:gd name="connsiteX121" fmla="*/ 307572 w 5178830"/>
                <a:gd name="connsiteY121" fmla="*/ 2352502 h 4422371"/>
                <a:gd name="connsiteX122" fmla="*/ 182881 w 5178830"/>
                <a:gd name="connsiteY122" fmla="*/ 2377440 h 4422371"/>
                <a:gd name="connsiteX123" fmla="*/ 74816 w 5178830"/>
                <a:gd name="connsiteY123" fmla="*/ 2335876 h 4422371"/>
                <a:gd name="connsiteX124" fmla="*/ 0 w 5178830"/>
                <a:gd name="connsiteY124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2036618 w 5178830"/>
                <a:gd name="connsiteY107" fmla="*/ 2319251 h 4422371"/>
                <a:gd name="connsiteX108" fmla="*/ 1729048 w 5178830"/>
                <a:gd name="connsiteY108" fmla="*/ 2377440 h 4422371"/>
                <a:gd name="connsiteX109" fmla="*/ 1479666 w 5178830"/>
                <a:gd name="connsiteY109" fmla="*/ 2402379 h 4422371"/>
                <a:gd name="connsiteX110" fmla="*/ 1338350 w 5178830"/>
                <a:gd name="connsiteY110" fmla="*/ 2626822 h 4422371"/>
                <a:gd name="connsiteX111" fmla="*/ 1180408 w 5178830"/>
                <a:gd name="connsiteY111" fmla="*/ 2585258 h 4422371"/>
                <a:gd name="connsiteX112" fmla="*/ 1064030 w 5178830"/>
                <a:gd name="connsiteY112" fmla="*/ 2851265 h 4422371"/>
                <a:gd name="connsiteX113" fmla="*/ 1039092 w 5178830"/>
                <a:gd name="connsiteY113" fmla="*/ 2527069 h 4422371"/>
                <a:gd name="connsiteX114" fmla="*/ 922714 w 5178830"/>
                <a:gd name="connsiteY114" fmla="*/ 2186247 h 4422371"/>
                <a:gd name="connsiteX115" fmla="*/ 814648 w 5178830"/>
                <a:gd name="connsiteY115" fmla="*/ 2211185 h 4422371"/>
                <a:gd name="connsiteX116" fmla="*/ 955965 w 5178830"/>
                <a:gd name="connsiteY116" fmla="*/ 2535382 h 4422371"/>
                <a:gd name="connsiteX117" fmla="*/ 881150 w 5178830"/>
                <a:gd name="connsiteY117" fmla="*/ 2618509 h 4422371"/>
                <a:gd name="connsiteX118" fmla="*/ 731521 w 5178830"/>
                <a:gd name="connsiteY118" fmla="*/ 2211185 h 4422371"/>
                <a:gd name="connsiteX119" fmla="*/ 631768 w 5178830"/>
                <a:gd name="connsiteY119" fmla="*/ 2236124 h 4422371"/>
                <a:gd name="connsiteX120" fmla="*/ 556954 w 5178830"/>
                <a:gd name="connsiteY120" fmla="*/ 2169622 h 4422371"/>
                <a:gd name="connsiteX121" fmla="*/ 407325 w 5178830"/>
                <a:gd name="connsiteY121" fmla="*/ 2252749 h 4422371"/>
                <a:gd name="connsiteX122" fmla="*/ 307572 w 5178830"/>
                <a:gd name="connsiteY122" fmla="*/ 2352502 h 4422371"/>
                <a:gd name="connsiteX123" fmla="*/ 182881 w 5178830"/>
                <a:gd name="connsiteY123" fmla="*/ 2377440 h 4422371"/>
                <a:gd name="connsiteX124" fmla="*/ 74816 w 5178830"/>
                <a:gd name="connsiteY124" fmla="*/ 2335876 h 4422371"/>
                <a:gd name="connsiteX125" fmla="*/ 0 w 5178830"/>
                <a:gd name="connsiteY125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2036618 w 5178830"/>
                <a:gd name="connsiteY107" fmla="*/ 2319251 h 4422371"/>
                <a:gd name="connsiteX108" fmla="*/ 1562794 w 5178830"/>
                <a:gd name="connsiteY108" fmla="*/ 2360814 h 4422371"/>
                <a:gd name="connsiteX109" fmla="*/ 1479666 w 5178830"/>
                <a:gd name="connsiteY109" fmla="*/ 2402379 h 4422371"/>
                <a:gd name="connsiteX110" fmla="*/ 1338350 w 5178830"/>
                <a:gd name="connsiteY110" fmla="*/ 2626822 h 4422371"/>
                <a:gd name="connsiteX111" fmla="*/ 1180408 w 5178830"/>
                <a:gd name="connsiteY111" fmla="*/ 2585258 h 4422371"/>
                <a:gd name="connsiteX112" fmla="*/ 1064030 w 5178830"/>
                <a:gd name="connsiteY112" fmla="*/ 2851265 h 4422371"/>
                <a:gd name="connsiteX113" fmla="*/ 1039092 w 5178830"/>
                <a:gd name="connsiteY113" fmla="*/ 2527069 h 4422371"/>
                <a:gd name="connsiteX114" fmla="*/ 922714 w 5178830"/>
                <a:gd name="connsiteY114" fmla="*/ 2186247 h 4422371"/>
                <a:gd name="connsiteX115" fmla="*/ 814648 w 5178830"/>
                <a:gd name="connsiteY115" fmla="*/ 2211185 h 4422371"/>
                <a:gd name="connsiteX116" fmla="*/ 955965 w 5178830"/>
                <a:gd name="connsiteY116" fmla="*/ 2535382 h 4422371"/>
                <a:gd name="connsiteX117" fmla="*/ 881150 w 5178830"/>
                <a:gd name="connsiteY117" fmla="*/ 2618509 h 4422371"/>
                <a:gd name="connsiteX118" fmla="*/ 731521 w 5178830"/>
                <a:gd name="connsiteY118" fmla="*/ 2211185 h 4422371"/>
                <a:gd name="connsiteX119" fmla="*/ 631768 w 5178830"/>
                <a:gd name="connsiteY119" fmla="*/ 2236124 h 4422371"/>
                <a:gd name="connsiteX120" fmla="*/ 556954 w 5178830"/>
                <a:gd name="connsiteY120" fmla="*/ 2169622 h 4422371"/>
                <a:gd name="connsiteX121" fmla="*/ 407325 w 5178830"/>
                <a:gd name="connsiteY121" fmla="*/ 2252749 h 4422371"/>
                <a:gd name="connsiteX122" fmla="*/ 307572 w 5178830"/>
                <a:gd name="connsiteY122" fmla="*/ 2352502 h 4422371"/>
                <a:gd name="connsiteX123" fmla="*/ 182881 w 5178830"/>
                <a:gd name="connsiteY123" fmla="*/ 2377440 h 4422371"/>
                <a:gd name="connsiteX124" fmla="*/ 74816 w 5178830"/>
                <a:gd name="connsiteY124" fmla="*/ 2335876 h 4422371"/>
                <a:gd name="connsiteX125" fmla="*/ 0 w 5178830"/>
                <a:gd name="connsiteY125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895302 w 5178830"/>
                <a:gd name="connsiteY107" fmla="*/ 2360814 h 4422371"/>
                <a:gd name="connsiteX108" fmla="*/ 1562794 w 5178830"/>
                <a:gd name="connsiteY108" fmla="*/ 2360814 h 4422371"/>
                <a:gd name="connsiteX109" fmla="*/ 1479666 w 5178830"/>
                <a:gd name="connsiteY109" fmla="*/ 2402379 h 4422371"/>
                <a:gd name="connsiteX110" fmla="*/ 1338350 w 5178830"/>
                <a:gd name="connsiteY110" fmla="*/ 2626822 h 4422371"/>
                <a:gd name="connsiteX111" fmla="*/ 1180408 w 5178830"/>
                <a:gd name="connsiteY111" fmla="*/ 2585258 h 4422371"/>
                <a:gd name="connsiteX112" fmla="*/ 1064030 w 5178830"/>
                <a:gd name="connsiteY112" fmla="*/ 2851265 h 4422371"/>
                <a:gd name="connsiteX113" fmla="*/ 1039092 w 5178830"/>
                <a:gd name="connsiteY113" fmla="*/ 2527069 h 4422371"/>
                <a:gd name="connsiteX114" fmla="*/ 922714 w 5178830"/>
                <a:gd name="connsiteY114" fmla="*/ 2186247 h 4422371"/>
                <a:gd name="connsiteX115" fmla="*/ 814648 w 5178830"/>
                <a:gd name="connsiteY115" fmla="*/ 2211185 h 4422371"/>
                <a:gd name="connsiteX116" fmla="*/ 955965 w 5178830"/>
                <a:gd name="connsiteY116" fmla="*/ 2535382 h 4422371"/>
                <a:gd name="connsiteX117" fmla="*/ 881150 w 5178830"/>
                <a:gd name="connsiteY117" fmla="*/ 2618509 h 4422371"/>
                <a:gd name="connsiteX118" fmla="*/ 731521 w 5178830"/>
                <a:gd name="connsiteY118" fmla="*/ 2211185 h 4422371"/>
                <a:gd name="connsiteX119" fmla="*/ 631768 w 5178830"/>
                <a:gd name="connsiteY119" fmla="*/ 2236124 h 4422371"/>
                <a:gd name="connsiteX120" fmla="*/ 556954 w 5178830"/>
                <a:gd name="connsiteY120" fmla="*/ 2169622 h 4422371"/>
                <a:gd name="connsiteX121" fmla="*/ 407325 w 5178830"/>
                <a:gd name="connsiteY121" fmla="*/ 2252749 h 4422371"/>
                <a:gd name="connsiteX122" fmla="*/ 307572 w 5178830"/>
                <a:gd name="connsiteY122" fmla="*/ 2352502 h 4422371"/>
                <a:gd name="connsiteX123" fmla="*/ 182881 w 5178830"/>
                <a:gd name="connsiteY123" fmla="*/ 2377440 h 4422371"/>
                <a:gd name="connsiteX124" fmla="*/ 74816 w 5178830"/>
                <a:gd name="connsiteY124" fmla="*/ 2335876 h 4422371"/>
                <a:gd name="connsiteX125" fmla="*/ 0 w 5178830"/>
                <a:gd name="connsiteY125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753986 w 5178830"/>
                <a:gd name="connsiteY107" fmla="*/ 2468880 h 4422371"/>
                <a:gd name="connsiteX108" fmla="*/ 1895302 w 5178830"/>
                <a:gd name="connsiteY108" fmla="*/ 2360814 h 4422371"/>
                <a:gd name="connsiteX109" fmla="*/ 1562794 w 5178830"/>
                <a:gd name="connsiteY109" fmla="*/ 2360814 h 4422371"/>
                <a:gd name="connsiteX110" fmla="*/ 1479666 w 5178830"/>
                <a:gd name="connsiteY110" fmla="*/ 2402379 h 4422371"/>
                <a:gd name="connsiteX111" fmla="*/ 1338350 w 5178830"/>
                <a:gd name="connsiteY111" fmla="*/ 2626822 h 4422371"/>
                <a:gd name="connsiteX112" fmla="*/ 1180408 w 5178830"/>
                <a:gd name="connsiteY112" fmla="*/ 2585258 h 4422371"/>
                <a:gd name="connsiteX113" fmla="*/ 1064030 w 5178830"/>
                <a:gd name="connsiteY113" fmla="*/ 2851265 h 4422371"/>
                <a:gd name="connsiteX114" fmla="*/ 1039092 w 5178830"/>
                <a:gd name="connsiteY114" fmla="*/ 2527069 h 4422371"/>
                <a:gd name="connsiteX115" fmla="*/ 922714 w 5178830"/>
                <a:gd name="connsiteY115" fmla="*/ 2186247 h 4422371"/>
                <a:gd name="connsiteX116" fmla="*/ 814648 w 5178830"/>
                <a:gd name="connsiteY116" fmla="*/ 2211185 h 4422371"/>
                <a:gd name="connsiteX117" fmla="*/ 955965 w 5178830"/>
                <a:gd name="connsiteY117" fmla="*/ 2535382 h 4422371"/>
                <a:gd name="connsiteX118" fmla="*/ 881150 w 5178830"/>
                <a:gd name="connsiteY118" fmla="*/ 2618509 h 4422371"/>
                <a:gd name="connsiteX119" fmla="*/ 731521 w 5178830"/>
                <a:gd name="connsiteY119" fmla="*/ 2211185 h 4422371"/>
                <a:gd name="connsiteX120" fmla="*/ 631768 w 5178830"/>
                <a:gd name="connsiteY120" fmla="*/ 2236124 h 4422371"/>
                <a:gd name="connsiteX121" fmla="*/ 556954 w 5178830"/>
                <a:gd name="connsiteY121" fmla="*/ 2169622 h 4422371"/>
                <a:gd name="connsiteX122" fmla="*/ 407325 w 5178830"/>
                <a:gd name="connsiteY122" fmla="*/ 2252749 h 4422371"/>
                <a:gd name="connsiteX123" fmla="*/ 307572 w 5178830"/>
                <a:gd name="connsiteY123" fmla="*/ 2352502 h 4422371"/>
                <a:gd name="connsiteX124" fmla="*/ 182881 w 5178830"/>
                <a:gd name="connsiteY124" fmla="*/ 2377440 h 4422371"/>
                <a:gd name="connsiteX125" fmla="*/ 74816 w 5178830"/>
                <a:gd name="connsiteY125" fmla="*/ 2335876 h 4422371"/>
                <a:gd name="connsiteX126" fmla="*/ 0 w 5178830"/>
                <a:gd name="connsiteY126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828801 w 5178830"/>
                <a:gd name="connsiteY107" fmla="*/ 2485505 h 4422371"/>
                <a:gd name="connsiteX108" fmla="*/ 1895302 w 5178830"/>
                <a:gd name="connsiteY108" fmla="*/ 2360814 h 4422371"/>
                <a:gd name="connsiteX109" fmla="*/ 1562794 w 5178830"/>
                <a:gd name="connsiteY109" fmla="*/ 2360814 h 4422371"/>
                <a:gd name="connsiteX110" fmla="*/ 1479666 w 5178830"/>
                <a:gd name="connsiteY110" fmla="*/ 2402379 h 4422371"/>
                <a:gd name="connsiteX111" fmla="*/ 1338350 w 5178830"/>
                <a:gd name="connsiteY111" fmla="*/ 2626822 h 4422371"/>
                <a:gd name="connsiteX112" fmla="*/ 1180408 w 5178830"/>
                <a:gd name="connsiteY112" fmla="*/ 2585258 h 4422371"/>
                <a:gd name="connsiteX113" fmla="*/ 1064030 w 5178830"/>
                <a:gd name="connsiteY113" fmla="*/ 2851265 h 4422371"/>
                <a:gd name="connsiteX114" fmla="*/ 1039092 w 5178830"/>
                <a:gd name="connsiteY114" fmla="*/ 2527069 h 4422371"/>
                <a:gd name="connsiteX115" fmla="*/ 922714 w 5178830"/>
                <a:gd name="connsiteY115" fmla="*/ 2186247 h 4422371"/>
                <a:gd name="connsiteX116" fmla="*/ 814648 w 5178830"/>
                <a:gd name="connsiteY116" fmla="*/ 2211185 h 4422371"/>
                <a:gd name="connsiteX117" fmla="*/ 955965 w 5178830"/>
                <a:gd name="connsiteY117" fmla="*/ 2535382 h 4422371"/>
                <a:gd name="connsiteX118" fmla="*/ 881150 w 5178830"/>
                <a:gd name="connsiteY118" fmla="*/ 2618509 h 4422371"/>
                <a:gd name="connsiteX119" fmla="*/ 731521 w 5178830"/>
                <a:gd name="connsiteY119" fmla="*/ 2211185 h 4422371"/>
                <a:gd name="connsiteX120" fmla="*/ 631768 w 5178830"/>
                <a:gd name="connsiteY120" fmla="*/ 2236124 h 4422371"/>
                <a:gd name="connsiteX121" fmla="*/ 556954 w 5178830"/>
                <a:gd name="connsiteY121" fmla="*/ 2169622 h 4422371"/>
                <a:gd name="connsiteX122" fmla="*/ 407325 w 5178830"/>
                <a:gd name="connsiteY122" fmla="*/ 2252749 h 4422371"/>
                <a:gd name="connsiteX123" fmla="*/ 307572 w 5178830"/>
                <a:gd name="connsiteY123" fmla="*/ 2352502 h 4422371"/>
                <a:gd name="connsiteX124" fmla="*/ 182881 w 5178830"/>
                <a:gd name="connsiteY124" fmla="*/ 2377440 h 4422371"/>
                <a:gd name="connsiteX125" fmla="*/ 74816 w 5178830"/>
                <a:gd name="connsiteY125" fmla="*/ 2335876 h 4422371"/>
                <a:gd name="connsiteX126" fmla="*/ 0 w 5178830"/>
                <a:gd name="connsiteY126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529543 w 5178830"/>
                <a:gd name="connsiteY107" fmla="*/ 2643447 h 4422371"/>
                <a:gd name="connsiteX108" fmla="*/ 1828801 w 5178830"/>
                <a:gd name="connsiteY108" fmla="*/ 2485505 h 4422371"/>
                <a:gd name="connsiteX109" fmla="*/ 1895302 w 5178830"/>
                <a:gd name="connsiteY109" fmla="*/ 2360814 h 4422371"/>
                <a:gd name="connsiteX110" fmla="*/ 1562794 w 5178830"/>
                <a:gd name="connsiteY110" fmla="*/ 2360814 h 4422371"/>
                <a:gd name="connsiteX111" fmla="*/ 1479666 w 5178830"/>
                <a:gd name="connsiteY111" fmla="*/ 2402379 h 4422371"/>
                <a:gd name="connsiteX112" fmla="*/ 1338350 w 5178830"/>
                <a:gd name="connsiteY112" fmla="*/ 2626822 h 4422371"/>
                <a:gd name="connsiteX113" fmla="*/ 1180408 w 5178830"/>
                <a:gd name="connsiteY113" fmla="*/ 2585258 h 4422371"/>
                <a:gd name="connsiteX114" fmla="*/ 1064030 w 5178830"/>
                <a:gd name="connsiteY114" fmla="*/ 2851265 h 4422371"/>
                <a:gd name="connsiteX115" fmla="*/ 1039092 w 5178830"/>
                <a:gd name="connsiteY115" fmla="*/ 2527069 h 4422371"/>
                <a:gd name="connsiteX116" fmla="*/ 922714 w 5178830"/>
                <a:gd name="connsiteY116" fmla="*/ 2186247 h 4422371"/>
                <a:gd name="connsiteX117" fmla="*/ 814648 w 5178830"/>
                <a:gd name="connsiteY117" fmla="*/ 2211185 h 4422371"/>
                <a:gd name="connsiteX118" fmla="*/ 955965 w 5178830"/>
                <a:gd name="connsiteY118" fmla="*/ 2535382 h 4422371"/>
                <a:gd name="connsiteX119" fmla="*/ 881150 w 5178830"/>
                <a:gd name="connsiteY119" fmla="*/ 2618509 h 4422371"/>
                <a:gd name="connsiteX120" fmla="*/ 731521 w 5178830"/>
                <a:gd name="connsiteY120" fmla="*/ 2211185 h 4422371"/>
                <a:gd name="connsiteX121" fmla="*/ 631768 w 5178830"/>
                <a:gd name="connsiteY121" fmla="*/ 2236124 h 4422371"/>
                <a:gd name="connsiteX122" fmla="*/ 556954 w 5178830"/>
                <a:gd name="connsiteY122" fmla="*/ 2169622 h 4422371"/>
                <a:gd name="connsiteX123" fmla="*/ 407325 w 5178830"/>
                <a:gd name="connsiteY123" fmla="*/ 2252749 h 4422371"/>
                <a:gd name="connsiteX124" fmla="*/ 307572 w 5178830"/>
                <a:gd name="connsiteY124" fmla="*/ 2352502 h 4422371"/>
                <a:gd name="connsiteX125" fmla="*/ 182881 w 5178830"/>
                <a:gd name="connsiteY125" fmla="*/ 2377440 h 4422371"/>
                <a:gd name="connsiteX126" fmla="*/ 74816 w 5178830"/>
                <a:gd name="connsiteY126" fmla="*/ 2335876 h 4422371"/>
                <a:gd name="connsiteX127" fmla="*/ 0 w 5178830"/>
                <a:gd name="connsiteY127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961805 w 5178830"/>
                <a:gd name="connsiteY107" fmla="*/ 2668385 h 4422371"/>
                <a:gd name="connsiteX108" fmla="*/ 1828801 w 5178830"/>
                <a:gd name="connsiteY108" fmla="*/ 2485505 h 4422371"/>
                <a:gd name="connsiteX109" fmla="*/ 1895302 w 5178830"/>
                <a:gd name="connsiteY109" fmla="*/ 2360814 h 4422371"/>
                <a:gd name="connsiteX110" fmla="*/ 1562794 w 5178830"/>
                <a:gd name="connsiteY110" fmla="*/ 2360814 h 4422371"/>
                <a:gd name="connsiteX111" fmla="*/ 1479666 w 5178830"/>
                <a:gd name="connsiteY111" fmla="*/ 2402379 h 4422371"/>
                <a:gd name="connsiteX112" fmla="*/ 1338350 w 5178830"/>
                <a:gd name="connsiteY112" fmla="*/ 2626822 h 4422371"/>
                <a:gd name="connsiteX113" fmla="*/ 1180408 w 5178830"/>
                <a:gd name="connsiteY113" fmla="*/ 2585258 h 4422371"/>
                <a:gd name="connsiteX114" fmla="*/ 1064030 w 5178830"/>
                <a:gd name="connsiteY114" fmla="*/ 2851265 h 4422371"/>
                <a:gd name="connsiteX115" fmla="*/ 1039092 w 5178830"/>
                <a:gd name="connsiteY115" fmla="*/ 2527069 h 4422371"/>
                <a:gd name="connsiteX116" fmla="*/ 922714 w 5178830"/>
                <a:gd name="connsiteY116" fmla="*/ 2186247 h 4422371"/>
                <a:gd name="connsiteX117" fmla="*/ 814648 w 5178830"/>
                <a:gd name="connsiteY117" fmla="*/ 2211185 h 4422371"/>
                <a:gd name="connsiteX118" fmla="*/ 955965 w 5178830"/>
                <a:gd name="connsiteY118" fmla="*/ 2535382 h 4422371"/>
                <a:gd name="connsiteX119" fmla="*/ 881150 w 5178830"/>
                <a:gd name="connsiteY119" fmla="*/ 2618509 h 4422371"/>
                <a:gd name="connsiteX120" fmla="*/ 731521 w 5178830"/>
                <a:gd name="connsiteY120" fmla="*/ 2211185 h 4422371"/>
                <a:gd name="connsiteX121" fmla="*/ 631768 w 5178830"/>
                <a:gd name="connsiteY121" fmla="*/ 2236124 h 4422371"/>
                <a:gd name="connsiteX122" fmla="*/ 556954 w 5178830"/>
                <a:gd name="connsiteY122" fmla="*/ 2169622 h 4422371"/>
                <a:gd name="connsiteX123" fmla="*/ 407325 w 5178830"/>
                <a:gd name="connsiteY123" fmla="*/ 2252749 h 4422371"/>
                <a:gd name="connsiteX124" fmla="*/ 307572 w 5178830"/>
                <a:gd name="connsiteY124" fmla="*/ 2352502 h 4422371"/>
                <a:gd name="connsiteX125" fmla="*/ 182881 w 5178830"/>
                <a:gd name="connsiteY125" fmla="*/ 2377440 h 4422371"/>
                <a:gd name="connsiteX126" fmla="*/ 74816 w 5178830"/>
                <a:gd name="connsiteY126" fmla="*/ 2335876 h 4422371"/>
                <a:gd name="connsiteX127" fmla="*/ 0 w 5178830"/>
                <a:gd name="connsiteY127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845426 w 5178830"/>
                <a:gd name="connsiteY107" fmla="*/ 2676698 h 4422371"/>
                <a:gd name="connsiteX108" fmla="*/ 1961805 w 5178830"/>
                <a:gd name="connsiteY108" fmla="*/ 2668385 h 4422371"/>
                <a:gd name="connsiteX109" fmla="*/ 1828801 w 5178830"/>
                <a:gd name="connsiteY109" fmla="*/ 2485505 h 4422371"/>
                <a:gd name="connsiteX110" fmla="*/ 1895302 w 5178830"/>
                <a:gd name="connsiteY110" fmla="*/ 2360814 h 4422371"/>
                <a:gd name="connsiteX111" fmla="*/ 1562794 w 5178830"/>
                <a:gd name="connsiteY111" fmla="*/ 2360814 h 4422371"/>
                <a:gd name="connsiteX112" fmla="*/ 1479666 w 5178830"/>
                <a:gd name="connsiteY112" fmla="*/ 2402379 h 4422371"/>
                <a:gd name="connsiteX113" fmla="*/ 1338350 w 5178830"/>
                <a:gd name="connsiteY113" fmla="*/ 2626822 h 4422371"/>
                <a:gd name="connsiteX114" fmla="*/ 1180408 w 5178830"/>
                <a:gd name="connsiteY114" fmla="*/ 2585258 h 4422371"/>
                <a:gd name="connsiteX115" fmla="*/ 1064030 w 5178830"/>
                <a:gd name="connsiteY115" fmla="*/ 2851265 h 4422371"/>
                <a:gd name="connsiteX116" fmla="*/ 1039092 w 5178830"/>
                <a:gd name="connsiteY116" fmla="*/ 2527069 h 4422371"/>
                <a:gd name="connsiteX117" fmla="*/ 922714 w 5178830"/>
                <a:gd name="connsiteY117" fmla="*/ 2186247 h 4422371"/>
                <a:gd name="connsiteX118" fmla="*/ 814648 w 5178830"/>
                <a:gd name="connsiteY118" fmla="*/ 2211185 h 4422371"/>
                <a:gd name="connsiteX119" fmla="*/ 955965 w 5178830"/>
                <a:gd name="connsiteY119" fmla="*/ 2535382 h 4422371"/>
                <a:gd name="connsiteX120" fmla="*/ 881150 w 5178830"/>
                <a:gd name="connsiteY120" fmla="*/ 2618509 h 4422371"/>
                <a:gd name="connsiteX121" fmla="*/ 731521 w 5178830"/>
                <a:gd name="connsiteY121" fmla="*/ 2211185 h 4422371"/>
                <a:gd name="connsiteX122" fmla="*/ 631768 w 5178830"/>
                <a:gd name="connsiteY122" fmla="*/ 2236124 h 4422371"/>
                <a:gd name="connsiteX123" fmla="*/ 556954 w 5178830"/>
                <a:gd name="connsiteY123" fmla="*/ 2169622 h 4422371"/>
                <a:gd name="connsiteX124" fmla="*/ 407325 w 5178830"/>
                <a:gd name="connsiteY124" fmla="*/ 2252749 h 4422371"/>
                <a:gd name="connsiteX125" fmla="*/ 307572 w 5178830"/>
                <a:gd name="connsiteY125" fmla="*/ 2352502 h 4422371"/>
                <a:gd name="connsiteX126" fmla="*/ 182881 w 5178830"/>
                <a:gd name="connsiteY126" fmla="*/ 2377440 h 4422371"/>
                <a:gd name="connsiteX127" fmla="*/ 74816 w 5178830"/>
                <a:gd name="connsiteY127" fmla="*/ 2335876 h 4422371"/>
                <a:gd name="connsiteX128" fmla="*/ 0 w 5178830"/>
                <a:gd name="connsiteY128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886990 w 5178830"/>
                <a:gd name="connsiteY107" fmla="*/ 2734887 h 4422371"/>
                <a:gd name="connsiteX108" fmla="*/ 1961805 w 5178830"/>
                <a:gd name="connsiteY108" fmla="*/ 2668385 h 4422371"/>
                <a:gd name="connsiteX109" fmla="*/ 1828801 w 5178830"/>
                <a:gd name="connsiteY109" fmla="*/ 2485505 h 4422371"/>
                <a:gd name="connsiteX110" fmla="*/ 1895302 w 5178830"/>
                <a:gd name="connsiteY110" fmla="*/ 2360814 h 4422371"/>
                <a:gd name="connsiteX111" fmla="*/ 1562794 w 5178830"/>
                <a:gd name="connsiteY111" fmla="*/ 2360814 h 4422371"/>
                <a:gd name="connsiteX112" fmla="*/ 1479666 w 5178830"/>
                <a:gd name="connsiteY112" fmla="*/ 2402379 h 4422371"/>
                <a:gd name="connsiteX113" fmla="*/ 1338350 w 5178830"/>
                <a:gd name="connsiteY113" fmla="*/ 2626822 h 4422371"/>
                <a:gd name="connsiteX114" fmla="*/ 1180408 w 5178830"/>
                <a:gd name="connsiteY114" fmla="*/ 2585258 h 4422371"/>
                <a:gd name="connsiteX115" fmla="*/ 1064030 w 5178830"/>
                <a:gd name="connsiteY115" fmla="*/ 2851265 h 4422371"/>
                <a:gd name="connsiteX116" fmla="*/ 1039092 w 5178830"/>
                <a:gd name="connsiteY116" fmla="*/ 2527069 h 4422371"/>
                <a:gd name="connsiteX117" fmla="*/ 922714 w 5178830"/>
                <a:gd name="connsiteY117" fmla="*/ 2186247 h 4422371"/>
                <a:gd name="connsiteX118" fmla="*/ 814648 w 5178830"/>
                <a:gd name="connsiteY118" fmla="*/ 2211185 h 4422371"/>
                <a:gd name="connsiteX119" fmla="*/ 955965 w 5178830"/>
                <a:gd name="connsiteY119" fmla="*/ 2535382 h 4422371"/>
                <a:gd name="connsiteX120" fmla="*/ 881150 w 5178830"/>
                <a:gd name="connsiteY120" fmla="*/ 2618509 h 4422371"/>
                <a:gd name="connsiteX121" fmla="*/ 731521 w 5178830"/>
                <a:gd name="connsiteY121" fmla="*/ 2211185 h 4422371"/>
                <a:gd name="connsiteX122" fmla="*/ 631768 w 5178830"/>
                <a:gd name="connsiteY122" fmla="*/ 2236124 h 4422371"/>
                <a:gd name="connsiteX123" fmla="*/ 556954 w 5178830"/>
                <a:gd name="connsiteY123" fmla="*/ 2169622 h 4422371"/>
                <a:gd name="connsiteX124" fmla="*/ 407325 w 5178830"/>
                <a:gd name="connsiteY124" fmla="*/ 2252749 h 4422371"/>
                <a:gd name="connsiteX125" fmla="*/ 307572 w 5178830"/>
                <a:gd name="connsiteY125" fmla="*/ 2352502 h 4422371"/>
                <a:gd name="connsiteX126" fmla="*/ 182881 w 5178830"/>
                <a:gd name="connsiteY126" fmla="*/ 2377440 h 4422371"/>
                <a:gd name="connsiteX127" fmla="*/ 74816 w 5178830"/>
                <a:gd name="connsiteY127" fmla="*/ 2335876 h 4422371"/>
                <a:gd name="connsiteX128" fmla="*/ 0 w 5178830"/>
                <a:gd name="connsiteY128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562794 w 5178830"/>
                <a:gd name="connsiteY107" fmla="*/ 2751513 h 4422371"/>
                <a:gd name="connsiteX108" fmla="*/ 1886990 w 5178830"/>
                <a:gd name="connsiteY108" fmla="*/ 2734887 h 4422371"/>
                <a:gd name="connsiteX109" fmla="*/ 1961805 w 5178830"/>
                <a:gd name="connsiteY109" fmla="*/ 2668385 h 4422371"/>
                <a:gd name="connsiteX110" fmla="*/ 1828801 w 5178830"/>
                <a:gd name="connsiteY110" fmla="*/ 2485505 h 4422371"/>
                <a:gd name="connsiteX111" fmla="*/ 1895302 w 5178830"/>
                <a:gd name="connsiteY111" fmla="*/ 2360814 h 4422371"/>
                <a:gd name="connsiteX112" fmla="*/ 1562794 w 5178830"/>
                <a:gd name="connsiteY112" fmla="*/ 2360814 h 4422371"/>
                <a:gd name="connsiteX113" fmla="*/ 1479666 w 5178830"/>
                <a:gd name="connsiteY113" fmla="*/ 2402379 h 4422371"/>
                <a:gd name="connsiteX114" fmla="*/ 1338350 w 5178830"/>
                <a:gd name="connsiteY114" fmla="*/ 2626822 h 4422371"/>
                <a:gd name="connsiteX115" fmla="*/ 1180408 w 5178830"/>
                <a:gd name="connsiteY115" fmla="*/ 2585258 h 4422371"/>
                <a:gd name="connsiteX116" fmla="*/ 1064030 w 5178830"/>
                <a:gd name="connsiteY116" fmla="*/ 2851265 h 4422371"/>
                <a:gd name="connsiteX117" fmla="*/ 1039092 w 5178830"/>
                <a:gd name="connsiteY117" fmla="*/ 2527069 h 4422371"/>
                <a:gd name="connsiteX118" fmla="*/ 922714 w 5178830"/>
                <a:gd name="connsiteY118" fmla="*/ 2186247 h 4422371"/>
                <a:gd name="connsiteX119" fmla="*/ 814648 w 5178830"/>
                <a:gd name="connsiteY119" fmla="*/ 2211185 h 4422371"/>
                <a:gd name="connsiteX120" fmla="*/ 955965 w 5178830"/>
                <a:gd name="connsiteY120" fmla="*/ 2535382 h 4422371"/>
                <a:gd name="connsiteX121" fmla="*/ 881150 w 5178830"/>
                <a:gd name="connsiteY121" fmla="*/ 2618509 h 4422371"/>
                <a:gd name="connsiteX122" fmla="*/ 731521 w 5178830"/>
                <a:gd name="connsiteY122" fmla="*/ 2211185 h 4422371"/>
                <a:gd name="connsiteX123" fmla="*/ 631768 w 5178830"/>
                <a:gd name="connsiteY123" fmla="*/ 2236124 h 4422371"/>
                <a:gd name="connsiteX124" fmla="*/ 556954 w 5178830"/>
                <a:gd name="connsiteY124" fmla="*/ 2169622 h 4422371"/>
                <a:gd name="connsiteX125" fmla="*/ 407325 w 5178830"/>
                <a:gd name="connsiteY125" fmla="*/ 2252749 h 4422371"/>
                <a:gd name="connsiteX126" fmla="*/ 307572 w 5178830"/>
                <a:gd name="connsiteY126" fmla="*/ 2352502 h 4422371"/>
                <a:gd name="connsiteX127" fmla="*/ 182881 w 5178830"/>
                <a:gd name="connsiteY127" fmla="*/ 2377440 h 4422371"/>
                <a:gd name="connsiteX128" fmla="*/ 74816 w 5178830"/>
                <a:gd name="connsiteY128" fmla="*/ 2335876 h 4422371"/>
                <a:gd name="connsiteX129" fmla="*/ 0 w 5178830"/>
                <a:gd name="connsiteY129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612670 w 5178830"/>
                <a:gd name="connsiteY107" fmla="*/ 2626822 h 4422371"/>
                <a:gd name="connsiteX108" fmla="*/ 1886990 w 5178830"/>
                <a:gd name="connsiteY108" fmla="*/ 2734887 h 4422371"/>
                <a:gd name="connsiteX109" fmla="*/ 1961805 w 5178830"/>
                <a:gd name="connsiteY109" fmla="*/ 2668385 h 4422371"/>
                <a:gd name="connsiteX110" fmla="*/ 1828801 w 5178830"/>
                <a:gd name="connsiteY110" fmla="*/ 2485505 h 4422371"/>
                <a:gd name="connsiteX111" fmla="*/ 1895302 w 5178830"/>
                <a:gd name="connsiteY111" fmla="*/ 2360814 h 4422371"/>
                <a:gd name="connsiteX112" fmla="*/ 1562794 w 5178830"/>
                <a:gd name="connsiteY112" fmla="*/ 2360814 h 4422371"/>
                <a:gd name="connsiteX113" fmla="*/ 1479666 w 5178830"/>
                <a:gd name="connsiteY113" fmla="*/ 2402379 h 4422371"/>
                <a:gd name="connsiteX114" fmla="*/ 1338350 w 5178830"/>
                <a:gd name="connsiteY114" fmla="*/ 2626822 h 4422371"/>
                <a:gd name="connsiteX115" fmla="*/ 1180408 w 5178830"/>
                <a:gd name="connsiteY115" fmla="*/ 2585258 h 4422371"/>
                <a:gd name="connsiteX116" fmla="*/ 1064030 w 5178830"/>
                <a:gd name="connsiteY116" fmla="*/ 2851265 h 4422371"/>
                <a:gd name="connsiteX117" fmla="*/ 1039092 w 5178830"/>
                <a:gd name="connsiteY117" fmla="*/ 2527069 h 4422371"/>
                <a:gd name="connsiteX118" fmla="*/ 922714 w 5178830"/>
                <a:gd name="connsiteY118" fmla="*/ 2186247 h 4422371"/>
                <a:gd name="connsiteX119" fmla="*/ 814648 w 5178830"/>
                <a:gd name="connsiteY119" fmla="*/ 2211185 h 4422371"/>
                <a:gd name="connsiteX120" fmla="*/ 955965 w 5178830"/>
                <a:gd name="connsiteY120" fmla="*/ 2535382 h 4422371"/>
                <a:gd name="connsiteX121" fmla="*/ 881150 w 5178830"/>
                <a:gd name="connsiteY121" fmla="*/ 2618509 h 4422371"/>
                <a:gd name="connsiteX122" fmla="*/ 731521 w 5178830"/>
                <a:gd name="connsiteY122" fmla="*/ 2211185 h 4422371"/>
                <a:gd name="connsiteX123" fmla="*/ 631768 w 5178830"/>
                <a:gd name="connsiteY123" fmla="*/ 2236124 h 4422371"/>
                <a:gd name="connsiteX124" fmla="*/ 556954 w 5178830"/>
                <a:gd name="connsiteY124" fmla="*/ 2169622 h 4422371"/>
                <a:gd name="connsiteX125" fmla="*/ 407325 w 5178830"/>
                <a:gd name="connsiteY125" fmla="*/ 2252749 h 4422371"/>
                <a:gd name="connsiteX126" fmla="*/ 307572 w 5178830"/>
                <a:gd name="connsiteY126" fmla="*/ 2352502 h 4422371"/>
                <a:gd name="connsiteX127" fmla="*/ 182881 w 5178830"/>
                <a:gd name="connsiteY127" fmla="*/ 2377440 h 4422371"/>
                <a:gd name="connsiteX128" fmla="*/ 74816 w 5178830"/>
                <a:gd name="connsiteY128" fmla="*/ 2335876 h 4422371"/>
                <a:gd name="connsiteX129" fmla="*/ 0 w 5178830"/>
                <a:gd name="connsiteY129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388226 w 5178830"/>
                <a:gd name="connsiteY107" fmla="*/ 2726574 h 4422371"/>
                <a:gd name="connsiteX108" fmla="*/ 1612670 w 5178830"/>
                <a:gd name="connsiteY108" fmla="*/ 2626822 h 4422371"/>
                <a:gd name="connsiteX109" fmla="*/ 1886990 w 5178830"/>
                <a:gd name="connsiteY109" fmla="*/ 2734887 h 4422371"/>
                <a:gd name="connsiteX110" fmla="*/ 1961805 w 5178830"/>
                <a:gd name="connsiteY110" fmla="*/ 2668385 h 4422371"/>
                <a:gd name="connsiteX111" fmla="*/ 1828801 w 5178830"/>
                <a:gd name="connsiteY111" fmla="*/ 2485505 h 4422371"/>
                <a:gd name="connsiteX112" fmla="*/ 1895302 w 5178830"/>
                <a:gd name="connsiteY112" fmla="*/ 2360814 h 4422371"/>
                <a:gd name="connsiteX113" fmla="*/ 1562794 w 5178830"/>
                <a:gd name="connsiteY113" fmla="*/ 2360814 h 4422371"/>
                <a:gd name="connsiteX114" fmla="*/ 1479666 w 5178830"/>
                <a:gd name="connsiteY114" fmla="*/ 2402379 h 4422371"/>
                <a:gd name="connsiteX115" fmla="*/ 1338350 w 5178830"/>
                <a:gd name="connsiteY115" fmla="*/ 2626822 h 4422371"/>
                <a:gd name="connsiteX116" fmla="*/ 1180408 w 5178830"/>
                <a:gd name="connsiteY116" fmla="*/ 2585258 h 4422371"/>
                <a:gd name="connsiteX117" fmla="*/ 1064030 w 5178830"/>
                <a:gd name="connsiteY117" fmla="*/ 2851265 h 4422371"/>
                <a:gd name="connsiteX118" fmla="*/ 1039092 w 5178830"/>
                <a:gd name="connsiteY118" fmla="*/ 2527069 h 4422371"/>
                <a:gd name="connsiteX119" fmla="*/ 922714 w 5178830"/>
                <a:gd name="connsiteY119" fmla="*/ 2186247 h 4422371"/>
                <a:gd name="connsiteX120" fmla="*/ 814648 w 5178830"/>
                <a:gd name="connsiteY120" fmla="*/ 2211185 h 4422371"/>
                <a:gd name="connsiteX121" fmla="*/ 955965 w 5178830"/>
                <a:gd name="connsiteY121" fmla="*/ 2535382 h 4422371"/>
                <a:gd name="connsiteX122" fmla="*/ 881150 w 5178830"/>
                <a:gd name="connsiteY122" fmla="*/ 2618509 h 4422371"/>
                <a:gd name="connsiteX123" fmla="*/ 731521 w 5178830"/>
                <a:gd name="connsiteY123" fmla="*/ 2211185 h 4422371"/>
                <a:gd name="connsiteX124" fmla="*/ 631768 w 5178830"/>
                <a:gd name="connsiteY124" fmla="*/ 2236124 h 4422371"/>
                <a:gd name="connsiteX125" fmla="*/ 556954 w 5178830"/>
                <a:gd name="connsiteY125" fmla="*/ 2169622 h 4422371"/>
                <a:gd name="connsiteX126" fmla="*/ 407325 w 5178830"/>
                <a:gd name="connsiteY126" fmla="*/ 2252749 h 4422371"/>
                <a:gd name="connsiteX127" fmla="*/ 307572 w 5178830"/>
                <a:gd name="connsiteY127" fmla="*/ 2352502 h 4422371"/>
                <a:gd name="connsiteX128" fmla="*/ 182881 w 5178830"/>
                <a:gd name="connsiteY128" fmla="*/ 2377440 h 4422371"/>
                <a:gd name="connsiteX129" fmla="*/ 74816 w 5178830"/>
                <a:gd name="connsiteY129" fmla="*/ 2335876 h 4422371"/>
                <a:gd name="connsiteX130" fmla="*/ 0 w 5178830"/>
                <a:gd name="connsiteY130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75463 w 5178830"/>
                <a:gd name="connsiteY84" fmla="*/ 3591098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313412 w 5178830"/>
                <a:gd name="connsiteY107" fmla="*/ 2635134 h 4422371"/>
                <a:gd name="connsiteX108" fmla="*/ 1612670 w 5178830"/>
                <a:gd name="connsiteY108" fmla="*/ 2626822 h 4422371"/>
                <a:gd name="connsiteX109" fmla="*/ 1886990 w 5178830"/>
                <a:gd name="connsiteY109" fmla="*/ 2734887 h 4422371"/>
                <a:gd name="connsiteX110" fmla="*/ 1961805 w 5178830"/>
                <a:gd name="connsiteY110" fmla="*/ 2668385 h 4422371"/>
                <a:gd name="connsiteX111" fmla="*/ 1828801 w 5178830"/>
                <a:gd name="connsiteY111" fmla="*/ 2485505 h 4422371"/>
                <a:gd name="connsiteX112" fmla="*/ 1895302 w 5178830"/>
                <a:gd name="connsiteY112" fmla="*/ 2360814 h 4422371"/>
                <a:gd name="connsiteX113" fmla="*/ 1562794 w 5178830"/>
                <a:gd name="connsiteY113" fmla="*/ 2360814 h 4422371"/>
                <a:gd name="connsiteX114" fmla="*/ 1479666 w 5178830"/>
                <a:gd name="connsiteY114" fmla="*/ 2402379 h 4422371"/>
                <a:gd name="connsiteX115" fmla="*/ 1338350 w 5178830"/>
                <a:gd name="connsiteY115" fmla="*/ 2626822 h 4422371"/>
                <a:gd name="connsiteX116" fmla="*/ 1180408 w 5178830"/>
                <a:gd name="connsiteY116" fmla="*/ 2585258 h 4422371"/>
                <a:gd name="connsiteX117" fmla="*/ 1064030 w 5178830"/>
                <a:gd name="connsiteY117" fmla="*/ 2851265 h 4422371"/>
                <a:gd name="connsiteX118" fmla="*/ 1039092 w 5178830"/>
                <a:gd name="connsiteY118" fmla="*/ 2527069 h 4422371"/>
                <a:gd name="connsiteX119" fmla="*/ 922714 w 5178830"/>
                <a:gd name="connsiteY119" fmla="*/ 2186247 h 4422371"/>
                <a:gd name="connsiteX120" fmla="*/ 814648 w 5178830"/>
                <a:gd name="connsiteY120" fmla="*/ 2211185 h 4422371"/>
                <a:gd name="connsiteX121" fmla="*/ 955965 w 5178830"/>
                <a:gd name="connsiteY121" fmla="*/ 2535382 h 4422371"/>
                <a:gd name="connsiteX122" fmla="*/ 881150 w 5178830"/>
                <a:gd name="connsiteY122" fmla="*/ 2618509 h 4422371"/>
                <a:gd name="connsiteX123" fmla="*/ 731521 w 5178830"/>
                <a:gd name="connsiteY123" fmla="*/ 2211185 h 4422371"/>
                <a:gd name="connsiteX124" fmla="*/ 631768 w 5178830"/>
                <a:gd name="connsiteY124" fmla="*/ 2236124 h 4422371"/>
                <a:gd name="connsiteX125" fmla="*/ 556954 w 5178830"/>
                <a:gd name="connsiteY125" fmla="*/ 2169622 h 4422371"/>
                <a:gd name="connsiteX126" fmla="*/ 407325 w 5178830"/>
                <a:gd name="connsiteY126" fmla="*/ 2252749 h 4422371"/>
                <a:gd name="connsiteX127" fmla="*/ 307572 w 5178830"/>
                <a:gd name="connsiteY127" fmla="*/ 2352502 h 4422371"/>
                <a:gd name="connsiteX128" fmla="*/ 182881 w 5178830"/>
                <a:gd name="connsiteY128" fmla="*/ 2377440 h 4422371"/>
                <a:gd name="connsiteX129" fmla="*/ 74816 w 5178830"/>
                <a:gd name="connsiteY129" fmla="*/ 2335876 h 4422371"/>
                <a:gd name="connsiteX130" fmla="*/ 0 w 5178830"/>
                <a:gd name="connsiteY130" fmla="*/ 2211185 h 4422371"/>
                <a:gd name="connsiteX0" fmla="*/ 1 w 5178830"/>
                <a:gd name="connsiteY0" fmla="*/ 2219498 h 4422371"/>
                <a:gd name="connsiteX1" fmla="*/ 232757 w 5178830"/>
                <a:gd name="connsiteY1" fmla="*/ 1928553 h 4422371"/>
                <a:gd name="connsiteX2" fmla="*/ 399012 w 5178830"/>
                <a:gd name="connsiteY2" fmla="*/ 2078182 h 4422371"/>
                <a:gd name="connsiteX3" fmla="*/ 507077 w 5178830"/>
                <a:gd name="connsiteY3" fmla="*/ 1870364 h 4422371"/>
                <a:gd name="connsiteX4" fmla="*/ 507077 w 5178830"/>
                <a:gd name="connsiteY4" fmla="*/ 1870364 h 4422371"/>
                <a:gd name="connsiteX5" fmla="*/ 731521 w 5178830"/>
                <a:gd name="connsiteY5" fmla="*/ 1770611 h 4422371"/>
                <a:gd name="connsiteX6" fmla="*/ 556954 w 5178830"/>
                <a:gd name="connsiteY6" fmla="*/ 1662545 h 4422371"/>
                <a:gd name="connsiteX7" fmla="*/ 723208 w 5178830"/>
                <a:gd name="connsiteY7" fmla="*/ 1496291 h 4422371"/>
                <a:gd name="connsiteX8" fmla="*/ 448888 w 5178830"/>
                <a:gd name="connsiteY8" fmla="*/ 1546167 h 4422371"/>
                <a:gd name="connsiteX9" fmla="*/ 606830 w 5178830"/>
                <a:gd name="connsiteY9" fmla="*/ 1404851 h 4422371"/>
                <a:gd name="connsiteX10" fmla="*/ 864525 w 5178830"/>
                <a:gd name="connsiteY10" fmla="*/ 1346662 h 4422371"/>
                <a:gd name="connsiteX11" fmla="*/ 714896 w 5178830"/>
                <a:gd name="connsiteY11" fmla="*/ 1787236 h 4422371"/>
                <a:gd name="connsiteX12" fmla="*/ 1014154 w 5178830"/>
                <a:gd name="connsiteY12" fmla="*/ 1729047 h 4422371"/>
                <a:gd name="connsiteX13" fmla="*/ 1371601 w 5178830"/>
                <a:gd name="connsiteY13" fmla="*/ 1828800 h 4422371"/>
                <a:gd name="connsiteX14" fmla="*/ 1579419 w 5178830"/>
                <a:gd name="connsiteY14" fmla="*/ 1629294 h 4422371"/>
                <a:gd name="connsiteX15" fmla="*/ 1828801 w 5178830"/>
                <a:gd name="connsiteY15" fmla="*/ 1620982 h 4422371"/>
                <a:gd name="connsiteX16" fmla="*/ 1546168 w 5178830"/>
                <a:gd name="connsiteY16" fmla="*/ 1571105 h 4422371"/>
                <a:gd name="connsiteX17" fmla="*/ 1712423 w 5178830"/>
                <a:gd name="connsiteY17" fmla="*/ 1280160 h 4422371"/>
                <a:gd name="connsiteX18" fmla="*/ 1512917 w 5178830"/>
                <a:gd name="connsiteY18" fmla="*/ 1371600 h 4422371"/>
                <a:gd name="connsiteX19" fmla="*/ 1221972 w 5178830"/>
                <a:gd name="connsiteY19" fmla="*/ 1720734 h 4422371"/>
                <a:gd name="connsiteX20" fmla="*/ 1188721 w 5178830"/>
                <a:gd name="connsiteY20" fmla="*/ 1504604 h 4422371"/>
                <a:gd name="connsiteX21" fmla="*/ 1097281 w 5178830"/>
                <a:gd name="connsiteY21" fmla="*/ 1479665 h 4422371"/>
                <a:gd name="connsiteX22" fmla="*/ 1230285 w 5178830"/>
                <a:gd name="connsiteY22" fmla="*/ 1271847 h 4422371"/>
                <a:gd name="connsiteX23" fmla="*/ 1945179 w 5178830"/>
                <a:gd name="connsiteY23" fmla="*/ 1080654 h 4422371"/>
                <a:gd name="connsiteX24" fmla="*/ 2169623 w 5178830"/>
                <a:gd name="connsiteY24" fmla="*/ 1305098 h 4422371"/>
                <a:gd name="connsiteX25" fmla="*/ 1928554 w 5178830"/>
                <a:gd name="connsiteY25" fmla="*/ 1296785 h 4422371"/>
                <a:gd name="connsiteX26" fmla="*/ 1936866 w 5178830"/>
                <a:gd name="connsiteY26" fmla="*/ 1463040 h 4422371"/>
                <a:gd name="connsiteX27" fmla="*/ 2310939 w 5178830"/>
                <a:gd name="connsiteY27" fmla="*/ 1238596 h 4422371"/>
                <a:gd name="connsiteX28" fmla="*/ 2560321 w 5178830"/>
                <a:gd name="connsiteY28" fmla="*/ 1213658 h 4422371"/>
                <a:gd name="connsiteX29" fmla="*/ 2693325 w 5178830"/>
                <a:gd name="connsiteY29" fmla="*/ 989214 h 4422371"/>
                <a:gd name="connsiteX30" fmla="*/ 2826328 w 5178830"/>
                <a:gd name="connsiteY30" fmla="*/ 1221971 h 4422371"/>
                <a:gd name="connsiteX31" fmla="*/ 2768139 w 5178830"/>
                <a:gd name="connsiteY31" fmla="*/ 964276 h 4422371"/>
                <a:gd name="connsiteX32" fmla="*/ 2967645 w 5178830"/>
                <a:gd name="connsiteY32" fmla="*/ 1022465 h 4422371"/>
                <a:gd name="connsiteX33" fmla="*/ 2826328 w 5178830"/>
                <a:gd name="connsiteY33" fmla="*/ 872836 h 4422371"/>
                <a:gd name="connsiteX34" fmla="*/ 2984270 w 5178830"/>
                <a:gd name="connsiteY34" fmla="*/ 631767 h 4422371"/>
                <a:gd name="connsiteX35" fmla="*/ 3125586 w 5178830"/>
                <a:gd name="connsiteY35" fmla="*/ 739833 h 4422371"/>
                <a:gd name="connsiteX36" fmla="*/ 3408219 w 5178830"/>
                <a:gd name="connsiteY36" fmla="*/ 565265 h 4422371"/>
                <a:gd name="connsiteX37" fmla="*/ 3366656 w 5178830"/>
                <a:gd name="connsiteY37" fmla="*/ 374073 h 4422371"/>
                <a:gd name="connsiteX38" fmla="*/ 3383281 w 5178830"/>
                <a:gd name="connsiteY38" fmla="*/ 257694 h 4422371"/>
                <a:gd name="connsiteX39" fmla="*/ 3192088 w 5178830"/>
                <a:gd name="connsiteY39" fmla="*/ 0 h 4422371"/>
                <a:gd name="connsiteX40" fmla="*/ 3582786 w 5178830"/>
                <a:gd name="connsiteY40" fmla="*/ 133004 h 4422371"/>
                <a:gd name="connsiteX41" fmla="*/ 4355870 w 5178830"/>
                <a:gd name="connsiteY41" fmla="*/ 565265 h 4422371"/>
                <a:gd name="connsiteX42" fmla="*/ 4064925 w 5178830"/>
                <a:gd name="connsiteY42" fmla="*/ 515389 h 4422371"/>
                <a:gd name="connsiteX43" fmla="*/ 3815543 w 5178830"/>
                <a:gd name="connsiteY43" fmla="*/ 324196 h 4422371"/>
                <a:gd name="connsiteX44" fmla="*/ 3915296 w 5178830"/>
                <a:gd name="connsiteY44" fmla="*/ 490451 h 4422371"/>
                <a:gd name="connsiteX45" fmla="*/ 4015048 w 5178830"/>
                <a:gd name="connsiteY45" fmla="*/ 540327 h 4422371"/>
                <a:gd name="connsiteX46" fmla="*/ 4073237 w 5178830"/>
                <a:gd name="connsiteY46" fmla="*/ 698269 h 4422371"/>
                <a:gd name="connsiteX47" fmla="*/ 4297681 w 5178830"/>
                <a:gd name="connsiteY47" fmla="*/ 955964 h 4422371"/>
                <a:gd name="connsiteX48" fmla="*/ 4355870 w 5178830"/>
                <a:gd name="connsiteY48" fmla="*/ 822960 h 4422371"/>
                <a:gd name="connsiteX49" fmla="*/ 4630190 w 5178830"/>
                <a:gd name="connsiteY49" fmla="*/ 1113905 h 4422371"/>
                <a:gd name="connsiteX50" fmla="*/ 4838008 w 5178830"/>
                <a:gd name="connsiteY50" fmla="*/ 1404851 h 4422371"/>
                <a:gd name="connsiteX51" fmla="*/ 4771506 w 5178830"/>
                <a:gd name="connsiteY51" fmla="*/ 1421476 h 4422371"/>
                <a:gd name="connsiteX52" fmla="*/ 4854634 w 5178830"/>
                <a:gd name="connsiteY52" fmla="*/ 1670858 h 4422371"/>
                <a:gd name="connsiteX53" fmla="*/ 5054139 w 5178830"/>
                <a:gd name="connsiteY53" fmla="*/ 1778924 h 4422371"/>
                <a:gd name="connsiteX54" fmla="*/ 4995950 w 5178830"/>
                <a:gd name="connsiteY54" fmla="*/ 1895302 h 4422371"/>
                <a:gd name="connsiteX55" fmla="*/ 4804757 w 5178830"/>
                <a:gd name="connsiteY55" fmla="*/ 1729047 h 4422371"/>
                <a:gd name="connsiteX56" fmla="*/ 4771506 w 5178830"/>
                <a:gd name="connsiteY56" fmla="*/ 1787236 h 4422371"/>
                <a:gd name="connsiteX57" fmla="*/ 4771506 w 5178830"/>
                <a:gd name="connsiteY57" fmla="*/ 1970116 h 4422371"/>
                <a:gd name="connsiteX58" fmla="*/ 4987637 w 5178830"/>
                <a:gd name="connsiteY58" fmla="*/ 2078182 h 4422371"/>
                <a:gd name="connsiteX59" fmla="*/ 5137266 w 5178830"/>
                <a:gd name="connsiteY59" fmla="*/ 2327564 h 4422371"/>
                <a:gd name="connsiteX60" fmla="*/ 5178830 w 5178830"/>
                <a:gd name="connsiteY60" fmla="*/ 2693324 h 4422371"/>
                <a:gd name="connsiteX61" fmla="*/ 5037514 w 5178830"/>
                <a:gd name="connsiteY61" fmla="*/ 3009207 h 4422371"/>
                <a:gd name="connsiteX62" fmla="*/ 4954386 w 5178830"/>
                <a:gd name="connsiteY62" fmla="*/ 3142211 h 4422371"/>
                <a:gd name="connsiteX63" fmla="*/ 5012576 w 5178830"/>
                <a:gd name="connsiteY63" fmla="*/ 3291840 h 4422371"/>
                <a:gd name="connsiteX64" fmla="*/ 5145579 w 5178830"/>
                <a:gd name="connsiteY64" fmla="*/ 3366654 h 4422371"/>
                <a:gd name="connsiteX65" fmla="*/ 5170517 w 5178830"/>
                <a:gd name="connsiteY65" fmla="*/ 3566160 h 4422371"/>
                <a:gd name="connsiteX66" fmla="*/ 5054139 w 5178830"/>
                <a:gd name="connsiteY66" fmla="*/ 3732414 h 4422371"/>
                <a:gd name="connsiteX67" fmla="*/ 4829696 w 5178830"/>
                <a:gd name="connsiteY67" fmla="*/ 3640974 h 4422371"/>
                <a:gd name="connsiteX68" fmla="*/ 4871259 w 5178830"/>
                <a:gd name="connsiteY68" fmla="*/ 3898669 h 4422371"/>
                <a:gd name="connsiteX69" fmla="*/ 5029201 w 5178830"/>
                <a:gd name="connsiteY69" fmla="*/ 4031673 h 4422371"/>
                <a:gd name="connsiteX70" fmla="*/ 5029201 w 5178830"/>
                <a:gd name="connsiteY70" fmla="*/ 4222865 h 4422371"/>
                <a:gd name="connsiteX71" fmla="*/ 4754881 w 5178830"/>
                <a:gd name="connsiteY71" fmla="*/ 3931920 h 4422371"/>
                <a:gd name="connsiteX72" fmla="*/ 4796445 w 5178830"/>
                <a:gd name="connsiteY72" fmla="*/ 3765665 h 4422371"/>
                <a:gd name="connsiteX73" fmla="*/ 4671754 w 5178830"/>
                <a:gd name="connsiteY73" fmla="*/ 3549534 h 4422371"/>
                <a:gd name="connsiteX74" fmla="*/ 4580314 w 5178830"/>
                <a:gd name="connsiteY74" fmla="*/ 3665913 h 4422371"/>
                <a:gd name="connsiteX75" fmla="*/ 4522125 w 5178830"/>
                <a:gd name="connsiteY75" fmla="*/ 3507971 h 4422371"/>
                <a:gd name="connsiteX76" fmla="*/ 4372496 w 5178830"/>
                <a:gd name="connsiteY76" fmla="*/ 3366654 h 4422371"/>
                <a:gd name="connsiteX77" fmla="*/ 4123114 w 5178830"/>
                <a:gd name="connsiteY77" fmla="*/ 3682538 h 4422371"/>
                <a:gd name="connsiteX78" fmla="*/ 3956859 w 5178830"/>
                <a:gd name="connsiteY78" fmla="*/ 3981796 h 4422371"/>
                <a:gd name="connsiteX79" fmla="*/ 3965172 w 5178830"/>
                <a:gd name="connsiteY79" fmla="*/ 4256116 h 4422371"/>
                <a:gd name="connsiteX80" fmla="*/ 3865419 w 5178830"/>
                <a:gd name="connsiteY80" fmla="*/ 4422371 h 4422371"/>
                <a:gd name="connsiteX81" fmla="*/ 3607725 w 5178830"/>
                <a:gd name="connsiteY81" fmla="*/ 4089862 h 4422371"/>
                <a:gd name="connsiteX82" fmla="*/ 3516285 w 5178830"/>
                <a:gd name="connsiteY82" fmla="*/ 3732414 h 4422371"/>
                <a:gd name="connsiteX83" fmla="*/ 3449783 w 5178830"/>
                <a:gd name="connsiteY83" fmla="*/ 3773978 h 4422371"/>
                <a:gd name="connsiteX84" fmla="*/ 3169545 w 5178830"/>
                <a:gd name="connsiteY84" fmla="*/ 3555585 h 4422371"/>
                <a:gd name="connsiteX85" fmla="*/ 2934394 w 5178830"/>
                <a:gd name="connsiteY85" fmla="*/ 3616036 h 4422371"/>
                <a:gd name="connsiteX86" fmla="*/ 2709950 w 5178830"/>
                <a:gd name="connsiteY86" fmla="*/ 3607724 h 4422371"/>
                <a:gd name="connsiteX87" fmla="*/ 2685012 w 5178830"/>
                <a:gd name="connsiteY87" fmla="*/ 3541222 h 4422371"/>
                <a:gd name="connsiteX88" fmla="*/ 2576946 w 5178830"/>
                <a:gd name="connsiteY88" fmla="*/ 3574473 h 4422371"/>
                <a:gd name="connsiteX89" fmla="*/ 2402379 w 5178830"/>
                <a:gd name="connsiteY89" fmla="*/ 3491345 h 4422371"/>
                <a:gd name="connsiteX90" fmla="*/ 2319252 w 5178830"/>
                <a:gd name="connsiteY90" fmla="*/ 3366654 h 4422371"/>
                <a:gd name="connsiteX91" fmla="*/ 2219499 w 5178830"/>
                <a:gd name="connsiteY91" fmla="*/ 3383280 h 4422371"/>
                <a:gd name="connsiteX92" fmla="*/ 2252750 w 5178830"/>
                <a:gd name="connsiteY92" fmla="*/ 3524596 h 4422371"/>
                <a:gd name="connsiteX93" fmla="*/ 2402379 w 5178830"/>
                <a:gd name="connsiteY93" fmla="*/ 3732414 h 4422371"/>
                <a:gd name="connsiteX94" fmla="*/ 2543696 w 5178830"/>
                <a:gd name="connsiteY94" fmla="*/ 3749040 h 4422371"/>
                <a:gd name="connsiteX95" fmla="*/ 2660074 w 5178830"/>
                <a:gd name="connsiteY95" fmla="*/ 3616036 h 4422371"/>
                <a:gd name="connsiteX96" fmla="*/ 2693325 w 5178830"/>
                <a:gd name="connsiteY96" fmla="*/ 3707476 h 4422371"/>
                <a:gd name="connsiteX97" fmla="*/ 2867892 w 5178830"/>
                <a:gd name="connsiteY97" fmla="*/ 3848793 h 4422371"/>
                <a:gd name="connsiteX98" fmla="*/ 2685012 w 5178830"/>
                <a:gd name="connsiteY98" fmla="*/ 4073236 h 4422371"/>
                <a:gd name="connsiteX99" fmla="*/ 2435630 w 5178830"/>
                <a:gd name="connsiteY99" fmla="*/ 4214553 h 4422371"/>
                <a:gd name="connsiteX100" fmla="*/ 1945179 w 5178830"/>
                <a:gd name="connsiteY100" fmla="*/ 4380807 h 4422371"/>
                <a:gd name="connsiteX101" fmla="*/ 1895303 w 5178830"/>
                <a:gd name="connsiteY101" fmla="*/ 4098174 h 4422371"/>
                <a:gd name="connsiteX102" fmla="*/ 1571106 w 5178830"/>
                <a:gd name="connsiteY102" fmla="*/ 3433156 h 4422371"/>
                <a:gd name="connsiteX103" fmla="*/ 1562794 w 5178830"/>
                <a:gd name="connsiteY103" fmla="*/ 3250276 h 4422371"/>
                <a:gd name="connsiteX104" fmla="*/ 1687485 w 5178830"/>
                <a:gd name="connsiteY104" fmla="*/ 2934393 h 4422371"/>
                <a:gd name="connsiteX105" fmla="*/ 1371601 w 5178830"/>
                <a:gd name="connsiteY105" fmla="*/ 2901142 h 4422371"/>
                <a:gd name="connsiteX106" fmla="*/ 1271848 w 5178830"/>
                <a:gd name="connsiteY106" fmla="*/ 2793076 h 4422371"/>
                <a:gd name="connsiteX107" fmla="*/ 1313412 w 5178830"/>
                <a:gd name="connsiteY107" fmla="*/ 2635134 h 4422371"/>
                <a:gd name="connsiteX108" fmla="*/ 1612670 w 5178830"/>
                <a:gd name="connsiteY108" fmla="*/ 2626822 h 4422371"/>
                <a:gd name="connsiteX109" fmla="*/ 1886990 w 5178830"/>
                <a:gd name="connsiteY109" fmla="*/ 2734887 h 4422371"/>
                <a:gd name="connsiteX110" fmla="*/ 1961805 w 5178830"/>
                <a:gd name="connsiteY110" fmla="*/ 2668385 h 4422371"/>
                <a:gd name="connsiteX111" fmla="*/ 1828801 w 5178830"/>
                <a:gd name="connsiteY111" fmla="*/ 2485505 h 4422371"/>
                <a:gd name="connsiteX112" fmla="*/ 1895302 w 5178830"/>
                <a:gd name="connsiteY112" fmla="*/ 2360814 h 4422371"/>
                <a:gd name="connsiteX113" fmla="*/ 1562794 w 5178830"/>
                <a:gd name="connsiteY113" fmla="*/ 2360814 h 4422371"/>
                <a:gd name="connsiteX114" fmla="*/ 1479666 w 5178830"/>
                <a:gd name="connsiteY114" fmla="*/ 2402379 h 4422371"/>
                <a:gd name="connsiteX115" fmla="*/ 1338350 w 5178830"/>
                <a:gd name="connsiteY115" fmla="*/ 2626822 h 4422371"/>
                <a:gd name="connsiteX116" fmla="*/ 1180408 w 5178830"/>
                <a:gd name="connsiteY116" fmla="*/ 2585258 h 4422371"/>
                <a:gd name="connsiteX117" fmla="*/ 1064030 w 5178830"/>
                <a:gd name="connsiteY117" fmla="*/ 2851265 h 4422371"/>
                <a:gd name="connsiteX118" fmla="*/ 1039092 w 5178830"/>
                <a:gd name="connsiteY118" fmla="*/ 2527069 h 4422371"/>
                <a:gd name="connsiteX119" fmla="*/ 922714 w 5178830"/>
                <a:gd name="connsiteY119" fmla="*/ 2186247 h 4422371"/>
                <a:gd name="connsiteX120" fmla="*/ 814648 w 5178830"/>
                <a:gd name="connsiteY120" fmla="*/ 2211185 h 4422371"/>
                <a:gd name="connsiteX121" fmla="*/ 955965 w 5178830"/>
                <a:gd name="connsiteY121" fmla="*/ 2535382 h 4422371"/>
                <a:gd name="connsiteX122" fmla="*/ 881150 w 5178830"/>
                <a:gd name="connsiteY122" fmla="*/ 2618509 h 4422371"/>
                <a:gd name="connsiteX123" fmla="*/ 731521 w 5178830"/>
                <a:gd name="connsiteY123" fmla="*/ 2211185 h 4422371"/>
                <a:gd name="connsiteX124" fmla="*/ 631768 w 5178830"/>
                <a:gd name="connsiteY124" fmla="*/ 2236124 h 4422371"/>
                <a:gd name="connsiteX125" fmla="*/ 556954 w 5178830"/>
                <a:gd name="connsiteY125" fmla="*/ 2169622 h 4422371"/>
                <a:gd name="connsiteX126" fmla="*/ 407325 w 5178830"/>
                <a:gd name="connsiteY126" fmla="*/ 2252749 h 4422371"/>
                <a:gd name="connsiteX127" fmla="*/ 307572 w 5178830"/>
                <a:gd name="connsiteY127" fmla="*/ 2352502 h 4422371"/>
                <a:gd name="connsiteX128" fmla="*/ 182881 w 5178830"/>
                <a:gd name="connsiteY128" fmla="*/ 2377440 h 4422371"/>
                <a:gd name="connsiteX129" fmla="*/ 74816 w 5178830"/>
                <a:gd name="connsiteY129" fmla="*/ 2335876 h 4422371"/>
                <a:gd name="connsiteX130" fmla="*/ 0 w 5178830"/>
                <a:gd name="connsiteY130" fmla="*/ 2211185 h 442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5178830" h="4422371">
                  <a:moveTo>
                    <a:pt x="1" y="2219498"/>
                  </a:moveTo>
                  <a:lnTo>
                    <a:pt x="232757" y="1928553"/>
                  </a:lnTo>
                  <a:lnTo>
                    <a:pt x="399012" y="2078182"/>
                  </a:lnTo>
                  <a:lnTo>
                    <a:pt x="507077" y="1870364"/>
                  </a:lnTo>
                  <a:lnTo>
                    <a:pt x="507077" y="1870364"/>
                  </a:lnTo>
                  <a:lnTo>
                    <a:pt x="731521" y="1770611"/>
                  </a:lnTo>
                  <a:lnTo>
                    <a:pt x="556954" y="1662545"/>
                  </a:lnTo>
                  <a:lnTo>
                    <a:pt x="723208" y="1496291"/>
                  </a:lnTo>
                  <a:lnTo>
                    <a:pt x="448888" y="1546167"/>
                  </a:lnTo>
                  <a:lnTo>
                    <a:pt x="606830" y="1404851"/>
                  </a:lnTo>
                  <a:lnTo>
                    <a:pt x="864525" y="1346662"/>
                  </a:lnTo>
                  <a:lnTo>
                    <a:pt x="714896" y="1787236"/>
                  </a:lnTo>
                  <a:lnTo>
                    <a:pt x="1014154" y="1729047"/>
                  </a:lnTo>
                  <a:lnTo>
                    <a:pt x="1371601" y="1828800"/>
                  </a:lnTo>
                  <a:lnTo>
                    <a:pt x="1579419" y="1629294"/>
                  </a:lnTo>
                  <a:lnTo>
                    <a:pt x="1828801" y="1620982"/>
                  </a:lnTo>
                  <a:lnTo>
                    <a:pt x="1546168" y="1571105"/>
                  </a:lnTo>
                  <a:lnTo>
                    <a:pt x="1712423" y="1280160"/>
                  </a:lnTo>
                  <a:lnTo>
                    <a:pt x="1512917" y="1371600"/>
                  </a:lnTo>
                  <a:lnTo>
                    <a:pt x="1221972" y="1720734"/>
                  </a:lnTo>
                  <a:lnTo>
                    <a:pt x="1188721" y="1504604"/>
                  </a:lnTo>
                  <a:lnTo>
                    <a:pt x="1097281" y="1479665"/>
                  </a:lnTo>
                  <a:lnTo>
                    <a:pt x="1230285" y="1271847"/>
                  </a:lnTo>
                  <a:lnTo>
                    <a:pt x="1945179" y="1080654"/>
                  </a:lnTo>
                  <a:lnTo>
                    <a:pt x="2169623" y="1305098"/>
                  </a:lnTo>
                  <a:lnTo>
                    <a:pt x="1928554" y="1296785"/>
                  </a:lnTo>
                  <a:lnTo>
                    <a:pt x="1936866" y="1463040"/>
                  </a:lnTo>
                  <a:lnTo>
                    <a:pt x="2310939" y="1238596"/>
                  </a:lnTo>
                  <a:lnTo>
                    <a:pt x="2560321" y="1213658"/>
                  </a:lnTo>
                  <a:lnTo>
                    <a:pt x="2693325" y="989214"/>
                  </a:lnTo>
                  <a:lnTo>
                    <a:pt x="2826328" y="1221971"/>
                  </a:lnTo>
                  <a:lnTo>
                    <a:pt x="2768139" y="964276"/>
                  </a:lnTo>
                  <a:lnTo>
                    <a:pt x="2967645" y="1022465"/>
                  </a:lnTo>
                  <a:lnTo>
                    <a:pt x="2826328" y="872836"/>
                  </a:lnTo>
                  <a:lnTo>
                    <a:pt x="2984270" y="631767"/>
                  </a:lnTo>
                  <a:lnTo>
                    <a:pt x="3125586" y="739833"/>
                  </a:lnTo>
                  <a:lnTo>
                    <a:pt x="3408219" y="565265"/>
                  </a:lnTo>
                  <a:lnTo>
                    <a:pt x="3366656" y="374073"/>
                  </a:lnTo>
                  <a:lnTo>
                    <a:pt x="3383281" y="257694"/>
                  </a:lnTo>
                  <a:lnTo>
                    <a:pt x="3192088" y="0"/>
                  </a:lnTo>
                  <a:lnTo>
                    <a:pt x="3582786" y="133004"/>
                  </a:lnTo>
                  <a:lnTo>
                    <a:pt x="4355870" y="565265"/>
                  </a:lnTo>
                  <a:lnTo>
                    <a:pt x="4064925" y="515389"/>
                  </a:lnTo>
                  <a:lnTo>
                    <a:pt x="3815543" y="324196"/>
                  </a:lnTo>
                  <a:lnTo>
                    <a:pt x="3915296" y="490451"/>
                  </a:lnTo>
                  <a:lnTo>
                    <a:pt x="4015048" y="540327"/>
                  </a:lnTo>
                  <a:lnTo>
                    <a:pt x="4073237" y="698269"/>
                  </a:lnTo>
                  <a:lnTo>
                    <a:pt x="4297681" y="955964"/>
                  </a:lnTo>
                  <a:lnTo>
                    <a:pt x="4355870" y="822960"/>
                  </a:lnTo>
                  <a:lnTo>
                    <a:pt x="4630190" y="1113905"/>
                  </a:lnTo>
                  <a:lnTo>
                    <a:pt x="4838008" y="1404851"/>
                  </a:lnTo>
                  <a:lnTo>
                    <a:pt x="4771506" y="1421476"/>
                  </a:lnTo>
                  <a:lnTo>
                    <a:pt x="4854634" y="1670858"/>
                  </a:lnTo>
                  <a:lnTo>
                    <a:pt x="5054139" y="1778924"/>
                  </a:lnTo>
                  <a:lnTo>
                    <a:pt x="4995950" y="1895302"/>
                  </a:lnTo>
                  <a:lnTo>
                    <a:pt x="4804757" y="1729047"/>
                  </a:lnTo>
                  <a:lnTo>
                    <a:pt x="4771506" y="1787236"/>
                  </a:lnTo>
                  <a:lnTo>
                    <a:pt x="4771506" y="1970116"/>
                  </a:lnTo>
                  <a:lnTo>
                    <a:pt x="4987637" y="2078182"/>
                  </a:lnTo>
                  <a:lnTo>
                    <a:pt x="5137266" y="2327564"/>
                  </a:lnTo>
                  <a:lnTo>
                    <a:pt x="5178830" y="2693324"/>
                  </a:lnTo>
                  <a:lnTo>
                    <a:pt x="5037514" y="3009207"/>
                  </a:lnTo>
                  <a:lnTo>
                    <a:pt x="4954386" y="3142211"/>
                  </a:lnTo>
                  <a:lnTo>
                    <a:pt x="5012576" y="3291840"/>
                  </a:lnTo>
                  <a:lnTo>
                    <a:pt x="5145579" y="3366654"/>
                  </a:lnTo>
                  <a:lnTo>
                    <a:pt x="5170517" y="3566160"/>
                  </a:lnTo>
                  <a:lnTo>
                    <a:pt x="5054139" y="3732414"/>
                  </a:lnTo>
                  <a:lnTo>
                    <a:pt x="4829696" y="3640974"/>
                  </a:lnTo>
                  <a:lnTo>
                    <a:pt x="4871259" y="3898669"/>
                  </a:lnTo>
                  <a:lnTo>
                    <a:pt x="5029201" y="4031673"/>
                  </a:lnTo>
                  <a:lnTo>
                    <a:pt x="5029201" y="4222865"/>
                  </a:lnTo>
                  <a:lnTo>
                    <a:pt x="4754881" y="3931920"/>
                  </a:lnTo>
                  <a:lnTo>
                    <a:pt x="4796445" y="3765665"/>
                  </a:lnTo>
                  <a:lnTo>
                    <a:pt x="4671754" y="3549534"/>
                  </a:lnTo>
                  <a:lnTo>
                    <a:pt x="4580314" y="3665913"/>
                  </a:lnTo>
                  <a:lnTo>
                    <a:pt x="4522125" y="3507971"/>
                  </a:lnTo>
                  <a:lnTo>
                    <a:pt x="4372496" y="3366654"/>
                  </a:lnTo>
                  <a:lnTo>
                    <a:pt x="4123114" y="3682538"/>
                  </a:lnTo>
                  <a:lnTo>
                    <a:pt x="3956859" y="3981796"/>
                  </a:lnTo>
                  <a:lnTo>
                    <a:pt x="3965172" y="4256116"/>
                  </a:lnTo>
                  <a:lnTo>
                    <a:pt x="3865419" y="4422371"/>
                  </a:lnTo>
                  <a:lnTo>
                    <a:pt x="3607725" y="4089862"/>
                  </a:lnTo>
                  <a:lnTo>
                    <a:pt x="3516285" y="3732414"/>
                  </a:lnTo>
                  <a:lnTo>
                    <a:pt x="3449783" y="3773978"/>
                  </a:lnTo>
                  <a:lnTo>
                    <a:pt x="3169545" y="3555585"/>
                  </a:lnTo>
                  <a:lnTo>
                    <a:pt x="2934394" y="3616036"/>
                  </a:lnTo>
                  <a:lnTo>
                    <a:pt x="2709950" y="3607724"/>
                  </a:lnTo>
                  <a:lnTo>
                    <a:pt x="2685012" y="3541222"/>
                  </a:lnTo>
                  <a:lnTo>
                    <a:pt x="2576946" y="3574473"/>
                  </a:lnTo>
                  <a:lnTo>
                    <a:pt x="2402379" y="3491345"/>
                  </a:lnTo>
                  <a:lnTo>
                    <a:pt x="2319252" y="3366654"/>
                  </a:lnTo>
                  <a:lnTo>
                    <a:pt x="2219499" y="3383280"/>
                  </a:lnTo>
                  <a:lnTo>
                    <a:pt x="2252750" y="3524596"/>
                  </a:lnTo>
                  <a:lnTo>
                    <a:pt x="2402379" y="3732414"/>
                  </a:lnTo>
                  <a:lnTo>
                    <a:pt x="2543696" y="3749040"/>
                  </a:lnTo>
                  <a:lnTo>
                    <a:pt x="2660074" y="3616036"/>
                  </a:lnTo>
                  <a:lnTo>
                    <a:pt x="2693325" y="3707476"/>
                  </a:lnTo>
                  <a:lnTo>
                    <a:pt x="2867892" y="3848793"/>
                  </a:lnTo>
                  <a:lnTo>
                    <a:pt x="2685012" y="4073236"/>
                  </a:lnTo>
                  <a:lnTo>
                    <a:pt x="2435630" y="4214553"/>
                  </a:lnTo>
                  <a:lnTo>
                    <a:pt x="1945179" y="4380807"/>
                  </a:lnTo>
                  <a:lnTo>
                    <a:pt x="1895303" y="4098174"/>
                  </a:lnTo>
                  <a:lnTo>
                    <a:pt x="1571106" y="3433156"/>
                  </a:lnTo>
                  <a:lnTo>
                    <a:pt x="1562794" y="3250276"/>
                  </a:lnTo>
                  <a:lnTo>
                    <a:pt x="1687485" y="2934393"/>
                  </a:lnTo>
                  <a:lnTo>
                    <a:pt x="1371601" y="2901142"/>
                  </a:lnTo>
                  <a:lnTo>
                    <a:pt x="1271848" y="2793076"/>
                  </a:lnTo>
                  <a:lnTo>
                    <a:pt x="1313412" y="2635134"/>
                  </a:lnTo>
                  <a:lnTo>
                    <a:pt x="1612670" y="2626822"/>
                  </a:lnTo>
                  <a:lnTo>
                    <a:pt x="1886990" y="2734887"/>
                  </a:lnTo>
                  <a:lnTo>
                    <a:pt x="1961805" y="2668385"/>
                  </a:lnTo>
                  <a:lnTo>
                    <a:pt x="1828801" y="2485505"/>
                  </a:lnTo>
                  <a:lnTo>
                    <a:pt x="1895302" y="2360814"/>
                  </a:lnTo>
                  <a:lnTo>
                    <a:pt x="1562794" y="2360814"/>
                  </a:lnTo>
                  <a:lnTo>
                    <a:pt x="1479666" y="2402379"/>
                  </a:lnTo>
                  <a:lnTo>
                    <a:pt x="1338350" y="2626822"/>
                  </a:lnTo>
                  <a:lnTo>
                    <a:pt x="1180408" y="2585258"/>
                  </a:lnTo>
                  <a:lnTo>
                    <a:pt x="1064030" y="2851265"/>
                  </a:lnTo>
                  <a:lnTo>
                    <a:pt x="1039092" y="2527069"/>
                  </a:lnTo>
                  <a:lnTo>
                    <a:pt x="922714" y="2186247"/>
                  </a:lnTo>
                  <a:lnTo>
                    <a:pt x="814648" y="2211185"/>
                  </a:lnTo>
                  <a:lnTo>
                    <a:pt x="955965" y="2535382"/>
                  </a:lnTo>
                  <a:lnTo>
                    <a:pt x="881150" y="2618509"/>
                  </a:lnTo>
                  <a:cubicBezTo>
                    <a:pt x="791096" y="2521527"/>
                    <a:pt x="757845" y="2215341"/>
                    <a:pt x="731521" y="2211185"/>
                  </a:cubicBezTo>
                  <a:lnTo>
                    <a:pt x="631768" y="2236124"/>
                  </a:lnTo>
                  <a:lnTo>
                    <a:pt x="556954" y="2169622"/>
                  </a:lnTo>
                  <a:lnTo>
                    <a:pt x="407325" y="2252749"/>
                  </a:lnTo>
                  <a:lnTo>
                    <a:pt x="307572" y="2352502"/>
                  </a:lnTo>
                  <a:lnTo>
                    <a:pt x="182881" y="2377440"/>
                  </a:lnTo>
                  <a:lnTo>
                    <a:pt x="74816" y="2335876"/>
                  </a:lnTo>
                  <a:lnTo>
                    <a:pt x="0" y="2211185"/>
                  </a:lnTo>
                </a:path>
              </a:pathLst>
            </a:custGeom>
            <a:solidFill>
              <a:srgbClr val="96AD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7" name="Freeform 88"/>
            <p:cNvSpPr/>
            <p:nvPr/>
          </p:nvSpPr>
          <p:spPr>
            <a:xfrm>
              <a:off x="7493987" y="6175851"/>
              <a:ext cx="433529" cy="518851"/>
            </a:xfrm>
            <a:custGeom>
              <a:avLst/>
              <a:gdLst>
                <a:gd name="connsiteX0" fmla="*/ 789709 w 3125585"/>
                <a:gd name="connsiteY0" fmla="*/ 0 h 3740727"/>
                <a:gd name="connsiteX1" fmla="*/ 881149 w 3125585"/>
                <a:gd name="connsiteY1" fmla="*/ 108065 h 3740727"/>
                <a:gd name="connsiteX2" fmla="*/ 1354975 w 3125585"/>
                <a:gd name="connsiteY2" fmla="*/ 216131 h 3740727"/>
                <a:gd name="connsiteX3" fmla="*/ 1280160 w 3125585"/>
                <a:gd name="connsiteY3" fmla="*/ 407323 h 3740727"/>
                <a:gd name="connsiteX4" fmla="*/ 1504604 w 3125585"/>
                <a:gd name="connsiteY4" fmla="*/ 681643 h 3740727"/>
                <a:gd name="connsiteX5" fmla="*/ 1587731 w 3125585"/>
                <a:gd name="connsiteY5" fmla="*/ 748145 h 3740727"/>
                <a:gd name="connsiteX6" fmla="*/ 1704109 w 3125585"/>
                <a:gd name="connsiteY6" fmla="*/ 615141 h 3740727"/>
                <a:gd name="connsiteX7" fmla="*/ 2103120 w 3125585"/>
                <a:gd name="connsiteY7" fmla="*/ 872836 h 3740727"/>
                <a:gd name="connsiteX8" fmla="*/ 2344189 w 3125585"/>
                <a:gd name="connsiteY8" fmla="*/ 872836 h 3740727"/>
                <a:gd name="connsiteX9" fmla="*/ 2219498 w 3125585"/>
                <a:gd name="connsiteY9" fmla="*/ 1122218 h 3740727"/>
                <a:gd name="connsiteX10" fmla="*/ 2485505 w 3125585"/>
                <a:gd name="connsiteY10" fmla="*/ 1795549 h 3740727"/>
                <a:gd name="connsiteX11" fmla="*/ 2768138 w 3125585"/>
                <a:gd name="connsiteY11" fmla="*/ 2119745 h 3740727"/>
                <a:gd name="connsiteX12" fmla="*/ 3125585 w 3125585"/>
                <a:gd name="connsiteY12" fmla="*/ 2053243 h 3740727"/>
                <a:gd name="connsiteX13" fmla="*/ 2884516 w 3125585"/>
                <a:gd name="connsiteY13" fmla="*/ 2460567 h 3740727"/>
                <a:gd name="connsiteX14" fmla="*/ 2402378 w 3125585"/>
                <a:gd name="connsiteY14" fmla="*/ 2867891 h 3740727"/>
                <a:gd name="connsiteX15" fmla="*/ 2543695 w 3125585"/>
                <a:gd name="connsiteY15" fmla="*/ 3291840 h 3740727"/>
                <a:gd name="connsiteX16" fmla="*/ 2211185 w 3125585"/>
                <a:gd name="connsiteY16" fmla="*/ 3433156 h 3740727"/>
                <a:gd name="connsiteX17" fmla="*/ 2136371 w 3125585"/>
                <a:gd name="connsiteY17" fmla="*/ 3665912 h 3740727"/>
                <a:gd name="connsiteX18" fmla="*/ 1936865 w 3125585"/>
                <a:gd name="connsiteY18" fmla="*/ 3740727 h 3740727"/>
                <a:gd name="connsiteX19" fmla="*/ 1546167 w 3125585"/>
                <a:gd name="connsiteY19" fmla="*/ 3632661 h 3740727"/>
                <a:gd name="connsiteX20" fmla="*/ 1047404 w 3125585"/>
                <a:gd name="connsiteY20" fmla="*/ 3009207 h 3740727"/>
                <a:gd name="connsiteX21" fmla="*/ 1080655 w 3125585"/>
                <a:gd name="connsiteY21" fmla="*/ 2768138 h 3740727"/>
                <a:gd name="connsiteX22" fmla="*/ 822960 w 3125585"/>
                <a:gd name="connsiteY22" fmla="*/ 2186247 h 3740727"/>
                <a:gd name="connsiteX23" fmla="*/ 881149 w 3125585"/>
                <a:gd name="connsiteY23" fmla="*/ 1986741 h 3740727"/>
                <a:gd name="connsiteX24" fmla="*/ 598516 w 3125585"/>
                <a:gd name="connsiteY24" fmla="*/ 1695796 h 3740727"/>
                <a:gd name="connsiteX25" fmla="*/ 207818 w 3125585"/>
                <a:gd name="connsiteY25" fmla="*/ 1554480 h 3740727"/>
                <a:gd name="connsiteX26" fmla="*/ 0 w 3125585"/>
                <a:gd name="connsiteY26" fmla="*/ 798021 h 3740727"/>
                <a:gd name="connsiteX27" fmla="*/ 182880 w 3125585"/>
                <a:gd name="connsiteY27" fmla="*/ 382385 h 3740727"/>
                <a:gd name="connsiteX28" fmla="*/ 789709 w 3125585"/>
                <a:gd name="connsiteY28" fmla="*/ 0 h 374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125585" h="3740727">
                  <a:moveTo>
                    <a:pt x="789709" y="0"/>
                  </a:moveTo>
                  <a:lnTo>
                    <a:pt x="881149" y="108065"/>
                  </a:lnTo>
                  <a:lnTo>
                    <a:pt x="1354975" y="216131"/>
                  </a:lnTo>
                  <a:lnTo>
                    <a:pt x="1280160" y="407323"/>
                  </a:lnTo>
                  <a:lnTo>
                    <a:pt x="1504604" y="681643"/>
                  </a:lnTo>
                  <a:lnTo>
                    <a:pt x="1587731" y="748145"/>
                  </a:lnTo>
                  <a:lnTo>
                    <a:pt x="1704109" y="615141"/>
                  </a:lnTo>
                  <a:lnTo>
                    <a:pt x="2103120" y="872836"/>
                  </a:lnTo>
                  <a:lnTo>
                    <a:pt x="2344189" y="872836"/>
                  </a:lnTo>
                  <a:lnTo>
                    <a:pt x="2219498" y="1122218"/>
                  </a:lnTo>
                  <a:lnTo>
                    <a:pt x="2485505" y="1795549"/>
                  </a:lnTo>
                  <a:lnTo>
                    <a:pt x="2768138" y="2119745"/>
                  </a:lnTo>
                  <a:lnTo>
                    <a:pt x="3125585" y="2053243"/>
                  </a:lnTo>
                  <a:lnTo>
                    <a:pt x="2884516" y="2460567"/>
                  </a:lnTo>
                  <a:lnTo>
                    <a:pt x="2402378" y="2867891"/>
                  </a:lnTo>
                  <a:lnTo>
                    <a:pt x="2543695" y="3291840"/>
                  </a:lnTo>
                  <a:lnTo>
                    <a:pt x="2211185" y="3433156"/>
                  </a:lnTo>
                  <a:lnTo>
                    <a:pt x="2136371" y="3665912"/>
                  </a:lnTo>
                  <a:lnTo>
                    <a:pt x="1936865" y="3740727"/>
                  </a:lnTo>
                  <a:lnTo>
                    <a:pt x="1546167" y="3632661"/>
                  </a:lnTo>
                  <a:lnTo>
                    <a:pt x="1047404" y="3009207"/>
                  </a:lnTo>
                  <a:lnTo>
                    <a:pt x="1080655" y="2768138"/>
                  </a:lnTo>
                  <a:lnTo>
                    <a:pt x="822960" y="2186247"/>
                  </a:lnTo>
                  <a:lnTo>
                    <a:pt x="881149" y="1986741"/>
                  </a:lnTo>
                  <a:lnTo>
                    <a:pt x="598516" y="1695796"/>
                  </a:lnTo>
                  <a:lnTo>
                    <a:pt x="207818" y="1554480"/>
                  </a:lnTo>
                  <a:lnTo>
                    <a:pt x="0" y="798021"/>
                  </a:lnTo>
                  <a:lnTo>
                    <a:pt x="182880" y="382385"/>
                  </a:lnTo>
                  <a:lnTo>
                    <a:pt x="789709" y="0"/>
                  </a:lnTo>
                  <a:close/>
                </a:path>
              </a:pathLst>
            </a:custGeom>
            <a:solidFill>
              <a:srgbClr val="96AD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8" name="Freeform 90"/>
            <p:cNvSpPr/>
            <p:nvPr/>
          </p:nvSpPr>
          <p:spPr>
            <a:xfrm>
              <a:off x="7686538" y="5867999"/>
              <a:ext cx="181021" cy="76098"/>
            </a:xfrm>
            <a:custGeom>
              <a:avLst/>
              <a:gdLst>
                <a:gd name="connsiteX0" fmla="*/ 0 w 1305099"/>
                <a:gd name="connsiteY0" fmla="*/ 482139 h 548640"/>
                <a:gd name="connsiteX1" fmla="*/ 357448 w 1305099"/>
                <a:gd name="connsiteY1" fmla="*/ 432262 h 548640"/>
                <a:gd name="connsiteX2" fmla="*/ 573579 w 1305099"/>
                <a:gd name="connsiteY2" fmla="*/ 548640 h 548640"/>
                <a:gd name="connsiteX3" fmla="*/ 1305099 w 1305099"/>
                <a:gd name="connsiteY3" fmla="*/ 257695 h 548640"/>
                <a:gd name="connsiteX4" fmla="*/ 1030779 w 1305099"/>
                <a:gd name="connsiteY4" fmla="*/ 0 h 548640"/>
                <a:gd name="connsiteX5" fmla="*/ 133004 w 1305099"/>
                <a:gd name="connsiteY5" fmla="*/ 315884 h 548640"/>
                <a:gd name="connsiteX6" fmla="*/ 0 w 1305099"/>
                <a:gd name="connsiteY6" fmla="*/ 482139 h 54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05099" h="548640">
                  <a:moveTo>
                    <a:pt x="0" y="482139"/>
                  </a:moveTo>
                  <a:lnTo>
                    <a:pt x="357448" y="432262"/>
                  </a:lnTo>
                  <a:lnTo>
                    <a:pt x="573579" y="548640"/>
                  </a:lnTo>
                  <a:lnTo>
                    <a:pt x="1305099" y="257695"/>
                  </a:lnTo>
                  <a:lnTo>
                    <a:pt x="1030779" y="0"/>
                  </a:lnTo>
                  <a:lnTo>
                    <a:pt x="133004" y="315884"/>
                  </a:lnTo>
                  <a:lnTo>
                    <a:pt x="0" y="482139"/>
                  </a:lnTo>
                  <a:close/>
                </a:path>
              </a:pathLst>
            </a:custGeom>
            <a:solidFill>
              <a:srgbClr val="96AD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9" name="Freeform 91"/>
            <p:cNvSpPr/>
            <p:nvPr/>
          </p:nvSpPr>
          <p:spPr>
            <a:xfrm>
              <a:off x="8317230" y="6328047"/>
              <a:ext cx="35743" cy="94546"/>
            </a:xfrm>
            <a:custGeom>
              <a:avLst/>
              <a:gdLst>
                <a:gd name="connsiteX0" fmla="*/ 0 w 257695"/>
                <a:gd name="connsiteY0" fmla="*/ 656705 h 681643"/>
                <a:gd name="connsiteX1" fmla="*/ 199506 w 257695"/>
                <a:gd name="connsiteY1" fmla="*/ 0 h 681643"/>
                <a:gd name="connsiteX2" fmla="*/ 257695 w 257695"/>
                <a:gd name="connsiteY2" fmla="*/ 282632 h 681643"/>
                <a:gd name="connsiteX3" fmla="*/ 207818 w 257695"/>
                <a:gd name="connsiteY3" fmla="*/ 598516 h 681643"/>
                <a:gd name="connsiteX4" fmla="*/ 91440 w 257695"/>
                <a:gd name="connsiteY4" fmla="*/ 681643 h 681643"/>
                <a:gd name="connsiteX5" fmla="*/ 0 w 257695"/>
                <a:gd name="connsiteY5" fmla="*/ 656705 h 68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7695" h="681643">
                  <a:moveTo>
                    <a:pt x="0" y="656705"/>
                  </a:moveTo>
                  <a:lnTo>
                    <a:pt x="199506" y="0"/>
                  </a:lnTo>
                  <a:lnTo>
                    <a:pt x="257695" y="282632"/>
                  </a:lnTo>
                  <a:lnTo>
                    <a:pt x="207818" y="598516"/>
                  </a:lnTo>
                  <a:lnTo>
                    <a:pt x="91440" y="681643"/>
                  </a:lnTo>
                  <a:lnTo>
                    <a:pt x="0" y="656705"/>
                  </a:lnTo>
                  <a:close/>
                </a:path>
              </a:pathLst>
            </a:custGeom>
            <a:solidFill>
              <a:srgbClr val="96AD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0" name="Freeform 92"/>
            <p:cNvSpPr/>
            <p:nvPr/>
          </p:nvSpPr>
          <p:spPr>
            <a:xfrm>
              <a:off x="8245744" y="6420287"/>
              <a:ext cx="57650" cy="53038"/>
            </a:xfrm>
            <a:custGeom>
              <a:avLst/>
              <a:gdLst>
                <a:gd name="connsiteX0" fmla="*/ 0 w 415637"/>
                <a:gd name="connsiteY0" fmla="*/ 49876 h 382385"/>
                <a:gd name="connsiteX1" fmla="*/ 124691 w 415637"/>
                <a:gd name="connsiteY1" fmla="*/ 0 h 382385"/>
                <a:gd name="connsiteX2" fmla="*/ 415637 w 415637"/>
                <a:gd name="connsiteY2" fmla="*/ 108065 h 382385"/>
                <a:gd name="connsiteX3" fmla="*/ 390698 w 415637"/>
                <a:gd name="connsiteY3" fmla="*/ 382385 h 382385"/>
                <a:gd name="connsiteX4" fmla="*/ 0 w 415637"/>
                <a:gd name="connsiteY4" fmla="*/ 49876 h 382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637" h="382385">
                  <a:moveTo>
                    <a:pt x="0" y="49876"/>
                  </a:moveTo>
                  <a:lnTo>
                    <a:pt x="124691" y="0"/>
                  </a:lnTo>
                  <a:lnTo>
                    <a:pt x="415637" y="108065"/>
                  </a:lnTo>
                  <a:lnTo>
                    <a:pt x="390698" y="382385"/>
                  </a:lnTo>
                  <a:lnTo>
                    <a:pt x="0" y="49876"/>
                  </a:lnTo>
                  <a:close/>
                </a:path>
              </a:pathLst>
            </a:custGeom>
            <a:solidFill>
              <a:srgbClr val="96AD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1" name="Freeform 93"/>
            <p:cNvSpPr/>
            <p:nvPr/>
          </p:nvSpPr>
          <p:spPr>
            <a:xfrm>
              <a:off x="7867559" y="6619756"/>
              <a:ext cx="53038" cy="63415"/>
            </a:xfrm>
            <a:custGeom>
              <a:avLst/>
              <a:gdLst>
                <a:gd name="connsiteX0" fmla="*/ 0 w 382385"/>
                <a:gd name="connsiteY0" fmla="*/ 407323 h 457200"/>
                <a:gd name="connsiteX1" fmla="*/ 24938 w 382385"/>
                <a:gd name="connsiteY1" fmla="*/ 149629 h 457200"/>
                <a:gd name="connsiteX2" fmla="*/ 307571 w 382385"/>
                <a:gd name="connsiteY2" fmla="*/ 0 h 457200"/>
                <a:gd name="connsiteX3" fmla="*/ 382385 w 382385"/>
                <a:gd name="connsiteY3" fmla="*/ 141316 h 457200"/>
                <a:gd name="connsiteX4" fmla="*/ 191192 w 382385"/>
                <a:gd name="connsiteY4" fmla="*/ 457200 h 457200"/>
                <a:gd name="connsiteX5" fmla="*/ 33251 w 382385"/>
                <a:gd name="connsiteY5" fmla="*/ 457200 h 457200"/>
                <a:gd name="connsiteX6" fmla="*/ 0 w 382385"/>
                <a:gd name="connsiteY6" fmla="*/ 407323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2385" h="457200">
                  <a:moveTo>
                    <a:pt x="0" y="407323"/>
                  </a:moveTo>
                  <a:lnTo>
                    <a:pt x="24938" y="149629"/>
                  </a:lnTo>
                  <a:lnTo>
                    <a:pt x="307571" y="0"/>
                  </a:lnTo>
                  <a:lnTo>
                    <a:pt x="382385" y="141316"/>
                  </a:lnTo>
                  <a:lnTo>
                    <a:pt x="191192" y="457200"/>
                  </a:lnTo>
                  <a:lnTo>
                    <a:pt x="33251" y="457200"/>
                  </a:lnTo>
                  <a:lnTo>
                    <a:pt x="0" y="407323"/>
                  </a:lnTo>
                  <a:close/>
                </a:path>
              </a:pathLst>
            </a:custGeom>
            <a:solidFill>
              <a:srgbClr val="96AD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2" name="Freeform 94"/>
            <p:cNvSpPr/>
            <p:nvPr/>
          </p:nvSpPr>
          <p:spPr bwMode="auto">
            <a:xfrm>
              <a:off x="7992390" y="6235213"/>
              <a:ext cx="117397" cy="115755"/>
            </a:xfrm>
            <a:custGeom>
              <a:avLst/>
              <a:gdLst>
                <a:gd name="connsiteX0" fmla="*/ 35923 w 466998"/>
                <a:gd name="connsiteY0" fmla="*/ 447403 h 460466"/>
                <a:gd name="connsiteX1" fmla="*/ 32658 w 466998"/>
                <a:gd name="connsiteY1" fmla="*/ 408215 h 460466"/>
                <a:gd name="connsiteX2" fmla="*/ 78378 w 466998"/>
                <a:gd name="connsiteY2" fmla="*/ 382089 h 460466"/>
                <a:gd name="connsiteX3" fmla="*/ 0 w 466998"/>
                <a:gd name="connsiteY3" fmla="*/ 297180 h 460466"/>
                <a:gd name="connsiteX4" fmla="*/ 114300 w 466998"/>
                <a:gd name="connsiteY4" fmla="*/ 290649 h 460466"/>
                <a:gd name="connsiteX5" fmla="*/ 153489 w 466998"/>
                <a:gd name="connsiteY5" fmla="*/ 264523 h 460466"/>
                <a:gd name="connsiteX6" fmla="*/ 160020 w 466998"/>
                <a:gd name="connsiteY6" fmla="*/ 215537 h 460466"/>
                <a:gd name="connsiteX7" fmla="*/ 228600 w 466998"/>
                <a:gd name="connsiteY7" fmla="*/ 176349 h 460466"/>
                <a:gd name="connsiteX8" fmla="*/ 222069 w 466998"/>
                <a:gd name="connsiteY8" fmla="*/ 120832 h 460466"/>
                <a:gd name="connsiteX9" fmla="*/ 261258 w 466998"/>
                <a:gd name="connsiteY9" fmla="*/ 75112 h 460466"/>
                <a:gd name="connsiteX10" fmla="*/ 241663 w 466998"/>
                <a:gd name="connsiteY10" fmla="*/ 42455 h 460466"/>
                <a:gd name="connsiteX11" fmla="*/ 333103 w 466998"/>
                <a:gd name="connsiteY11" fmla="*/ 0 h 460466"/>
                <a:gd name="connsiteX12" fmla="*/ 372292 w 466998"/>
                <a:gd name="connsiteY12" fmla="*/ 32657 h 460466"/>
                <a:gd name="connsiteX13" fmla="*/ 424543 w 466998"/>
                <a:gd name="connsiteY13" fmla="*/ 39189 h 460466"/>
                <a:gd name="connsiteX14" fmla="*/ 466998 w 466998"/>
                <a:gd name="connsiteY14" fmla="*/ 107769 h 460466"/>
                <a:gd name="connsiteX15" fmla="*/ 365760 w 466998"/>
                <a:gd name="connsiteY15" fmla="*/ 137160 h 460466"/>
                <a:gd name="connsiteX16" fmla="*/ 355963 w 466998"/>
                <a:gd name="connsiteY16" fmla="*/ 215537 h 460466"/>
                <a:gd name="connsiteX17" fmla="*/ 297180 w 466998"/>
                <a:gd name="connsiteY17" fmla="*/ 303712 h 460466"/>
                <a:gd name="connsiteX18" fmla="*/ 271055 w 466998"/>
                <a:gd name="connsiteY18" fmla="*/ 326572 h 460466"/>
                <a:gd name="connsiteX19" fmla="*/ 261258 w 466998"/>
                <a:gd name="connsiteY19" fmla="*/ 362495 h 460466"/>
                <a:gd name="connsiteX20" fmla="*/ 303712 w 466998"/>
                <a:gd name="connsiteY20" fmla="*/ 408215 h 460466"/>
                <a:gd name="connsiteX21" fmla="*/ 222069 w 466998"/>
                <a:gd name="connsiteY21" fmla="*/ 460466 h 460466"/>
                <a:gd name="connsiteX22" fmla="*/ 169818 w 466998"/>
                <a:gd name="connsiteY22" fmla="*/ 408215 h 460466"/>
                <a:gd name="connsiteX23" fmla="*/ 35923 w 466998"/>
                <a:gd name="connsiteY23" fmla="*/ 447403 h 46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66998" h="460466">
                  <a:moveTo>
                    <a:pt x="35923" y="447403"/>
                  </a:moveTo>
                  <a:lnTo>
                    <a:pt x="32658" y="408215"/>
                  </a:lnTo>
                  <a:lnTo>
                    <a:pt x="78378" y="382089"/>
                  </a:lnTo>
                  <a:lnTo>
                    <a:pt x="0" y="297180"/>
                  </a:lnTo>
                  <a:lnTo>
                    <a:pt x="114300" y="290649"/>
                  </a:lnTo>
                  <a:lnTo>
                    <a:pt x="153489" y="264523"/>
                  </a:lnTo>
                  <a:lnTo>
                    <a:pt x="160020" y="215537"/>
                  </a:lnTo>
                  <a:lnTo>
                    <a:pt x="228600" y="176349"/>
                  </a:lnTo>
                  <a:lnTo>
                    <a:pt x="222069" y="120832"/>
                  </a:lnTo>
                  <a:lnTo>
                    <a:pt x="261258" y="75112"/>
                  </a:lnTo>
                  <a:lnTo>
                    <a:pt x="241663" y="42455"/>
                  </a:lnTo>
                  <a:lnTo>
                    <a:pt x="333103" y="0"/>
                  </a:lnTo>
                  <a:lnTo>
                    <a:pt x="372292" y="32657"/>
                  </a:lnTo>
                  <a:lnTo>
                    <a:pt x="424543" y="39189"/>
                  </a:lnTo>
                  <a:lnTo>
                    <a:pt x="466998" y="107769"/>
                  </a:lnTo>
                  <a:lnTo>
                    <a:pt x="365760" y="137160"/>
                  </a:lnTo>
                  <a:lnTo>
                    <a:pt x="355963" y="215537"/>
                  </a:lnTo>
                  <a:lnTo>
                    <a:pt x="297180" y="303712"/>
                  </a:lnTo>
                  <a:lnTo>
                    <a:pt x="271055" y="326572"/>
                  </a:lnTo>
                  <a:lnTo>
                    <a:pt x="261258" y="362495"/>
                  </a:lnTo>
                  <a:lnTo>
                    <a:pt x="303712" y="408215"/>
                  </a:lnTo>
                  <a:lnTo>
                    <a:pt x="222069" y="460466"/>
                  </a:lnTo>
                  <a:lnTo>
                    <a:pt x="169818" y="408215"/>
                  </a:lnTo>
                  <a:lnTo>
                    <a:pt x="35923" y="447403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en-US" sz="1200" b="0" smtClean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463" name="TextBox 462"/>
            <p:cNvSpPr txBox="1"/>
            <p:nvPr/>
          </p:nvSpPr>
          <p:spPr>
            <a:xfrm>
              <a:off x="7622315" y="6127005"/>
              <a:ext cx="424796" cy="98489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800" b="1" dirty="0" smtClean="0">
                  <a:solidFill>
                    <a:schemeClr val="accent3">
                      <a:lumMod val="75000"/>
                    </a:schemeClr>
                  </a:solidFill>
                  <a:latin typeface="Arial" panose="020B0604020202020204" pitchFamily="34" charset="0"/>
                  <a:ea typeface="맑은 고딕" pitchFamily="50" charset="-127"/>
                  <a:cs typeface="Arial" panose="020B0604020202020204" pitchFamily="34" charset="0"/>
                </a:rPr>
                <a:t>Pakistan</a:t>
              </a:r>
              <a:endParaRPr lang="en-US" altLang="ko-KR" sz="8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</p:grpSp>
      <p:grpSp>
        <p:nvGrpSpPr>
          <p:cNvPr id="464" name="그룹 463"/>
          <p:cNvGrpSpPr/>
          <p:nvPr/>
        </p:nvGrpSpPr>
        <p:grpSpPr>
          <a:xfrm>
            <a:off x="8714954" y="5721171"/>
            <a:ext cx="1002290" cy="1002291"/>
            <a:chOff x="8451639" y="5805461"/>
            <a:chExt cx="933586" cy="933586"/>
          </a:xfrm>
        </p:grpSpPr>
        <p:sp>
          <p:nvSpPr>
            <p:cNvPr id="465" name="Oval 97"/>
            <p:cNvSpPr/>
            <p:nvPr/>
          </p:nvSpPr>
          <p:spPr>
            <a:xfrm>
              <a:off x="8451639" y="5805461"/>
              <a:ext cx="933586" cy="933586"/>
            </a:xfrm>
            <a:prstGeom prst="ellipse">
              <a:avLst/>
            </a:prstGeom>
            <a:solidFill>
              <a:srgbClr val="B3C4DF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6" name="Freeform 98"/>
            <p:cNvSpPr/>
            <p:nvPr/>
          </p:nvSpPr>
          <p:spPr bwMode="auto">
            <a:xfrm>
              <a:off x="8648067" y="6071179"/>
              <a:ext cx="590406" cy="562188"/>
            </a:xfrm>
            <a:custGeom>
              <a:avLst/>
              <a:gdLst>
                <a:gd name="connsiteX0" fmla="*/ 0 w 4522124"/>
                <a:gd name="connsiteY0" fmla="*/ 2294313 h 4305993"/>
                <a:gd name="connsiteX1" fmla="*/ 0 w 4522124"/>
                <a:gd name="connsiteY1" fmla="*/ 2294313 h 4305993"/>
                <a:gd name="connsiteX2" fmla="*/ 432262 w 4522124"/>
                <a:gd name="connsiteY2" fmla="*/ 2452255 h 4305993"/>
                <a:gd name="connsiteX3" fmla="*/ 723207 w 4522124"/>
                <a:gd name="connsiteY3" fmla="*/ 2435629 h 4305993"/>
                <a:gd name="connsiteX4" fmla="*/ 964276 w 4522124"/>
                <a:gd name="connsiteY4" fmla="*/ 2468880 h 4305993"/>
                <a:gd name="connsiteX5" fmla="*/ 1537855 w 4522124"/>
                <a:gd name="connsiteY5" fmla="*/ 2344189 h 4305993"/>
                <a:gd name="connsiteX6" fmla="*/ 1562793 w 4522124"/>
                <a:gd name="connsiteY6" fmla="*/ 1978429 h 4305993"/>
                <a:gd name="connsiteX7" fmla="*/ 1903615 w 4522124"/>
                <a:gd name="connsiteY7" fmla="*/ 1886989 h 4305993"/>
                <a:gd name="connsiteX8" fmla="*/ 2061556 w 4522124"/>
                <a:gd name="connsiteY8" fmla="*/ 1704109 h 4305993"/>
                <a:gd name="connsiteX9" fmla="*/ 2286000 w 4522124"/>
                <a:gd name="connsiteY9" fmla="*/ 1762299 h 4305993"/>
                <a:gd name="connsiteX10" fmla="*/ 2352502 w 4522124"/>
                <a:gd name="connsiteY10" fmla="*/ 1720735 h 4305993"/>
                <a:gd name="connsiteX11" fmla="*/ 2402378 w 4522124"/>
                <a:gd name="connsiteY11" fmla="*/ 1313411 h 4305993"/>
                <a:gd name="connsiteX12" fmla="*/ 2651760 w 4522124"/>
                <a:gd name="connsiteY12" fmla="*/ 1263535 h 4305993"/>
                <a:gd name="connsiteX13" fmla="*/ 2502131 w 4522124"/>
                <a:gd name="connsiteY13" fmla="*/ 1030779 h 4305993"/>
                <a:gd name="connsiteX14" fmla="*/ 2585258 w 4522124"/>
                <a:gd name="connsiteY14" fmla="*/ 1014153 h 4305993"/>
                <a:gd name="connsiteX15" fmla="*/ 2793076 w 4522124"/>
                <a:gd name="connsiteY15" fmla="*/ 1022466 h 4305993"/>
                <a:gd name="connsiteX16" fmla="*/ 2834640 w 4522124"/>
                <a:gd name="connsiteY16" fmla="*/ 931026 h 4305993"/>
                <a:gd name="connsiteX17" fmla="*/ 2793076 w 4522124"/>
                <a:gd name="connsiteY17" fmla="*/ 839586 h 4305993"/>
                <a:gd name="connsiteX18" fmla="*/ 2951018 w 4522124"/>
                <a:gd name="connsiteY18" fmla="*/ 631768 h 4305993"/>
                <a:gd name="connsiteX19" fmla="*/ 2901142 w 4522124"/>
                <a:gd name="connsiteY19" fmla="*/ 349135 h 4305993"/>
                <a:gd name="connsiteX20" fmla="*/ 3233651 w 4522124"/>
                <a:gd name="connsiteY20" fmla="*/ 66502 h 4305993"/>
                <a:gd name="connsiteX21" fmla="*/ 3665913 w 4522124"/>
                <a:gd name="connsiteY21" fmla="*/ 74815 h 4305993"/>
                <a:gd name="connsiteX22" fmla="*/ 3790604 w 4522124"/>
                <a:gd name="connsiteY22" fmla="*/ 0 h 4305993"/>
                <a:gd name="connsiteX23" fmla="*/ 4031673 w 4522124"/>
                <a:gd name="connsiteY23" fmla="*/ 49877 h 4305993"/>
                <a:gd name="connsiteX24" fmla="*/ 4214553 w 4522124"/>
                <a:gd name="connsiteY24" fmla="*/ 340822 h 4305993"/>
                <a:gd name="connsiteX25" fmla="*/ 4522124 w 4522124"/>
                <a:gd name="connsiteY25" fmla="*/ 498764 h 4305993"/>
                <a:gd name="connsiteX26" fmla="*/ 4380807 w 4522124"/>
                <a:gd name="connsiteY26" fmla="*/ 706582 h 4305993"/>
                <a:gd name="connsiteX27" fmla="*/ 3973484 w 4522124"/>
                <a:gd name="connsiteY27" fmla="*/ 847899 h 4305993"/>
                <a:gd name="connsiteX28" fmla="*/ 3732415 w 4522124"/>
                <a:gd name="connsiteY28" fmla="*/ 706582 h 4305993"/>
                <a:gd name="connsiteX29" fmla="*/ 3574473 w 4522124"/>
                <a:gd name="connsiteY29" fmla="*/ 839586 h 4305993"/>
                <a:gd name="connsiteX30" fmla="*/ 3690851 w 4522124"/>
                <a:gd name="connsiteY30" fmla="*/ 1296786 h 4305993"/>
                <a:gd name="connsiteX31" fmla="*/ 4031673 w 4522124"/>
                <a:gd name="connsiteY31" fmla="*/ 1546168 h 4305993"/>
                <a:gd name="connsiteX32" fmla="*/ 3790604 w 4522124"/>
                <a:gd name="connsiteY32" fmla="*/ 1745673 h 4305993"/>
                <a:gd name="connsiteX33" fmla="*/ 3848793 w 4522124"/>
                <a:gd name="connsiteY33" fmla="*/ 1945179 h 4305993"/>
                <a:gd name="connsiteX34" fmla="*/ 3649287 w 4522124"/>
                <a:gd name="connsiteY34" fmla="*/ 2136371 h 4305993"/>
                <a:gd name="connsiteX35" fmla="*/ 3690851 w 4522124"/>
                <a:gd name="connsiteY35" fmla="*/ 2269375 h 4305993"/>
                <a:gd name="connsiteX36" fmla="*/ 3516284 w 4522124"/>
                <a:gd name="connsiteY36" fmla="*/ 2319251 h 4305993"/>
                <a:gd name="connsiteX37" fmla="*/ 3358342 w 4522124"/>
                <a:gd name="connsiteY37" fmla="*/ 2618509 h 4305993"/>
                <a:gd name="connsiteX38" fmla="*/ 3192087 w 4522124"/>
                <a:gd name="connsiteY38" fmla="*/ 2776451 h 4305993"/>
                <a:gd name="connsiteX39" fmla="*/ 3133898 w 4522124"/>
                <a:gd name="connsiteY39" fmla="*/ 3000895 h 4305993"/>
                <a:gd name="connsiteX40" fmla="*/ 2784764 w 4522124"/>
                <a:gd name="connsiteY40" fmla="*/ 3075709 h 4305993"/>
                <a:gd name="connsiteX41" fmla="*/ 2660073 w 4522124"/>
                <a:gd name="connsiteY41" fmla="*/ 2926080 h 4305993"/>
                <a:gd name="connsiteX42" fmla="*/ 2427316 w 4522124"/>
                <a:gd name="connsiteY42" fmla="*/ 3300153 h 4305993"/>
                <a:gd name="connsiteX43" fmla="*/ 2610196 w 4522124"/>
                <a:gd name="connsiteY43" fmla="*/ 3458095 h 4305993"/>
                <a:gd name="connsiteX44" fmla="*/ 2643447 w 4522124"/>
                <a:gd name="connsiteY44" fmla="*/ 3682539 h 4305993"/>
                <a:gd name="connsiteX45" fmla="*/ 2759825 w 4522124"/>
                <a:gd name="connsiteY45" fmla="*/ 3732415 h 4305993"/>
                <a:gd name="connsiteX46" fmla="*/ 2892829 w 4522124"/>
                <a:gd name="connsiteY46" fmla="*/ 4073237 h 4305993"/>
                <a:gd name="connsiteX47" fmla="*/ 2809702 w 4522124"/>
                <a:gd name="connsiteY47" fmla="*/ 4231179 h 4305993"/>
                <a:gd name="connsiteX48" fmla="*/ 2660073 w 4522124"/>
                <a:gd name="connsiteY48" fmla="*/ 4131426 h 4305993"/>
                <a:gd name="connsiteX49" fmla="*/ 2477193 w 4522124"/>
                <a:gd name="connsiteY49" fmla="*/ 4247804 h 4305993"/>
                <a:gd name="connsiteX50" fmla="*/ 2244436 w 4522124"/>
                <a:gd name="connsiteY50" fmla="*/ 4206240 h 4305993"/>
                <a:gd name="connsiteX51" fmla="*/ 2136371 w 4522124"/>
                <a:gd name="connsiteY51" fmla="*/ 4305993 h 4305993"/>
                <a:gd name="connsiteX52" fmla="*/ 1787236 w 4522124"/>
                <a:gd name="connsiteY52" fmla="*/ 4239491 h 4305993"/>
                <a:gd name="connsiteX53" fmla="*/ 1454727 w 4522124"/>
                <a:gd name="connsiteY53" fmla="*/ 3699164 h 4305993"/>
                <a:gd name="connsiteX54" fmla="*/ 1147156 w 4522124"/>
                <a:gd name="connsiteY54" fmla="*/ 3782291 h 4305993"/>
                <a:gd name="connsiteX55" fmla="*/ 648393 w 4522124"/>
                <a:gd name="connsiteY55" fmla="*/ 3749040 h 4305993"/>
                <a:gd name="connsiteX56" fmla="*/ 631767 w 4522124"/>
                <a:gd name="connsiteY56" fmla="*/ 3832168 h 4305993"/>
                <a:gd name="connsiteX57" fmla="*/ 191193 w 4522124"/>
                <a:gd name="connsiteY57" fmla="*/ 3815542 h 4305993"/>
                <a:gd name="connsiteX58" fmla="*/ 74815 w 4522124"/>
                <a:gd name="connsiteY58" fmla="*/ 3715789 h 4305993"/>
                <a:gd name="connsiteX59" fmla="*/ 149629 w 4522124"/>
                <a:gd name="connsiteY59" fmla="*/ 3458095 h 4305993"/>
                <a:gd name="connsiteX60" fmla="*/ 374073 w 4522124"/>
                <a:gd name="connsiteY60" fmla="*/ 3341717 h 4305993"/>
                <a:gd name="connsiteX61" fmla="*/ 556953 w 4522124"/>
                <a:gd name="connsiteY61" fmla="*/ 3333404 h 4305993"/>
                <a:gd name="connsiteX62" fmla="*/ 598516 w 4522124"/>
                <a:gd name="connsiteY62" fmla="*/ 3183775 h 4305993"/>
                <a:gd name="connsiteX63" fmla="*/ 448887 w 4522124"/>
                <a:gd name="connsiteY63" fmla="*/ 3142211 h 4305993"/>
                <a:gd name="connsiteX64" fmla="*/ 440575 w 4522124"/>
                <a:gd name="connsiteY64" fmla="*/ 2818015 h 4305993"/>
                <a:gd name="connsiteX65" fmla="*/ 191193 w 4522124"/>
                <a:gd name="connsiteY65" fmla="*/ 2701637 h 4305993"/>
                <a:gd name="connsiteX66" fmla="*/ 0 w 4522124"/>
                <a:gd name="connsiteY66" fmla="*/ 2294313 h 4305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4522124" h="4305993">
                  <a:moveTo>
                    <a:pt x="0" y="2294313"/>
                  </a:moveTo>
                  <a:lnTo>
                    <a:pt x="0" y="2294313"/>
                  </a:lnTo>
                  <a:lnTo>
                    <a:pt x="432262" y="2452255"/>
                  </a:lnTo>
                  <a:lnTo>
                    <a:pt x="723207" y="2435629"/>
                  </a:lnTo>
                  <a:lnTo>
                    <a:pt x="964276" y="2468880"/>
                  </a:lnTo>
                  <a:lnTo>
                    <a:pt x="1537855" y="2344189"/>
                  </a:lnTo>
                  <a:lnTo>
                    <a:pt x="1562793" y="1978429"/>
                  </a:lnTo>
                  <a:lnTo>
                    <a:pt x="1903615" y="1886989"/>
                  </a:lnTo>
                  <a:lnTo>
                    <a:pt x="2061556" y="1704109"/>
                  </a:lnTo>
                  <a:lnTo>
                    <a:pt x="2286000" y="1762299"/>
                  </a:lnTo>
                  <a:lnTo>
                    <a:pt x="2352502" y="1720735"/>
                  </a:lnTo>
                  <a:lnTo>
                    <a:pt x="2402378" y="1313411"/>
                  </a:lnTo>
                  <a:lnTo>
                    <a:pt x="2651760" y="1263535"/>
                  </a:lnTo>
                  <a:lnTo>
                    <a:pt x="2502131" y="1030779"/>
                  </a:lnTo>
                  <a:lnTo>
                    <a:pt x="2585258" y="1014153"/>
                  </a:lnTo>
                  <a:lnTo>
                    <a:pt x="2793076" y="1022466"/>
                  </a:lnTo>
                  <a:lnTo>
                    <a:pt x="2834640" y="931026"/>
                  </a:lnTo>
                  <a:lnTo>
                    <a:pt x="2793076" y="839586"/>
                  </a:lnTo>
                  <a:lnTo>
                    <a:pt x="2951018" y="631768"/>
                  </a:lnTo>
                  <a:lnTo>
                    <a:pt x="2901142" y="349135"/>
                  </a:lnTo>
                  <a:lnTo>
                    <a:pt x="3233651" y="66502"/>
                  </a:lnTo>
                  <a:lnTo>
                    <a:pt x="3665913" y="74815"/>
                  </a:lnTo>
                  <a:lnTo>
                    <a:pt x="3790604" y="0"/>
                  </a:lnTo>
                  <a:lnTo>
                    <a:pt x="4031673" y="49877"/>
                  </a:lnTo>
                  <a:lnTo>
                    <a:pt x="4214553" y="340822"/>
                  </a:lnTo>
                  <a:lnTo>
                    <a:pt x="4522124" y="498764"/>
                  </a:lnTo>
                  <a:lnTo>
                    <a:pt x="4380807" y="706582"/>
                  </a:lnTo>
                  <a:lnTo>
                    <a:pt x="3973484" y="847899"/>
                  </a:lnTo>
                  <a:lnTo>
                    <a:pt x="3732415" y="706582"/>
                  </a:lnTo>
                  <a:lnTo>
                    <a:pt x="3574473" y="839586"/>
                  </a:lnTo>
                  <a:lnTo>
                    <a:pt x="3690851" y="1296786"/>
                  </a:lnTo>
                  <a:lnTo>
                    <a:pt x="4031673" y="1546168"/>
                  </a:lnTo>
                  <a:lnTo>
                    <a:pt x="3790604" y="1745673"/>
                  </a:lnTo>
                  <a:lnTo>
                    <a:pt x="3848793" y="1945179"/>
                  </a:lnTo>
                  <a:lnTo>
                    <a:pt x="3649287" y="2136371"/>
                  </a:lnTo>
                  <a:lnTo>
                    <a:pt x="3690851" y="2269375"/>
                  </a:lnTo>
                  <a:lnTo>
                    <a:pt x="3516284" y="2319251"/>
                  </a:lnTo>
                  <a:lnTo>
                    <a:pt x="3358342" y="2618509"/>
                  </a:lnTo>
                  <a:lnTo>
                    <a:pt x="3192087" y="2776451"/>
                  </a:lnTo>
                  <a:lnTo>
                    <a:pt x="3133898" y="3000895"/>
                  </a:lnTo>
                  <a:lnTo>
                    <a:pt x="2784764" y="3075709"/>
                  </a:lnTo>
                  <a:lnTo>
                    <a:pt x="2660073" y="2926080"/>
                  </a:lnTo>
                  <a:lnTo>
                    <a:pt x="2427316" y="3300153"/>
                  </a:lnTo>
                  <a:lnTo>
                    <a:pt x="2610196" y="3458095"/>
                  </a:lnTo>
                  <a:lnTo>
                    <a:pt x="2643447" y="3682539"/>
                  </a:lnTo>
                  <a:lnTo>
                    <a:pt x="2759825" y="3732415"/>
                  </a:lnTo>
                  <a:lnTo>
                    <a:pt x="2892829" y="4073237"/>
                  </a:lnTo>
                  <a:lnTo>
                    <a:pt x="2809702" y="4231179"/>
                  </a:lnTo>
                  <a:lnTo>
                    <a:pt x="2660073" y="4131426"/>
                  </a:lnTo>
                  <a:lnTo>
                    <a:pt x="2477193" y="4247804"/>
                  </a:lnTo>
                  <a:lnTo>
                    <a:pt x="2244436" y="4206240"/>
                  </a:lnTo>
                  <a:lnTo>
                    <a:pt x="2136371" y="4305993"/>
                  </a:lnTo>
                  <a:lnTo>
                    <a:pt x="1787236" y="4239491"/>
                  </a:lnTo>
                  <a:lnTo>
                    <a:pt x="1454727" y="3699164"/>
                  </a:lnTo>
                  <a:lnTo>
                    <a:pt x="1147156" y="3782291"/>
                  </a:lnTo>
                  <a:lnTo>
                    <a:pt x="648393" y="3749040"/>
                  </a:lnTo>
                  <a:lnTo>
                    <a:pt x="631767" y="3832168"/>
                  </a:lnTo>
                  <a:lnTo>
                    <a:pt x="191193" y="3815542"/>
                  </a:lnTo>
                  <a:lnTo>
                    <a:pt x="74815" y="3715789"/>
                  </a:lnTo>
                  <a:lnTo>
                    <a:pt x="149629" y="3458095"/>
                  </a:lnTo>
                  <a:lnTo>
                    <a:pt x="374073" y="3341717"/>
                  </a:lnTo>
                  <a:lnTo>
                    <a:pt x="556953" y="3333404"/>
                  </a:lnTo>
                  <a:lnTo>
                    <a:pt x="598516" y="3183775"/>
                  </a:lnTo>
                  <a:lnTo>
                    <a:pt x="448887" y="3142211"/>
                  </a:lnTo>
                  <a:lnTo>
                    <a:pt x="440575" y="2818015"/>
                  </a:lnTo>
                  <a:lnTo>
                    <a:pt x="191193" y="2701637"/>
                  </a:lnTo>
                  <a:lnTo>
                    <a:pt x="0" y="2294313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en-US" sz="1200" b="0" smtClean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  <p:cxnSp>
          <p:nvCxnSpPr>
            <p:cNvPr id="467" name="Straight Connector 101"/>
            <p:cNvCxnSpPr/>
            <p:nvPr/>
          </p:nvCxnSpPr>
          <p:spPr>
            <a:xfrm flipH="1">
              <a:off x="8950814" y="6182090"/>
              <a:ext cx="147246" cy="0"/>
            </a:xfrm>
            <a:prstGeom prst="line">
              <a:avLst/>
            </a:prstGeom>
            <a:ln w="12700">
              <a:solidFill>
                <a:schemeClr val="bg1"/>
              </a:solidFill>
              <a:headEnd type="oval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8" name="TextBox 467"/>
            <p:cNvSpPr txBox="1"/>
            <p:nvPr/>
          </p:nvSpPr>
          <p:spPr>
            <a:xfrm>
              <a:off x="8538740" y="6137600"/>
              <a:ext cx="450087" cy="91738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algn="ctr" latinLnBrk="0">
                <a:lnSpc>
                  <a:spcPct val="80000"/>
                </a:lnSpc>
              </a:pPr>
              <a:r>
                <a:rPr lang="en-US" altLang="ko-KR" sz="800" b="1" dirty="0" smtClean="0">
                  <a:solidFill>
                    <a:schemeClr val="accent3">
                      <a:lumMod val="75000"/>
                    </a:schemeClr>
                  </a:solidFill>
                  <a:latin typeface="Arial" panose="020B0604020202020204" pitchFamily="34" charset="0"/>
                  <a:ea typeface="맑은 고딕" pitchFamily="50" charset="-127"/>
                  <a:cs typeface="Arial" panose="020B0604020202020204" pitchFamily="34" charset="0"/>
                </a:rPr>
                <a:t>Gulpur</a:t>
              </a:r>
            </a:p>
          </p:txBody>
        </p:sp>
      </p:grpSp>
      <p:sp>
        <p:nvSpPr>
          <p:cNvPr id="473" name="자유형 472"/>
          <p:cNvSpPr/>
          <p:nvPr/>
        </p:nvSpPr>
        <p:spPr bwMode="auto">
          <a:xfrm>
            <a:off x="3726996" y="1333500"/>
            <a:ext cx="3357562" cy="5005307"/>
          </a:xfrm>
          <a:custGeom>
            <a:avLst/>
            <a:gdLst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62050 w 3371850"/>
              <a:gd name="connsiteY43" fmla="*/ 2190750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42950 w 3371850"/>
              <a:gd name="connsiteY55" fmla="*/ 1190625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28700 w 3371850"/>
              <a:gd name="connsiteY63" fmla="*/ 657225 h 4772025"/>
              <a:gd name="connsiteX64" fmla="*/ 1238250 w 3371850"/>
              <a:gd name="connsiteY64" fmla="*/ 685800 h 4772025"/>
              <a:gd name="connsiteX65" fmla="*/ 1476375 w 3371850"/>
              <a:gd name="connsiteY65" fmla="*/ 581025 h 4772025"/>
              <a:gd name="connsiteX66" fmla="*/ 1590675 w 3371850"/>
              <a:gd name="connsiteY66" fmla="*/ 466725 h 4772025"/>
              <a:gd name="connsiteX67" fmla="*/ 1666875 w 3371850"/>
              <a:gd name="connsiteY67" fmla="*/ 438150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71725 w 3371850"/>
              <a:gd name="connsiteY71" fmla="*/ 685800 h 4772025"/>
              <a:gd name="connsiteX72" fmla="*/ 2667000 w 3371850"/>
              <a:gd name="connsiteY72" fmla="*/ 714375 h 4772025"/>
              <a:gd name="connsiteX73" fmla="*/ 2847975 w 3371850"/>
              <a:gd name="connsiteY73" fmla="*/ 714375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33750 w 3371850"/>
              <a:gd name="connsiteY77" fmla="*/ 781050 h 4772025"/>
              <a:gd name="connsiteX78" fmla="*/ 3371850 w 3371850"/>
              <a:gd name="connsiteY78" fmla="*/ 762000 h 4772025"/>
              <a:gd name="connsiteX79" fmla="*/ 3371850 w 3371850"/>
              <a:gd name="connsiteY79" fmla="*/ 685800 h 4772025"/>
              <a:gd name="connsiteX80" fmla="*/ 3324225 w 3371850"/>
              <a:gd name="connsiteY80" fmla="*/ 52387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42950 w 3371850"/>
              <a:gd name="connsiteY55" fmla="*/ 1190625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28700 w 3371850"/>
              <a:gd name="connsiteY63" fmla="*/ 657225 h 4772025"/>
              <a:gd name="connsiteX64" fmla="*/ 1238250 w 3371850"/>
              <a:gd name="connsiteY64" fmla="*/ 685800 h 4772025"/>
              <a:gd name="connsiteX65" fmla="*/ 1476375 w 3371850"/>
              <a:gd name="connsiteY65" fmla="*/ 581025 h 4772025"/>
              <a:gd name="connsiteX66" fmla="*/ 1590675 w 3371850"/>
              <a:gd name="connsiteY66" fmla="*/ 466725 h 4772025"/>
              <a:gd name="connsiteX67" fmla="*/ 1666875 w 3371850"/>
              <a:gd name="connsiteY67" fmla="*/ 438150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71725 w 3371850"/>
              <a:gd name="connsiteY71" fmla="*/ 685800 h 4772025"/>
              <a:gd name="connsiteX72" fmla="*/ 2667000 w 3371850"/>
              <a:gd name="connsiteY72" fmla="*/ 714375 h 4772025"/>
              <a:gd name="connsiteX73" fmla="*/ 2847975 w 3371850"/>
              <a:gd name="connsiteY73" fmla="*/ 714375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33750 w 3371850"/>
              <a:gd name="connsiteY77" fmla="*/ 781050 h 4772025"/>
              <a:gd name="connsiteX78" fmla="*/ 3371850 w 3371850"/>
              <a:gd name="connsiteY78" fmla="*/ 762000 h 4772025"/>
              <a:gd name="connsiteX79" fmla="*/ 3371850 w 3371850"/>
              <a:gd name="connsiteY79" fmla="*/ 685800 h 4772025"/>
              <a:gd name="connsiteX80" fmla="*/ 3324225 w 3371850"/>
              <a:gd name="connsiteY80" fmla="*/ 52387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42950 w 3371850"/>
              <a:gd name="connsiteY55" fmla="*/ 1190625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38250 w 3371850"/>
              <a:gd name="connsiteY64" fmla="*/ 685800 h 4772025"/>
              <a:gd name="connsiteX65" fmla="*/ 1476375 w 3371850"/>
              <a:gd name="connsiteY65" fmla="*/ 581025 h 4772025"/>
              <a:gd name="connsiteX66" fmla="*/ 1590675 w 3371850"/>
              <a:gd name="connsiteY66" fmla="*/ 466725 h 4772025"/>
              <a:gd name="connsiteX67" fmla="*/ 1666875 w 3371850"/>
              <a:gd name="connsiteY67" fmla="*/ 438150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71725 w 3371850"/>
              <a:gd name="connsiteY71" fmla="*/ 685800 h 4772025"/>
              <a:gd name="connsiteX72" fmla="*/ 2667000 w 3371850"/>
              <a:gd name="connsiteY72" fmla="*/ 714375 h 4772025"/>
              <a:gd name="connsiteX73" fmla="*/ 2847975 w 3371850"/>
              <a:gd name="connsiteY73" fmla="*/ 714375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33750 w 3371850"/>
              <a:gd name="connsiteY77" fmla="*/ 781050 h 4772025"/>
              <a:gd name="connsiteX78" fmla="*/ 3371850 w 3371850"/>
              <a:gd name="connsiteY78" fmla="*/ 762000 h 4772025"/>
              <a:gd name="connsiteX79" fmla="*/ 3371850 w 3371850"/>
              <a:gd name="connsiteY79" fmla="*/ 685800 h 4772025"/>
              <a:gd name="connsiteX80" fmla="*/ 3324225 w 3371850"/>
              <a:gd name="connsiteY80" fmla="*/ 52387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38250 w 3371850"/>
              <a:gd name="connsiteY64" fmla="*/ 685800 h 4772025"/>
              <a:gd name="connsiteX65" fmla="*/ 1476375 w 3371850"/>
              <a:gd name="connsiteY65" fmla="*/ 581025 h 4772025"/>
              <a:gd name="connsiteX66" fmla="*/ 1590675 w 3371850"/>
              <a:gd name="connsiteY66" fmla="*/ 466725 h 4772025"/>
              <a:gd name="connsiteX67" fmla="*/ 1666875 w 3371850"/>
              <a:gd name="connsiteY67" fmla="*/ 438150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71725 w 3371850"/>
              <a:gd name="connsiteY71" fmla="*/ 685800 h 4772025"/>
              <a:gd name="connsiteX72" fmla="*/ 2667000 w 3371850"/>
              <a:gd name="connsiteY72" fmla="*/ 714375 h 4772025"/>
              <a:gd name="connsiteX73" fmla="*/ 2847975 w 3371850"/>
              <a:gd name="connsiteY73" fmla="*/ 714375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33750 w 3371850"/>
              <a:gd name="connsiteY77" fmla="*/ 781050 h 4772025"/>
              <a:gd name="connsiteX78" fmla="*/ 3371850 w 3371850"/>
              <a:gd name="connsiteY78" fmla="*/ 762000 h 4772025"/>
              <a:gd name="connsiteX79" fmla="*/ 3371850 w 3371850"/>
              <a:gd name="connsiteY79" fmla="*/ 685800 h 4772025"/>
              <a:gd name="connsiteX80" fmla="*/ 3324225 w 3371850"/>
              <a:gd name="connsiteY80" fmla="*/ 52387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590675 w 3371850"/>
              <a:gd name="connsiteY66" fmla="*/ 466725 h 4772025"/>
              <a:gd name="connsiteX67" fmla="*/ 1666875 w 3371850"/>
              <a:gd name="connsiteY67" fmla="*/ 438150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71725 w 3371850"/>
              <a:gd name="connsiteY71" fmla="*/ 685800 h 4772025"/>
              <a:gd name="connsiteX72" fmla="*/ 2667000 w 3371850"/>
              <a:gd name="connsiteY72" fmla="*/ 714375 h 4772025"/>
              <a:gd name="connsiteX73" fmla="*/ 2847975 w 3371850"/>
              <a:gd name="connsiteY73" fmla="*/ 714375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33750 w 3371850"/>
              <a:gd name="connsiteY77" fmla="*/ 781050 h 4772025"/>
              <a:gd name="connsiteX78" fmla="*/ 3371850 w 3371850"/>
              <a:gd name="connsiteY78" fmla="*/ 762000 h 4772025"/>
              <a:gd name="connsiteX79" fmla="*/ 3371850 w 3371850"/>
              <a:gd name="connsiteY79" fmla="*/ 685800 h 4772025"/>
              <a:gd name="connsiteX80" fmla="*/ 3324225 w 3371850"/>
              <a:gd name="connsiteY80" fmla="*/ 52387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590675 w 3371850"/>
              <a:gd name="connsiteY66" fmla="*/ 466725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71725 w 3371850"/>
              <a:gd name="connsiteY71" fmla="*/ 685800 h 4772025"/>
              <a:gd name="connsiteX72" fmla="*/ 2667000 w 3371850"/>
              <a:gd name="connsiteY72" fmla="*/ 714375 h 4772025"/>
              <a:gd name="connsiteX73" fmla="*/ 2847975 w 3371850"/>
              <a:gd name="connsiteY73" fmla="*/ 714375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33750 w 3371850"/>
              <a:gd name="connsiteY77" fmla="*/ 781050 h 4772025"/>
              <a:gd name="connsiteX78" fmla="*/ 3371850 w 3371850"/>
              <a:gd name="connsiteY78" fmla="*/ 762000 h 4772025"/>
              <a:gd name="connsiteX79" fmla="*/ 3371850 w 3371850"/>
              <a:gd name="connsiteY79" fmla="*/ 685800 h 4772025"/>
              <a:gd name="connsiteX80" fmla="*/ 3324225 w 3371850"/>
              <a:gd name="connsiteY80" fmla="*/ 52387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71725 w 3371850"/>
              <a:gd name="connsiteY71" fmla="*/ 685800 h 4772025"/>
              <a:gd name="connsiteX72" fmla="*/ 2667000 w 3371850"/>
              <a:gd name="connsiteY72" fmla="*/ 714375 h 4772025"/>
              <a:gd name="connsiteX73" fmla="*/ 2847975 w 3371850"/>
              <a:gd name="connsiteY73" fmla="*/ 714375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33750 w 3371850"/>
              <a:gd name="connsiteY77" fmla="*/ 781050 h 4772025"/>
              <a:gd name="connsiteX78" fmla="*/ 3371850 w 3371850"/>
              <a:gd name="connsiteY78" fmla="*/ 762000 h 4772025"/>
              <a:gd name="connsiteX79" fmla="*/ 3371850 w 3371850"/>
              <a:gd name="connsiteY79" fmla="*/ 685800 h 4772025"/>
              <a:gd name="connsiteX80" fmla="*/ 3324225 w 3371850"/>
              <a:gd name="connsiteY80" fmla="*/ 52387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52675 w 3371850"/>
              <a:gd name="connsiteY71" fmla="*/ 676275 h 4772025"/>
              <a:gd name="connsiteX72" fmla="*/ 2667000 w 3371850"/>
              <a:gd name="connsiteY72" fmla="*/ 714375 h 4772025"/>
              <a:gd name="connsiteX73" fmla="*/ 2847975 w 3371850"/>
              <a:gd name="connsiteY73" fmla="*/ 714375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33750 w 3371850"/>
              <a:gd name="connsiteY77" fmla="*/ 781050 h 4772025"/>
              <a:gd name="connsiteX78" fmla="*/ 3371850 w 3371850"/>
              <a:gd name="connsiteY78" fmla="*/ 762000 h 4772025"/>
              <a:gd name="connsiteX79" fmla="*/ 3371850 w 3371850"/>
              <a:gd name="connsiteY79" fmla="*/ 685800 h 4772025"/>
              <a:gd name="connsiteX80" fmla="*/ 3324225 w 3371850"/>
              <a:gd name="connsiteY80" fmla="*/ 52387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52675 w 3371850"/>
              <a:gd name="connsiteY71" fmla="*/ 676275 h 4772025"/>
              <a:gd name="connsiteX72" fmla="*/ 2667000 w 3371850"/>
              <a:gd name="connsiteY72" fmla="*/ 714375 h 4772025"/>
              <a:gd name="connsiteX73" fmla="*/ 2835275 w 3371850"/>
              <a:gd name="connsiteY73" fmla="*/ 736600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33750 w 3371850"/>
              <a:gd name="connsiteY77" fmla="*/ 781050 h 4772025"/>
              <a:gd name="connsiteX78" fmla="*/ 3371850 w 3371850"/>
              <a:gd name="connsiteY78" fmla="*/ 762000 h 4772025"/>
              <a:gd name="connsiteX79" fmla="*/ 3371850 w 3371850"/>
              <a:gd name="connsiteY79" fmla="*/ 685800 h 4772025"/>
              <a:gd name="connsiteX80" fmla="*/ 3324225 w 3371850"/>
              <a:gd name="connsiteY80" fmla="*/ 52387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52675 w 3371850"/>
              <a:gd name="connsiteY71" fmla="*/ 676275 h 4772025"/>
              <a:gd name="connsiteX72" fmla="*/ 2667000 w 3371850"/>
              <a:gd name="connsiteY72" fmla="*/ 714375 h 4772025"/>
              <a:gd name="connsiteX73" fmla="*/ 2835275 w 3371850"/>
              <a:gd name="connsiteY73" fmla="*/ 736600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11525 w 3371850"/>
              <a:gd name="connsiteY77" fmla="*/ 768350 h 4772025"/>
              <a:gd name="connsiteX78" fmla="*/ 3371850 w 3371850"/>
              <a:gd name="connsiteY78" fmla="*/ 762000 h 4772025"/>
              <a:gd name="connsiteX79" fmla="*/ 3371850 w 3371850"/>
              <a:gd name="connsiteY79" fmla="*/ 685800 h 4772025"/>
              <a:gd name="connsiteX80" fmla="*/ 3324225 w 3371850"/>
              <a:gd name="connsiteY80" fmla="*/ 52387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52675 w 3371850"/>
              <a:gd name="connsiteY71" fmla="*/ 676275 h 4772025"/>
              <a:gd name="connsiteX72" fmla="*/ 2667000 w 3371850"/>
              <a:gd name="connsiteY72" fmla="*/ 714375 h 4772025"/>
              <a:gd name="connsiteX73" fmla="*/ 2835275 w 3371850"/>
              <a:gd name="connsiteY73" fmla="*/ 736600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11525 w 3371850"/>
              <a:gd name="connsiteY77" fmla="*/ 768350 h 4772025"/>
              <a:gd name="connsiteX78" fmla="*/ 3340100 w 3371850"/>
              <a:gd name="connsiteY78" fmla="*/ 746125 h 4772025"/>
              <a:gd name="connsiteX79" fmla="*/ 3371850 w 3371850"/>
              <a:gd name="connsiteY79" fmla="*/ 685800 h 4772025"/>
              <a:gd name="connsiteX80" fmla="*/ 3324225 w 3371850"/>
              <a:gd name="connsiteY80" fmla="*/ 52387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52675 w 3371850"/>
              <a:gd name="connsiteY71" fmla="*/ 676275 h 4772025"/>
              <a:gd name="connsiteX72" fmla="*/ 2667000 w 3371850"/>
              <a:gd name="connsiteY72" fmla="*/ 714375 h 4772025"/>
              <a:gd name="connsiteX73" fmla="*/ 2835275 w 3371850"/>
              <a:gd name="connsiteY73" fmla="*/ 736600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11525 w 3371850"/>
              <a:gd name="connsiteY77" fmla="*/ 768350 h 4772025"/>
              <a:gd name="connsiteX78" fmla="*/ 3340100 w 3371850"/>
              <a:gd name="connsiteY78" fmla="*/ 746125 h 4772025"/>
              <a:gd name="connsiteX79" fmla="*/ 3371850 w 3371850"/>
              <a:gd name="connsiteY79" fmla="*/ 685800 h 4772025"/>
              <a:gd name="connsiteX80" fmla="*/ 3336925 w 3371850"/>
              <a:gd name="connsiteY80" fmla="*/ 517525 h 4772025"/>
              <a:gd name="connsiteX81" fmla="*/ 322897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52675 w 3371850"/>
              <a:gd name="connsiteY71" fmla="*/ 676275 h 4772025"/>
              <a:gd name="connsiteX72" fmla="*/ 2667000 w 3371850"/>
              <a:gd name="connsiteY72" fmla="*/ 714375 h 4772025"/>
              <a:gd name="connsiteX73" fmla="*/ 2835275 w 3371850"/>
              <a:gd name="connsiteY73" fmla="*/ 736600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11525 w 3371850"/>
              <a:gd name="connsiteY77" fmla="*/ 768350 h 4772025"/>
              <a:gd name="connsiteX78" fmla="*/ 3340100 w 3371850"/>
              <a:gd name="connsiteY78" fmla="*/ 746125 h 4772025"/>
              <a:gd name="connsiteX79" fmla="*/ 3371850 w 3371850"/>
              <a:gd name="connsiteY79" fmla="*/ 685800 h 4772025"/>
              <a:gd name="connsiteX80" fmla="*/ 3336925 w 3371850"/>
              <a:gd name="connsiteY80" fmla="*/ 517525 h 4772025"/>
              <a:gd name="connsiteX81" fmla="*/ 319722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71475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52675 w 3371850"/>
              <a:gd name="connsiteY71" fmla="*/ 676275 h 4772025"/>
              <a:gd name="connsiteX72" fmla="*/ 2667000 w 3371850"/>
              <a:gd name="connsiteY72" fmla="*/ 714375 h 4772025"/>
              <a:gd name="connsiteX73" fmla="*/ 2835275 w 3371850"/>
              <a:gd name="connsiteY73" fmla="*/ 736600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11525 w 3371850"/>
              <a:gd name="connsiteY77" fmla="*/ 768350 h 4772025"/>
              <a:gd name="connsiteX78" fmla="*/ 3340100 w 3371850"/>
              <a:gd name="connsiteY78" fmla="*/ 746125 h 4772025"/>
              <a:gd name="connsiteX79" fmla="*/ 3371850 w 3371850"/>
              <a:gd name="connsiteY79" fmla="*/ 685800 h 4772025"/>
              <a:gd name="connsiteX80" fmla="*/ 3336925 w 3371850"/>
              <a:gd name="connsiteY80" fmla="*/ 517525 h 4772025"/>
              <a:gd name="connsiteX81" fmla="*/ 319722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086100 w 3371850"/>
              <a:gd name="connsiteY84" fmla="*/ 368300 h 4772025"/>
              <a:gd name="connsiteX85" fmla="*/ 3086100 w 3371850"/>
              <a:gd name="connsiteY85" fmla="*/ 428625 h 4772025"/>
              <a:gd name="connsiteX86" fmla="*/ 3038475 w 3371850"/>
              <a:gd name="connsiteY86" fmla="*/ 447675 h 4772025"/>
              <a:gd name="connsiteX87" fmla="*/ 2962275 w 3371850"/>
              <a:gd name="connsiteY87" fmla="*/ 400050 h 4772025"/>
              <a:gd name="connsiteX88" fmla="*/ 2867025 w 3371850"/>
              <a:gd name="connsiteY88" fmla="*/ 457200 h 4772025"/>
              <a:gd name="connsiteX89" fmla="*/ 2847975 w 3371850"/>
              <a:gd name="connsiteY89" fmla="*/ 485775 h 4772025"/>
              <a:gd name="connsiteX90" fmla="*/ 2838450 w 3371850"/>
              <a:gd name="connsiteY90" fmla="*/ 523875 h 4772025"/>
              <a:gd name="connsiteX91" fmla="*/ 2762250 w 3371850"/>
              <a:gd name="connsiteY91" fmla="*/ 485775 h 4772025"/>
              <a:gd name="connsiteX92" fmla="*/ 2647950 w 3371850"/>
              <a:gd name="connsiteY92" fmla="*/ 466725 h 4772025"/>
              <a:gd name="connsiteX93" fmla="*/ 2552700 w 3371850"/>
              <a:gd name="connsiteY93" fmla="*/ 419100 h 4772025"/>
              <a:gd name="connsiteX94" fmla="*/ 2419350 w 3371850"/>
              <a:gd name="connsiteY94" fmla="*/ 342900 h 4772025"/>
              <a:gd name="connsiteX95" fmla="*/ 2333625 w 3371850"/>
              <a:gd name="connsiteY95" fmla="*/ 257175 h 4772025"/>
              <a:gd name="connsiteX96" fmla="*/ 2209800 w 3371850"/>
              <a:gd name="connsiteY96" fmla="*/ 247650 h 4772025"/>
              <a:gd name="connsiteX97" fmla="*/ 2171700 w 3371850"/>
              <a:gd name="connsiteY97" fmla="*/ 114300 h 4772025"/>
              <a:gd name="connsiteX98" fmla="*/ 2152650 w 3371850"/>
              <a:gd name="connsiteY98" fmla="*/ 9525 h 4772025"/>
              <a:gd name="connsiteX99" fmla="*/ 1190625 w 3371850"/>
              <a:gd name="connsiteY99" fmla="*/ 0 h 4772025"/>
              <a:gd name="connsiteX100" fmla="*/ 1181100 w 3371850"/>
              <a:gd name="connsiteY100" fmla="*/ 114300 h 4772025"/>
              <a:gd name="connsiteX101" fmla="*/ 1143000 w 3371850"/>
              <a:gd name="connsiteY101" fmla="*/ 219075 h 4772025"/>
              <a:gd name="connsiteX102" fmla="*/ 933450 w 3371850"/>
              <a:gd name="connsiteY102" fmla="*/ 381000 h 4772025"/>
              <a:gd name="connsiteX103" fmla="*/ 923925 w 3371850"/>
              <a:gd name="connsiteY103" fmla="*/ 438150 h 4772025"/>
              <a:gd name="connsiteX104" fmla="*/ 800100 w 3371850"/>
              <a:gd name="connsiteY104" fmla="*/ 457200 h 4772025"/>
              <a:gd name="connsiteX105" fmla="*/ 619125 w 3371850"/>
              <a:gd name="connsiteY105" fmla="*/ 514350 h 4772025"/>
              <a:gd name="connsiteX106" fmla="*/ 571500 w 3371850"/>
              <a:gd name="connsiteY106" fmla="*/ 619125 h 4772025"/>
              <a:gd name="connsiteX107" fmla="*/ 476250 w 3371850"/>
              <a:gd name="connsiteY107" fmla="*/ 742950 h 4772025"/>
              <a:gd name="connsiteX108" fmla="*/ 466725 w 3371850"/>
              <a:gd name="connsiteY108" fmla="*/ 819150 h 4772025"/>
              <a:gd name="connsiteX109" fmla="*/ 476250 w 3371850"/>
              <a:gd name="connsiteY109" fmla="*/ 942975 h 4772025"/>
              <a:gd name="connsiteX110" fmla="*/ 428625 w 3371850"/>
              <a:gd name="connsiteY110" fmla="*/ 990600 h 4772025"/>
              <a:gd name="connsiteX111" fmla="*/ 247650 w 3371850"/>
              <a:gd name="connsiteY111" fmla="*/ 962025 h 4772025"/>
              <a:gd name="connsiteX112" fmla="*/ 180975 w 3371850"/>
              <a:gd name="connsiteY112" fmla="*/ 971550 h 4772025"/>
              <a:gd name="connsiteX113" fmla="*/ 76200 w 3371850"/>
              <a:gd name="connsiteY113" fmla="*/ 1047750 h 4772025"/>
              <a:gd name="connsiteX114" fmla="*/ 57150 w 3371850"/>
              <a:gd name="connsiteY114" fmla="*/ 1143000 h 4772025"/>
              <a:gd name="connsiteX115" fmla="*/ 57150 w 3371850"/>
              <a:gd name="connsiteY115" fmla="*/ 1276350 h 4772025"/>
              <a:gd name="connsiteX116" fmla="*/ 28575 w 3371850"/>
              <a:gd name="connsiteY116" fmla="*/ 1390650 h 4772025"/>
              <a:gd name="connsiteX117" fmla="*/ 0 w 3371850"/>
              <a:gd name="connsiteY117" fmla="*/ 1504950 h 4772025"/>
              <a:gd name="connsiteX118" fmla="*/ 104775 w 3371850"/>
              <a:gd name="connsiteY118" fmla="*/ 1638300 h 4772025"/>
              <a:gd name="connsiteX119" fmla="*/ 161925 w 3371850"/>
              <a:gd name="connsiteY119" fmla="*/ 1819275 h 4772025"/>
              <a:gd name="connsiteX120" fmla="*/ 219075 w 3371850"/>
              <a:gd name="connsiteY120" fmla="*/ 2028825 h 4772025"/>
              <a:gd name="connsiteX121" fmla="*/ 276225 w 3371850"/>
              <a:gd name="connsiteY121" fmla="*/ 2295525 h 4772025"/>
              <a:gd name="connsiteX122" fmla="*/ 361950 w 3371850"/>
              <a:gd name="connsiteY122" fmla="*/ 2400300 h 4772025"/>
              <a:gd name="connsiteX123" fmla="*/ 333375 w 3371850"/>
              <a:gd name="connsiteY123" fmla="*/ 2609850 h 4772025"/>
              <a:gd name="connsiteX124" fmla="*/ 333375 w 3371850"/>
              <a:gd name="connsiteY124" fmla="*/ 2762250 h 4772025"/>
              <a:gd name="connsiteX125" fmla="*/ 381000 w 3371850"/>
              <a:gd name="connsiteY125" fmla="*/ 2857500 h 4772025"/>
              <a:gd name="connsiteX126" fmla="*/ 457200 w 3371850"/>
              <a:gd name="connsiteY126" fmla="*/ 3248025 h 4772025"/>
              <a:gd name="connsiteX127" fmla="*/ 447675 w 3371850"/>
              <a:gd name="connsiteY127" fmla="*/ 3362325 h 4772025"/>
              <a:gd name="connsiteX128" fmla="*/ 419100 w 3371850"/>
              <a:gd name="connsiteY128" fmla="*/ 3448050 h 4772025"/>
              <a:gd name="connsiteX129" fmla="*/ 400050 w 3371850"/>
              <a:gd name="connsiteY129" fmla="*/ 3629025 h 4772025"/>
              <a:gd name="connsiteX130" fmla="*/ 466725 w 3371850"/>
              <a:gd name="connsiteY130" fmla="*/ 3810000 h 4772025"/>
              <a:gd name="connsiteX131" fmla="*/ 533400 w 3371850"/>
              <a:gd name="connsiteY131" fmla="*/ 3914775 h 4772025"/>
              <a:gd name="connsiteX132" fmla="*/ 533400 w 3371850"/>
              <a:gd name="connsiteY132" fmla="*/ 4019550 h 4772025"/>
              <a:gd name="connsiteX133" fmla="*/ 485775 w 3371850"/>
              <a:gd name="connsiteY133" fmla="*/ 4076700 h 4772025"/>
              <a:gd name="connsiteX134" fmla="*/ 571500 w 3371850"/>
              <a:gd name="connsiteY134" fmla="*/ 4143375 h 4772025"/>
              <a:gd name="connsiteX135" fmla="*/ 704850 w 3371850"/>
              <a:gd name="connsiteY135" fmla="*/ 4257675 h 4772025"/>
              <a:gd name="connsiteX136" fmla="*/ 733425 w 3371850"/>
              <a:gd name="connsiteY136" fmla="*/ 4343400 h 4772025"/>
              <a:gd name="connsiteX137" fmla="*/ 885825 w 3371850"/>
              <a:gd name="connsiteY137" fmla="*/ 4286250 h 4772025"/>
              <a:gd name="connsiteX138" fmla="*/ 962025 w 3371850"/>
              <a:gd name="connsiteY138" fmla="*/ 4276725 h 4772025"/>
              <a:gd name="connsiteX139" fmla="*/ 1123950 w 3371850"/>
              <a:gd name="connsiteY139" fmla="*/ 4438650 h 4772025"/>
              <a:gd name="connsiteX140" fmla="*/ 1209675 w 3371850"/>
              <a:gd name="connsiteY140" fmla="*/ 4505325 h 4772025"/>
              <a:gd name="connsiteX141" fmla="*/ 1428750 w 3371850"/>
              <a:gd name="connsiteY141" fmla="*/ 4581525 h 4772025"/>
              <a:gd name="connsiteX142" fmla="*/ 1704975 w 3371850"/>
              <a:gd name="connsiteY142" fmla="*/ 4705350 h 4772025"/>
              <a:gd name="connsiteX143" fmla="*/ 1885950 w 3371850"/>
              <a:gd name="connsiteY143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52675 w 3371850"/>
              <a:gd name="connsiteY71" fmla="*/ 676275 h 4772025"/>
              <a:gd name="connsiteX72" fmla="*/ 2667000 w 3371850"/>
              <a:gd name="connsiteY72" fmla="*/ 714375 h 4772025"/>
              <a:gd name="connsiteX73" fmla="*/ 2835275 w 3371850"/>
              <a:gd name="connsiteY73" fmla="*/ 736600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11525 w 3371850"/>
              <a:gd name="connsiteY77" fmla="*/ 768350 h 4772025"/>
              <a:gd name="connsiteX78" fmla="*/ 3340100 w 3371850"/>
              <a:gd name="connsiteY78" fmla="*/ 746125 h 4772025"/>
              <a:gd name="connsiteX79" fmla="*/ 3371850 w 3371850"/>
              <a:gd name="connsiteY79" fmla="*/ 685800 h 4772025"/>
              <a:gd name="connsiteX80" fmla="*/ 3336925 w 3371850"/>
              <a:gd name="connsiteY80" fmla="*/ 517525 h 4772025"/>
              <a:gd name="connsiteX81" fmla="*/ 319722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111500 w 3371850"/>
              <a:gd name="connsiteY84" fmla="*/ 323850 h 4772025"/>
              <a:gd name="connsiteX85" fmla="*/ 3086100 w 3371850"/>
              <a:gd name="connsiteY85" fmla="*/ 368300 h 4772025"/>
              <a:gd name="connsiteX86" fmla="*/ 3086100 w 3371850"/>
              <a:gd name="connsiteY86" fmla="*/ 428625 h 4772025"/>
              <a:gd name="connsiteX87" fmla="*/ 3038475 w 3371850"/>
              <a:gd name="connsiteY87" fmla="*/ 447675 h 4772025"/>
              <a:gd name="connsiteX88" fmla="*/ 2962275 w 3371850"/>
              <a:gd name="connsiteY88" fmla="*/ 400050 h 4772025"/>
              <a:gd name="connsiteX89" fmla="*/ 2867025 w 3371850"/>
              <a:gd name="connsiteY89" fmla="*/ 457200 h 4772025"/>
              <a:gd name="connsiteX90" fmla="*/ 2847975 w 3371850"/>
              <a:gd name="connsiteY90" fmla="*/ 485775 h 4772025"/>
              <a:gd name="connsiteX91" fmla="*/ 2838450 w 3371850"/>
              <a:gd name="connsiteY91" fmla="*/ 523875 h 4772025"/>
              <a:gd name="connsiteX92" fmla="*/ 2762250 w 3371850"/>
              <a:gd name="connsiteY92" fmla="*/ 485775 h 4772025"/>
              <a:gd name="connsiteX93" fmla="*/ 2647950 w 3371850"/>
              <a:gd name="connsiteY93" fmla="*/ 466725 h 4772025"/>
              <a:gd name="connsiteX94" fmla="*/ 2552700 w 3371850"/>
              <a:gd name="connsiteY94" fmla="*/ 419100 h 4772025"/>
              <a:gd name="connsiteX95" fmla="*/ 2419350 w 3371850"/>
              <a:gd name="connsiteY95" fmla="*/ 342900 h 4772025"/>
              <a:gd name="connsiteX96" fmla="*/ 2333625 w 3371850"/>
              <a:gd name="connsiteY96" fmla="*/ 257175 h 4772025"/>
              <a:gd name="connsiteX97" fmla="*/ 2209800 w 3371850"/>
              <a:gd name="connsiteY97" fmla="*/ 247650 h 4772025"/>
              <a:gd name="connsiteX98" fmla="*/ 2171700 w 3371850"/>
              <a:gd name="connsiteY98" fmla="*/ 114300 h 4772025"/>
              <a:gd name="connsiteX99" fmla="*/ 2152650 w 3371850"/>
              <a:gd name="connsiteY99" fmla="*/ 9525 h 4772025"/>
              <a:gd name="connsiteX100" fmla="*/ 1190625 w 3371850"/>
              <a:gd name="connsiteY100" fmla="*/ 0 h 4772025"/>
              <a:gd name="connsiteX101" fmla="*/ 1181100 w 3371850"/>
              <a:gd name="connsiteY101" fmla="*/ 114300 h 4772025"/>
              <a:gd name="connsiteX102" fmla="*/ 1143000 w 3371850"/>
              <a:gd name="connsiteY102" fmla="*/ 219075 h 4772025"/>
              <a:gd name="connsiteX103" fmla="*/ 933450 w 3371850"/>
              <a:gd name="connsiteY103" fmla="*/ 381000 h 4772025"/>
              <a:gd name="connsiteX104" fmla="*/ 923925 w 3371850"/>
              <a:gd name="connsiteY104" fmla="*/ 438150 h 4772025"/>
              <a:gd name="connsiteX105" fmla="*/ 800100 w 3371850"/>
              <a:gd name="connsiteY105" fmla="*/ 457200 h 4772025"/>
              <a:gd name="connsiteX106" fmla="*/ 619125 w 3371850"/>
              <a:gd name="connsiteY106" fmla="*/ 514350 h 4772025"/>
              <a:gd name="connsiteX107" fmla="*/ 571500 w 3371850"/>
              <a:gd name="connsiteY107" fmla="*/ 619125 h 4772025"/>
              <a:gd name="connsiteX108" fmla="*/ 476250 w 3371850"/>
              <a:gd name="connsiteY108" fmla="*/ 742950 h 4772025"/>
              <a:gd name="connsiteX109" fmla="*/ 466725 w 3371850"/>
              <a:gd name="connsiteY109" fmla="*/ 819150 h 4772025"/>
              <a:gd name="connsiteX110" fmla="*/ 476250 w 3371850"/>
              <a:gd name="connsiteY110" fmla="*/ 942975 h 4772025"/>
              <a:gd name="connsiteX111" fmla="*/ 428625 w 3371850"/>
              <a:gd name="connsiteY111" fmla="*/ 990600 h 4772025"/>
              <a:gd name="connsiteX112" fmla="*/ 247650 w 3371850"/>
              <a:gd name="connsiteY112" fmla="*/ 962025 h 4772025"/>
              <a:gd name="connsiteX113" fmla="*/ 180975 w 3371850"/>
              <a:gd name="connsiteY113" fmla="*/ 971550 h 4772025"/>
              <a:gd name="connsiteX114" fmla="*/ 76200 w 3371850"/>
              <a:gd name="connsiteY114" fmla="*/ 1047750 h 4772025"/>
              <a:gd name="connsiteX115" fmla="*/ 57150 w 3371850"/>
              <a:gd name="connsiteY115" fmla="*/ 1143000 h 4772025"/>
              <a:gd name="connsiteX116" fmla="*/ 57150 w 3371850"/>
              <a:gd name="connsiteY116" fmla="*/ 1276350 h 4772025"/>
              <a:gd name="connsiteX117" fmla="*/ 28575 w 3371850"/>
              <a:gd name="connsiteY117" fmla="*/ 1390650 h 4772025"/>
              <a:gd name="connsiteX118" fmla="*/ 0 w 3371850"/>
              <a:gd name="connsiteY118" fmla="*/ 1504950 h 4772025"/>
              <a:gd name="connsiteX119" fmla="*/ 104775 w 3371850"/>
              <a:gd name="connsiteY119" fmla="*/ 1638300 h 4772025"/>
              <a:gd name="connsiteX120" fmla="*/ 161925 w 3371850"/>
              <a:gd name="connsiteY120" fmla="*/ 1819275 h 4772025"/>
              <a:gd name="connsiteX121" fmla="*/ 219075 w 3371850"/>
              <a:gd name="connsiteY121" fmla="*/ 2028825 h 4772025"/>
              <a:gd name="connsiteX122" fmla="*/ 276225 w 3371850"/>
              <a:gd name="connsiteY122" fmla="*/ 2295525 h 4772025"/>
              <a:gd name="connsiteX123" fmla="*/ 361950 w 3371850"/>
              <a:gd name="connsiteY123" fmla="*/ 2400300 h 4772025"/>
              <a:gd name="connsiteX124" fmla="*/ 333375 w 3371850"/>
              <a:gd name="connsiteY124" fmla="*/ 2609850 h 4772025"/>
              <a:gd name="connsiteX125" fmla="*/ 333375 w 3371850"/>
              <a:gd name="connsiteY125" fmla="*/ 2762250 h 4772025"/>
              <a:gd name="connsiteX126" fmla="*/ 381000 w 3371850"/>
              <a:gd name="connsiteY126" fmla="*/ 2857500 h 4772025"/>
              <a:gd name="connsiteX127" fmla="*/ 457200 w 3371850"/>
              <a:gd name="connsiteY127" fmla="*/ 3248025 h 4772025"/>
              <a:gd name="connsiteX128" fmla="*/ 447675 w 3371850"/>
              <a:gd name="connsiteY128" fmla="*/ 3362325 h 4772025"/>
              <a:gd name="connsiteX129" fmla="*/ 419100 w 3371850"/>
              <a:gd name="connsiteY129" fmla="*/ 3448050 h 4772025"/>
              <a:gd name="connsiteX130" fmla="*/ 400050 w 3371850"/>
              <a:gd name="connsiteY130" fmla="*/ 3629025 h 4772025"/>
              <a:gd name="connsiteX131" fmla="*/ 466725 w 3371850"/>
              <a:gd name="connsiteY131" fmla="*/ 3810000 h 4772025"/>
              <a:gd name="connsiteX132" fmla="*/ 533400 w 3371850"/>
              <a:gd name="connsiteY132" fmla="*/ 3914775 h 4772025"/>
              <a:gd name="connsiteX133" fmla="*/ 533400 w 3371850"/>
              <a:gd name="connsiteY133" fmla="*/ 4019550 h 4772025"/>
              <a:gd name="connsiteX134" fmla="*/ 485775 w 3371850"/>
              <a:gd name="connsiteY134" fmla="*/ 4076700 h 4772025"/>
              <a:gd name="connsiteX135" fmla="*/ 571500 w 3371850"/>
              <a:gd name="connsiteY135" fmla="*/ 4143375 h 4772025"/>
              <a:gd name="connsiteX136" fmla="*/ 704850 w 3371850"/>
              <a:gd name="connsiteY136" fmla="*/ 4257675 h 4772025"/>
              <a:gd name="connsiteX137" fmla="*/ 733425 w 3371850"/>
              <a:gd name="connsiteY137" fmla="*/ 4343400 h 4772025"/>
              <a:gd name="connsiteX138" fmla="*/ 885825 w 3371850"/>
              <a:gd name="connsiteY138" fmla="*/ 4286250 h 4772025"/>
              <a:gd name="connsiteX139" fmla="*/ 962025 w 3371850"/>
              <a:gd name="connsiteY139" fmla="*/ 4276725 h 4772025"/>
              <a:gd name="connsiteX140" fmla="*/ 1123950 w 3371850"/>
              <a:gd name="connsiteY140" fmla="*/ 4438650 h 4772025"/>
              <a:gd name="connsiteX141" fmla="*/ 1209675 w 3371850"/>
              <a:gd name="connsiteY141" fmla="*/ 4505325 h 4772025"/>
              <a:gd name="connsiteX142" fmla="*/ 1428750 w 3371850"/>
              <a:gd name="connsiteY142" fmla="*/ 4581525 h 4772025"/>
              <a:gd name="connsiteX143" fmla="*/ 1704975 w 3371850"/>
              <a:gd name="connsiteY143" fmla="*/ 4705350 h 4772025"/>
              <a:gd name="connsiteX144" fmla="*/ 1885950 w 3371850"/>
              <a:gd name="connsiteY144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52675 w 3371850"/>
              <a:gd name="connsiteY71" fmla="*/ 676275 h 4772025"/>
              <a:gd name="connsiteX72" fmla="*/ 2667000 w 3371850"/>
              <a:gd name="connsiteY72" fmla="*/ 714375 h 4772025"/>
              <a:gd name="connsiteX73" fmla="*/ 2835275 w 3371850"/>
              <a:gd name="connsiteY73" fmla="*/ 736600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11525 w 3371850"/>
              <a:gd name="connsiteY77" fmla="*/ 768350 h 4772025"/>
              <a:gd name="connsiteX78" fmla="*/ 3340100 w 3371850"/>
              <a:gd name="connsiteY78" fmla="*/ 746125 h 4772025"/>
              <a:gd name="connsiteX79" fmla="*/ 3371850 w 3371850"/>
              <a:gd name="connsiteY79" fmla="*/ 685800 h 4772025"/>
              <a:gd name="connsiteX80" fmla="*/ 3336925 w 3371850"/>
              <a:gd name="connsiteY80" fmla="*/ 517525 h 4772025"/>
              <a:gd name="connsiteX81" fmla="*/ 3197225 w 3371850"/>
              <a:gd name="connsiteY81" fmla="*/ 390525 h 4772025"/>
              <a:gd name="connsiteX82" fmla="*/ 3181350 w 3371850"/>
              <a:gd name="connsiteY82" fmla="*/ 333375 h 4772025"/>
              <a:gd name="connsiteX83" fmla="*/ 3133725 w 3371850"/>
              <a:gd name="connsiteY83" fmla="*/ 295275 h 4772025"/>
              <a:gd name="connsiteX84" fmla="*/ 3105150 w 3371850"/>
              <a:gd name="connsiteY84" fmla="*/ 317500 h 4772025"/>
              <a:gd name="connsiteX85" fmla="*/ 3086100 w 3371850"/>
              <a:gd name="connsiteY85" fmla="*/ 368300 h 4772025"/>
              <a:gd name="connsiteX86" fmla="*/ 3086100 w 3371850"/>
              <a:gd name="connsiteY86" fmla="*/ 428625 h 4772025"/>
              <a:gd name="connsiteX87" fmla="*/ 3038475 w 3371850"/>
              <a:gd name="connsiteY87" fmla="*/ 447675 h 4772025"/>
              <a:gd name="connsiteX88" fmla="*/ 2962275 w 3371850"/>
              <a:gd name="connsiteY88" fmla="*/ 400050 h 4772025"/>
              <a:gd name="connsiteX89" fmla="*/ 2867025 w 3371850"/>
              <a:gd name="connsiteY89" fmla="*/ 457200 h 4772025"/>
              <a:gd name="connsiteX90" fmla="*/ 2847975 w 3371850"/>
              <a:gd name="connsiteY90" fmla="*/ 485775 h 4772025"/>
              <a:gd name="connsiteX91" fmla="*/ 2838450 w 3371850"/>
              <a:gd name="connsiteY91" fmla="*/ 523875 h 4772025"/>
              <a:gd name="connsiteX92" fmla="*/ 2762250 w 3371850"/>
              <a:gd name="connsiteY92" fmla="*/ 485775 h 4772025"/>
              <a:gd name="connsiteX93" fmla="*/ 2647950 w 3371850"/>
              <a:gd name="connsiteY93" fmla="*/ 466725 h 4772025"/>
              <a:gd name="connsiteX94" fmla="*/ 2552700 w 3371850"/>
              <a:gd name="connsiteY94" fmla="*/ 419100 h 4772025"/>
              <a:gd name="connsiteX95" fmla="*/ 2419350 w 3371850"/>
              <a:gd name="connsiteY95" fmla="*/ 342900 h 4772025"/>
              <a:gd name="connsiteX96" fmla="*/ 2333625 w 3371850"/>
              <a:gd name="connsiteY96" fmla="*/ 257175 h 4772025"/>
              <a:gd name="connsiteX97" fmla="*/ 2209800 w 3371850"/>
              <a:gd name="connsiteY97" fmla="*/ 247650 h 4772025"/>
              <a:gd name="connsiteX98" fmla="*/ 2171700 w 3371850"/>
              <a:gd name="connsiteY98" fmla="*/ 114300 h 4772025"/>
              <a:gd name="connsiteX99" fmla="*/ 2152650 w 3371850"/>
              <a:gd name="connsiteY99" fmla="*/ 9525 h 4772025"/>
              <a:gd name="connsiteX100" fmla="*/ 1190625 w 3371850"/>
              <a:gd name="connsiteY100" fmla="*/ 0 h 4772025"/>
              <a:gd name="connsiteX101" fmla="*/ 1181100 w 3371850"/>
              <a:gd name="connsiteY101" fmla="*/ 114300 h 4772025"/>
              <a:gd name="connsiteX102" fmla="*/ 1143000 w 3371850"/>
              <a:gd name="connsiteY102" fmla="*/ 219075 h 4772025"/>
              <a:gd name="connsiteX103" fmla="*/ 933450 w 3371850"/>
              <a:gd name="connsiteY103" fmla="*/ 381000 h 4772025"/>
              <a:gd name="connsiteX104" fmla="*/ 923925 w 3371850"/>
              <a:gd name="connsiteY104" fmla="*/ 438150 h 4772025"/>
              <a:gd name="connsiteX105" fmla="*/ 800100 w 3371850"/>
              <a:gd name="connsiteY105" fmla="*/ 457200 h 4772025"/>
              <a:gd name="connsiteX106" fmla="*/ 619125 w 3371850"/>
              <a:gd name="connsiteY106" fmla="*/ 514350 h 4772025"/>
              <a:gd name="connsiteX107" fmla="*/ 571500 w 3371850"/>
              <a:gd name="connsiteY107" fmla="*/ 619125 h 4772025"/>
              <a:gd name="connsiteX108" fmla="*/ 476250 w 3371850"/>
              <a:gd name="connsiteY108" fmla="*/ 742950 h 4772025"/>
              <a:gd name="connsiteX109" fmla="*/ 466725 w 3371850"/>
              <a:gd name="connsiteY109" fmla="*/ 819150 h 4772025"/>
              <a:gd name="connsiteX110" fmla="*/ 476250 w 3371850"/>
              <a:gd name="connsiteY110" fmla="*/ 942975 h 4772025"/>
              <a:gd name="connsiteX111" fmla="*/ 428625 w 3371850"/>
              <a:gd name="connsiteY111" fmla="*/ 990600 h 4772025"/>
              <a:gd name="connsiteX112" fmla="*/ 247650 w 3371850"/>
              <a:gd name="connsiteY112" fmla="*/ 962025 h 4772025"/>
              <a:gd name="connsiteX113" fmla="*/ 180975 w 3371850"/>
              <a:gd name="connsiteY113" fmla="*/ 971550 h 4772025"/>
              <a:gd name="connsiteX114" fmla="*/ 76200 w 3371850"/>
              <a:gd name="connsiteY114" fmla="*/ 1047750 h 4772025"/>
              <a:gd name="connsiteX115" fmla="*/ 57150 w 3371850"/>
              <a:gd name="connsiteY115" fmla="*/ 1143000 h 4772025"/>
              <a:gd name="connsiteX116" fmla="*/ 57150 w 3371850"/>
              <a:gd name="connsiteY116" fmla="*/ 1276350 h 4772025"/>
              <a:gd name="connsiteX117" fmla="*/ 28575 w 3371850"/>
              <a:gd name="connsiteY117" fmla="*/ 1390650 h 4772025"/>
              <a:gd name="connsiteX118" fmla="*/ 0 w 3371850"/>
              <a:gd name="connsiteY118" fmla="*/ 1504950 h 4772025"/>
              <a:gd name="connsiteX119" fmla="*/ 104775 w 3371850"/>
              <a:gd name="connsiteY119" fmla="*/ 1638300 h 4772025"/>
              <a:gd name="connsiteX120" fmla="*/ 161925 w 3371850"/>
              <a:gd name="connsiteY120" fmla="*/ 1819275 h 4772025"/>
              <a:gd name="connsiteX121" fmla="*/ 219075 w 3371850"/>
              <a:gd name="connsiteY121" fmla="*/ 2028825 h 4772025"/>
              <a:gd name="connsiteX122" fmla="*/ 276225 w 3371850"/>
              <a:gd name="connsiteY122" fmla="*/ 2295525 h 4772025"/>
              <a:gd name="connsiteX123" fmla="*/ 361950 w 3371850"/>
              <a:gd name="connsiteY123" fmla="*/ 2400300 h 4772025"/>
              <a:gd name="connsiteX124" fmla="*/ 333375 w 3371850"/>
              <a:gd name="connsiteY124" fmla="*/ 2609850 h 4772025"/>
              <a:gd name="connsiteX125" fmla="*/ 333375 w 3371850"/>
              <a:gd name="connsiteY125" fmla="*/ 2762250 h 4772025"/>
              <a:gd name="connsiteX126" fmla="*/ 381000 w 3371850"/>
              <a:gd name="connsiteY126" fmla="*/ 2857500 h 4772025"/>
              <a:gd name="connsiteX127" fmla="*/ 457200 w 3371850"/>
              <a:gd name="connsiteY127" fmla="*/ 3248025 h 4772025"/>
              <a:gd name="connsiteX128" fmla="*/ 447675 w 3371850"/>
              <a:gd name="connsiteY128" fmla="*/ 3362325 h 4772025"/>
              <a:gd name="connsiteX129" fmla="*/ 419100 w 3371850"/>
              <a:gd name="connsiteY129" fmla="*/ 3448050 h 4772025"/>
              <a:gd name="connsiteX130" fmla="*/ 400050 w 3371850"/>
              <a:gd name="connsiteY130" fmla="*/ 3629025 h 4772025"/>
              <a:gd name="connsiteX131" fmla="*/ 466725 w 3371850"/>
              <a:gd name="connsiteY131" fmla="*/ 3810000 h 4772025"/>
              <a:gd name="connsiteX132" fmla="*/ 533400 w 3371850"/>
              <a:gd name="connsiteY132" fmla="*/ 3914775 h 4772025"/>
              <a:gd name="connsiteX133" fmla="*/ 533400 w 3371850"/>
              <a:gd name="connsiteY133" fmla="*/ 4019550 h 4772025"/>
              <a:gd name="connsiteX134" fmla="*/ 485775 w 3371850"/>
              <a:gd name="connsiteY134" fmla="*/ 4076700 h 4772025"/>
              <a:gd name="connsiteX135" fmla="*/ 571500 w 3371850"/>
              <a:gd name="connsiteY135" fmla="*/ 4143375 h 4772025"/>
              <a:gd name="connsiteX136" fmla="*/ 704850 w 3371850"/>
              <a:gd name="connsiteY136" fmla="*/ 4257675 h 4772025"/>
              <a:gd name="connsiteX137" fmla="*/ 733425 w 3371850"/>
              <a:gd name="connsiteY137" fmla="*/ 4343400 h 4772025"/>
              <a:gd name="connsiteX138" fmla="*/ 885825 w 3371850"/>
              <a:gd name="connsiteY138" fmla="*/ 4286250 h 4772025"/>
              <a:gd name="connsiteX139" fmla="*/ 962025 w 3371850"/>
              <a:gd name="connsiteY139" fmla="*/ 4276725 h 4772025"/>
              <a:gd name="connsiteX140" fmla="*/ 1123950 w 3371850"/>
              <a:gd name="connsiteY140" fmla="*/ 4438650 h 4772025"/>
              <a:gd name="connsiteX141" fmla="*/ 1209675 w 3371850"/>
              <a:gd name="connsiteY141" fmla="*/ 4505325 h 4772025"/>
              <a:gd name="connsiteX142" fmla="*/ 1428750 w 3371850"/>
              <a:gd name="connsiteY142" fmla="*/ 4581525 h 4772025"/>
              <a:gd name="connsiteX143" fmla="*/ 1704975 w 3371850"/>
              <a:gd name="connsiteY143" fmla="*/ 4705350 h 4772025"/>
              <a:gd name="connsiteX144" fmla="*/ 1885950 w 3371850"/>
              <a:gd name="connsiteY144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52675 w 3371850"/>
              <a:gd name="connsiteY71" fmla="*/ 676275 h 4772025"/>
              <a:gd name="connsiteX72" fmla="*/ 2667000 w 3371850"/>
              <a:gd name="connsiteY72" fmla="*/ 714375 h 4772025"/>
              <a:gd name="connsiteX73" fmla="*/ 2835275 w 3371850"/>
              <a:gd name="connsiteY73" fmla="*/ 736600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11525 w 3371850"/>
              <a:gd name="connsiteY77" fmla="*/ 768350 h 4772025"/>
              <a:gd name="connsiteX78" fmla="*/ 3340100 w 3371850"/>
              <a:gd name="connsiteY78" fmla="*/ 746125 h 4772025"/>
              <a:gd name="connsiteX79" fmla="*/ 3371850 w 3371850"/>
              <a:gd name="connsiteY79" fmla="*/ 685800 h 4772025"/>
              <a:gd name="connsiteX80" fmla="*/ 3336925 w 3371850"/>
              <a:gd name="connsiteY80" fmla="*/ 517525 h 4772025"/>
              <a:gd name="connsiteX81" fmla="*/ 3292475 w 3371850"/>
              <a:gd name="connsiteY81" fmla="*/ 469900 h 4772025"/>
              <a:gd name="connsiteX82" fmla="*/ 3197225 w 3371850"/>
              <a:gd name="connsiteY82" fmla="*/ 390525 h 4772025"/>
              <a:gd name="connsiteX83" fmla="*/ 3181350 w 3371850"/>
              <a:gd name="connsiteY83" fmla="*/ 333375 h 4772025"/>
              <a:gd name="connsiteX84" fmla="*/ 3133725 w 3371850"/>
              <a:gd name="connsiteY84" fmla="*/ 295275 h 4772025"/>
              <a:gd name="connsiteX85" fmla="*/ 3105150 w 3371850"/>
              <a:gd name="connsiteY85" fmla="*/ 317500 h 4772025"/>
              <a:gd name="connsiteX86" fmla="*/ 3086100 w 3371850"/>
              <a:gd name="connsiteY86" fmla="*/ 368300 h 4772025"/>
              <a:gd name="connsiteX87" fmla="*/ 3086100 w 3371850"/>
              <a:gd name="connsiteY87" fmla="*/ 428625 h 4772025"/>
              <a:gd name="connsiteX88" fmla="*/ 3038475 w 3371850"/>
              <a:gd name="connsiteY88" fmla="*/ 447675 h 4772025"/>
              <a:gd name="connsiteX89" fmla="*/ 2962275 w 3371850"/>
              <a:gd name="connsiteY89" fmla="*/ 400050 h 4772025"/>
              <a:gd name="connsiteX90" fmla="*/ 2867025 w 3371850"/>
              <a:gd name="connsiteY90" fmla="*/ 457200 h 4772025"/>
              <a:gd name="connsiteX91" fmla="*/ 2847975 w 3371850"/>
              <a:gd name="connsiteY91" fmla="*/ 485775 h 4772025"/>
              <a:gd name="connsiteX92" fmla="*/ 2838450 w 3371850"/>
              <a:gd name="connsiteY92" fmla="*/ 523875 h 4772025"/>
              <a:gd name="connsiteX93" fmla="*/ 2762250 w 3371850"/>
              <a:gd name="connsiteY93" fmla="*/ 485775 h 4772025"/>
              <a:gd name="connsiteX94" fmla="*/ 2647950 w 3371850"/>
              <a:gd name="connsiteY94" fmla="*/ 466725 h 4772025"/>
              <a:gd name="connsiteX95" fmla="*/ 2552700 w 3371850"/>
              <a:gd name="connsiteY95" fmla="*/ 419100 h 4772025"/>
              <a:gd name="connsiteX96" fmla="*/ 2419350 w 3371850"/>
              <a:gd name="connsiteY96" fmla="*/ 342900 h 4772025"/>
              <a:gd name="connsiteX97" fmla="*/ 2333625 w 3371850"/>
              <a:gd name="connsiteY97" fmla="*/ 257175 h 4772025"/>
              <a:gd name="connsiteX98" fmla="*/ 2209800 w 3371850"/>
              <a:gd name="connsiteY98" fmla="*/ 247650 h 4772025"/>
              <a:gd name="connsiteX99" fmla="*/ 2171700 w 3371850"/>
              <a:gd name="connsiteY99" fmla="*/ 114300 h 4772025"/>
              <a:gd name="connsiteX100" fmla="*/ 2152650 w 3371850"/>
              <a:gd name="connsiteY100" fmla="*/ 9525 h 4772025"/>
              <a:gd name="connsiteX101" fmla="*/ 1190625 w 3371850"/>
              <a:gd name="connsiteY101" fmla="*/ 0 h 4772025"/>
              <a:gd name="connsiteX102" fmla="*/ 1181100 w 3371850"/>
              <a:gd name="connsiteY102" fmla="*/ 114300 h 4772025"/>
              <a:gd name="connsiteX103" fmla="*/ 1143000 w 3371850"/>
              <a:gd name="connsiteY103" fmla="*/ 219075 h 4772025"/>
              <a:gd name="connsiteX104" fmla="*/ 933450 w 3371850"/>
              <a:gd name="connsiteY104" fmla="*/ 381000 h 4772025"/>
              <a:gd name="connsiteX105" fmla="*/ 923925 w 3371850"/>
              <a:gd name="connsiteY105" fmla="*/ 438150 h 4772025"/>
              <a:gd name="connsiteX106" fmla="*/ 800100 w 3371850"/>
              <a:gd name="connsiteY106" fmla="*/ 457200 h 4772025"/>
              <a:gd name="connsiteX107" fmla="*/ 619125 w 3371850"/>
              <a:gd name="connsiteY107" fmla="*/ 514350 h 4772025"/>
              <a:gd name="connsiteX108" fmla="*/ 571500 w 3371850"/>
              <a:gd name="connsiteY108" fmla="*/ 619125 h 4772025"/>
              <a:gd name="connsiteX109" fmla="*/ 476250 w 3371850"/>
              <a:gd name="connsiteY109" fmla="*/ 742950 h 4772025"/>
              <a:gd name="connsiteX110" fmla="*/ 466725 w 3371850"/>
              <a:gd name="connsiteY110" fmla="*/ 819150 h 4772025"/>
              <a:gd name="connsiteX111" fmla="*/ 476250 w 3371850"/>
              <a:gd name="connsiteY111" fmla="*/ 942975 h 4772025"/>
              <a:gd name="connsiteX112" fmla="*/ 428625 w 3371850"/>
              <a:gd name="connsiteY112" fmla="*/ 990600 h 4772025"/>
              <a:gd name="connsiteX113" fmla="*/ 247650 w 3371850"/>
              <a:gd name="connsiteY113" fmla="*/ 962025 h 4772025"/>
              <a:gd name="connsiteX114" fmla="*/ 180975 w 3371850"/>
              <a:gd name="connsiteY114" fmla="*/ 971550 h 4772025"/>
              <a:gd name="connsiteX115" fmla="*/ 76200 w 3371850"/>
              <a:gd name="connsiteY115" fmla="*/ 1047750 h 4772025"/>
              <a:gd name="connsiteX116" fmla="*/ 57150 w 3371850"/>
              <a:gd name="connsiteY116" fmla="*/ 1143000 h 4772025"/>
              <a:gd name="connsiteX117" fmla="*/ 57150 w 3371850"/>
              <a:gd name="connsiteY117" fmla="*/ 1276350 h 4772025"/>
              <a:gd name="connsiteX118" fmla="*/ 28575 w 3371850"/>
              <a:gd name="connsiteY118" fmla="*/ 1390650 h 4772025"/>
              <a:gd name="connsiteX119" fmla="*/ 0 w 3371850"/>
              <a:gd name="connsiteY119" fmla="*/ 1504950 h 4772025"/>
              <a:gd name="connsiteX120" fmla="*/ 104775 w 3371850"/>
              <a:gd name="connsiteY120" fmla="*/ 1638300 h 4772025"/>
              <a:gd name="connsiteX121" fmla="*/ 161925 w 3371850"/>
              <a:gd name="connsiteY121" fmla="*/ 1819275 h 4772025"/>
              <a:gd name="connsiteX122" fmla="*/ 219075 w 3371850"/>
              <a:gd name="connsiteY122" fmla="*/ 2028825 h 4772025"/>
              <a:gd name="connsiteX123" fmla="*/ 276225 w 3371850"/>
              <a:gd name="connsiteY123" fmla="*/ 2295525 h 4772025"/>
              <a:gd name="connsiteX124" fmla="*/ 361950 w 3371850"/>
              <a:gd name="connsiteY124" fmla="*/ 2400300 h 4772025"/>
              <a:gd name="connsiteX125" fmla="*/ 333375 w 3371850"/>
              <a:gd name="connsiteY125" fmla="*/ 2609850 h 4772025"/>
              <a:gd name="connsiteX126" fmla="*/ 333375 w 3371850"/>
              <a:gd name="connsiteY126" fmla="*/ 2762250 h 4772025"/>
              <a:gd name="connsiteX127" fmla="*/ 381000 w 3371850"/>
              <a:gd name="connsiteY127" fmla="*/ 2857500 h 4772025"/>
              <a:gd name="connsiteX128" fmla="*/ 457200 w 3371850"/>
              <a:gd name="connsiteY128" fmla="*/ 3248025 h 4772025"/>
              <a:gd name="connsiteX129" fmla="*/ 447675 w 3371850"/>
              <a:gd name="connsiteY129" fmla="*/ 3362325 h 4772025"/>
              <a:gd name="connsiteX130" fmla="*/ 419100 w 3371850"/>
              <a:gd name="connsiteY130" fmla="*/ 3448050 h 4772025"/>
              <a:gd name="connsiteX131" fmla="*/ 400050 w 3371850"/>
              <a:gd name="connsiteY131" fmla="*/ 3629025 h 4772025"/>
              <a:gd name="connsiteX132" fmla="*/ 466725 w 3371850"/>
              <a:gd name="connsiteY132" fmla="*/ 3810000 h 4772025"/>
              <a:gd name="connsiteX133" fmla="*/ 533400 w 3371850"/>
              <a:gd name="connsiteY133" fmla="*/ 3914775 h 4772025"/>
              <a:gd name="connsiteX134" fmla="*/ 533400 w 3371850"/>
              <a:gd name="connsiteY134" fmla="*/ 4019550 h 4772025"/>
              <a:gd name="connsiteX135" fmla="*/ 485775 w 3371850"/>
              <a:gd name="connsiteY135" fmla="*/ 4076700 h 4772025"/>
              <a:gd name="connsiteX136" fmla="*/ 571500 w 3371850"/>
              <a:gd name="connsiteY136" fmla="*/ 4143375 h 4772025"/>
              <a:gd name="connsiteX137" fmla="*/ 704850 w 3371850"/>
              <a:gd name="connsiteY137" fmla="*/ 4257675 h 4772025"/>
              <a:gd name="connsiteX138" fmla="*/ 733425 w 3371850"/>
              <a:gd name="connsiteY138" fmla="*/ 4343400 h 4772025"/>
              <a:gd name="connsiteX139" fmla="*/ 885825 w 3371850"/>
              <a:gd name="connsiteY139" fmla="*/ 4286250 h 4772025"/>
              <a:gd name="connsiteX140" fmla="*/ 962025 w 3371850"/>
              <a:gd name="connsiteY140" fmla="*/ 4276725 h 4772025"/>
              <a:gd name="connsiteX141" fmla="*/ 1123950 w 3371850"/>
              <a:gd name="connsiteY141" fmla="*/ 4438650 h 4772025"/>
              <a:gd name="connsiteX142" fmla="*/ 1209675 w 3371850"/>
              <a:gd name="connsiteY142" fmla="*/ 4505325 h 4772025"/>
              <a:gd name="connsiteX143" fmla="*/ 1428750 w 3371850"/>
              <a:gd name="connsiteY143" fmla="*/ 4581525 h 4772025"/>
              <a:gd name="connsiteX144" fmla="*/ 1704975 w 3371850"/>
              <a:gd name="connsiteY144" fmla="*/ 4705350 h 4772025"/>
              <a:gd name="connsiteX145" fmla="*/ 1885950 w 3371850"/>
              <a:gd name="connsiteY145" fmla="*/ 4772025 h 4772025"/>
              <a:gd name="connsiteX0" fmla="*/ 1885950 w 3371850"/>
              <a:gd name="connsiteY0" fmla="*/ 4772025 h 4772025"/>
              <a:gd name="connsiteX1" fmla="*/ 1857375 w 3371850"/>
              <a:gd name="connsiteY1" fmla="*/ 4667250 h 4772025"/>
              <a:gd name="connsiteX2" fmla="*/ 1857375 w 3371850"/>
              <a:gd name="connsiteY2" fmla="*/ 4591050 h 4772025"/>
              <a:gd name="connsiteX3" fmla="*/ 1838325 w 3371850"/>
              <a:gd name="connsiteY3" fmla="*/ 4562475 h 4772025"/>
              <a:gd name="connsiteX4" fmla="*/ 1800225 w 3371850"/>
              <a:gd name="connsiteY4" fmla="*/ 4562475 h 4772025"/>
              <a:gd name="connsiteX5" fmla="*/ 1733550 w 3371850"/>
              <a:gd name="connsiteY5" fmla="*/ 4552950 h 4772025"/>
              <a:gd name="connsiteX6" fmla="*/ 1657350 w 3371850"/>
              <a:gd name="connsiteY6" fmla="*/ 4524375 h 4772025"/>
              <a:gd name="connsiteX7" fmla="*/ 1666875 w 3371850"/>
              <a:gd name="connsiteY7" fmla="*/ 4505325 h 4772025"/>
              <a:gd name="connsiteX8" fmla="*/ 1695450 w 3371850"/>
              <a:gd name="connsiteY8" fmla="*/ 4429125 h 4772025"/>
              <a:gd name="connsiteX9" fmla="*/ 1704975 w 3371850"/>
              <a:gd name="connsiteY9" fmla="*/ 4333875 h 4772025"/>
              <a:gd name="connsiteX10" fmla="*/ 1666875 w 3371850"/>
              <a:gd name="connsiteY10" fmla="*/ 4295775 h 4772025"/>
              <a:gd name="connsiteX11" fmla="*/ 1600200 w 3371850"/>
              <a:gd name="connsiteY11" fmla="*/ 4267200 h 4772025"/>
              <a:gd name="connsiteX12" fmla="*/ 1485900 w 3371850"/>
              <a:gd name="connsiteY12" fmla="*/ 4267200 h 4772025"/>
              <a:gd name="connsiteX13" fmla="*/ 1447800 w 3371850"/>
              <a:gd name="connsiteY13" fmla="*/ 4210050 h 4772025"/>
              <a:gd name="connsiteX14" fmla="*/ 1381125 w 3371850"/>
              <a:gd name="connsiteY14" fmla="*/ 4086225 h 4772025"/>
              <a:gd name="connsiteX15" fmla="*/ 1295400 w 3371850"/>
              <a:gd name="connsiteY15" fmla="*/ 4010025 h 4772025"/>
              <a:gd name="connsiteX16" fmla="*/ 1200150 w 3371850"/>
              <a:gd name="connsiteY16" fmla="*/ 3981450 h 4772025"/>
              <a:gd name="connsiteX17" fmla="*/ 1143000 w 3371850"/>
              <a:gd name="connsiteY17" fmla="*/ 3952875 h 4772025"/>
              <a:gd name="connsiteX18" fmla="*/ 1114425 w 3371850"/>
              <a:gd name="connsiteY18" fmla="*/ 3914775 h 4772025"/>
              <a:gd name="connsiteX19" fmla="*/ 1095375 w 3371850"/>
              <a:gd name="connsiteY19" fmla="*/ 3819525 h 4772025"/>
              <a:gd name="connsiteX20" fmla="*/ 1123950 w 3371850"/>
              <a:gd name="connsiteY20" fmla="*/ 3762375 h 4772025"/>
              <a:gd name="connsiteX21" fmla="*/ 1266825 w 3371850"/>
              <a:gd name="connsiteY21" fmla="*/ 3752850 h 4772025"/>
              <a:gd name="connsiteX22" fmla="*/ 1390650 w 3371850"/>
              <a:gd name="connsiteY22" fmla="*/ 3533775 h 4772025"/>
              <a:gd name="connsiteX23" fmla="*/ 1381125 w 3371850"/>
              <a:gd name="connsiteY23" fmla="*/ 3390900 h 4772025"/>
              <a:gd name="connsiteX24" fmla="*/ 1333500 w 3371850"/>
              <a:gd name="connsiteY24" fmla="*/ 3267075 h 4772025"/>
              <a:gd name="connsiteX25" fmla="*/ 1266825 w 3371850"/>
              <a:gd name="connsiteY25" fmla="*/ 3181350 h 4772025"/>
              <a:gd name="connsiteX26" fmla="*/ 1181100 w 3371850"/>
              <a:gd name="connsiteY26" fmla="*/ 3143250 h 4772025"/>
              <a:gd name="connsiteX27" fmla="*/ 1085850 w 3371850"/>
              <a:gd name="connsiteY27" fmla="*/ 3048000 h 4772025"/>
              <a:gd name="connsiteX28" fmla="*/ 1047750 w 3371850"/>
              <a:gd name="connsiteY28" fmla="*/ 2924175 h 4772025"/>
              <a:gd name="connsiteX29" fmla="*/ 1000125 w 3371850"/>
              <a:gd name="connsiteY29" fmla="*/ 2838450 h 4772025"/>
              <a:gd name="connsiteX30" fmla="*/ 1000125 w 3371850"/>
              <a:gd name="connsiteY30" fmla="*/ 2800350 h 4772025"/>
              <a:gd name="connsiteX31" fmla="*/ 1000125 w 3371850"/>
              <a:gd name="connsiteY31" fmla="*/ 2800350 h 4772025"/>
              <a:gd name="connsiteX32" fmla="*/ 1114425 w 3371850"/>
              <a:gd name="connsiteY32" fmla="*/ 2657475 h 4772025"/>
              <a:gd name="connsiteX33" fmla="*/ 1190625 w 3371850"/>
              <a:gd name="connsiteY33" fmla="*/ 2590800 h 4772025"/>
              <a:gd name="connsiteX34" fmla="*/ 1190625 w 3371850"/>
              <a:gd name="connsiteY34" fmla="*/ 2590800 h 4772025"/>
              <a:gd name="connsiteX35" fmla="*/ 1285875 w 3371850"/>
              <a:gd name="connsiteY35" fmla="*/ 2562225 h 4772025"/>
              <a:gd name="connsiteX36" fmla="*/ 1457325 w 3371850"/>
              <a:gd name="connsiteY36" fmla="*/ 2457450 h 4772025"/>
              <a:gd name="connsiteX37" fmla="*/ 1504950 w 3371850"/>
              <a:gd name="connsiteY37" fmla="*/ 2419350 h 4772025"/>
              <a:gd name="connsiteX38" fmla="*/ 1514475 w 3371850"/>
              <a:gd name="connsiteY38" fmla="*/ 2314575 h 4772025"/>
              <a:gd name="connsiteX39" fmla="*/ 1524000 w 3371850"/>
              <a:gd name="connsiteY39" fmla="*/ 2228850 h 4772025"/>
              <a:gd name="connsiteX40" fmla="*/ 1476375 w 3371850"/>
              <a:gd name="connsiteY40" fmla="*/ 2152650 h 4772025"/>
              <a:gd name="connsiteX41" fmla="*/ 1371600 w 3371850"/>
              <a:gd name="connsiteY41" fmla="*/ 2152650 h 4772025"/>
              <a:gd name="connsiteX42" fmla="*/ 1295400 w 3371850"/>
              <a:gd name="connsiteY42" fmla="*/ 2152650 h 4772025"/>
              <a:gd name="connsiteX43" fmla="*/ 1170676 w 3371850"/>
              <a:gd name="connsiteY43" fmla="*/ 2182124 h 4772025"/>
              <a:gd name="connsiteX44" fmla="*/ 1028700 w 3371850"/>
              <a:gd name="connsiteY44" fmla="*/ 2181225 h 4772025"/>
              <a:gd name="connsiteX45" fmla="*/ 876300 w 3371850"/>
              <a:gd name="connsiteY45" fmla="*/ 2152650 h 4772025"/>
              <a:gd name="connsiteX46" fmla="*/ 847725 w 3371850"/>
              <a:gd name="connsiteY46" fmla="*/ 2066925 h 4772025"/>
              <a:gd name="connsiteX47" fmla="*/ 885825 w 3371850"/>
              <a:gd name="connsiteY47" fmla="*/ 1943100 h 4772025"/>
              <a:gd name="connsiteX48" fmla="*/ 952500 w 3371850"/>
              <a:gd name="connsiteY48" fmla="*/ 1809750 h 4772025"/>
              <a:gd name="connsiteX49" fmla="*/ 1000125 w 3371850"/>
              <a:gd name="connsiteY49" fmla="*/ 1647825 h 4772025"/>
              <a:gd name="connsiteX50" fmla="*/ 971550 w 3371850"/>
              <a:gd name="connsiteY50" fmla="*/ 1571625 h 4772025"/>
              <a:gd name="connsiteX51" fmla="*/ 904875 w 3371850"/>
              <a:gd name="connsiteY51" fmla="*/ 1514475 h 4772025"/>
              <a:gd name="connsiteX52" fmla="*/ 752475 w 3371850"/>
              <a:gd name="connsiteY52" fmla="*/ 1485900 h 4772025"/>
              <a:gd name="connsiteX53" fmla="*/ 628650 w 3371850"/>
              <a:gd name="connsiteY53" fmla="*/ 1419225 h 4772025"/>
              <a:gd name="connsiteX54" fmla="*/ 647700 w 3371850"/>
              <a:gd name="connsiteY54" fmla="*/ 1314450 h 4772025"/>
              <a:gd name="connsiteX55" fmla="*/ 755650 w 3371850"/>
              <a:gd name="connsiteY55" fmla="*/ 1200150 h 4772025"/>
              <a:gd name="connsiteX56" fmla="*/ 857250 w 3371850"/>
              <a:gd name="connsiteY56" fmla="*/ 1123950 h 4772025"/>
              <a:gd name="connsiteX57" fmla="*/ 904875 w 3371850"/>
              <a:gd name="connsiteY57" fmla="*/ 1085850 h 4772025"/>
              <a:gd name="connsiteX58" fmla="*/ 904875 w 3371850"/>
              <a:gd name="connsiteY58" fmla="*/ 1028700 h 4772025"/>
              <a:gd name="connsiteX59" fmla="*/ 923925 w 3371850"/>
              <a:gd name="connsiteY59" fmla="*/ 962025 h 4772025"/>
              <a:gd name="connsiteX60" fmla="*/ 952500 w 3371850"/>
              <a:gd name="connsiteY60" fmla="*/ 933450 h 4772025"/>
              <a:gd name="connsiteX61" fmla="*/ 962025 w 3371850"/>
              <a:gd name="connsiteY61" fmla="*/ 866775 h 4772025"/>
              <a:gd name="connsiteX62" fmla="*/ 962025 w 3371850"/>
              <a:gd name="connsiteY62" fmla="*/ 781050 h 4772025"/>
              <a:gd name="connsiteX63" fmla="*/ 1031875 w 3371850"/>
              <a:gd name="connsiteY63" fmla="*/ 666750 h 4772025"/>
              <a:gd name="connsiteX64" fmla="*/ 1276350 w 3371850"/>
              <a:gd name="connsiteY64" fmla="*/ 682625 h 4772025"/>
              <a:gd name="connsiteX65" fmla="*/ 1476375 w 3371850"/>
              <a:gd name="connsiteY65" fmla="*/ 581025 h 4772025"/>
              <a:gd name="connsiteX66" fmla="*/ 1600200 w 3371850"/>
              <a:gd name="connsiteY66" fmla="*/ 469900 h 4772025"/>
              <a:gd name="connsiteX67" fmla="*/ 1749425 w 3371850"/>
              <a:gd name="connsiteY67" fmla="*/ 434975 h 4772025"/>
              <a:gd name="connsiteX68" fmla="*/ 1914525 w 3371850"/>
              <a:gd name="connsiteY68" fmla="*/ 447675 h 4772025"/>
              <a:gd name="connsiteX69" fmla="*/ 2152650 w 3371850"/>
              <a:gd name="connsiteY69" fmla="*/ 523875 h 4772025"/>
              <a:gd name="connsiteX70" fmla="*/ 2286000 w 3371850"/>
              <a:gd name="connsiteY70" fmla="*/ 619125 h 4772025"/>
              <a:gd name="connsiteX71" fmla="*/ 2352675 w 3371850"/>
              <a:gd name="connsiteY71" fmla="*/ 676275 h 4772025"/>
              <a:gd name="connsiteX72" fmla="*/ 2667000 w 3371850"/>
              <a:gd name="connsiteY72" fmla="*/ 714375 h 4772025"/>
              <a:gd name="connsiteX73" fmla="*/ 2835275 w 3371850"/>
              <a:gd name="connsiteY73" fmla="*/ 736600 h 4772025"/>
              <a:gd name="connsiteX74" fmla="*/ 2943225 w 3371850"/>
              <a:gd name="connsiteY74" fmla="*/ 790575 h 4772025"/>
              <a:gd name="connsiteX75" fmla="*/ 3105150 w 3371850"/>
              <a:gd name="connsiteY75" fmla="*/ 771525 h 4772025"/>
              <a:gd name="connsiteX76" fmla="*/ 3190875 w 3371850"/>
              <a:gd name="connsiteY76" fmla="*/ 771525 h 4772025"/>
              <a:gd name="connsiteX77" fmla="*/ 3311525 w 3371850"/>
              <a:gd name="connsiteY77" fmla="*/ 768350 h 4772025"/>
              <a:gd name="connsiteX78" fmla="*/ 3340100 w 3371850"/>
              <a:gd name="connsiteY78" fmla="*/ 746125 h 4772025"/>
              <a:gd name="connsiteX79" fmla="*/ 3371850 w 3371850"/>
              <a:gd name="connsiteY79" fmla="*/ 685800 h 4772025"/>
              <a:gd name="connsiteX80" fmla="*/ 3336925 w 3371850"/>
              <a:gd name="connsiteY80" fmla="*/ 517525 h 4772025"/>
              <a:gd name="connsiteX81" fmla="*/ 3311525 w 3371850"/>
              <a:gd name="connsiteY81" fmla="*/ 460375 h 4772025"/>
              <a:gd name="connsiteX82" fmla="*/ 3197225 w 3371850"/>
              <a:gd name="connsiteY82" fmla="*/ 390525 h 4772025"/>
              <a:gd name="connsiteX83" fmla="*/ 3181350 w 3371850"/>
              <a:gd name="connsiteY83" fmla="*/ 333375 h 4772025"/>
              <a:gd name="connsiteX84" fmla="*/ 3133725 w 3371850"/>
              <a:gd name="connsiteY84" fmla="*/ 295275 h 4772025"/>
              <a:gd name="connsiteX85" fmla="*/ 3105150 w 3371850"/>
              <a:gd name="connsiteY85" fmla="*/ 317500 h 4772025"/>
              <a:gd name="connsiteX86" fmla="*/ 3086100 w 3371850"/>
              <a:gd name="connsiteY86" fmla="*/ 368300 h 4772025"/>
              <a:gd name="connsiteX87" fmla="*/ 3086100 w 3371850"/>
              <a:gd name="connsiteY87" fmla="*/ 428625 h 4772025"/>
              <a:gd name="connsiteX88" fmla="*/ 3038475 w 3371850"/>
              <a:gd name="connsiteY88" fmla="*/ 447675 h 4772025"/>
              <a:gd name="connsiteX89" fmla="*/ 2962275 w 3371850"/>
              <a:gd name="connsiteY89" fmla="*/ 400050 h 4772025"/>
              <a:gd name="connsiteX90" fmla="*/ 2867025 w 3371850"/>
              <a:gd name="connsiteY90" fmla="*/ 457200 h 4772025"/>
              <a:gd name="connsiteX91" fmla="*/ 2847975 w 3371850"/>
              <a:gd name="connsiteY91" fmla="*/ 485775 h 4772025"/>
              <a:gd name="connsiteX92" fmla="*/ 2838450 w 3371850"/>
              <a:gd name="connsiteY92" fmla="*/ 523875 h 4772025"/>
              <a:gd name="connsiteX93" fmla="*/ 2762250 w 3371850"/>
              <a:gd name="connsiteY93" fmla="*/ 485775 h 4772025"/>
              <a:gd name="connsiteX94" fmla="*/ 2647950 w 3371850"/>
              <a:gd name="connsiteY94" fmla="*/ 466725 h 4772025"/>
              <a:gd name="connsiteX95" fmla="*/ 2552700 w 3371850"/>
              <a:gd name="connsiteY95" fmla="*/ 419100 h 4772025"/>
              <a:gd name="connsiteX96" fmla="*/ 2419350 w 3371850"/>
              <a:gd name="connsiteY96" fmla="*/ 342900 h 4772025"/>
              <a:gd name="connsiteX97" fmla="*/ 2333625 w 3371850"/>
              <a:gd name="connsiteY97" fmla="*/ 257175 h 4772025"/>
              <a:gd name="connsiteX98" fmla="*/ 2209800 w 3371850"/>
              <a:gd name="connsiteY98" fmla="*/ 247650 h 4772025"/>
              <a:gd name="connsiteX99" fmla="*/ 2171700 w 3371850"/>
              <a:gd name="connsiteY99" fmla="*/ 114300 h 4772025"/>
              <a:gd name="connsiteX100" fmla="*/ 2152650 w 3371850"/>
              <a:gd name="connsiteY100" fmla="*/ 9525 h 4772025"/>
              <a:gd name="connsiteX101" fmla="*/ 1190625 w 3371850"/>
              <a:gd name="connsiteY101" fmla="*/ 0 h 4772025"/>
              <a:gd name="connsiteX102" fmla="*/ 1181100 w 3371850"/>
              <a:gd name="connsiteY102" fmla="*/ 114300 h 4772025"/>
              <a:gd name="connsiteX103" fmla="*/ 1143000 w 3371850"/>
              <a:gd name="connsiteY103" fmla="*/ 219075 h 4772025"/>
              <a:gd name="connsiteX104" fmla="*/ 933450 w 3371850"/>
              <a:gd name="connsiteY104" fmla="*/ 381000 h 4772025"/>
              <a:gd name="connsiteX105" fmla="*/ 923925 w 3371850"/>
              <a:gd name="connsiteY105" fmla="*/ 438150 h 4772025"/>
              <a:gd name="connsiteX106" fmla="*/ 800100 w 3371850"/>
              <a:gd name="connsiteY106" fmla="*/ 457200 h 4772025"/>
              <a:gd name="connsiteX107" fmla="*/ 619125 w 3371850"/>
              <a:gd name="connsiteY107" fmla="*/ 514350 h 4772025"/>
              <a:gd name="connsiteX108" fmla="*/ 571500 w 3371850"/>
              <a:gd name="connsiteY108" fmla="*/ 619125 h 4772025"/>
              <a:gd name="connsiteX109" fmla="*/ 476250 w 3371850"/>
              <a:gd name="connsiteY109" fmla="*/ 742950 h 4772025"/>
              <a:gd name="connsiteX110" fmla="*/ 466725 w 3371850"/>
              <a:gd name="connsiteY110" fmla="*/ 819150 h 4772025"/>
              <a:gd name="connsiteX111" fmla="*/ 476250 w 3371850"/>
              <a:gd name="connsiteY111" fmla="*/ 942975 h 4772025"/>
              <a:gd name="connsiteX112" fmla="*/ 428625 w 3371850"/>
              <a:gd name="connsiteY112" fmla="*/ 990600 h 4772025"/>
              <a:gd name="connsiteX113" fmla="*/ 247650 w 3371850"/>
              <a:gd name="connsiteY113" fmla="*/ 962025 h 4772025"/>
              <a:gd name="connsiteX114" fmla="*/ 180975 w 3371850"/>
              <a:gd name="connsiteY114" fmla="*/ 971550 h 4772025"/>
              <a:gd name="connsiteX115" fmla="*/ 76200 w 3371850"/>
              <a:gd name="connsiteY115" fmla="*/ 1047750 h 4772025"/>
              <a:gd name="connsiteX116" fmla="*/ 57150 w 3371850"/>
              <a:gd name="connsiteY116" fmla="*/ 1143000 h 4772025"/>
              <a:gd name="connsiteX117" fmla="*/ 57150 w 3371850"/>
              <a:gd name="connsiteY117" fmla="*/ 1276350 h 4772025"/>
              <a:gd name="connsiteX118" fmla="*/ 28575 w 3371850"/>
              <a:gd name="connsiteY118" fmla="*/ 1390650 h 4772025"/>
              <a:gd name="connsiteX119" fmla="*/ 0 w 3371850"/>
              <a:gd name="connsiteY119" fmla="*/ 1504950 h 4772025"/>
              <a:gd name="connsiteX120" fmla="*/ 104775 w 3371850"/>
              <a:gd name="connsiteY120" fmla="*/ 1638300 h 4772025"/>
              <a:gd name="connsiteX121" fmla="*/ 161925 w 3371850"/>
              <a:gd name="connsiteY121" fmla="*/ 1819275 h 4772025"/>
              <a:gd name="connsiteX122" fmla="*/ 219075 w 3371850"/>
              <a:gd name="connsiteY122" fmla="*/ 2028825 h 4772025"/>
              <a:gd name="connsiteX123" fmla="*/ 276225 w 3371850"/>
              <a:gd name="connsiteY123" fmla="*/ 2295525 h 4772025"/>
              <a:gd name="connsiteX124" fmla="*/ 361950 w 3371850"/>
              <a:gd name="connsiteY124" fmla="*/ 2400300 h 4772025"/>
              <a:gd name="connsiteX125" fmla="*/ 333375 w 3371850"/>
              <a:gd name="connsiteY125" fmla="*/ 2609850 h 4772025"/>
              <a:gd name="connsiteX126" fmla="*/ 333375 w 3371850"/>
              <a:gd name="connsiteY126" fmla="*/ 2762250 h 4772025"/>
              <a:gd name="connsiteX127" fmla="*/ 381000 w 3371850"/>
              <a:gd name="connsiteY127" fmla="*/ 2857500 h 4772025"/>
              <a:gd name="connsiteX128" fmla="*/ 457200 w 3371850"/>
              <a:gd name="connsiteY128" fmla="*/ 3248025 h 4772025"/>
              <a:gd name="connsiteX129" fmla="*/ 447675 w 3371850"/>
              <a:gd name="connsiteY129" fmla="*/ 3362325 h 4772025"/>
              <a:gd name="connsiteX130" fmla="*/ 419100 w 3371850"/>
              <a:gd name="connsiteY130" fmla="*/ 3448050 h 4772025"/>
              <a:gd name="connsiteX131" fmla="*/ 400050 w 3371850"/>
              <a:gd name="connsiteY131" fmla="*/ 3629025 h 4772025"/>
              <a:gd name="connsiteX132" fmla="*/ 466725 w 3371850"/>
              <a:gd name="connsiteY132" fmla="*/ 3810000 h 4772025"/>
              <a:gd name="connsiteX133" fmla="*/ 533400 w 3371850"/>
              <a:gd name="connsiteY133" fmla="*/ 3914775 h 4772025"/>
              <a:gd name="connsiteX134" fmla="*/ 533400 w 3371850"/>
              <a:gd name="connsiteY134" fmla="*/ 4019550 h 4772025"/>
              <a:gd name="connsiteX135" fmla="*/ 485775 w 3371850"/>
              <a:gd name="connsiteY135" fmla="*/ 4076700 h 4772025"/>
              <a:gd name="connsiteX136" fmla="*/ 571500 w 3371850"/>
              <a:gd name="connsiteY136" fmla="*/ 4143375 h 4772025"/>
              <a:gd name="connsiteX137" fmla="*/ 704850 w 3371850"/>
              <a:gd name="connsiteY137" fmla="*/ 4257675 h 4772025"/>
              <a:gd name="connsiteX138" fmla="*/ 733425 w 3371850"/>
              <a:gd name="connsiteY138" fmla="*/ 4343400 h 4772025"/>
              <a:gd name="connsiteX139" fmla="*/ 885825 w 3371850"/>
              <a:gd name="connsiteY139" fmla="*/ 4286250 h 4772025"/>
              <a:gd name="connsiteX140" fmla="*/ 962025 w 3371850"/>
              <a:gd name="connsiteY140" fmla="*/ 4276725 h 4772025"/>
              <a:gd name="connsiteX141" fmla="*/ 1123950 w 3371850"/>
              <a:gd name="connsiteY141" fmla="*/ 4438650 h 4772025"/>
              <a:gd name="connsiteX142" fmla="*/ 1209675 w 3371850"/>
              <a:gd name="connsiteY142" fmla="*/ 4505325 h 4772025"/>
              <a:gd name="connsiteX143" fmla="*/ 1428750 w 3371850"/>
              <a:gd name="connsiteY143" fmla="*/ 4581525 h 4772025"/>
              <a:gd name="connsiteX144" fmla="*/ 1704975 w 3371850"/>
              <a:gd name="connsiteY144" fmla="*/ 4705350 h 4772025"/>
              <a:gd name="connsiteX145" fmla="*/ 1885950 w 3371850"/>
              <a:gd name="connsiteY145" fmla="*/ 4772025 h 477202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71700 h 4791075"/>
              <a:gd name="connsiteX42" fmla="*/ 1295400 w 3371850"/>
              <a:gd name="connsiteY42" fmla="*/ 2171700 h 4791075"/>
              <a:gd name="connsiteX43" fmla="*/ 1170676 w 3371850"/>
              <a:gd name="connsiteY43" fmla="*/ 2201174 h 4791075"/>
              <a:gd name="connsiteX44" fmla="*/ 1028700 w 3371850"/>
              <a:gd name="connsiteY44" fmla="*/ 220027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52650 w 3371850"/>
              <a:gd name="connsiteY100" fmla="*/ 285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19125 w 3371850"/>
              <a:gd name="connsiteY107" fmla="*/ 533400 h 4791075"/>
              <a:gd name="connsiteX108" fmla="*/ 571500 w 3371850"/>
              <a:gd name="connsiteY108" fmla="*/ 63817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71700 h 4791075"/>
              <a:gd name="connsiteX42" fmla="*/ 1295400 w 3371850"/>
              <a:gd name="connsiteY42" fmla="*/ 2171700 h 4791075"/>
              <a:gd name="connsiteX43" fmla="*/ 1170676 w 3371850"/>
              <a:gd name="connsiteY43" fmla="*/ 2201174 h 4791075"/>
              <a:gd name="connsiteX44" fmla="*/ 1028700 w 3371850"/>
              <a:gd name="connsiteY44" fmla="*/ 220027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19125 w 3371850"/>
              <a:gd name="connsiteY107" fmla="*/ 533400 h 4791075"/>
              <a:gd name="connsiteX108" fmla="*/ 571500 w 3371850"/>
              <a:gd name="connsiteY108" fmla="*/ 63817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71700 h 4791075"/>
              <a:gd name="connsiteX42" fmla="*/ 1295400 w 3371850"/>
              <a:gd name="connsiteY42" fmla="*/ 2171700 h 4791075"/>
              <a:gd name="connsiteX43" fmla="*/ 1170676 w 3371850"/>
              <a:gd name="connsiteY43" fmla="*/ 2201174 h 4791075"/>
              <a:gd name="connsiteX44" fmla="*/ 1028700 w 3371850"/>
              <a:gd name="connsiteY44" fmla="*/ 220027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71500 w 3371850"/>
              <a:gd name="connsiteY108" fmla="*/ 63817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71700 h 4791075"/>
              <a:gd name="connsiteX42" fmla="*/ 1295400 w 3371850"/>
              <a:gd name="connsiteY42" fmla="*/ 2171700 h 4791075"/>
              <a:gd name="connsiteX43" fmla="*/ 1170676 w 3371850"/>
              <a:gd name="connsiteY43" fmla="*/ 2201174 h 4791075"/>
              <a:gd name="connsiteX44" fmla="*/ 1028700 w 3371850"/>
              <a:gd name="connsiteY44" fmla="*/ 220027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71700 h 4791075"/>
              <a:gd name="connsiteX42" fmla="*/ 1295400 w 3371850"/>
              <a:gd name="connsiteY42" fmla="*/ 2171700 h 4791075"/>
              <a:gd name="connsiteX43" fmla="*/ 1170676 w 3371850"/>
              <a:gd name="connsiteY43" fmla="*/ 2201174 h 4791075"/>
              <a:gd name="connsiteX44" fmla="*/ 876300 w 3371850"/>
              <a:gd name="connsiteY44" fmla="*/ 2171700 h 4791075"/>
              <a:gd name="connsiteX45" fmla="*/ 847725 w 3371850"/>
              <a:gd name="connsiteY45" fmla="*/ 2085975 h 4791075"/>
              <a:gd name="connsiteX46" fmla="*/ 885825 w 3371850"/>
              <a:gd name="connsiteY46" fmla="*/ 1962150 h 4791075"/>
              <a:gd name="connsiteX47" fmla="*/ 952500 w 3371850"/>
              <a:gd name="connsiteY47" fmla="*/ 1828800 h 4791075"/>
              <a:gd name="connsiteX48" fmla="*/ 1000125 w 3371850"/>
              <a:gd name="connsiteY48" fmla="*/ 1666875 h 4791075"/>
              <a:gd name="connsiteX49" fmla="*/ 971550 w 3371850"/>
              <a:gd name="connsiteY49" fmla="*/ 1590675 h 4791075"/>
              <a:gd name="connsiteX50" fmla="*/ 904875 w 3371850"/>
              <a:gd name="connsiteY50" fmla="*/ 1533525 h 4791075"/>
              <a:gd name="connsiteX51" fmla="*/ 752475 w 3371850"/>
              <a:gd name="connsiteY51" fmla="*/ 1504950 h 4791075"/>
              <a:gd name="connsiteX52" fmla="*/ 628650 w 3371850"/>
              <a:gd name="connsiteY52" fmla="*/ 1438275 h 4791075"/>
              <a:gd name="connsiteX53" fmla="*/ 647700 w 3371850"/>
              <a:gd name="connsiteY53" fmla="*/ 1333500 h 4791075"/>
              <a:gd name="connsiteX54" fmla="*/ 755650 w 3371850"/>
              <a:gd name="connsiteY54" fmla="*/ 1219200 h 4791075"/>
              <a:gd name="connsiteX55" fmla="*/ 857250 w 3371850"/>
              <a:gd name="connsiteY55" fmla="*/ 1143000 h 4791075"/>
              <a:gd name="connsiteX56" fmla="*/ 904875 w 3371850"/>
              <a:gd name="connsiteY56" fmla="*/ 1104900 h 4791075"/>
              <a:gd name="connsiteX57" fmla="*/ 904875 w 3371850"/>
              <a:gd name="connsiteY57" fmla="*/ 1047750 h 4791075"/>
              <a:gd name="connsiteX58" fmla="*/ 923925 w 3371850"/>
              <a:gd name="connsiteY58" fmla="*/ 981075 h 4791075"/>
              <a:gd name="connsiteX59" fmla="*/ 952500 w 3371850"/>
              <a:gd name="connsiteY59" fmla="*/ 952500 h 4791075"/>
              <a:gd name="connsiteX60" fmla="*/ 962025 w 3371850"/>
              <a:gd name="connsiteY60" fmla="*/ 885825 h 4791075"/>
              <a:gd name="connsiteX61" fmla="*/ 962025 w 3371850"/>
              <a:gd name="connsiteY61" fmla="*/ 800100 h 4791075"/>
              <a:gd name="connsiteX62" fmla="*/ 1031875 w 3371850"/>
              <a:gd name="connsiteY62" fmla="*/ 685800 h 4791075"/>
              <a:gd name="connsiteX63" fmla="*/ 1276350 w 3371850"/>
              <a:gd name="connsiteY63" fmla="*/ 701675 h 4791075"/>
              <a:gd name="connsiteX64" fmla="*/ 1476375 w 3371850"/>
              <a:gd name="connsiteY64" fmla="*/ 600075 h 4791075"/>
              <a:gd name="connsiteX65" fmla="*/ 1600200 w 3371850"/>
              <a:gd name="connsiteY65" fmla="*/ 488950 h 4791075"/>
              <a:gd name="connsiteX66" fmla="*/ 1749425 w 3371850"/>
              <a:gd name="connsiteY66" fmla="*/ 454025 h 4791075"/>
              <a:gd name="connsiteX67" fmla="*/ 1914525 w 3371850"/>
              <a:gd name="connsiteY67" fmla="*/ 466725 h 4791075"/>
              <a:gd name="connsiteX68" fmla="*/ 2152650 w 3371850"/>
              <a:gd name="connsiteY68" fmla="*/ 542925 h 4791075"/>
              <a:gd name="connsiteX69" fmla="*/ 2286000 w 3371850"/>
              <a:gd name="connsiteY69" fmla="*/ 638175 h 4791075"/>
              <a:gd name="connsiteX70" fmla="*/ 2352675 w 3371850"/>
              <a:gd name="connsiteY70" fmla="*/ 695325 h 4791075"/>
              <a:gd name="connsiteX71" fmla="*/ 2667000 w 3371850"/>
              <a:gd name="connsiteY71" fmla="*/ 733425 h 4791075"/>
              <a:gd name="connsiteX72" fmla="*/ 2835275 w 3371850"/>
              <a:gd name="connsiteY72" fmla="*/ 755650 h 4791075"/>
              <a:gd name="connsiteX73" fmla="*/ 2943225 w 3371850"/>
              <a:gd name="connsiteY73" fmla="*/ 809625 h 4791075"/>
              <a:gd name="connsiteX74" fmla="*/ 3105150 w 3371850"/>
              <a:gd name="connsiteY74" fmla="*/ 790575 h 4791075"/>
              <a:gd name="connsiteX75" fmla="*/ 3190875 w 3371850"/>
              <a:gd name="connsiteY75" fmla="*/ 790575 h 4791075"/>
              <a:gd name="connsiteX76" fmla="*/ 3311525 w 3371850"/>
              <a:gd name="connsiteY76" fmla="*/ 787400 h 4791075"/>
              <a:gd name="connsiteX77" fmla="*/ 3340100 w 3371850"/>
              <a:gd name="connsiteY77" fmla="*/ 765175 h 4791075"/>
              <a:gd name="connsiteX78" fmla="*/ 3371850 w 3371850"/>
              <a:gd name="connsiteY78" fmla="*/ 704850 h 4791075"/>
              <a:gd name="connsiteX79" fmla="*/ 3336925 w 3371850"/>
              <a:gd name="connsiteY79" fmla="*/ 536575 h 4791075"/>
              <a:gd name="connsiteX80" fmla="*/ 3311525 w 3371850"/>
              <a:gd name="connsiteY80" fmla="*/ 479425 h 4791075"/>
              <a:gd name="connsiteX81" fmla="*/ 3197225 w 3371850"/>
              <a:gd name="connsiteY81" fmla="*/ 409575 h 4791075"/>
              <a:gd name="connsiteX82" fmla="*/ 3181350 w 3371850"/>
              <a:gd name="connsiteY82" fmla="*/ 352425 h 4791075"/>
              <a:gd name="connsiteX83" fmla="*/ 3133725 w 3371850"/>
              <a:gd name="connsiteY83" fmla="*/ 314325 h 4791075"/>
              <a:gd name="connsiteX84" fmla="*/ 3105150 w 3371850"/>
              <a:gd name="connsiteY84" fmla="*/ 336550 h 4791075"/>
              <a:gd name="connsiteX85" fmla="*/ 3086100 w 3371850"/>
              <a:gd name="connsiteY85" fmla="*/ 387350 h 4791075"/>
              <a:gd name="connsiteX86" fmla="*/ 3086100 w 3371850"/>
              <a:gd name="connsiteY86" fmla="*/ 447675 h 4791075"/>
              <a:gd name="connsiteX87" fmla="*/ 3038475 w 3371850"/>
              <a:gd name="connsiteY87" fmla="*/ 466725 h 4791075"/>
              <a:gd name="connsiteX88" fmla="*/ 2962275 w 3371850"/>
              <a:gd name="connsiteY88" fmla="*/ 419100 h 4791075"/>
              <a:gd name="connsiteX89" fmla="*/ 2867025 w 3371850"/>
              <a:gd name="connsiteY89" fmla="*/ 476250 h 4791075"/>
              <a:gd name="connsiteX90" fmla="*/ 2847975 w 3371850"/>
              <a:gd name="connsiteY90" fmla="*/ 504825 h 4791075"/>
              <a:gd name="connsiteX91" fmla="*/ 2838450 w 3371850"/>
              <a:gd name="connsiteY91" fmla="*/ 542925 h 4791075"/>
              <a:gd name="connsiteX92" fmla="*/ 2762250 w 3371850"/>
              <a:gd name="connsiteY92" fmla="*/ 504825 h 4791075"/>
              <a:gd name="connsiteX93" fmla="*/ 2647950 w 3371850"/>
              <a:gd name="connsiteY93" fmla="*/ 485775 h 4791075"/>
              <a:gd name="connsiteX94" fmla="*/ 2552700 w 3371850"/>
              <a:gd name="connsiteY94" fmla="*/ 438150 h 4791075"/>
              <a:gd name="connsiteX95" fmla="*/ 2419350 w 3371850"/>
              <a:gd name="connsiteY95" fmla="*/ 361950 h 4791075"/>
              <a:gd name="connsiteX96" fmla="*/ 2333625 w 3371850"/>
              <a:gd name="connsiteY96" fmla="*/ 276225 h 4791075"/>
              <a:gd name="connsiteX97" fmla="*/ 2209800 w 3371850"/>
              <a:gd name="connsiteY97" fmla="*/ 266700 h 4791075"/>
              <a:gd name="connsiteX98" fmla="*/ 2171700 w 3371850"/>
              <a:gd name="connsiteY98" fmla="*/ 133350 h 4791075"/>
              <a:gd name="connsiteX99" fmla="*/ 2143125 w 3371850"/>
              <a:gd name="connsiteY99" fmla="*/ 3175 h 4791075"/>
              <a:gd name="connsiteX100" fmla="*/ 1212850 w 3371850"/>
              <a:gd name="connsiteY100" fmla="*/ 0 h 4791075"/>
              <a:gd name="connsiteX101" fmla="*/ 1181100 w 3371850"/>
              <a:gd name="connsiteY101" fmla="*/ 133350 h 4791075"/>
              <a:gd name="connsiteX102" fmla="*/ 1143000 w 3371850"/>
              <a:gd name="connsiteY102" fmla="*/ 238125 h 4791075"/>
              <a:gd name="connsiteX103" fmla="*/ 933450 w 3371850"/>
              <a:gd name="connsiteY103" fmla="*/ 400050 h 4791075"/>
              <a:gd name="connsiteX104" fmla="*/ 923925 w 3371850"/>
              <a:gd name="connsiteY104" fmla="*/ 457200 h 4791075"/>
              <a:gd name="connsiteX105" fmla="*/ 800100 w 3371850"/>
              <a:gd name="connsiteY105" fmla="*/ 476250 h 4791075"/>
              <a:gd name="connsiteX106" fmla="*/ 628650 w 3371850"/>
              <a:gd name="connsiteY106" fmla="*/ 533400 h 4791075"/>
              <a:gd name="connsiteX107" fmla="*/ 581025 w 3371850"/>
              <a:gd name="connsiteY107" fmla="*/ 644525 h 4791075"/>
              <a:gd name="connsiteX108" fmla="*/ 476250 w 3371850"/>
              <a:gd name="connsiteY108" fmla="*/ 762000 h 4791075"/>
              <a:gd name="connsiteX109" fmla="*/ 466725 w 3371850"/>
              <a:gd name="connsiteY109" fmla="*/ 838200 h 4791075"/>
              <a:gd name="connsiteX110" fmla="*/ 476250 w 3371850"/>
              <a:gd name="connsiteY110" fmla="*/ 962025 h 4791075"/>
              <a:gd name="connsiteX111" fmla="*/ 428625 w 3371850"/>
              <a:gd name="connsiteY111" fmla="*/ 1009650 h 4791075"/>
              <a:gd name="connsiteX112" fmla="*/ 247650 w 3371850"/>
              <a:gd name="connsiteY112" fmla="*/ 981075 h 4791075"/>
              <a:gd name="connsiteX113" fmla="*/ 180975 w 3371850"/>
              <a:gd name="connsiteY113" fmla="*/ 990600 h 4791075"/>
              <a:gd name="connsiteX114" fmla="*/ 76200 w 3371850"/>
              <a:gd name="connsiteY114" fmla="*/ 1066800 h 4791075"/>
              <a:gd name="connsiteX115" fmla="*/ 57150 w 3371850"/>
              <a:gd name="connsiteY115" fmla="*/ 1162050 h 4791075"/>
              <a:gd name="connsiteX116" fmla="*/ 57150 w 3371850"/>
              <a:gd name="connsiteY116" fmla="*/ 1295400 h 4791075"/>
              <a:gd name="connsiteX117" fmla="*/ 28575 w 3371850"/>
              <a:gd name="connsiteY117" fmla="*/ 1409700 h 4791075"/>
              <a:gd name="connsiteX118" fmla="*/ 0 w 3371850"/>
              <a:gd name="connsiteY118" fmla="*/ 1524000 h 4791075"/>
              <a:gd name="connsiteX119" fmla="*/ 104775 w 3371850"/>
              <a:gd name="connsiteY119" fmla="*/ 1657350 h 4791075"/>
              <a:gd name="connsiteX120" fmla="*/ 161925 w 3371850"/>
              <a:gd name="connsiteY120" fmla="*/ 1838325 h 4791075"/>
              <a:gd name="connsiteX121" fmla="*/ 219075 w 3371850"/>
              <a:gd name="connsiteY121" fmla="*/ 2047875 h 4791075"/>
              <a:gd name="connsiteX122" fmla="*/ 276225 w 3371850"/>
              <a:gd name="connsiteY122" fmla="*/ 2314575 h 4791075"/>
              <a:gd name="connsiteX123" fmla="*/ 361950 w 3371850"/>
              <a:gd name="connsiteY123" fmla="*/ 2419350 h 4791075"/>
              <a:gd name="connsiteX124" fmla="*/ 333375 w 3371850"/>
              <a:gd name="connsiteY124" fmla="*/ 2628900 h 4791075"/>
              <a:gd name="connsiteX125" fmla="*/ 333375 w 3371850"/>
              <a:gd name="connsiteY125" fmla="*/ 2781300 h 4791075"/>
              <a:gd name="connsiteX126" fmla="*/ 381000 w 3371850"/>
              <a:gd name="connsiteY126" fmla="*/ 2876550 h 4791075"/>
              <a:gd name="connsiteX127" fmla="*/ 457200 w 3371850"/>
              <a:gd name="connsiteY127" fmla="*/ 3267075 h 4791075"/>
              <a:gd name="connsiteX128" fmla="*/ 447675 w 3371850"/>
              <a:gd name="connsiteY128" fmla="*/ 3381375 h 4791075"/>
              <a:gd name="connsiteX129" fmla="*/ 419100 w 3371850"/>
              <a:gd name="connsiteY129" fmla="*/ 3467100 h 4791075"/>
              <a:gd name="connsiteX130" fmla="*/ 400050 w 3371850"/>
              <a:gd name="connsiteY130" fmla="*/ 3648075 h 4791075"/>
              <a:gd name="connsiteX131" fmla="*/ 466725 w 3371850"/>
              <a:gd name="connsiteY131" fmla="*/ 3829050 h 4791075"/>
              <a:gd name="connsiteX132" fmla="*/ 533400 w 3371850"/>
              <a:gd name="connsiteY132" fmla="*/ 3933825 h 4791075"/>
              <a:gd name="connsiteX133" fmla="*/ 533400 w 3371850"/>
              <a:gd name="connsiteY133" fmla="*/ 4038600 h 4791075"/>
              <a:gd name="connsiteX134" fmla="*/ 485775 w 3371850"/>
              <a:gd name="connsiteY134" fmla="*/ 4095750 h 4791075"/>
              <a:gd name="connsiteX135" fmla="*/ 571500 w 3371850"/>
              <a:gd name="connsiteY135" fmla="*/ 4162425 h 4791075"/>
              <a:gd name="connsiteX136" fmla="*/ 704850 w 3371850"/>
              <a:gd name="connsiteY136" fmla="*/ 4276725 h 4791075"/>
              <a:gd name="connsiteX137" fmla="*/ 733425 w 3371850"/>
              <a:gd name="connsiteY137" fmla="*/ 4362450 h 4791075"/>
              <a:gd name="connsiteX138" fmla="*/ 885825 w 3371850"/>
              <a:gd name="connsiteY138" fmla="*/ 4305300 h 4791075"/>
              <a:gd name="connsiteX139" fmla="*/ 962025 w 3371850"/>
              <a:gd name="connsiteY139" fmla="*/ 4295775 h 4791075"/>
              <a:gd name="connsiteX140" fmla="*/ 1123950 w 3371850"/>
              <a:gd name="connsiteY140" fmla="*/ 4457700 h 4791075"/>
              <a:gd name="connsiteX141" fmla="*/ 1209675 w 3371850"/>
              <a:gd name="connsiteY141" fmla="*/ 4524375 h 4791075"/>
              <a:gd name="connsiteX142" fmla="*/ 1428750 w 3371850"/>
              <a:gd name="connsiteY142" fmla="*/ 4600575 h 4791075"/>
              <a:gd name="connsiteX143" fmla="*/ 1704975 w 3371850"/>
              <a:gd name="connsiteY143" fmla="*/ 4724400 h 4791075"/>
              <a:gd name="connsiteX144" fmla="*/ 1885950 w 3371850"/>
              <a:gd name="connsiteY144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71700 h 4791075"/>
              <a:gd name="connsiteX42" fmla="*/ 1295400 w 3371850"/>
              <a:gd name="connsiteY42" fmla="*/ 2171700 h 4791075"/>
              <a:gd name="connsiteX43" fmla="*/ 1170676 w 3371850"/>
              <a:gd name="connsiteY43" fmla="*/ 2201174 h 4791075"/>
              <a:gd name="connsiteX44" fmla="*/ 1012825 w 3371850"/>
              <a:gd name="connsiteY44" fmla="*/ 2184400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71700 h 4791075"/>
              <a:gd name="connsiteX42" fmla="*/ 1295400 w 3371850"/>
              <a:gd name="connsiteY42" fmla="*/ 2171700 h 4791075"/>
              <a:gd name="connsiteX43" fmla="*/ 1170676 w 3371850"/>
              <a:gd name="connsiteY43" fmla="*/ 2201174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71700 h 4791075"/>
              <a:gd name="connsiteX42" fmla="*/ 1295400 w 3371850"/>
              <a:gd name="connsiteY42" fmla="*/ 2171700 h 4791075"/>
              <a:gd name="connsiteX43" fmla="*/ 1187450 w 3371850"/>
              <a:gd name="connsiteY43" fmla="*/ 2181225 h 4791075"/>
              <a:gd name="connsiteX44" fmla="*/ 1170676 w 3371850"/>
              <a:gd name="connsiteY44" fmla="*/ 2201174 h 4791075"/>
              <a:gd name="connsiteX45" fmla="*/ 1009650 w 3371850"/>
              <a:gd name="connsiteY45" fmla="*/ 2168525 h 4791075"/>
              <a:gd name="connsiteX46" fmla="*/ 876300 w 3371850"/>
              <a:gd name="connsiteY46" fmla="*/ 2171700 h 4791075"/>
              <a:gd name="connsiteX47" fmla="*/ 847725 w 3371850"/>
              <a:gd name="connsiteY47" fmla="*/ 2085975 h 4791075"/>
              <a:gd name="connsiteX48" fmla="*/ 885825 w 3371850"/>
              <a:gd name="connsiteY48" fmla="*/ 1962150 h 4791075"/>
              <a:gd name="connsiteX49" fmla="*/ 952500 w 3371850"/>
              <a:gd name="connsiteY49" fmla="*/ 1828800 h 4791075"/>
              <a:gd name="connsiteX50" fmla="*/ 1000125 w 3371850"/>
              <a:gd name="connsiteY50" fmla="*/ 1666875 h 4791075"/>
              <a:gd name="connsiteX51" fmla="*/ 971550 w 3371850"/>
              <a:gd name="connsiteY51" fmla="*/ 1590675 h 4791075"/>
              <a:gd name="connsiteX52" fmla="*/ 904875 w 3371850"/>
              <a:gd name="connsiteY52" fmla="*/ 1533525 h 4791075"/>
              <a:gd name="connsiteX53" fmla="*/ 752475 w 3371850"/>
              <a:gd name="connsiteY53" fmla="*/ 1504950 h 4791075"/>
              <a:gd name="connsiteX54" fmla="*/ 628650 w 3371850"/>
              <a:gd name="connsiteY54" fmla="*/ 1438275 h 4791075"/>
              <a:gd name="connsiteX55" fmla="*/ 647700 w 3371850"/>
              <a:gd name="connsiteY55" fmla="*/ 1333500 h 4791075"/>
              <a:gd name="connsiteX56" fmla="*/ 755650 w 3371850"/>
              <a:gd name="connsiteY56" fmla="*/ 1219200 h 4791075"/>
              <a:gd name="connsiteX57" fmla="*/ 857250 w 3371850"/>
              <a:gd name="connsiteY57" fmla="*/ 1143000 h 4791075"/>
              <a:gd name="connsiteX58" fmla="*/ 904875 w 3371850"/>
              <a:gd name="connsiteY58" fmla="*/ 1104900 h 4791075"/>
              <a:gd name="connsiteX59" fmla="*/ 904875 w 3371850"/>
              <a:gd name="connsiteY59" fmla="*/ 1047750 h 4791075"/>
              <a:gd name="connsiteX60" fmla="*/ 923925 w 3371850"/>
              <a:gd name="connsiteY60" fmla="*/ 981075 h 4791075"/>
              <a:gd name="connsiteX61" fmla="*/ 952500 w 3371850"/>
              <a:gd name="connsiteY61" fmla="*/ 952500 h 4791075"/>
              <a:gd name="connsiteX62" fmla="*/ 962025 w 3371850"/>
              <a:gd name="connsiteY62" fmla="*/ 885825 h 4791075"/>
              <a:gd name="connsiteX63" fmla="*/ 962025 w 3371850"/>
              <a:gd name="connsiteY63" fmla="*/ 800100 h 4791075"/>
              <a:gd name="connsiteX64" fmla="*/ 1031875 w 3371850"/>
              <a:gd name="connsiteY64" fmla="*/ 685800 h 4791075"/>
              <a:gd name="connsiteX65" fmla="*/ 1276350 w 3371850"/>
              <a:gd name="connsiteY65" fmla="*/ 701675 h 4791075"/>
              <a:gd name="connsiteX66" fmla="*/ 1476375 w 3371850"/>
              <a:gd name="connsiteY66" fmla="*/ 600075 h 4791075"/>
              <a:gd name="connsiteX67" fmla="*/ 1600200 w 3371850"/>
              <a:gd name="connsiteY67" fmla="*/ 488950 h 4791075"/>
              <a:gd name="connsiteX68" fmla="*/ 1749425 w 3371850"/>
              <a:gd name="connsiteY68" fmla="*/ 454025 h 4791075"/>
              <a:gd name="connsiteX69" fmla="*/ 1914525 w 3371850"/>
              <a:gd name="connsiteY69" fmla="*/ 466725 h 4791075"/>
              <a:gd name="connsiteX70" fmla="*/ 2152650 w 3371850"/>
              <a:gd name="connsiteY70" fmla="*/ 542925 h 4791075"/>
              <a:gd name="connsiteX71" fmla="*/ 2286000 w 3371850"/>
              <a:gd name="connsiteY71" fmla="*/ 638175 h 4791075"/>
              <a:gd name="connsiteX72" fmla="*/ 2352675 w 3371850"/>
              <a:gd name="connsiteY72" fmla="*/ 695325 h 4791075"/>
              <a:gd name="connsiteX73" fmla="*/ 2667000 w 3371850"/>
              <a:gd name="connsiteY73" fmla="*/ 733425 h 4791075"/>
              <a:gd name="connsiteX74" fmla="*/ 2835275 w 3371850"/>
              <a:gd name="connsiteY74" fmla="*/ 755650 h 4791075"/>
              <a:gd name="connsiteX75" fmla="*/ 2943225 w 3371850"/>
              <a:gd name="connsiteY75" fmla="*/ 809625 h 4791075"/>
              <a:gd name="connsiteX76" fmla="*/ 3105150 w 3371850"/>
              <a:gd name="connsiteY76" fmla="*/ 790575 h 4791075"/>
              <a:gd name="connsiteX77" fmla="*/ 3190875 w 3371850"/>
              <a:gd name="connsiteY77" fmla="*/ 790575 h 4791075"/>
              <a:gd name="connsiteX78" fmla="*/ 3311525 w 3371850"/>
              <a:gd name="connsiteY78" fmla="*/ 787400 h 4791075"/>
              <a:gd name="connsiteX79" fmla="*/ 3340100 w 3371850"/>
              <a:gd name="connsiteY79" fmla="*/ 765175 h 4791075"/>
              <a:gd name="connsiteX80" fmla="*/ 3371850 w 3371850"/>
              <a:gd name="connsiteY80" fmla="*/ 704850 h 4791075"/>
              <a:gd name="connsiteX81" fmla="*/ 3336925 w 3371850"/>
              <a:gd name="connsiteY81" fmla="*/ 536575 h 4791075"/>
              <a:gd name="connsiteX82" fmla="*/ 3311525 w 3371850"/>
              <a:gd name="connsiteY82" fmla="*/ 479425 h 4791075"/>
              <a:gd name="connsiteX83" fmla="*/ 3197225 w 3371850"/>
              <a:gd name="connsiteY83" fmla="*/ 409575 h 4791075"/>
              <a:gd name="connsiteX84" fmla="*/ 3181350 w 3371850"/>
              <a:gd name="connsiteY84" fmla="*/ 352425 h 4791075"/>
              <a:gd name="connsiteX85" fmla="*/ 3133725 w 3371850"/>
              <a:gd name="connsiteY85" fmla="*/ 314325 h 4791075"/>
              <a:gd name="connsiteX86" fmla="*/ 3105150 w 3371850"/>
              <a:gd name="connsiteY86" fmla="*/ 336550 h 4791075"/>
              <a:gd name="connsiteX87" fmla="*/ 3086100 w 3371850"/>
              <a:gd name="connsiteY87" fmla="*/ 387350 h 4791075"/>
              <a:gd name="connsiteX88" fmla="*/ 3086100 w 3371850"/>
              <a:gd name="connsiteY88" fmla="*/ 447675 h 4791075"/>
              <a:gd name="connsiteX89" fmla="*/ 3038475 w 3371850"/>
              <a:gd name="connsiteY89" fmla="*/ 466725 h 4791075"/>
              <a:gd name="connsiteX90" fmla="*/ 2962275 w 3371850"/>
              <a:gd name="connsiteY90" fmla="*/ 419100 h 4791075"/>
              <a:gd name="connsiteX91" fmla="*/ 2867025 w 3371850"/>
              <a:gd name="connsiteY91" fmla="*/ 476250 h 4791075"/>
              <a:gd name="connsiteX92" fmla="*/ 2847975 w 3371850"/>
              <a:gd name="connsiteY92" fmla="*/ 504825 h 4791075"/>
              <a:gd name="connsiteX93" fmla="*/ 2838450 w 3371850"/>
              <a:gd name="connsiteY93" fmla="*/ 542925 h 4791075"/>
              <a:gd name="connsiteX94" fmla="*/ 2762250 w 3371850"/>
              <a:gd name="connsiteY94" fmla="*/ 504825 h 4791075"/>
              <a:gd name="connsiteX95" fmla="*/ 2647950 w 3371850"/>
              <a:gd name="connsiteY95" fmla="*/ 485775 h 4791075"/>
              <a:gd name="connsiteX96" fmla="*/ 2552700 w 3371850"/>
              <a:gd name="connsiteY96" fmla="*/ 438150 h 4791075"/>
              <a:gd name="connsiteX97" fmla="*/ 2419350 w 3371850"/>
              <a:gd name="connsiteY97" fmla="*/ 361950 h 4791075"/>
              <a:gd name="connsiteX98" fmla="*/ 2333625 w 3371850"/>
              <a:gd name="connsiteY98" fmla="*/ 276225 h 4791075"/>
              <a:gd name="connsiteX99" fmla="*/ 2209800 w 3371850"/>
              <a:gd name="connsiteY99" fmla="*/ 266700 h 4791075"/>
              <a:gd name="connsiteX100" fmla="*/ 2171700 w 3371850"/>
              <a:gd name="connsiteY100" fmla="*/ 133350 h 4791075"/>
              <a:gd name="connsiteX101" fmla="*/ 2143125 w 3371850"/>
              <a:gd name="connsiteY101" fmla="*/ 3175 h 4791075"/>
              <a:gd name="connsiteX102" fmla="*/ 1212850 w 3371850"/>
              <a:gd name="connsiteY102" fmla="*/ 0 h 4791075"/>
              <a:gd name="connsiteX103" fmla="*/ 1181100 w 3371850"/>
              <a:gd name="connsiteY103" fmla="*/ 133350 h 4791075"/>
              <a:gd name="connsiteX104" fmla="*/ 1143000 w 3371850"/>
              <a:gd name="connsiteY104" fmla="*/ 238125 h 4791075"/>
              <a:gd name="connsiteX105" fmla="*/ 933450 w 3371850"/>
              <a:gd name="connsiteY105" fmla="*/ 400050 h 4791075"/>
              <a:gd name="connsiteX106" fmla="*/ 923925 w 3371850"/>
              <a:gd name="connsiteY106" fmla="*/ 457200 h 4791075"/>
              <a:gd name="connsiteX107" fmla="*/ 800100 w 3371850"/>
              <a:gd name="connsiteY107" fmla="*/ 476250 h 4791075"/>
              <a:gd name="connsiteX108" fmla="*/ 628650 w 3371850"/>
              <a:gd name="connsiteY108" fmla="*/ 533400 h 4791075"/>
              <a:gd name="connsiteX109" fmla="*/ 581025 w 3371850"/>
              <a:gd name="connsiteY109" fmla="*/ 644525 h 4791075"/>
              <a:gd name="connsiteX110" fmla="*/ 476250 w 3371850"/>
              <a:gd name="connsiteY110" fmla="*/ 762000 h 4791075"/>
              <a:gd name="connsiteX111" fmla="*/ 466725 w 3371850"/>
              <a:gd name="connsiteY111" fmla="*/ 838200 h 4791075"/>
              <a:gd name="connsiteX112" fmla="*/ 476250 w 3371850"/>
              <a:gd name="connsiteY112" fmla="*/ 962025 h 4791075"/>
              <a:gd name="connsiteX113" fmla="*/ 428625 w 3371850"/>
              <a:gd name="connsiteY113" fmla="*/ 1009650 h 4791075"/>
              <a:gd name="connsiteX114" fmla="*/ 247650 w 3371850"/>
              <a:gd name="connsiteY114" fmla="*/ 981075 h 4791075"/>
              <a:gd name="connsiteX115" fmla="*/ 180975 w 3371850"/>
              <a:gd name="connsiteY115" fmla="*/ 990600 h 4791075"/>
              <a:gd name="connsiteX116" fmla="*/ 76200 w 3371850"/>
              <a:gd name="connsiteY116" fmla="*/ 1066800 h 4791075"/>
              <a:gd name="connsiteX117" fmla="*/ 57150 w 3371850"/>
              <a:gd name="connsiteY117" fmla="*/ 1162050 h 4791075"/>
              <a:gd name="connsiteX118" fmla="*/ 57150 w 3371850"/>
              <a:gd name="connsiteY118" fmla="*/ 1295400 h 4791075"/>
              <a:gd name="connsiteX119" fmla="*/ 28575 w 3371850"/>
              <a:gd name="connsiteY119" fmla="*/ 1409700 h 4791075"/>
              <a:gd name="connsiteX120" fmla="*/ 0 w 3371850"/>
              <a:gd name="connsiteY120" fmla="*/ 1524000 h 4791075"/>
              <a:gd name="connsiteX121" fmla="*/ 104775 w 3371850"/>
              <a:gd name="connsiteY121" fmla="*/ 1657350 h 4791075"/>
              <a:gd name="connsiteX122" fmla="*/ 161925 w 3371850"/>
              <a:gd name="connsiteY122" fmla="*/ 1838325 h 4791075"/>
              <a:gd name="connsiteX123" fmla="*/ 219075 w 3371850"/>
              <a:gd name="connsiteY123" fmla="*/ 2047875 h 4791075"/>
              <a:gd name="connsiteX124" fmla="*/ 276225 w 3371850"/>
              <a:gd name="connsiteY124" fmla="*/ 2314575 h 4791075"/>
              <a:gd name="connsiteX125" fmla="*/ 361950 w 3371850"/>
              <a:gd name="connsiteY125" fmla="*/ 2419350 h 4791075"/>
              <a:gd name="connsiteX126" fmla="*/ 333375 w 3371850"/>
              <a:gd name="connsiteY126" fmla="*/ 2628900 h 4791075"/>
              <a:gd name="connsiteX127" fmla="*/ 333375 w 3371850"/>
              <a:gd name="connsiteY127" fmla="*/ 2781300 h 4791075"/>
              <a:gd name="connsiteX128" fmla="*/ 381000 w 3371850"/>
              <a:gd name="connsiteY128" fmla="*/ 2876550 h 4791075"/>
              <a:gd name="connsiteX129" fmla="*/ 457200 w 3371850"/>
              <a:gd name="connsiteY129" fmla="*/ 3267075 h 4791075"/>
              <a:gd name="connsiteX130" fmla="*/ 447675 w 3371850"/>
              <a:gd name="connsiteY130" fmla="*/ 3381375 h 4791075"/>
              <a:gd name="connsiteX131" fmla="*/ 419100 w 3371850"/>
              <a:gd name="connsiteY131" fmla="*/ 3467100 h 4791075"/>
              <a:gd name="connsiteX132" fmla="*/ 400050 w 3371850"/>
              <a:gd name="connsiteY132" fmla="*/ 3648075 h 4791075"/>
              <a:gd name="connsiteX133" fmla="*/ 466725 w 3371850"/>
              <a:gd name="connsiteY133" fmla="*/ 3829050 h 4791075"/>
              <a:gd name="connsiteX134" fmla="*/ 533400 w 3371850"/>
              <a:gd name="connsiteY134" fmla="*/ 3933825 h 4791075"/>
              <a:gd name="connsiteX135" fmla="*/ 533400 w 3371850"/>
              <a:gd name="connsiteY135" fmla="*/ 4038600 h 4791075"/>
              <a:gd name="connsiteX136" fmla="*/ 485775 w 3371850"/>
              <a:gd name="connsiteY136" fmla="*/ 4095750 h 4791075"/>
              <a:gd name="connsiteX137" fmla="*/ 571500 w 3371850"/>
              <a:gd name="connsiteY137" fmla="*/ 4162425 h 4791075"/>
              <a:gd name="connsiteX138" fmla="*/ 704850 w 3371850"/>
              <a:gd name="connsiteY138" fmla="*/ 4276725 h 4791075"/>
              <a:gd name="connsiteX139" fmla="*/ 733425 w 3371850"/>
              <a:gd name="connsiteY139" fmla="*/ 4362450 h 4791075"/>
              <a:gd name="connsiteX140" fmla="*/ 885825 w 3371850"/>
              <a:gd name="connsiteY140" fmla="*/ 4305300 h 4791075"/>
              <a:gd name="connsiteX141" fmla="*/ 962025 w 3371850"/>
              <a:gd name="connsiteY141" fmla="*/ 4295775 h 4791075"/>
              <a:gd name="connsiteX142" fmla="*/ 1123950 w 3371850"/>
              <a:gd name="connsiteY142" fmla="*/ 4457700 h 4791075"/>
              <a:gd name="connsiteX143" fmla="*/ 1209675 w 3371850"/>
              <a:gd name="connsiteY143" fmla="*/ 4524375 h 4791075"/>
              <a:gd name="connsiteX144" fmla="*/ 1428750 w 3371850"/>
              <a:gd name="connsiteY144" fmla="*/ 4600575 h 4791075"/>
              <a:gd name="connsiteX145" fmla="*/ 1704975 w 3371850"/>
              <a:gd name="connsiteY145" fmla="*/ 4724400 h 4791075"/>
              <a:gd name="connsiteX146" fmla="*/ 1885950 w 3371850"/>
              <a:gd name="connsiteY146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71700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170676 w 3371850"/>
              <a:gd name="connsiteY44" fmla="*/ 2201174 h 4791075"/>
              <a:gd name="connsiteX45" fmla="*/ 1009650 w 3371850"/>
              <a:gd name="connsiteY45" fmla="*/ 2168525 h 4791075"/>
              <a:gd name="connsiteX46" fmla="*/ 876300 w 3371850"/>
              <a:gd name="connsiteY46" fmla="*/ 2171700 h 4791075"/>
              <a:gd name="connsiteX47" fmla="*/ 847725 w 3371850"/>
              <a:gd name="connsiteY47" fmla="*/ 2085975 h 4791075"/>
              <a:gd name="connsiteX48" fmla="*/ 885825 w 3371850"/>
              <a:gd name="connsiteY48" fmla="*/ 1962150 h 4791075"/>
              <a:gd name="connsiteX49" fmla="*/ 952500 w 3371850"/>
              <a:gd name="connsiteY49" fmla="*/ 1828800 h 4791075"/>
              <a:gd name="connsiteX50" fmla="*/ 1000125 w 3371850"/>
              <a:gd name="connsiteY50" fmla="*/ 1666875 h 4791075"/>
              <a:gd name="connsiteX51" fmla="*/ 971550 w 3371850"/>
              <a:gd name="connsiteY51" fmla="*/ 1590675 h 4791075"/>
              <a:gd name="connsiteX52" fmla="*/ 904875 w 3371850"/>
              <a:gd name="connsiteY52" fmla="*/ 1533525 h 4791075"/>
              <a:gd name="connsiteX53" fmla="*/ 752475 w 3371850"/>
              <a:gd name="connsiteY53" fmla="*/ 1504950 h 4791075"/>
              <a:gd name="connsiteX54" fmla="*/ 628650 w 3371850"/>
              <a:gd name="connsiteY54" fmla="*/ 1438275 h 4791075"/>
              <a:gd name="connsiteX55" fmla="*/ 647700 w 3371850"/>
              <a:gd name="connsiteY55" fmla="*/ 1333500 h 4791075"/>
              <a:gd name="connsiteX56" fmla="*/ 755650 w 3371850"/>
              <a:gd name="connsiteY56" fmla="*/ 1219200 h 4791075"/>
              <a:gd name="connsiteX57" fmla="*/ 857250 w 3371850"/>
              <a:gd name="connsiteY57" fmla="*/ 1143000 h 4791075"/>
              <a:gd name="connsiteX58" fmla="*/ 904875 w 3371850"/>
              <a:gd name="connsiteY58" fmla="*/ 1104900 h 4791075"/>
              <a:gd name="connsiteX59" fmla="*/ 904875 w 3371850"/>
              <a:gd name="connsiteY59" fmla="*/ 1047750 h 4791075"/>
              <a:gd name="connsiteX60" fmla="*/ 923925 w 3371850"/>
              <a:gd name="connsiteY60" fmla="*/ 981075 h 4791075"/>
              <a:gd name="connsiteX61" fmla="*/ 952500 w 3371850"/>
              <a:gd name="connsiteY61" fmla="*/ 952500 h 4791075"/>
              <a:gd name="connsiteX62" fmla="*/ 962025 w 3371850"/>
              <a:gd name="connsiteY62" fmla="*/ 885825 h 4791075"/>
              <a:gd name="connsiteX63" fmla="*/ 962025 w 3371850"/>
              <a:gd name="connsiteY63" fmla="*/ 800100 h 4791075"/>
              <a:gd name="connsiteX64" fmla="*/ 1031875 w 3371850"/>
              <a:gd name="connsiteY64" fmla="*/ 685800 h 4791075"/>
              <a:gd name="connsiteX65" fmla="*/ 1276350 w 3371850"/>
              <a:gd name="connsiteY65" fmla="*/ 701675 h 4791075"/>
              <a:gd name="connsiteX66" fmla="*/ 1476375 w 3371850"/>
              <a:gd name="connsiteY66" fmla="*/ 600075 h 4791075"/>
              <a:gd name="connsiteX67" fmla="*/ 1600200 w 3371850"/>
              <a:gd name="connsiteY67" fmla="*/ 488950 h 4791075"/>
              <a:gd name="connsiteX68" fmla="*/ 1749425 w 3371850"/>
              <a:gd name="connsiteY68" fmla="*/ 454025 h 4791075"/>
              <a:gd name="connsiteX69" fmla="*/ 1914525 w 3371850"/>
              <a:gd name="connsiteY69" fmla="*/ 466725 h 4791075"/>
              <a:gd name="connsiteX70" fmla="*/ 2152650 w 3371850"/>
              <a:gd name="connsiteY70" fmla="*/ 542925 h 4791075"/>
              <a:gd name="connsiteX71" fmla="*/ 2286000 w 3371850"/>
              <a:gd name="connsiteY71" fmla="*/ 638175 h 4791075"/>
              <a:gd name="connsiteX72" fmla="*/ 2352675 w 3371850"/>
              <a:gd name="connsiteY72" fmla="*/ 695325 h 4791075"/>
              <a:gd name="connsiteX73" fmla="*/ 2667000 w 3371850"/>
              <a:gd name="connsiteY73" fmla="*/ 733425 h 4791075"/>
              <a:gd name="connsiteX74" fmla="*/ 2835275 w 3371850"/>
              <a:gd name="connsiteY74" fmla="*/ 755650 h 4791075"/>
              <a:gd name="connsiteX75" fmla="*/ 2943225 w 3371850"/>
              <a:gd name="connsiteY75" fmla="*/ 809625 h 4791075"/>
              <a:gd name="connsiteX76" fmla="*/ 3105150 w 3371850"/>
              <a:gd name="connsiteY76" fmla="*/ 790575 h 4791075"/>
              <a:gd name="connsiteX77" fmla="*/ 3190875 w 3371850"/>
              <a:gd name="connsiteY77" fmla="*/ 790575 h 4791075"/>
              <a:gd name="connsiteX78" fmla="*/ 3311525 w 3371850"/>
              <a:gd name="connsiteY78" fmla="*/ 787400 h 4791075"/>
              <a:gd name="connsiteX79" fmla="*/ 3340100 w 3371850"/>
              <a:gd name="connsiteY79" fmla="*/ 765175 h 4791075"/>
              <a:gd name="connsiteX80" fmla="*/ 3371850 w 3371850"/>
              <a:gd name="connsiteY80" fmla="*/ 704850 h 4791075"/>
              <a:gd name="connsiteX81" fmla="*/ 3336925 w 3371850"/>
              <a:gd name="connsiteY81" fmla="*/ 536575 h 4791075"/>
              <a:gd name="connsiteX82" fmla="*/ 3311525 w 3371850"/>
              <a:gd name="connsiteY82" fmla="*/ 479425 h 4791075"/>
              <a:gd name="connsiteX83" fmla="*/ 3197225 w 3371850"/>
              <a:gd name="connsiteY83" fmla="*/ 409575 h 4791075"/>
              <a:gd name="connsiteX84" fmla="*/ 3181350 w 3371850"/>
              <a:gd name="connsiteY84" fmla="*/ 352425 h 4791075"/>
              <a:gd name="connsiteX85" fmla="*/ 3133725 w 3371850"/>
              <a:gd name="connsiteY85" fmla="*/ 314325 h 4791075"/>
              <a:gd name="connsiteX86" fmla="*/ 3105150 w 3371850"/>
              <a:gd name="connsiteY86" fmla="*/ 336550 h 4791075"/>
              <a:gd name="connsiteX87" fmla="*/ 3086100 w 3371850"/>
              <a:gd name="connsiteY87" fmla="*/ 387350 h 4791075"/>
              <a:gd name="connsiteX88" fmla="*/ 3086100 w 3371850"/>
              <a:gd name="connsiteY88" fmla="*/ 447675 h 4791075"/>
              <a:gd name="connsiteX89" fmla="*/ 3038475 w 3371850"/>
              <a:gd name="connsiteY89" fmla="*/ 466725 h 4791075"/>
              <a:gd name="connsiteX90" fmla="*/ 2962275 w 3371850"/>
              <a:gd name="connsiteY90" fmla="*/ 419100 h 4791075"/>
              <a:gd name="connsiteX91" fmla="*/ 2867025 w 3371850"/>
              <a:gd name="connsiteY91" fmla="*/ 476250 h 4791075"/>
              <a:gd name="connsiteX92" fmla="*/ 2847975 w 3371850"/>
              <a:gd name="connsiteY92" fmla="*/ 504825 h 4791075"/>
              <a:gd name="connsiteX93" fmla="*/ 2838450 w 3371850"/>
              <a:gd name="connsiteY93" fmla="*/ 542925 h 4791075"/>
              <a:gd name="connsiteX94" fmla="*/ 2762250 w 3371850"/>
              <a:gd name="connsiteY94" fmla="*/ 504825 h 4791075"/>
              <a:gd name="connsiteX95" fmla="*/ 2647950 w 3371850"/>
              <a:gd name="connsiteY95" fmla="*/ 485775 h 4791075"/>
              <a:gd name="connsiteX96" fmla="*/ 2552700 w 3371850"/>
              <a:gd name="connsiteY96" fmla="*/ 438150 h 4791075"/>
              <a:gd name="connsiteX97" fmla="*/ 2419350 w 3371850"/>
              <a:gd name="connsiteY97" fmla="*/ 361950 h 4791075"/>
              <a:gd name="connsiteX98" fmla="*/ 2333625 w 3371850"/>
              <a:gd name="connsiteY98" fmla="*/ 276225 h 4791075"/>
              <a:gd name="connsiteX99" fmla="*/ 2209800 w 3371850"/>
              <a:gd name="connsiteY99" fmla="*/ 266700 h 4791075"/>
              <a:gd name="connsiteX100" fmla="*/ 2171700 w 3371850"/>
              <a:gd name="connsiteY100" fmla="*/ 133350 h 4791075"/>
              <a:gd name="connsiteX101" fmla="*/ 2143125 w 3371850"/>
              <a:gd name="connsiteY101" fmla="*/ 3175 h 4791075"/>
              <a:gd name="connsiteX102" fmla="*/ 1212850 w 3371850"/>
              <a:gd name="connsiteY102" fmla="*/ 0 h 4791075"/>
              <a:gd name="connsiteX103" fmla="*/ 1181100 w 3371850"/>
              <a:gd name="connsiteY103" fmla="*/ 133350 h 4791075"/>
              <a:gd name="connsiteX104" fmla="*/ 1143000 w 3371850"/>
              <a:gd name="connsiteY104" fmla="*/ 238125 h 4791075"/>
              <a:gd name="connsiteX105" fmla="*/ 933450 w 3371850"/>
              <a:gd name="connsiteY105" fmla="*/ 400050 h 4791075"/>
              <a:gd name="connsiteX106" fmla="*/ 923925 w 3371850"/>
              <a:gd name="connsiteY106" fmla="*/ 457200 h 4791075"/>
              <a:gd name="connsiteX107" fmla="*/ 800100 w 3371850"/>
              <a:gd name="connsiteY107" fmla="*/ 476250 h 4791075"/>
              <a:gd name="connsiteX108" fmla="*/ 628650 w 3371850"/>
              <a:gd name="connsiteY108" fmla="*/ 533400 h 4791075"/>
              <a:gd name="connsiteX109" fmla="*/ 581025 w 3371850"/>
              <a:gd name="connsiteY109" fmla="*/ 644525 h 4791075"/>
              <a:gd name="connsiteX110" fmla="*/ 476250 w 3371850"/>
              <a:gd name="connsiteY110" fmla="*/ 762000 h 4791075"/>
              <a:gd name="connsiteX111" fmla="*/ 466725 w 3371850"/>
              <a:gd name="connsiteY111" fmla="*/ 838200 h 4791075"/>
              <a:gd name="connsiteX112" fmla="*/ 476250 w 3371850"/>
              <a:gd name="connsiteY112" fmla="*/ 962025 h 4791075"/>
              <a:gd name="connsiteX113" fmla="*/ 428625 w 3371850"/>
              <a:gd name="connsiteY113" fmla="*/ 1009650 h 4791075"/>
              <a:gd name="connsiteX114" fmla="*/ 247650 w 3371850"/>
              <a:gd name="connsiteY114" fmla="*/ 981075 h 4791075"/>
              <a:gd name="connsiteX115" fmla="*/ 180975 w 3371850"/>
              <a:gd name="connsiteY115" fmla="*/ 990600 h 4791075"/>
              <a:gd name="connsiteX116" fmla="*/ 76200 w 3371850"/>
              <a:gd name="connsiteY116" fmla="*/ 1066800 h 4791075"/>
              <a:gd name="connsiteX117" fmla="*/ 57150 w 3371850"/>
              <a:gd name="connsiteY117" fmla="*/ 1162050 h 4791075"/>
              <a:gd name="connsiteX118" fmla="*/ 57150 w 3371850"/>
              <a:gd name="connsiteY118" fmla="*/ 1295400 h 4791075"/>
              <a:gd name="connsiteX119" fmla="*/ 28575 w 3371850"/>
              <a:gd name="connsiteY119" fmla="*/ 1409700 h 4791075"/>
              <a:gd name="connsiteX120" fmla="*/ 0 w 3371850"/>
              <a:gd name="connsiteY120" fmla="*/ 1524000 h 4791075"/>
              <a:gd name="connsiteX121" fmla="*/ 104775 w 3371850"/>
              <a:gd name="connsiteY121" fmla="*/ 1657350 h 4791075"/>
              <a:gd name="connsiteX122" fmla="*/ 161925 w 3371850"/>
              <a:gd name="connsiteY122" fmla="*/ 1838325 h 4791075"/>
              <a:gd name="connsiteX123" fmla="*/ 219075 w 3371850"/>
              <a:gd name="connsiteY123" fmla="*/ 2047875 h 4791075"/>
              <a:gd name="connsiteX124" fmla="*/ 276225 w 3371850"/>
              <a:gd name="connsiteY124" fmla="*/ 2314575 h 4791075"/>
              <a:gd name="connsiteX125" fmla="*/ 361950 w 3371850"/>
              <a:gd name="connsiteY125" fmla="*/ 2419350 h 4791075"/>
              <a:gd name="connsiteX126" fmla="*/ 333375 w 3371850"/>
              <a:gd name="connsiteY126" fmla="*/ 2628900 h 4791075"/>
              <a:gd name="connsiteX127" fmla="*/ 333375 w 3371850"/>
              <a:gd name="connsiteY127" fmla="*/ 2781300 h 4791075"/>
              <a:gd name="connsiteX128" fmla="*/ 381000 w 3371850"/>
              <a:gd name="connsiteY128" fmla="*/ 2876550 h 4791075"/>
              <a:gd name="connsiteX129" fmla="*/ 457200 w 3371850"/>
              <a:gd name="connsiteY129" fmla="*/ 3267075 h 4791075"/>
              <a:gd name="connsiteX130" fmla="*/ 447675 w 3371850"/>
              <a:gd name="connsiteY130" fmla="*/ 3381375 h 4791075"/>
              <a:gd name="connsiteX131" fmla="*/ 419100 w 3371850"/>
              <a:gd name="connsiteY131" fmla="*/ 3467100 h 4791075"/>
              <a:gd name="connsiteX132" fmla="*/ 400050 w 3371850"/>
              <a:gd name="connsiteY132" fmla="*/ 3648075 h 4791075"/>
              <a:gd name="connsiteX133" fmla="*/ 466725 w 3371850"/>
              <a:gd name="connsiteY133" fmla="*/ 3829050 h 4791075"/>
              <a:gd name="connsiteX134" fmla="*/ 533400 w 3371850"/>
              <a:gd name="connsiteY134" fmla="*/ 3933825 h 4791075"/>
              <a:gd name="connsiteX135" fmla="*/ 533400 w 3371850"/>
              <a:gd name="connsiteY135" fmla="*/ 4038600 h 4791075"/>
              <a:gd name="connsiteX136" fmla="*/ 485775 w 3371850"/>
              <a:gd name="connsiteY136" fmla="*/ 4095750 h 4791075"/>
              <a:gd name="connsiteX137" fmla="*/ 571500 w 3371850"/>
              <a:gd name="connsiteY137" fmla="*/ 4162425 h 4791075"/>
              <a:gd name="connsiteX138" fmla="*/ 704850 w 3371850"/>
              <a:gd name="connsiteY138" fmla="*/ 4276725 h 4791075"/>
              <a:gd name="connsiteX139" fmla="*/ 733425 w 3371850"/>
              <a:gd name="connsiteY139" fmla="*/ 4362450 h 4791075"/>
              <a:gd name="connsiteX140" fmla="*/ 885825 w 3371850"/>
              <a:gd name="connsiteY140" fmla="*/ 4305300 h 4791075"/>
              <a:gd name="connsiteX141" fmla="*/ 962025 w 3371850"/>
              <a:gd name="connsiteY141" fmla="*/ 4295775 h 4791075"/>
              <a:gd name="connsiteX142" fmla="*/ 1123950 w 3371850"/>
              <a:gd name="connsiteY142" fmla="*/ 4457700 h 4791075"/>
              <a:gd name="connsiteX143" fmla="*/ 1209675 w 3371850"/>
              <a:gd name="connsiteY143" fmla="*/ 4524375 h 4791075"/>
              <a:gd name="connsiteX144" fmla="*/ 1428750 w 3371850"/>
              <a:gd name="connsiteY144" fmla="*/ 4600575 h 4791075"/>
              <a:gd name="connsiteX145" fmla="*/ 1704975 w 3371850"/>
              <a:gd name="connsiteY145" fmla="*/ 4724400 h 4791075"/>
              <a:gd name="connsiteX146" fmla="*/ 1885950 w 3371850"/>
              <a:gd name="connsiteY146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170676 w 3371850"/>
              <a:gd name="connsiteY44" fmla="*/ 2201174 h 4791075"/>
              <a:gd name="connsiteX45" fmla="*/ 1009650 w 3371850"/>
              <a:gd name="connsiteY45" fmla="*/ 2168525 h 4791075"/>
              <a:gd name="connsiteX46" fmla="*/ 876300 w 3371850"/>
              <a:gd name="connsiteY46" fmla="*/ 2171700 h 4791075"/>
              <a:gd name="connsiteX47" fmla="*/ 847725 w 3371850"/>
              <a:gd name="connsiteY47" fmla="*/ 2085975 h 4791075"/>
              <a:gd name="connsiteX48" fmla="*/ 885825 w 3371850"/>
              <a:gd name="connsiteY48" fmla="*/ 1962150 h 4791075"/>
              <a:gd name="connsiteX49" fmla="*/ 952500 w 3371850"/>
              <a:gd name="connsiteY49" fmla="*/ 1828800 h 4791075"/>
              <a:gd name="connsiteX50" fmla="*/ 1000125 w 3371850"/>
              <a:gd name="connsiteY50" fmla="*/ 1666875 h 4791075"/>
              <a:gd name="connsiteX51" fmla="*/ 971550 w 3371850"/>
              <a:gd name="connsiteY51" fmla="*/ 1590675 h 4791075"/>
              <a:gd name="connsiteX52" fmla="*/ 904875 w 3371850"/>
              <a:gd name="connsiteY52" fmla="*/ 1533525 h 4791075"/>
              <a:gd name="connsiteX53" fmla="*/ 752475 w 3371850"/>
              <a:gd name="connsiteY53" fmla="*/ 1504950 h 4791075"/>
              <a:gd name="connsiteX54" fmla="*/ 628650 w 3371850"/>
              <a:gd name="connsiteY54" fmla="*/ 1438275 h 4791075"/>
              <a:gd name="connsiteX55" fmla="*/ 647700 w 3371850"/>
              <a:gd name="connsiteY55" fmla="*/ 1333500 h 4791075"/>
              <a:gd name="connsiteX56" fmla="*/ 755650 w 3371850"/>
              <a:gd name="connsiteY56" fmla="*/ 1219200 h 4791075"/>
              <a:gd name="connsiteX57" fmla="*/ 857250 w 3371850"/>
              <a:gd name="connsiteY57" fmla="*/ 1143000 h 4791075"/>
              <a:gd name="connsiteX58" fmla="*/ 904875 w 3371850"/>
              <a:gd name="connsiteY58" fmla="*/ 1104900 h 4791075"/>
              <a:gd name="connsiteX59" fmla="*/ 904875 w 3371850"/>
              <a:gd name="connsiteY59" fmla="*/ 1047750 h 4791075"/>
              <a:gd name="connsiteX60" fmla="*/ 923925 w 3371850"/>
              <a:gd name="connsiteY60" fmla="*/ 981075 h 4791075"/>
              <a:gd name="connsiteX61" fmla="*/ 952500 w 3371850"/>
              <a:gd name="connsiteY61" fmla="*/ 952500 h 4791075"/>
              <a:gd name="connsiteX62" fmla="*/ 962025 w 3371850"/>
              <a:gd name="connsiteY62" fmla="*/ 885825 h 4791075"/>
              <a:gd name="connsiteX63" fmla="*/ 962025 w 3371850"/>
              <a:gd name="connsiteY63" fmla="*/ 800100 h 4791075"/>
              <a:gd name="connsiteX64" fmla="*/ 1031875 w 3371850"/>
              <a:gd name="connsiteY64" fmla="*/ 685800 h 4791075"/>
              <a:gd name="connsiteX65" fmla="*/ 1276350 w 3371850"/>
              <a:gd name="connsiteY65" fmla="*/ 701675 h 4791075"/>
              <a:gd name="connsiteX66" fmla="*/ 1476375 w 3371850"/>
              <a:gd name="connsiteY66" fmla="*/ 600075 h 4791075"/>
              <a:gd name="connsiteX67" fmla="*/ 1600200 w 3371850"/>
              <a:gd name="connsiteY67" fmla="*/ 488950 h 4791075"/>
              <a:gd name="connsiteX68" fmla="*/ 1749425 w 3371850"/>
              <a:gd name="connsiteY68" fmla="*/ 454025 h 4791075"/>
              <a:gd name="connsiteX69" fmla="*/ 1914525 w 3371850"/>
              <a:gd name="connsiteY69" fmla="*/ 466725 h 4791075"/>
              <a:gd name="connsiteX70" fmla="*/ 2152650 w 3371850"/>
              <a:gd name="connsiteY70" fmla="*/ 542925 h 4791075"/>
              <a:gd name="connsiteX71" fmla="*/ 2286000 w 3371850"/>
              <a:gd name="connsiteY71" fmla="*/ 638175 h 4791075"/>
              <a:gd name="connsiteX72" fmla="*/ 2352675 w 3371850"/>
              <a:gd name="connsiteY72" fmla="*/ 695325 h 4791075"/>
              <a:gd name="connsiteX73" fmla="*/ 2667000 w 3371850"/>
              <a:gd name="connsiteY73" fmla="*/ 733425 h 4791075"/>
              <a:gd name="connsiteX74" fmla="*/ 2835275 w 3371850"/>
              <a:gd name="connsiteY74" fmla="*/ 755650 h 4791075"/>
              <a:gd name="connsiteX75" fmla="*/ 2943225 w 3371850"/>
              <a:gd name="connsiteY75" fmla="*/ 809625 h 4791075"/>
              <a:gd name="connsiteX76" fmla="*/ 3105150 w 3371850"/>
              <a:gd name="connsiteY76" fmla="*/ 790575 h 4791075"/>
              <a:gd name="connsiteX77" fmla="*/ 3190875 w 3371850"/>
              <a:gd name="connsiteY77" fmla="*/ 790575 h 4791075"/>
              <a:gd name="connsiteX78" fmla="*/ 3311525 w 3371850"/>
              <a:gd name="connsiteY78" fmla="*/ 787400 h 4791075"/>
              <a:gd name="connsiteX79" fmla="*/ 3340100 w 3371850"/>
              <a:gd name="connsiteY79" fmla="*/ 765175 h 4791075"/>
              <a:gd name="connsiteX80" fmla="*/ 3371850 w 3371850"/>
              <a:gd name="connsiteY80" fmla="*/ 704850 h 4791075"/>
              <a:gd name="connsiteX81" fmla="*/ 3336925 w 3371850"/>
              <a:gd name="connsiteY81" fmla="*/ 536575 h 4791075"/>
              <a:gd name="connsiteX82" fmla="*/ 3311525 w 3371850"/>
              <a:gd name="connsiteY82" fmla="*/ 479425 h 4791075"/>
              <a:gd name="connsiteX83" fmla="*/ 3197225 w 3371850"/>
              <a:gd name="connsiteY83" fmla="*/ 409575 h 4791075"/>
              <a:gd name="connsiteX84" fmla="*/ 3181350 w 3371850"/>
              <a:gd name="connsiteY84" fmla="*/ 352425 h 4791075"/>
              <a:gd name="connsiteX85" fmla="*/ 3133725 w 3371850"/>
              <a:gd name="connsiteY85" fmla="*/ 314325 h 4791075"/>
              <a:gd name="connsiteX86" fmla="*/ 3105150 w 3371850"/>
              <a:gd name="connsiteY86" fmla="*/ 336550 h 4791075"/>
              <a:gd name="connsiteX87" fmla="*/ 3086100 w 3371850"/>
              <a:gd name="connsiteY87" fmla="*/ 387350 h 4791075"/>
              <a:gd name="connsiteX88" fmla="*/ 3086100 w 3371850"/>
              <a:gd name="connsiteY88" fmla="*/ 447675 h 4791075"/>
              <a:gd name="connsiteX89" fmla="*/ 3038475 w 3371850"/>
              <a:gd name="connsiteY89" fmla="*/ 466725 h 4791075"/>
              <a:gd name="connsiteX90" fmla="*/ 2962275 w 3371850"/>
              <a:gd name="connsiteY90" fmla="*/ 419100 h 4791075"/>
              <a:gd name="connsiteX91" fmla="*/ 2867025 w 3371850"/>
              <a:gd name="connsiteY91" fmla="*/ 476250 h 4791075"/>
              <a:gd name="connsiteX92" fmla="*/ 2847975 w 3371850"/>
              <a:gd name="connsiteY92" fmla="*/ 504825 h 4791075"/>
              <a:gd name="connsiteX93" fmla="*/ 2838450 w 3371850"/>
              <a:gd name="connsiteY93" fmla="*/ 542925 h 4791075"/>
              <a:gd name="connsiteX94" fmla="*/ 2762250 w 3371850"/>
              <a:gd name="connsiteY94" fmla="*/ 504825 h 4791075"/>
              <a:gd name="connsiteX95" fmla="*/ 2647950 w 3371850"/>
              <a:gd name="connsiteY95" fmla="*/ 485775 h 4791075"/>
              <a:gd name="connsiteX96" fmla="*/ 2552700 w 3371850"/>
              <a:gd name="connsiteY96" fmla="*/ 438150 h 4791075"/>
              <a:gd name="connsiteX97" fmla="*/ 2419350 w 3371850"/>
              <a:gd name="connsiteY97" fmla="*/ 361950 h 4791075"/>
              <a:gd name="connsiteX98" fmla="*/ 2333625 w 3371850"/>
              <a:gd name="connsiteY98" fmla="*/ 276225 h 4791075"/>
              <a:gd name="connsiteX99" fmla="*/ 2209800 w 3371850"/>
              <a:gd name="connsiteY99" fmla="*/ 266700 h 4791075"/>
              <a:gd name="connsiteX100" fmla="*/ 2171700 w 3371850"/>
              <a:gd name="connsiteY100" fmla="*/ 133350 h 4791075"/>
              <a:gd name="connsiteX101" fmla="*/ 2143125 w 3371850"/>
              <a:gd name="connsiteY101" fmla="*/ 3175 h 4791075"/>
              <a:gd name="connsiteX102" fmla="*/ 1212850 w 3371850"/>
              <a:gd name="connsiteY102" fmla="*/ 0 h 4791075"/>
              <a:gd name="connsiteX103" fmla="*/ 1181100 w 3371850"/>
              <a:gd name="connsiteY103" fmla="*/ 133350 h 4791075"/>
              <a:gd name="connsiteX104" fmla="*/ 1143000 w 3371850"/>
              <a:gd name="connsiteY104" fmla="*/ 238125 h 4791075"/>
              <a:gd name="connsiteX105" fmla="*/ 933450 w 3371850"/>
              <a:gd name="connsiteY105" fmla="*/ 400050 h 4791075"/>
              <a:gd name="connsiteX106" fmla="*/ 923925 w 3371850"/>
              <a:gd name="connsiteY106" fmla="*/ 457200 h 4791075"/>
              <a:gd name="connsiteX107" fmla="*/ 800100 w 3371850"/>
              <a:gd name="connsiteY107" fmla="*/ 476250 h 4791075"/>
              <a:gd name="connsiteX108" fmla="*/ 628650 w 3371850"/>
              <a:gd name="connsiteY108" fmla="*/ 533400 h 4791075"/>
              <a:gd name="connsiteX109" fmla="*/ 581025 w 3371850"/>
              <a:gd name="connsiteY109" fmla="*/ 644525 h 4791075"/>
              <a:gd name="connsiteX110" fmla="*/ 476250 w 3371850"/>
              <a:gd name="connsiteY110" fmla="*/ 762000 h 4791075"/>
              <a:gd name="connsiteX111" fmla="*/ 466725 w 3371850"/>
              <a:gd name="connsiteY111" fmla="*/ 838200 h 4791075"/>
              <a:gd name="connsiteX112" fmla="*/ 476250 w 3371850"/>
              <a:gd name="connsiteY112" fmla="*/ 962025 h 4791075"/>
              <a:gd name="connsiteX113" fmla="*/ 428625 w 3371850"/>
              <a:gd name="connsiteY113" fmla="*/ 1009650 h 4791075"/>
              <a:gd name="connsiteX114" fmla="*/ 247650 w 3371850"/>
              <a:gd name="connsiteY114" fmla="*/ 981075 h 4791075"/>
              <a:gd name="connsiteX115" fmla="*/ 180975 w 3371850"/>
              <a:gd name="connsiteY115" fmla="*/ 990600 h 4791075"/>
              <a:gd name="connsiteX116" fmla="*/ 76200 w 3371850"/>
              <a:gd name="connsiteY116" fmla="*/ 1066800 h 4791075"/>
              <a:gd name="connsiteX117" fmla="*/ 57150 w 3371850"/>
              <a:gd name="connsiteY117" fmla="*/ 1162050 h 4791075"/>
              <a:gd name="connsiteX118" fmla="*/ 57150 w 3371850"/>
              <a:gd name="connsiteY118" fmla="*/ 1295400 h 4791075"/>
              <a:gd name="connsiteX119" fmla="*/ 28575 w 3371850"/>
              <a:gd name="connsiteY119" fmla="*/ 1409700 h 4791075"/>
              <a:gd name="connsiteX120" fmla="*/ 0 w 3371850"/>
              <a:gd name="connsiteY120" fmla="*/ 1524000 h 4791075"/>
              <a:gd name="connsiteX121" fmla="*/ 104775 w 3371850"/>
              <a:gd name="connsiteY121" fmla="*/ 1657350 h 4791075"/>
              <a:gd name="connsiteX122" fmla="*/ 161925 w 3371850"/>
              <a:gd name="connsiteY122" fmla="*/ 1838325 h 4791075"/>
              <a:gd name="connsiteX123" fmla="*/ 219075 w 3371850"/>
              <a:gd name="connsiteY123" fmla="*/ 2047875 h 4791075"/>
              <a:gd name="connsiteX124" fmla="*/ 276225 w 3371850"/>
              <a:gd name="connsiteY124" fmla="*/ 2314575 h 4791075"/>
              <a:gd name="connsiteX125" fmla="*/ 361950 w 3371850"/>
              <a:gd name="connsiteY125" fmla="*/ 2419350 h 4791075"/>
              <a:gd name="connsiteX126" fmla="*/ 333375 w 3371850"/>
              <a:gd name="connsiteY126" fmla="*/ 2628900 h 4791075"/>
              <a:gd name="connsiteX127" fmla="*/ 333375 w 3371850"/>
              <a:gd name="connsiteY127" fmla="*/ 2781300 h 4791075"/>
              <a:gd name="connsiteX128" fmla="*/ 381000 w 3371850"/>
              <a:gd name="connsiteY128" fmla="*/ 2876550 h 4791075"/>
              <a:gd name="connsiteX129" fmla="*/ 457200 w 3371850"/>
              <a:gd name="connsiteY129" fmla="*/ 3267075 h 4791075"/>
              <a:gd name="connsiteX130" fmla="*/ 447675 w 3371850"/>
              <a:gd name="connsiteY130" fmla="*/ 3381375 h 4791075"/>
              <a:gd name="connsiteX131" fmla="*/ 419100 w 3371850"/>
              <a:gd name="connsiteY131" fmla="*/ 3467100 h 4791075"/>
              <a:gd name="connsiteX132" fmla="*/ 400050 w 3371850"/>
              <a:gd name="connsiteY132" fmla="*/ 3648075 h 4791075"/>
              <a:gd name="connsiteX133" fmla="*/ 466725 w 3371850"/>
              <a:gd name="connsiteY133" fmla="*/ 3829050 h 4791075"/>
              <a:gd name="connsiteX134" fmla="*/ 533400 w 3371850"/>
              <a:gd name="connsiteY134" fmla="*/ 3933825 h 4791075"/>
              <a:gd name="connsiteX135" fmla="*/ 533400 w 3371850"/>
              <a:gd name="connsiteY135" fmla="*/ 4038600 h 4791075"/>
              <a:gd name="connsiteX136" fmla="*/ 485775 w 3371850"/>
              <a:gd name="connsiteY136" fmla="*/ 4095750 h 4791075"/>
              <a:gd name="connsiteX137" fmla="*/ 571500 w 3371850"/>
              <a:gd name="connsiteY137" fmla="*/ 4162425 h 4791075"/>
              <a:gd name="connsiteX138" fmla="*/ 704850 w 3371850"/>
              <a:gd name="connsiteY138" fmla="*/ 4276725 h 4791075"/>
              <a:gd name="connsiteX139" fmla="*/ 733425 w 3371850"/>
              <a:gd name="connsiteY139" fmla="*/ 4362450 h 4791075"/>
              <a:gd name="connsiteX140" fmla="*/ 885825 w 3371850"/>
              <a:gd name="connsiteY140" fmla="*/ 4305300 h 4791075"/>
              <a:gd name="connsiteX141" fmla="*/ 962025 w 3371850"/>
              <a:gd name="connsiteY141" fmla="*/ 4295775 h 4791075"/>
              <a:gd name="connsiteX142" fmla="*/ 1123950 w 3371850"/>
              <a:gd name="connsiteY142" fmla="*/ 4457700 h 4791075"/>
              <a:gd name="connsiteX143" fmla="*/ 1209675 w 3371850"/>
              <a:gd name="connsiteY143" fmla="*/ 4524375 h 4791075"/>
              <a:gd name="connsiteX144" fmla="*/ 1428750 w 3371850"/>
              <a:gd name="connsiteY144" fmla="*/ 4600575 h 4791075"/>
              <a:gd name="connsiteX145" fmla="*/ 1704975 w 3371850"/>
              <a:gd name="connsiteY145" fmla="*/ 4724400 h 4791075"/>
              <a:gd name="connsiteX146" fmla="*/ 1885950 w 3371850"/>
              <a:gd name="connsiteY146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164326 w 3371850"/>
              <a:gd name="connsiteY44" fmla="*/ 2185299 h 4791075"/>
              <a:gd name="connsiteX45" fmla="*/ 1009650 w 3371850"/>
              <a:gd name="connsiteY45" fmla="*/ 2168525 h 4791075"/>
              <a:gd name="connsiteX46" fmla="*/ 876300 w 3371850"/>
              <a:gd name="connsiteY46" fmla="*/ 2171700 h 4791075"/>
              <a:gd name="connsiteX47" fmla="*/ 847725 w 3371850"/>
              <a:gd name="connsiteY47" fmla="*/ 2085975 h 4791075"/>
              <a:gd name="connsiteX48" fmla="*/ 885825 w 3371850"/>
              <a:gd name="connsiteY48" fmla="*/ 1962150 h 4791075"/>
              <a:gd name="connsiteX49" fmla="*/ 952500 w 3371850"/>
              <a:gd name="connsiteY49" fmla="*/ 1828800 h 4791075"/>
              <a:gd name="connsiteX50" fmla="*/ 1000125 w 3371850"/>
              <a:gd name="connsiteY50" fmla="*/ 1666875 h 4791075"/>
              <a:gd name="connsiteX51" fmla="*/ 971550 w 3371850"/>
              <a:gd name="connsiteY51" fmla="*/ 1590675 h 4791075"/>
              <a:gd name="connsiteX52" fmla="*/ 904875 w 3371850"/>
              <a:gd name="connsiteY52" fmla="*/ 1533525 h 4791075"/>
              <a:gd name="connsiteX53" fmla="*/ 752475 w 3371850"/>
              <a:gd name="connsiteY53" fmla="*/ 1504950 h 4791075"/>
              <a:gd name="connsiteX54" fmla="*/ 628650 w 3371850"/>
              <a:gd name="connsiteY54" fmla="*/ 1438275 h 4791075"/>
              <a:gd name="connsiteX55" fmla="*/ 647700 w 3371850"/>
              <a:gd name="connsiteY55" fmla="*/ 1333500 h 4791075"/>
              <a:gd name="connsiteX56" fmla="*/ 755650 w 3371850"/>
              <a:gd name="connsiteY56" fmla="*/ 1219200 h 4791075"/>
              <a:gd name="connsiteX57" fmla="*/ 857250 w 3371850"/>
              <a:gd name="connsiteY57" fmla="*/ 1143000 h 4791075"/>
              <a:gd name="connsiteX58" fmla="*/ 904875 w 3371850"/>
              <a:gd name="connsiteY58" fmla="*/ 1104900 h 4791075"/>
              <a:gd name="connsiteX59" fmla="*/ 904875 w 3371850"/>
              <a:gd name="connsiteY59" fmla="*/ 1047750 h 4791075"/>
              <a:gd name="connsiteX60" fmla="*/ 923925 w 3371850"/>
              <a:gd name="connsiteY60" fmla="*/ 981075 h 4791075"/>
              <a:gd name="connsiteX61" fmla="*/ 952500 w 3371850"/>
              <a:gd name="connsiteY61" fmla="*/ 952500 h 4791075"/>
              <a:gd name="connsiteX62" fmla="*/ 962025 w 3371850"/>
              <a:gd name="connsiteY62" fmla="*/ 885825 h 4791075"/>
              <a:gd name="connsiteX63" fmla="*/ 962025 w 3371850"/>
              <a:gd name="connsiteY63" fmla="*/ 800100 h 4791075"/>
              <a:gd name="connsiteX64" fmla="*/ 1031875 w 3371850"/>
              <a:gd name="connsiteY64" fmla="*/ 685800 h 4791075"/>
              <a:gd name="connsiteX65" fmla="*/ 1276350 w 3371850"/>
              <a:gd name="connsiteY65" fmla="*/ 701675 h 4791075"/>
              <a:gd name="connsiteX66" fmla="*/ 1476375 w 3371850"/>
              <a:gd name="connsiteY66" fmla="*/ 600075 h 4791075"/>
              <a:gd name="connsiteX67" fmla="*/ 1600200 w 3371850"/>
              <a:gd name="connsiteY67" fmla="*/ 488950 h 4791075"/>
              <a:gd name="connsiteX68" fmla="*/ 1749425 w 3371850"/>
              <a:gd name="connsiteY68" fmla="*/ 454025 h 4791075"/>
              <a:gd name="connsiteX69" fmla="*/ 1914525 w 3371850"/>
              <a:gd name="connsiteY69" fmla="*/ 466725 h 4791075"/>
              <a:gd name="connsiteX70" fmla="*/ 2152650 w 3371850"/>
              <a:gd name="connsiteY70" fmla="*/ 542925 h 4791075"/>
              <a:gd name="connsiteX71" fmla="*/ 2286000 w 3371850"/>
              <a:gd name="connsiteY71" fmla="*/ 638175 h 4791075"/>
              <a:gd name="connsiteX72" fmla="*/ 2352675 w 3371850"/>
              <a:gd name="connsiteY72" fmla="*/ 695325 h 4791075"/>
              <a:gd name="connsiteX73" fmla="*/ 2667000 w 3371850"/>
              <a:gd name="connsiteY73" fmla="*/ 733425 h 4791075"/>
              <a:gd name="connsiteX74" fmla="*/ 2835275 w 3371850"/>
              <a:gd name="connsiteY74" fmla="*/ 755650 h 4791075"/>
              <a:gd name="connsiteX75" fmla="*/ 2943225 w 3371850"/>
              <a:gd name="connsiteY75" fmla="*/ 809625 h 4791075"/>
              <a:gd name="connsiteX76" fmla="*/ 3105150 w 3371850"/>
              <a:gd name="connsiteY76" fmla="*/ 790575 h 4791075"/>
              <a:gd name="connsiteX77" fmla="*/ 3190875 w 3371850"/>
              <a:gd name="connsiteY77" fmla="*/ 790575 h 4791075"/>
              <a:gd name="connsiteX78" fmla="*/ 3311525 w 3371850"/>
              <a:gd name="connsiteY78" fmla="*/ 787400 h 4791075"/>
              <a:gd name="connsiteX79" fmla="*/ 3340100 w 3371850"/>
              <a:gd name="connsiteY79" fmla="*/ 765175 h 4791075"/>
              <a:gd name="connsiteX80" fmla="*/ 3371850 w 3371850"/>
              <a:gd name="connsiteY80" fmla="*/ 704850 h 4791075"/>
              <a:gd name="connsiteX81" fmla="*/ 3336925 w 3371850"/>
              <a:gd name="connsiteY81" fmla="*/ 536575 h 4791075"/>
              <a:gd name="connsiteX82" fmla="*/ 3311525 w 3371850"/>
              <a:gd name="connsiteY82" fmla="*/ 479425 h 4791075"/>
              <a:gd name="connsiteX83" fmla="*/ 3197225 w 3371850"/>
              <a:gd name="connsiteY83" fmla="*/ 409575 h 4791075"/>
              <a:gd name="connsiteX84" fmla="*/ 3181350 w 3371850"/>
              <a:gd name="connsiteY84" fmla="*/ 352425 h 4791075"/>
              <a:gd name="connsiteX85" fmla="*/ 3133725 w 3371850"/>
              <a:gd name="connsiteY85" fmla="*/ 314325 h 4791075"/>
              <a:gd name="connsiteX86" fmla="*/ 3105150 w 3371850"/>
              <a:gd name="connsiteY86" fmla="*/ 336550 h 4791075"/>
              <a:gd name="connsiteX87" fmla="*/ 3086100 w 3371850"/>
              <a:gd name="connsiteY87" fmla="*/ 387350 h 4791075"/>
              <a:gd name="connsiteX88" fmla="*/ 3086100 w 3371850"/>
              <a:gd name="connsiteY88" fmla="*/ 447675 h 4791075"/>
              <a:gd name="connsiteX89" fmla="*/ 3038475 w 3371850"/>
              <a:gd name="connsiteY89" fmla="*/ 466725 h 4791075"/>
              <a:gd name="connsiteX90" fmla="*/ 2962275 w 3371850"/>
              <a:gd name="connsiteY90" fmla="*/ 419100 h 4791075"/>
              <a:gd name="connsiteX91" fmla="*/ 2867025 w 3371850"/>
              <a:gd name="connsiteY91" fmla="*/ 476250 h 4791075"/>
              <a:gd name="connsiteX92" fmla="*/ 2847975 w 3371850"/>
              <a:gd name="connsiteY92" fmla="*/ 504825 h 4791075"/>
              <a:gd name="connsiteX93" fmla="*/ 2838450 w 3371850"/>
              <a:gd name="connsiteY93" fmla="*/ 542925 h 4791075"/>
              <a:gd name="connsiteX94" fmla="*/ 2762250 w 3371850"/>
              <a:gd name="connsiteY94" fmla="*/ 504825 h 4791075"/>
              <a:gd name="connsiteX95" fmla="*/ 2647950 w 3371850"/>
              <a:gd name="connsiteY95" fmla="*/ 485775 h 4791075"/>
              <a:gd name="connsiteX96" fmla="*/ 2552700 w 3371850"/>
              <a:gd name="connsiteY96" fmla="*/ 438150 h 4791075"/>
              <a:gd name="connsiteX97" fmla="*/ 2419350 w 3371850"/>
              <a:gd name="connsiteY97" fmla="*/ 361950 h 4791075"/>
              <a:gd name="connsiteX98" fmla="*/ 2333625 w 3371850"/>
              <a:gd name="connsiteY98" fmla="*/ 276225 h 4791075"/>
              <a:gd name="connsiteX99" fmla="*/ 2209800 w 3371850"/>
              <a:gd name="connsiteY99" fmla="*/ 266700 h 4791075"/>
              <a:gd name="connsiteX100" fmla="*/ 2171700 w 3371850"/>
              <a:gd name="connsiteY100" fmla="*/ 133350 h 4791075"/>
              <a:gd name="connsiteX101" fmla="*/ 2143125 w 3371850"/>
              <a:gd name="connsiteY101" fmla="*/ 3175 h 4791075"/>
              <a:gd name="connsiteX102" fmla="*/ 1212850 w 3371850"/>
              <a:gd name="connsiteY102" fmla="*/ 0 h 4791075"/>
              <a:gd name="connsiteX103" fmla="*/ 1181100 w 3371850"/>
              <a:gd name="connsiteY103" fmla="*/ 133350 h 4791075"/>
              <a:gd name="connsiteX104" fmla="*/ 1143000 w 3371850"/>
              <a:gd name="connsiteY104" fmla="*/ 238125 h 4791075"/>
              <a:gd name="connsiteX105" fmla="*/ 933450 w 3371850"/>
              <a:gd name="connsiteY105" fmla="*/ 400050 h 4791075"/>
              <a:gd name="connsiteX106" fmla="*/ 923925 w 3371850"/>
              <a:gd name="connsiteY106" fmla="*/ 457200 h 4791075"/>
              <a:gd name="connsiteX107" fmla="*/ 800100 w 3371850"/>
              <a:gd name="connsiteY107" fmla="*/ 476250 h 4791075"/>
              <a:gd name="connsiteX108" fmla="*/ 628650 w 3371850"/>
              <a:gd name="connsiteY108" fmla="*/ 533400 h 4791075"/>
              <a:gd name="connsiteX109" fmla="*/ 581025 w 3371850"/>
              <a:gd name="connsiteY109" fmla="*/ 644525 h 4791075"/>
              <a:gd name="connsiteX110" fmla="*/ 476250 w 3371850"/>
              <a:gd name="connsiteY110" fmla="*/ 762000 h 4791075"/>
              <a:gd name="connsiteX111" fmla="*/ 466725 w 3371850"/>
              <a:gd name="connsiteY111" fmla="*/ 838200 h 4791075"/>
              <a:gd name="connsiteX112" fmla="*/ 476250 w 3371850"/>
              <a:gd name="connsiteY112" fmla="*/ 962025 h 4791075"/>
              <a:gd name="connsiteX113" fmla="*/ 428625 w 3371850"/>
              <a:gd name="connsiteY113" fmla="*/ 1009650 h 4791075"/>
              <a:gd name="connsiteX114" fmla="*/ 247650 w 3371850"/>
              <a:gd name="connsiteY114" fmla="*/ 981075 h 4791075"/>
              <a:gd name="connsiteX115" fmla="*/ 180975 w 3371850"/>
              <a:gd name="connsiteY115" fmla="*/ 990600 h 4791075"/>
              <a:gd name="connsiteX116" fmla="*/ 76200 w 3371850"/>
              <a:gd name="connsiteY116" fmla="*/ 1066800 h 4791075"/>
              <a:gd name="connsiteX117" fmla="*/ 57150 w 3371850"/>
              <a:gd name="connsiteY117" fmla="*/ 1162050 h 4791075"/>
              <a:gd name="connsiteX118" fmla="*/ 57150 w 3371850"/>
              <a:gd name="connsiteY118" fmla="*/ 1295400 h 4791075"/>
              <a:gd name="connsiteX119" fmla="*/ 28575 w 3371850"/>
              <a:gd name="connsiteY119" fmla="*/ 1409700 h 4791075"/>
              <a:gd name="connsiteX120" fmla="*/ 0 w 3371850"/>
              <a:gd name="connsiteY120" fmla="*/ 1524000 h 4791075"/>
              <a:gd name="connsiteX121" fmla="*/ 104775 w 3371850"/>
              <a:gd name="connsiteY121" fmla="*/ 1657350 h 4791075"/>
              <a:gd name="connsiteX122" fmla="*/ 161925 w 3371850"/>
              <a:gd name="connsiteY122" fmla="*/ 1838325 h 4791075"/>
              <a:gd name="connsiteX123" fmla="*/ 219075 w 3371850"/>
              <a:gd name="connsiteY123" fmla="*/ 2047875 h 4791075"/>
              <a:gd name="connsiteX124" fmla="*/ 276225 w 3371850"/>
              <a:gd name="connsiteY124" fmla="*/ 2314575 h 4791075"/>
              <a:gd name="connsiteX125" fmla="*/ 361950 w 3371850"/>
              <a:gd name="connsiteY125" fmla="*/ 2419350 h 4791075"/>
              <a:gd name="connsiteX126" fmla="*/ 333375 w 3371850"/>
              <a:gd name="connsiteY126" fmla="*/ 2628900 h 4791075"/>
              <a:gd name="connsiteX127" fmla="*/ 333375 w 3371850"/>
              <a:gd name="connsiteY127" fmla="*/ 2781300 h 4791075"/>
              <a:gd name="connsiteX128" fmla="*/ 381000 w 3371850"/>
              <a:gd name="connsiteY128" fmla="*/ 2876550 h 4791075"/>
              <a:gd name="connsiteX129" fmla="*/ 457200 w 3371850"/>
              <a:gd name="connsiteY129" fmla="*/ 3267075 h 4791075"/>
              <a:gd name="connsiteX130" fmla="*/ 447675 w 3371850"/>
              <a:gd name="connsiteY130" fmla="*/ 3381375 h 4791075"/>
              <a:gd name="connsiteX131" fmla="*/ 419100 w 3371850"/>
              <a:gd name="connsiteY131" fmla="*/ 3467100 h 4791075"/>
              <a:gd name="connsiteX132" fmla="*/ 400050 w 3371850"/>
              <a:gd name="connsiteY132" fmla="*/ 3648075 h 4791075"/>
              <a:gd name="connsiteX133" fmla="*/ 466725 w 3371850"/>
              <a:gd name="connsiteY133" fmla="*/ 3829050 h 4791075"/>
              <a:gd name="connsiteX134" fmla="*/ 533400 w 3371850"/>
              <a:gd name="connsiteY134" fmla="*/ 3933825 h 4791075"/>
              <a:gd name="connsiteX135" fmla="*/ 533400 w 3371850"/>
              <a:gd name="connsiteY135" fmla="*/ 4038600 h 4791075"/>
              <a:gd name="connsiteX136" fmla="*/ 485775 w 3371850"/>
              <a:gd name="connsiteY136" fmla="*/ 4095750 h 4791075"/>
              <a:gd name="connsiteX137" fmla="*/ 571500 w 3371850"/>
              <a:gd name="connsiteY137" fmla="*/ 4162425 h 4791075"/>
              <a:gd name="connsiteX138" fmla="*/ 704850 w 3371850"/>
              <a:gd name="connsiteY138" fmla="*/ 4276725 h 4791075"/>
              <a:gd name="connsiteX139" fmla="*/ 733425 w 3371850"/>
              <a:gd name="connsiteY139" fmla="*/ 4362450 h 4791075"/>
              <a:gd name="connsiteX140" fmla="*/ 885825 w 3371850"/>
              <a:gd name="connsiteY140" fmla="*/ 4305300 h 4791075"/>
              <a:gd name="connsiteX141" fmla="*/ 962025 w 3371850"/>
              <a:gd name="connsiteY141" fmla="*/ 4295775 h 4791075"/>
              <a:gd name="connsiteX142" fmla="*/ 1123950 w 3371850"/>
              <a:gd name="connsiteY142" fmla="*/ 4457700 h 4791075"/>
              <a:gd name="connsiteX143" fmla="*/ 1209675 w 3371850"/>
              <a:gd name="connsiteY143" fmla="*/ 4524375 h 4791075"/>
              <a:gd name="connsiteX144" fmla="*/ 1428750 w 3371850"/>
              <a:gd name="connsiteY144" fmla="*/ 4600575 h 4791075"/>
              <a:gd name="connsiteX145" fmla="*/ 1704975 w 3371850"/>
              <a:gd name="connsiteY145" fmla="*/ 4724400 h 4791075"/>
              <a:gd name="connsiteX146" fmla="*/ 1885950 w 3371850"/>
              <a:gd name="connsiteY146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33500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81125 w 3371850"/>
              <a:gd name="connsiteY23" fmla="*/ 3409950 h 4791075"/>
              <a:gd name="connsiteX24" fmla="*/ 1343025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29075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90650 w 3371850"/>
              <a:gd name="connsiteY23" fmla="*/ 3403600 h 4791075"/>
              <a:gd name="connsiteX24" fmla="*/ 1343025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81125 w 3371850"/>
              <a:gd name="connsiteY14" fmla="*/ 4105275 h 4791075"/>
              <a:gd name="connsiteX15" fmla="*/ 1295400 w 3371850"/>
              <a:gd name="connsiteY15" fmla="*/ 4038600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90650 w 3371850"/>
              <a:gd name="connsiteY23" fmla="*/ 3403600 h 4791075"/>
              <a:gd name="connsiteX24" fmla="*/ 1343025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485900 w 3371850"/>
              <a:gd name="connsiteY12" fmla="*/ 4286250 h 4791075"/>
              <a:gd name="connsiteX13" fmla="*/ 1447800 w 3371850"/>
              <a:gd name="connsiteY13" fmla="*/ 4229100 h 4791075"/>
              <a:gd name="connsiteX14" fmla="*/ 1377950 w 3371850"/>
              <a:gd name="connsiteY14" fmla="*/ 4143375 h 4791075"/>
              <a:gd name="connsiteX15" fmla="*/ 1295400 w 3371850"/>
              <a:gd name="connsiteY15" fmla="*/ 4038600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90650 w 3371850"/>
              <a:gd name="connsiteY23" fmla="*/ 3403600 h 4791075"/>
              <a:gd name="connsiteX24" fmla="*/ 1343025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508125 w 3371850"/>
              <a:gd name="connsiteY12" fmla="*/ 4308475 h 4791075"/>
              <a:gd name="connsiteX13" fmla="*/ 1447800 w 3371850"/>
              <a:gd name="connsiteY13" fmla="*/ 4229100 h 4791075"/>
              <a:gd name="connsiteX14" fmla="*/ 1377950 w 3371850"/>
              <a:gd name="connsiteY14" fmla="*/ 4143375 h 4791075"/>
              <a:gd name="connsiteX15" fmla="*/ 1295400 w 3371850"/>
              <a:gd name="connsiteY15" fmla="*/ 4038600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90650 w 3371850"/>
              <a:gd name="connsiteY23" fmla="*/ 3403600 h 4791075"/>
              <a:gd name="connsiteX24" fmla="*/ 1343025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508125 w 3371850"/>
              <a:gd name="connsiteY12" fmla="*/ 4308475 h 4791075"/>
              <a:gd name="connsiteX13" fmla="*/ 1422400 w 3371850"/>
              <a:gd name="connsiteY13" fmla="*/ 4276725 h 4791075"/>
              <a:gd name="connsiteX14" fmla="*/ 1377950 w 3371850"/>
              <a:gd name="connsiteY14" fmla="*/ 4143375 h 4791075"/>
              <a:gd name="connsiteX15" fmla="*/ 1295400 w 3371850"/>
              <a:gd name="connsiteY15" fmla="*/ 4038600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90650 w 3371850"/>
              <a:gd name="connsiteY23" fmla="*/ 3403600 h 4791075"/>
              <a:gd name="connsiteX24" fmla="*/ 1343025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9545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520825 w 3371850"/>
              <a:gd name="connsiteY12" fmla="*/ 4292600 h 4791075"/>
              <a:gd name="connsiteX13" fmla="*/ 1422400 w 3371850"/>
              <a:gd name="connsiteY13" fmla="*/ 4276725 h 4791075"/>
              <a:gd name="connsiteX14" fmla="*/ 1377950 w 3371850"/>
              <a:gd name="connsiteY14" fmla="*/ 4143375 h 4791075"/>
              <a:gd name="connsiteX15" fmla="*/ 1295400 w 3371850"/>
              <a:gd name="connsiteY15" fmla="*/ 4038600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90650 w 3371850"/>
              <a:gd name="connsiteY23" fmla="*/ 3403600 h 4791075"/>
              <a:gd name="connsiteX24" fmla="*/ 1343025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66875 w 3371850"/>
              <a:gd name="connsiteY7" fmla="*/ 4524375 h 4791075"/>
              <a:gd name="connsiteX8" fmla="*/ 166370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520825 w 3371850"/>
              <a:gd name="connsiteY12" fmla="*/ 4292600 h 4791075"/>
              <a:gd name="connsiteX13" fmla="*/ 1422400 w 3371850"/>
              <a:gd name="connsiteY13" fmla="*/ 4276725 h 4791075"/>
              <a:gd name="connsiteX14" fmla="*/ 1377950 w 3371850"/>
              <a:gd name="connsiteY14" fmla="*/ 4143375 h 4791075"/>
              <a:gd name="connsiteX15" fmla="*/ 1295400 w 3371850"/>
              <a:gd name="connsiteY15" fmla="*/ 4038600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90650 w 3371850"/>
              <a:gd name="connsiteY23" fmla="*/ 3403600 h 4791075"/>
              <a:gd name="connsiteX24" fmla="*/ 1343025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7350 w 3371850"/>
              <a:gd name="connsiteY6" fmla="*/ 4543425 h 4791075"/>
              <a:gd name="connsiteX7" fmla="*/ 1612900 w 3371850"/>
              <a:gd name="connsiteY7" fmla="*/ 4511675 h 4791075"/>
              <a:gd name="connsiteX8" fmla="*/ 166370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520825 w 3371850"/>
              <a:gd name="connsiteY12" fmla="*/ 4292600 h 4791075"/>
              <a:gd name="connsiteX13" fmla="*/ 1422400 w 3371850"/>
              <a:gd name="connsiteY13" fmla="*/ 4276725 h 4791075"/>
              <a:gd name="connsiteX14" fmla="*/ 1377950 w 3371850"/>
              <a:gd name="connsiteY14" fmla="*/ 4143375 h 4791075"/>
              <a:gd name="connsiteX15" fmla="*/ 1295400 w 3371850"/>
              <a:gd name="connsiteY15" fmla="*/ 4038600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90650 w 3371850"/>
              <a:gd name="connsiteY23" fmla="*/ 3403600 h 4791075"/>
              <a:gd name="connsiteX24" fmla="*/ 1343025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3550 w 3371850"/>
              <a:gd name="connsiteY5" fmla="*/ 4572000 h 4791075"/>
              <a:gd name="connsiteX6" fmla="*/ 1651000 w 3371850"/>
              <a:gd name="connsiteY6" fmla="*/ 4572000 h 4791075"/>
              <a:gd name="connsiteX7" fmla="*/ 1612900 w 3371850"/>
              <a:gd name="connsiteY7" fmla="*/ 4511675 h 4791075"/>
              <a:gd name="connsiteX8" fmla="*/ 166370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520825 w 3371850"/>
              <a:gd name="connsiteY12" fmla="*/ 4292600 h 4791075"/>
              <a:gd name="connsiteX13" fmla="*/ 1422400 w 3371850"/>
              <a:gd name="connsiteY13" fmla="*/ 4276725 h 4791075"/>
              <a:gd name="connsiteX14" fmla="*/ 1377950 w 3371850"/>
              <a:gd name="connsiteY14" fmla="*/ 4143375 h 4791075"/>
              <a:gd name="connsiteX15" fmla="*/ 1295400 w 3371850"/>
              <a:gd name="connsiteY15" fmla="*/ 4038600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90650 w 3371850"/>
              <a:gd name="connsiteY23" fmla="*/ 3403600 h 4791075"/>
              <a:gd name="connsiteX24" fmla="*/ 1343025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38325 w 3371850"/>
              <a:gd name="connsiteY3" fmla="*/ 4581525 h 4791075"/>
              <a:gd name="connsiteX4" fmla="*/ 1800225 w 3371850"/>
              <a:gd name="connsiteY4" fmla="*/ 4581525 h 4791075"/>
              <a:gd name="connsiteX5" fmla="*/ 1739900 w 3371850"/>
              <a:gd name="connsiteY5" fmla="*/ 4572000 h 4791075"/>
              <a:gd name="connsiteX6" fmla="*/ 1651000 w 3371850"/>
              <a:gd name="connsiteY6" fmla="*/ 4572000 h 4791075"/>
              <a:gd name="connsiteX7" fmla="*/ 1612900 w 3371850"/>
              <a:gd name="connsiteY7" fmla="*/ 4511675 h 4791075"/>
              <a:gd name="connsiteX8" fmla="*/ 1663700 w 3371850"/>
              <a:gd name="connsiteY8" fmla="*/ 4448175 h 4791075"/>
              <a:gd name="connsiteX9" fmla="*/ 1704975 w 3371850"/>
              <a:gd name="connsiteY9" fmla="*/ 4352925 h 4791075"/>
              <a:gd name="connsiteX10" fmla="*/ 1666875 w 3371850"/>
              <a:gd name="connsiteY10" fmla="*/ 4314825 h 4791075"/>
              <a:gd name="connsiteX11" fmla="*/ 1600200 w 3371850"/>
              <a:gd name="connsiteY11" fmla="*/ 4286250 h 4791075"/>
              <a:gd name="connsiteX12" fmla="*/ 1520825 w 3371850"/>
              <a:gd name="connsiteY12" fmla="*/ 4292600 h 4791075"/>
              <a:gd name="connsiteX13" fmla="*/ 1422400 w 3371850"/>
              <a:gd name="connsiteY13" fmla="*/ 4276725 h 4791075"/>
              <a:gd name="connsiteX14" fmla="*/ 1377950 w 3371850"/>
              <a:gd name="connsiteY14" fmla="*/ 4143375 h 4791075"/>
              <a:gd name="connsiteX15" fmla="*/ 1295400 w 3371850"/>
              <a:gd name="connsiteY15" fmla="*/ 4038600 h 4791075"/>
              <a:gd name="connsiteX16" fmla="*/ 1200150 w 3371850"/>
              <a:gd name="connsiteY16" fmla="*/ 4000500 h 4791075"/>
              <a:gd name="connsiteX17" fmla="*/ 1143000 w 3371850"/>
              <a:gd name="connsiteY17" fmla="*/ 3971925 h 4791075"/>
              <a:gd name="connsiteX18" fmla="*/ 1114425 w 3371850"/>
              <a:gd name="connsiteY18" fmla="*/ 3933825 h 4791075"/>
              <a:gd name="connsiteX19" fmla="*/ 1095375 w 3371850"/>
              <a:gd name="connsiteY19" fmla="*/ 3838575 h 4791075"/>
              <a:gd name="connsiteX20" fmla="*/ 1123950 w 3371850"/>
              <a:gd name="connsiteY20" fmla="*/ 3781425 h 4791075"/>
              <a:gd name="connsiteX21" fmla="*/ 1266825 w 3371850"/>
              <a:gd name="connsiteY21" fmla="*/ 3771900 h 4791075"/>
              <a:gd name="connsiteX22" fmla="*/ 1390650 w 3371850"/>
              <a:gd name="connsiteY22" fmla="*/ 3552825 h 4791075"/>
              <a:gd name="connsiteX23" fmla="*/ 1390650 w 3371850"/>
              <a:gd name="connsiteY23" fmla="*/ 3403600 h 4791075"/>
              <a:gd name="connsiteX24" fmla="*/ 1343025 w 3371850"/>
              <a:gd name="connsiteY24" fmla="*/ 3286125 h 4791075"/>
              <a:gd name="connsiteX25" fmla="*/ 1266825 w 3371850"/>
              <a:gd name="connsiteY25" fmla="*/ 3200400 h 4791075"/>
              <a:gd name="connsiteX26" fmla="*/ 1181100 w 3371850"/>
              <a:gd name="connsiteY26" fmla="*/ 3162300 h 4791075"/>
              <a:gd name="connsiteX27" fmla="*/ 1085850 w 3371850"/>
              <a:gd name="connsiteY27" fmla="*/ 3067050 h 4791075"/>
              <a:gd name="connsiteX28" fmla="*/ 1047750 w 3371850"/>
              <a:gd name="connsiteY28" fmla="*/ 2943225 h 4791075"/>
              <a:gd name="connsiteX29" fmla="*/ 1000125 w 3371850"/>
              <a:gd name="connsiteY29" fmla="*/ 2857500 h 4791075"/>
              <a:gd name="connsiteX30" fmla="*/ 1000125 w 3371850"/>
              <a:gd name="connsiteY30" fmla="*/ 2819400 h 4791075"/>
              <a:gd name="connsiteX31" fmla="*/ 1000125 w 3371850"/>
              <a:gd name="connsiteY31" fmla="*/ 2819400 h 4791075"/>
              <a:gd name="connsiteX32" fmla="*/ 1114425 w 3371850"/>
              <a:gd name="connsiteY32" fmla="*/ 2676525 h 4791075"/>
              <a:gd name="connsiteX33" fmla="*/ 1190625 w 3371850"/>
              <a:gd name="connsiteY33" fmla="*/ 2609850 h 4791075"/>
              <a:gd name="connsiteX34" fmla="*/ 1190625 w 3371850"/>
              <a:gd name="connsiteY34" fmla="*/ 2609850 h 4791075"/>
              <a:gd name="connsiteX35" fmla="*/ 1285875 w 3371850"/>
              <a:gd name="connsiteY35" fmla="*/ 2581275 h 4791075"/>
              <a:gd name="connsiteX36" fmla="*/ 1457325 w 3371850"/>
              <a:gd name="connsiteY36" fmla="*/ 2476500 h 4791075"/>
              <a:gd name="connsiteX37" fmla="*/ 1504950 w 3371850"/>
              <a:gd name="connsiteY37" fmla="*/ 2438400 h 4791075"/>
              <a:gd name="connsiteX38" fmla="*/ 1514475 w 3371850"/>
              <a:gd name="connsiteY38" fmla="*/ 2333625 h 4791075"/>
              <a:gd name="connsiteX39" fmla="*/ 1524000 w 3371850"/>
              <a:gd name="connsiteY39" fmla="*/ 2247900 h 4791075"/>
              <a:gd name="connsiteX40" fmla="*/ 1476375 w 3371850"/>
              <a:gd name="connsiteY40" fmla="*/ 2171700 h 4791075"/>
              <a:gd name="connsiteX41" fmla="*/ 1371600 w 3371850"/>
              <a:gd name="connsiteY41" fmla="*/ 2168525 h 4791075"/>
              <a:gd name="connsiteX42" fmla="*/ 1292225 w 3371850"/>
              <a:gd name="connsiteY42" fmla="*/ 2146300 h 4791075"/>
              <a:gd name="connsiteX43" fmla="*/ 1187450 w 3371850"/>
              <a:gd name="connsiteY43" fmla="*/ 2181225 h 4791075"/>
              <a:gd name="connsiteX44" fmla="*/ 1009650 w 3371850"/>
              <a:gd name="connsiteY44" fmla="*/ 2168525 h 4791075"/>
              <a:gd name="connsiteX45" fmla="*/ 876300 w 3371850"/>
              <a:gd name="connsiteY45" fmla="*/ 2171700 h 4791075"/>
              <a:gd name="connsiteX46" fmla="*/ 847725 w 3371850"/>
              <a:gd name="connsiteY46" fmla="*/ 2085975 h 4791075"/>
              <a:gd name="connsiteX47" fmla="*/ 885825 w 3371850"/>
              <a:gd name="connsiteY47" fmla="*/ 1962150 h 4791075"/>
              <a:gd name="connsiteX48" fmla="*/ 952500 w 3371850"/>
              <a:gd name="connsiteY48" fmla="*/ 1828800 h 4791075"/>
              <a:gd name="connsiteX49" fmla="*/ 1000125 w 3371850"/>
              <a:gd name="connsiteY49" fmla="*/ 1666875 h 4791075"/>
              <a:gd name="connsiteX50" fmla="*/ 971550 w 3371850"/>
              <a:gd name="connsiteY50" fmla="*/ 1590675 h 4791075"/>
              <a:gd name="connsiteX51" fmla="*/ 904875 w 3371850"/>
              <a:gd name="connsiteY51" fmla="*/ 1533525 h 4791075"/>
              <a:gd name="connsiteX52" fmla="*/ 752475 w 3371850"/>
              <a:gd name="connsiteY52" fmla="*/ 1504950 h 4791075"/>
              <a:gd name="connsiteX53" fmla="*/ 628650 w 3371850"/>
              <a:gd name="connsiteY53" fmla="*/ 1438275 h 4791075"/>
              <a:gd name="connsiteX54" fmla="*/ 647700 w 3371850"/>
              <a:gd name="connsiteY54" fmla="*/ 1333500 h 4791075"/>
              <a:gd name="connsiteX55" fmla="*/ 755650 w 3371850"/>
              <a:gd name="connsiteY55" fmla="*/ 1219200 h 4791075"/>
              <a:gd name="connsiteX56" fmla="*/ 857250 w 3371850"/>
              <a:gd name="connsiteY56" fmla="*/ 1143000 h 4791075"/>
              <a:gd name="connsiteX57" fmla="*/ 904875 w 3371850"/>
              <a:gd name="connsiteY57" fmla="*/ 1104900 h 4791075"/>
              <a:gd name="connsiteX58" fmla="*/ 904875 w 3371850"/>
              <a:gd name="connsiteY58" fmla="*/ 1047750 h 4791075"/>
              <a:gd name="connsiteX59" fmla="*/ 923925 w 3371850"/>
              <a:gd name="connsiteY59" fmla="*/ 981075 h 4791075"/>
              <a:gd name="connsiteX60" fmla="*/ 952500 w 3371850"/>
              <a:gd name="connsiteY60" fmla="*/ 952500 h 4791075"/>
              <a:gd name="connsiteX61" fmla="*/ 962025 w 3371850"/>
              <a:gd name="connsiteY61" fmla="*/ 885825 h 4791075"/>
              <a:gd name="connsiteX62" fmla="*/ 962025 w 3371850"/>
              <a:gd name="connsiteY62" fmla="*/ 800100 h 4791075"/>
              <a:gd name="connsiteX63" fmla="*/ 1031875 w 3371850"/>
              <a:gd name="connsiteY63" fmla="*/ 685800 h 4791075"/>
              <a:gd name="connsiteX64" fmla="*/ 1276350 w 3371850"/>
              <a:gd name="connsiteY64" fmla="*/ 701675 h 4791075"/>
              <a:gd name="connsiteX65" fmla="*/ 1476375 w 3371850"/>
              <a:gd name="connsiteY65" fmla="*/ 600075 h 4791075"/>
              <a:gd name="connsiteX66" fmla="*/ 1600200 w 3371850"/>
              <a:gd name="connsiteY66" fmla="*/ 488950 h 4791075"/>
              <a:gd name="connsiteX67" fmla="*/ 1749425 w 3371850"/>
              <a:gd name="connsiteY67" fmla="*/ 454025 h 4791075"/>
              <a:gd name="connsiteX68" fmla="*/ 1914525 w 3371850"/>
              <a:gd name="connsiteY68" fmla="*/ 466725 h 4791075"/>
              <a:gd name="connsiteX69" fmla="*/ 2152650 w 3371850"/>
              <a:gd name="connsiteY69" fmla="*/ 542925 h 4791075"/>
              <a:gd name="connsiteX70" fmla="*/ 2286000 w 3371850"/>
              <a:gd name="connsiteY70" fmla="*/ 638175 h 4791075"/>
              <a:gd name="connsiteX71" fmla="*/ 2352675 w 3371850"/>
              <a:gd name="connsiteY71" fmla="*/ 695325 h 4791075"/>
              <a:gd name="connsiteX72" fmla="*/ 2667000 w 3371850"/>
              <a:gd name="connsiteY72" fmla="*/ 733425 h 4791075"/>
              <a:gd name="connsiteX73" fmla="*/ 2835275 w 3371850"/>
              <a:gd name="connsiteY73" fmla="*/ 755650 h 4791075"/>
              <a:gd name="connsiteX74" fmla="*/ 2943225 w 3371850"/>
              <a:gd name="connsiteY74" fmla="*/ 809625 h 4791075"/>
              <a:gd name="connsiteX75" fmla="*/ 3105150 w 3371850"/>
              <a:gd name="connsiteY75" fmla="*/ 790575 h 4791075"/>
              <a:gd name="connsiteX76" fmla="*/ 3190875 w 3371850"/>
              <a:gd name="connsiteY76" fmla="*/ 790575 h 4791075"/>
              <a:gd name="connsiteX77" fmla="*/ 3311525 w 3371850"/>
              <a:gd name="connsiteY77" fmla="*/ 787400 h 4791075"/>
              <a:gd name="connsiteX78" fmla="*/ 3340100 w 3371850"/>
              <a:gd name="connsiteY78" fmla="*/ 765175 h 4791075"/>
              <a:gd name="connsiteX79" fmla="*/ 3371850 w 3371850"/>
              <a:gd name="connsiteY79" fmla="*/ 704850 h 4791075"/>
              <a:gd name="connsiteX80" fmla="*/ 3336925 w 3371850"/>
              <a:gd name="connsiteY80" fmla="*/ 536575 h 4791075"/>
              <a:gd name="connsiteX81" fmla="*/ 3311525 w 3371850"/>
              <a:gd name="connsiteY81" fmla="*/ 479425 h 4791075"/>
              <a:gd name="connsiteX82" fmla="*/ 3197225 w 3371850"/>
              <a:gd name="connsiteY82" fmla="*/ 409575 h 4791075"/>
              <a:gd name="connsiteX83" fmla="*/ 3181350 w 3371850"/>
              <a:gd name="connsiteY83" fmla="*/ 352425 h 4791075"/>
              <a:gd name="connsiteX84" fmla="*/ 3133725 w 3371850"/>
              <a:gd name="connsiteY84" fmla="*/ 314325 h 4791075"/>
              <a:gd name="connsiteX85" fmla="*/ 3105150 w 3371850"/>
              <a:gd name="connsiteY85" fmla="*/ 336550 h 4791075"/>
              <a:gd name="connsiteX86" fmla="*/ 3086100 w 3371850"/>
              <a:gd name="connsiteY86" fmla="*/ 387350 h 4791075"/>
              <a:gd name="connsiteX87" fmla="*/ 3086100 w 3371850"/>
              <a:gd name="connsiteY87" fmla="*/ 447675 h 4791075"/>
              <a:gd name="connsiteX88" fmla="*/ 3038475 w 3371850"/>
              <a:gd name="connsiteY88" fmla="*/ 466725 h 4791075"/>
              <a:gd name="connsiteX89" fmla="*/ 2962275 w 3371850"/>
              <a:gd name="connsiteY89" fmla="*/ 419100 h 4791075"/>
              <a:gd name="connsiteX90" fmla="*/ 2867025 w 3371850"/>
              <a:gd name="connsiteY90" fmla="*/ 476250 h 4791075"/>
              <a:gd name="connsiteX91" fmla="*/ 2847975 w 3371850"/>
              <a:gd name="connsiteY91" fmla="*/ 504825 h 4791075"/>
              <a:gd name="connsiteX92" fmla="*/ 2838450 w 3371850"/>
              <a:gd name="connsiteY92" fmla="*/ 542925 h 4791075"/>
              <a:gd name="connsiteX93" fmla="*/ 2762250 w 3371850"/>
              <a:gd name="connsiteY93" fmla="*/ 504825 h 4791075"/>
              <a:gd name="connsiteX94" fmla="*/ 2647950 w 3371850"/>
              <a:gd name="connsiteY94" fmla="*/ 485775 h 4791075"/>
              <a:gd name="connsiteX95" fmla="*/ 2552700 w 3371850"/>
              <a:gd name="connsiteY95" fmla="*/ 438150 h 4791075"/>
              <a:gd name="connsiteX96" fmla="*/ 2419350 w 3371850"/>
              <a:gd name="connsiteY96" fmla="*/ 361950 h 4791075"/>
              <a:gd name="connsiteX97" fmla="*/ 2333625 w 3371850"/>
              <a:gd name="connsiteY97" fmla="*/ 276225 h 4791075"/>
              <a:gd name="connsiteX98" fmla="*/ 2209800 w 3371850"/>
              <a:gd name="connsiteY98" fmla="*/ 266700 h 4791075"/>
              <a:gd name="connsiteX99" fmla="*/ 2171700 w 3371850"/>
              <a:gd name="connsiteY99" fmla="*/ 133350 h 4791075"/>
              <a:gd name="connsiteX100" fmla="*/ 2143125 w 3371850"/>
              <a:gd name="connsiteY100" fmla="*/ 3175 h 4791075"/>
              <a:gd name="connsiteX101" fmla="*/ 1212850 w 3371850"/>
              <a:gd name="connsiteY101" fmla="*/ 0 h 4791075"/>
              <a:gd name="connsiteX102" fmla="*/ 1181100 w 3371850"/>
              <a:gd name="connsiteY102" fmla="*/ 133350 h 4791075"/>
              <a:gd name="connsiteX103" fmla="*/ 1143000 w 3371850"/>
              <a:gd name="connsiteY103" fmla="*/ 238125 h 4791075"/>
              <a:gd name="connsiteX104" fmla="*/ 933450 w 3371850"/>
              <a:gd name="connsiteY104" fmla="*/ 400050 h 4791075"/>
              <a:gd name="connsiteX105" fmla="*/ 923925 w 3371850"/>
              <a:gd name="connsiteY105" fmla="*/ 457200 h 4791075"/>
              <a:gd name="connsiteX106" fmla="*/ 800100 w 3371850"/>
              <a:gd name="connsiteY106" fmla="*/ 476250 h 4791075"/>
              <a:gd name="connsiteX107" fmla="*/ 628650 w 3371850"/>
              <a:gd name="connsiteY107" fmla="*/ 533400 h 4791075"/>
              <a:gd name="connsiteX108" fmla="*/ 581025 w 3371850"/>
              <a:gd name="connsiteY108" fmla="*/ 644525 h 4791075"/>
              <a:gd name="connsiteX109" fmla="*/ 476250 w 3371850"/>
              <a:gd name="connsiteY109" fmla="*/ 762000 h 4791075"/>
              <a:gd name="connsiteX110" fmla="*/ 466725 w 3371850"/>
              <a:gd name="connsiteY110" fmla="*/ 838200 h 4791075"/>
              <a:gd name="connsiteX111" fmla="*/ 476250 w 3371850"/>
              <a:gd name="connsiteY111" fmla="*/ 962025 h 4791075"/>
              <a:gd name="connsiteX112" fmla="*/ 428625 w 3371850"/>
              <a:gd name="connsiteY112" fmla="*/ 1009650 h 4791075"/>
              <a:gd name="connsiteX113" fmla="*/ 247650 w 3371850"/>
              <a:gd name="connsiteY113" fmla="*/ 981075 h 4791075"/>
              <a:gd name="connsiteX114" fmla="*/ 180975 w 3371850"/>
              <a:gd name="connsiteY114" fmla="*/ 990600 h 4791075"/>
              <a:gd name="connsiteX115" fmla="*/ 76200 w 3371850"/>
              <a:gd name="connsiteY115" fmla="*/ 1066800 h 4791075"/>
              <a:gd name="connsiteX116" fmla="*/ 57150 w 3371850"/>
              <a:gd name="connsiteY116" fmla="*/ 1162050 h 4791075"/>
              <a:gd name="connsiteX117" fmla="*/ 57150 w 3371850"/>
              <a:gd name="connsiteY117" fmla="*/ 1295400 h 4791075"/>
              <a:gd name="connsiteX118" fmla="*/ 28575 w 3371850"/>
              <a:gd name="connsiteY118" fmla="*/ 1409700 h 4791075"/>
              <a:gd name="connsiteX119" fmla="*/ 0 w 3371850"/>
              <a:gd name="connsiteY119" fmla="*/ 1524000 h 4791075"/>
              <a:gd name="connsiteX120" fmla="*/ 104775 w 3371850"/>
              <a:gd name="connsiteY120" fmla="*/ 1657350 h 4791075"/>
              <a:gd name="connsiteX121" fmla="*/ 161925 w 3371850"/>
              <a:gd name="connsiteY121" fmla="*/ 1838325 h 4791075"/>
              <a:gd name="connsiteX122" fmla="*/ 219075 w 3371850"/>
              <a:gd name="connsiteY122" fmla="*/ 2047875 h 4791075"/>
              <a:gd name="connsiteX123" fmla="*/ 276225 w 3371850"/>
              <a:gd name="connsiteY123" fmla="*/ 2314575 h 4791075"/>
              <a:gd name="connsiteX124" fmla="*/ 361950 w 3371850"/>
              <a:gd name="connsiteY124" fmla="*/ 2419350 h 4791075"/>
              <a:gd name="connsiteX125" fmla="*/ 333375 w 3371850"/>
              <a:gd name="connsiteY125" fmla="*/ 2628900 h 4791075"/>
              <a:gd name="connsiteX126" fmla="*/ 333375 w 3371850"/>
              <a:gd name="connsiteY126" fmla="*/ 2781300 h 4791075"/>
              <a:gd name="connsiteX127" fmla="*/ 381000 w 3371850"/>
              <a:gd name="connsiteY127" fmla="*/ 2876550 h 4791075"/>
              <a:gd name="connsiteX128" fmla="*/ 457200 w 3371850"/>
              <a:gd name="connsiteY128" fmla="*/ 3267075 h 4791075"/>
              <a:gd name="connsiteX129" fmla="*/ 447675 w 3371850"/>
              <a:gd name="connsiteY129" fmla="*/ 3381375 h 4791075"/>
              <a:gd name="connsiteX130" fmla="*/ 419100 w 3371850"/>
              <a:gd name="connsiteY130" fmla="*/ 3467100 h 4791075"/>
              <a:gd name="connsiteX131" fmla="*/ 400050 w 3371850"/>
              <a:gd name="connsiteY131" fmla="*/ 3648075 h 4791075"/>
              <a:gd name="connsiteX132" fmla="*/ 466725 w 3371850"/>
              <a:gd name="connsiteY132" fmla="*/ 3829050 h 4791075"/>
              <a:gd name="connsiteX133" fmla="*/ 533400 w 3371850"/>
              <a:gd name="connsiteY133" fmla="*/ 3933825 h 4791075"/>
              <a:gd name="connsiteX134" fmla="*/ 533400 w 3371850"/>
              <a:gd name="connsiteY134" fmla="*/ 4038600 h 4791075"/>
              <a:gd name="connsiteX135" fmla="*/ 485775 w 3371850"/>
              <a:gd name="connsiteY135" fmla="*/ 4095750 h 4791075"/>
              <a:gd name="connsiteX136" fmla="*/ 571500 w 3371850"/>
              <a:gd name="connsiteY136" fmla="*/ 4162425 h 4791075"/>
              <a:gd name="connsiteX137" fmla="*/ 704850 w 3371850"/>
              <a:gd name="connsiteY137" fmla="*/ 4276725 h 4791075"/>
              <a:gd name="connsiteX138" fmla="*/ 733425 w 3371850"/>
              <a:gd name="connsiteY138" fmla="*/ 4362450 h 4791075"/>
              <a:gd name="connsiteX139" fmla="*/ 885825 w 3371850"/>
              <a:gd name="connsiteY139" fmla="*/ 4305300 h 4791075"/>
              <a:gd name="connsiteX140" fmla="*/ 962025 w 3371850"/>
              <a:gd name="connsiteY140" fmla="*/ 4295775 h 4791075"/>
              <a:gd name="connsiteX141" fmla="*/ 1123950 w 3371850"/>
              <a:gd name="connsiteY141" fmla="*/ 4457700 h 4791075"/>
              <a:gd name="connsiteX142" fmla="*/ 1209675 w 3371850"/>
              <a:gd name="connsiteY142" fmla="*/ 4524375 h 4791075"/>
              <a:gd name="connsiteX143" fmla="*/ 1428750 w 3371850"/>
              <a:gd name="connsiteY143" fmla="*/ 4600575 h 4791075"/>
              <a:gd name="connsiteX144" fmla="*/ 1704975 w 3371850"/>
              <a:gd name="connsiteY144" fmla="*/ 4724400 h 4791075"/>
              <a:gd name="connsiteX145" fmla="*/ 1885950 w 3371850"/>
              <a:gd name="connsiteY145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57375 w 3371850"/>
              <a:gd name="connsiteY2" fmla="*/ 4610100 h 4791075"/>
              <a:gd name="connsiteX3" fmla="*/ 1800225 w 3371850"/>
              <a:gd name="connsiteY3" fmla="*/ 4581525 h 4791075"/>
              <a:gd name="connsiteX4" fmla="*/ 1739900 w 3371850"/>
              <a:gd name="connsiteY4" fmla="*/ 4572000 h 4791075"/>
              <a:gd name="connsiteX5" fmla="*/ 1651000 w 3371850"/>
              <a:gd name="connsiteY5" fmla="*/ 4572000 h 4791075"/>
              <a:gd name="connsiteX6" fmla="*/ 1612900 w 3371850"/>
              <a:gd name="connsiteY6" fmla="*/ 4511675 h 4791075"/>
              <a:gd name="connsiteX7" fmla="*/ 1663700 w 3371850"/>
              <a:gd name="connsiteY7" fmla="*/ 4448175 h 4791075"/>
              <a:gd name="connsiteX8" fmla="*/ 1704975 w 3371850"/>
              <a:gd name="connsiteY8" fmla="*/ 4352925 h 4791075"/>
              <a:gd name="connsiteX9" fmla="*/ 1666875 w 3371850"/>
              <a:gd name="connsiteY9" fmla="*/ 4314825 h 4791075"/>
              <a:gd name="connsiteX10" fmla="*/ 1600200 w 3371850"/>
              <a:gd name="connsiteY10" fmla="*/ 4286250 h 4791075"/>
              <a:gd name="connsiteX11" fmla="*/ 1520825 w 3371850"/>
              <a:gd name="connsiteY11" fmla="*/ 4292600 h 4791075"/>
              <a:gd name="connsiteX12" fmla="*/ 1422400 w 3371850"/>
              <a:gd name="connsiteY12" fmla="*/ 4276725 h 4791075"/>
              <a:gd name="connsiteX13" fmla="*/ 1377950 w 3371850"/>
              <a:gd name="connsiteY13" fmla="*/ 4143375 h 4791075"/>
              <a:gd name="connsiteX14" fmla="*/ 1295400 w 3371850"/>
              <a:gd name="connsiteY14" fmla="*/ 4038600 h 4791075"/>
              <a:gd name="connsiteX15" fmla="*/ 1200150 w 3371850"/>
              <a:gd name="connsiteY15" fmla="*/ 4000500 h 4791075"/>
              <a:gd name="connsiteX16" fmla="*/ 1143000 w 3371850"/>
              <a:gd name="connsiteY16" fmla="*/ 3971925 h 4791075"/>
              <a:gd name="connsiteX17" fmla="*/ 1114425 w 3371850"/>
              <a:gd name="connsiteY17" fmla="*/ 3933825 h 4791075"/>
              <a:gd name="connsiteX18" fmla="*/ 1095375 w 3371850"/>
              <a:gd name="connsiteY18" fmla="*/ 3838575 h 4791075"/>
              <a:gd name="connsiteX19" fmla="*/ 1123950 w 3371850"/>
              <a:gd name="connsiteY19" fmla="*/ 3781425 h 4791075"/>
              <a:gd name="connsiteX20" fmla="*/ 1266825 w 3371850"/>
              <a:gd name="connsiteY20" fmla="*/ 3771900 h 4791075"/>
              <a:gd name="connsiteX21" fmla="*/ 1390650 w 3371850"/>
              <a:gd name="connsiteY21" fmla="*/ 3552825 h 4791075"/>
              <a:gd name="connsiteX22" fmla="*/ 1390650 w 3371850"/>
              <a:gd name="connsiteY22" fmla="*/ 3403600 h 4791075"/>
              <a:gd name="connsiteX23" fmla="*/ 1343025 w 3371850"/>
              <a:gd name="connsiteY23" fmla="*/ 3286125 h 4791075"/>
              <a:gd name="connsiteX24" fmla="*/ 1266825 w 3371850"/>
              <a:gd name="connsiteY24" fmla="*/ 3200400 h 4791075"/>
              <a:gd name="connsiteX25" fmla="*/ 1181100 w 3371850"/>
              <a:gd name="connsiteY25" fmla="*/ 3162300 h 4791075"/>
              <a:gd name="connsiteX26" fmla="*/ 1085850 w 3371850"/>
              <a:gd name="connsiteY26" fmla="*/ 3067050 h 4791075"/>
              <a:gd name="connsiteX27" fmla="*/ 1047750 w 3371850"/>
              <a:gd name="connsiteY27" fmla="*/ 2943225 h 4791075"/>
              <a:gd name="connsiteX28" fmla="*/ 1000125 w 3371850"/>
              <a:gd name="connsiteY28" fmla="*/ 2857500 h 4791075"/>
              <a:gd name="connsiteX29" fmla="*/ 1000125 w 3371850"/>
              <a:gd name="connsiteY29" fmla="*/ 2819400 h 4791075"/>
              <a:gd name="connsiteX30" fmla="*/ 1000125 w 3371850"/>
              <a:gd name="connsiteY30" fmla="*/ 2819400 h 4791075"/>
              <a:gd name="connsiteX31" fmla="*/ 1114425 w 3371850"/>
              <a:gd name="connsiteY31" fmla="*/ 2676525 h 4791075"/>
              <a:gd name="connsiteX32" fmla="*/ 1190625 w 3371850"/>
              <a:gd name="connsiteY32" fmla="*/ 2609850 h 4791075"/>
              <a:gd name="connsiteX33" fmla="*/ 1190625 w 3371850"/>
              <a:gd name="connsiteY33" fmla="*/ 2609850 h 4791075"/>
              <a:gd name="connsiteX34" fmla="*/ 1285875 w 3371850"/>
              <a:gd name="connsiteY34" fmla="*/ 2581275 h 4791075"/>
              <a:gd name="connsiteX35" fmla="*/ 1457325 w 3371850"/>
              <a:gd name="connsiteY35" fmla="*/ 2476500 h 4791075"/>
              <a:gd name="connsiteX36" fmla="*/ 1504950 w 3371850"/>
              <a:gd name="connsiteY36" fmla="*/ 2438400 h 4791075"/>
              <a:gd name="connsiteX37" fmla="*/ 1514475 w 3371850"/>
              <a:gd name="connsiteY37" fmla="*/ 2333625 h 4791075"/>
              <a:gd name="connsiteX38" fmla="*/ 1524000 w 3371850"/>
              <a:gd name="connsiteY38" fmla="*/ 2247900 h 4791075"/>
              <a:gd name="connsiteX39" fmla="*/ 1476375 w 3371850"/>
              <a:gd name="connsiteY39" fmla="*/ 2171700 h 4791075"/>
              <a:gd name="connsiteX40" fmla="*/ 1371600 w 3371850"/>
              <a:gd name="connsiteY40" fmla="*/ 2168525 h 4791075"/>
              <a:gd name="connsiteX41" fmla="*/ 1292225 w 3371850"/>
              <a:gd name="connsiteY41" fmla="*/ 2146300 h 4791075"/>
              <a:gd name="connsiteX42" fmla="*/ 1187450 w 3371850"/>
              <a:gd name="connsiteY42" fmla="*/ 2181225 h 4791075"/>
              <a:gd name="connsiteX43" fmla="*/ 1009650 w 3371850"/>
              <a:gd name="connsiteY43" fmla="*/ 2168525 h 4791075"/>
              <a:gd name="connsiteX44" fmla="*/ 876300 w 3371850"/>
              <a:gd name="connsiteY44" fmla="*/ 2171700 h 4791075"/>
              <a:gd name="connsiteX45" fmla="*/ 847725 w 3371850"/>
              <a:gd name="connsiteY45" fmla="*/ 2085975 h 4791075"/>
              <a:gd name="connsiteX46" fmla="*/ 885825 w 3371850"/>
              <a:gd name="connsiteY46" fmla="*/ 1962150 h 4791075"/>
              <a:gd name="connsiteX47" fmla="*/ 952500 w 3371850"/>
              <a:gd name="connsiteY47" fmla="*/ 1828800 h 4791075"/>
              <a:gd name="connsiteX48" fmla="*/ 1000125 w 3371850"/>
              <a:gd name="connsiteY48" fmla="*/ 1666875 h 4791075"/>
              <a:gd name="connsiteX49" fmla="*/ 971550 w 3371850"/>
              <a:gd name="connsiteY49" fmla="*/ 1590675 h 4791075"/>
              <a:gd name="connsiteX50" fmla="*/ 904875 w 3371850"/>
              <a:gd name="connsiteY50" fmla="*/ 1533525 h 4791075"/>
              <a:gd name="connsiteX51" fmla="*/ 752475 w 3371850"/>
              <a:gd name="connsiteY51" fmla="*/ 1504950 h 4791075"/>
              <a:gd name="connsiteX52" fmla="*/ 628650 w 3371850"/>
              <a:gd name="connsiteY52" fmla="*/ 1438275 h 4791075"/>
              <a:gd name="connsiteX53" fmla="*/ 647700 w 3371850"/>
              <a:gd name="connsiteY53" fmla="*/ 1333500 h 4791075"/>
              <a:gd name="connsiteX54" fmla="*/ 755650 w 3371850"/>
              <a:gd name="connsiteY54" fmla="*/ 1219200 h 4791075"/>
              <a:gd name="connsiteX55" fmla="*/ 857250 w 3371850"/>
              <a:gd name="connsiteY55" fmla="*/ 1143000 h 4791075"/>
              <a:gd name="connsiteX56" fmla="*/ 904875 w 3371850"/>
              <a:gd name="connsiteY56" fmla="*/ 1104900 h 4791075"/>
              <a:gd name="connsiteX57" fmla="*/ 904875 w 3371850"/>
              <a:gd name="connsiteY57" fmla="*/ 1047750 h 4791075"/>
              <a:gd name="connsiteX58" fmla="*/ 923925 w 3371850"/>
              <a:gd name="connsiteY58" fmla="*/ 981075 h 4791075"/>
              <a:gd name="connsiteX59" fmla="*/ 952500 w 3371850"/>
              <a:gd name="connsiteY59" fmla="*/ 952500 h 4791075"/>
              <a:gd name="connsiteX60" fmla="*/ 962025 w 3371850"/>
              <a:gd name="connsiteY60" fmla="*/ 885825 h 4791075"/>
              <a:gd name="connsiteX61" fmla="*/ 962025 w 3371850"/>
              <a:gd name="connsiteY61" fmla="*/ 800100 h 4791075"/>
              <a:gd name="connsiteX62" fmla="*/ 1031875 w 3371850"/>
              <a:gd name="connsiteY62" fmla="*/ 685800 h 4791075"/>
              <a:gd name="connsiteX63" fmla="*/ 1276350 w 3371850"/>
              <a:gd name="connsiteY63" fmla="*/ 701675 h 4791075"/>
              <a:gd name="connsiteX64" fmla="*/ 1476375 w 3371850"/>
              <a:gd name="connsiteY64" fmla="*/ 600075 h 4791075"/>
              <a:gd name="connsiteX65" fmla="*/ 1600200 w 3371850"/>
              <a:gd name="connsiteY65" fmla="*/ 488950 h 4791075"/>
              <a:gd name="connsiteX66" fmla="*/ 1749425 w 3371850"/>
              <a:gd name="connsiteY66" fmla="*/ 454025 h 4791075"/>
              <a:gd name="connsiteX67" fmla="*/ 1914525 w 3371850"/>
              <a:gd name="connsiteY67" fmla="*/ 466725 h 4791075"/>
              <a:gd name="connsiteX68" fmla="*/ 2152650 w 3371850"/>
              <a:gd name="connsiteY68" fmla="*/ 542925 h 4791075"/>
              <a:gd name="connsiteX69" fmla="*/ 2286000 w 3371850"/>
              <a:gd name="connsiteY69" fmla="*/ 638175 h 4791075"/>
              <a:gd name="connsiteX70" fmla="*/ 2352675 w 3371850"/>
              <a:gd name="connsiteY70" fmla="*/ 695325 h 4791075"/>
              <a:gd name="connsiteX71" fmla="*/ 2667000 w 3371850"/>
              <a:gd name="connsiteY71" fmla="*/ 733425 h 4791075"/>
              <a:gd name="connsiteX72" fmla="*/ 2835275 w 3371850"/>
              <a:gd name="connsiteY72" fmla="*/ 755650 h 4791075"/>
              <a:gd name="connsiteX73" fmla="*/ 2943225 w 3371850"/>
              <a:gd name="connsiteY73" fmla="*/ 809625 h 4791075"/>
              <a:gd name="connsiteX74" fmla="*/ 3105150 w 3371850"/>
              <a:gd name="connsiteY74" fmla="*/ 790575 h 4791075"/>
              <a:gd name="connsiteX75" fmla="*/ 3190875 w 3371850"/>
              <a:gd name="connsiteY75" fmla="*/ 790575 h 4791075"/>
              <a:gd name="connsiteX76" fmla="*/ 3311525 w 3371850"/>
              <a:gd name="connsiteY76" fmla="*/ 787400 h 4791075"/>
              <a:gd name="connsiteX77" fmla="*/ 3340100 w 3371850"/>
              <a:gd name="connsiteY77" fmla="*/ 765175 h 4791075"/>
              <a:gd name="connsiteX78" fmla="*/ 3371850 w 3371850"/>
              <a:gd name="connsiteY78" fmla="*/ 704850 h 4791075"/>
              <a:gd name="connsiteX79" fmla="*/ 3336925 w 3371850"/>
              <a:gd name="connsiteY79" fmla="*/ 536575 h 4791075"/>
              <a:gd name="connsiteX80" fmla="*/ 3311525 w 3371850"/>
              <a:gd name="connsiteY80" fmla="*/ 479425 h 4791075"/>
              <a:gd name="connsiteX81" fmla="*/ 3197225 w 3371850"/>
              <a:gd name="connsiteY81" fmla="*/ 409575 h 4791075"/>
              <a:gd name="connsiteX82" fmla="*/ 3181350 w 3371850"/>
              <a:gd name="connsiteY82" fmla="*/ 352425 h 4791075"/>
              <a:gd name="connsiteX83" fmla="*/ 3133725 w 3371850"/>
              <a:gd name="connsiteY83" fmla="*/ 314325 h 4791075"/>
              <a:gd name="connsiteX84" fmla="*/ 3105150 w 3371850"/>
              <a:gd name="connsiteY84" fmla="*/ 336550 h 4791075"/>
              <a:gd name="connsiteX85" fmla="*/ 3086100 w 3371850"/>
              <a:gd name="connsiteY85" fmla="*/ 387350 h 4791075"/>
              <a:gd name="connsiteX86" fmla="*/ 3086100 w 3371850"/>
              <a:gd name="connsiteY86" fmla="*/ 447675 h 4791075"/>
              <a:gd name="connsiteX87" fmla="*/ 3038475 w 3371850"/>
              <a:gd name="connsiteY87" fmla="*/ 466725 h 4791075"/>
              <a:gd name="connsiteX88" fmla="*/ 2962275 w 3371850"/>
              <a:gd name="connsiteY88" fmla="*/ 419100 h 4791075"/>
              <a:gd name="connsiteX89" fmla="*/ 2867025 w 3371850"/>
              <a:gd name="connsiteY89" fmla="*/ 476250 h 4791075"/>
              <a:gd name="connsiteX90" fmla="*/ 2847975 w 3371850"/>
              <a:gd name="connsiteY90" fmla="*/ 504825 h 4791075"/>
              <a:gd name="connsiteX91" fmla="*/ 2838450 w 3371850"/>
              <a:gd name="connsiteY91" fmla="*/ 542925 h 4791075"/>
              <a:gd name="connsiteX92" fmla="*/ 2762250 w 3371850"/>
              <a:gd name="connsiteY92" fmla="*/ 504825 h 4791075"/>
              <a:gd name="connsiteX93" fmla="*/ 2647950 w 3371850"/>
              <a:gd name="connsiteY93" fmla="*/ 485775 h 4791075"/>
              <a:gd name="connsiteX94" fmla="*/ 2552700 w 3371850"/>
              <a:gd name="connsiteY94" fmla="*/ 438150 h 4791075"/>
              <a:gd name="connsiteX95" fmla="*/ 2419350 w 3371850"/>
              <a:gd name="connsiteY95" fmla="*/ 361950 h 4791075"/>
              <a:gd name="connsiteX96" fmla="*/ 2333625 w 3371850"/>
              <a:gd name="connsiteY96" fmla="*/ 276225 h 4791075"/>
              <a:gd name="connsiteX97" fmla="*/ 2209800 w 3371850"/>
              <a:gd name="connsiteY97" fmla="*/ 266700 h 4791075"/>
              <a:gd name="connsiteX98" fmla="*/ 2171700 w 3371850"/>
              <a:gd name="connsiteY98" fmla="*/ 133350 h 4791075"/>
              <a:gd name="connsiteX99" fmla="*/ 2143125 w 3371850"/>
              <a:gd name="connsiteY99" fmla="*/ 3175 h 4791075"/>
              <a:gd name="connsiteX100" fmla="*/ 1212850 w 3371850"/>
              <a:gd name="connsiteY100" fmla="*/ 0 h 4791075"/>
              <a:gd name="connsiteX101" fmla="*/ 1181100 w 3371850"/>
              <a:gd name="connsiteY101" fmla="*/ 133350 h 4791075"/>
              <a:gd name="connsiteX102" fmla="*/ 1143000 w 3371850"/>
              <a:gd name="connsiteY102" fmla="*/ 238125 h 4791075"/>
              <a:gd name="connsiteX103" fmla="*/ 933450 w 3371850"/>
              <a:gd name="connsiteY103" fmla="*/ 400050 h 4791075"/>
              <a:gd name="connsiteX104" fmla="*/ 923925 w 3371850"/>
              <a:gd name="connsiteY104" fmla="*/ 457200 h 4791075"/>
              <a:gd name="connsiteX105" fmla="*/ 800100 w 3371850"/>
              <a:gd name="connsiteY105" fmla="*/ 476250 h 4791075"/>
              <a:gd name="connsiteX106" fmla="*/ 628650 w 3371850"/>
              <a:gd name="connsiteY106" fmla="*/ 533400 h 4791075"/>
              <a:gd name="connsiteX107" fmla="*/ 581025 w 3371850"/>
              <a:gd name="connsiteY107" fmla="*/ 644525 h 4791075"/>
              <a:gd name="connsiteX108" fmla="*/ 476250 w 3371850"/>
              <a:gd name="connsiteY108" fmla="*/ 762000 h 4791075"/>
              <a:gd name="connsiteX109" fmla="*/ 466725 w 3371850"/>
              <a:gd name="connsiteY109" fmla="*/ 838200 h 4791075"/>
              <a:gd name="connsiteX110" fmla="*/ 476250 w 3371850"/>
              <a:gd name="connsiteY110" fmla="*/ 962025 h 4791075"/>
              <a:gd name="connsiteX111" fmla="*/ 428625 w 3371850"/>
              <a:gd name="connsiteY111" fmla="*/ 1009650 h 4791075"/>
              <a:gd name="connsiteX112" fmla="*/ 247650 w 3371850"/>
              <a:gd name="connsiteY112" fmla="*/ 981075 h 4791075"/>
              <a:gd name="connsiteX113" fmla="*/ 180975 w 3371850"/>
              <a:gd name="connsiteY113" fmla="*/ 990600 h 4791075"/>
              <a:gd name="connsiteX114" fmla="*/ 76200 w 3371850"/>
              <a:gd name="connsiteY114" fmla="*/ 1066800 h 4791075"/>
              <a:gd name="connsiteX115" fmla="*/ 57150 w 3371850"/>
              <a:gd name="connsiteY115" fmla="*/ 1162050 h 4791075"/>
              <a:gd name="connsiteX116" fmla="*/ 57150 w 3371850"/>
              <a:gd name="connsiteY116" fmla="*/ 1295400 h 4791075"/>
              <a:gd name="connsiteX117" fmla="*/ 28575 w 3371850"/>
              <a:gd name="connsiteY117" fmla="*/ 1409700 h 4791075"/>
              <a:gd name="connsiteX118" fmla="*/ 0 w 3371850"/>
              <a:gd name="connsiteY118" fmla="*/ 1524000 h 4791075"/>
              <a:gd name="connsiteX119" fmla="*/ 104775 w 3371850"/>
              <a:gd name="connsiteY119" fmla="*/ 1657350 h 4791075"/>
              <a:gd name="connsiteX120" fmla="*/ 161925 w 3371850"/>
              <a:gd name="connsiteY120" fmla="*/ 1838325 h 4791075"/>
              <a:gd name="connsiteX121" fmla="*/ 219075 w 3371850"/>
              <a:gd name="connsiteY121" fmla="*/ 2047875 h 4791075"/>
              <a:gd name="connsiteX122" fmla="*/ 276225 w 3371850"/>
              <a:gd name="connsiteY122" fmla="*/ 2314575 h 4791075"/>
              <a:gd name="connsiteX123" fmla="*/ 361950 w 3371850"/>
              <a:gd name="connsiteY123" fmla="*/ 2419350 h 4791075"/>
              <a:gd name="connsiteX124" fmla="*/ 333375 w 3371850"/>
              <a:gd name="connsiteY124" fmla="*/ 2628900 h 4791075"/>
              <a:gd name="connsiteX125" fmla="*/ 333375 w 3371850"/>
              <a:gd name="connsiteY125" fmla="*/ 2781300 h 4791075"/>
              <a:gd name="connsiteX126" fmla="*/ 381000 w 3371850"/>
              <a:gd name="connsiteY126" fmla="*/ 2876550 h 4791075"/>
              <a:gd name="connsiteX127" fmla="*/ 457200 w 3371850"/>
              <a:gd name="connsiteY127" fmla="*/ 3267075 h 4791075"/>
              <a:gd name="connsiteX128" fmla="*/ 447675 w 3371850"/>
              <a:gd name="connsiteY128" fmla="*/ 3381375 h 4791075"/>
              <a:gd name="connsiteX129" fmla="*/ 419100 w 3371850"/>
              <a:gd name="connsiteY129" fmla="*/ 3467100 h 4791075"/>
              <a:gd name="connsiteX130" fmla="*/ 400050 w 3371850"/>
              <a:gd name="connsiteY130" fmla="*/ 3648075 h 4791075"/>
              <a:gd name="connsiteX131" fmla="*/ 466725 w 3371850"/>
              <a:gd name="connsiteY131" fmla="*/ 3829050 h 4791075"/>
              <a:gd name="connsiteX132" fmla="*/ 533400 w 3371850"/>
              <a:gd name="connsiteY132" fmla="*/ 3933825 h 4791075"/>
              <a:gd name="connsiteX133" fmla="*/ 533400 w 3371850"/>
              <a:gd name="connsiteY133" fmla="*/ 4038600 h 4791075"/>
              <a:gd name="connsiteX134" fmla="*/ 485775 w 3371850"/>
              <a:gd name="connsiteY134" fmla="*/ 4095750 h 4791075"/>
              <a:gd name="connsiteX135" fmla="*/ 571500 w 3371850"/>
              <a:gd name="connsiteY135" fmla="*/ 4162425 h 4791075"/>
              <a:gd name="connsiteX136" fmla="*/ 704850 w 3371850"/>
              <a:gd name="connsiteY136" fmla="*/ 4276725 h 4791075"/>
              <a:gd name="connsiteX137" fmla="*/ 733425 w 3371850"/>
              <a:gd name="connsiteY137" fmla="*/ 4362450 h 4791075"/>
              <a:gd name="connsiteX138" fmla="*/ 885825 w 3371850"/>
              <a:gd name="connsiteY138" fmla="*/ 4305300 h 4791075"/>
              <a:gd name="connsiteX139" fmla="*/ 962025 w 3371850"/>
              <a:gd name="connsiteY139" fmla="*/ 4295775 h 4791075"/>
              <a:gd name="connsiteX140" fmla="*/ 1123950 w 3371850"/>
              <a:gd name="connsiteY140" fmla="*/ 4457700 h 4791075"/>
              <a:gd name="connsiteX141" fmla="*/ 1209675 w 3371850"/>
              <a:gd name="connsiteY141" fmla="*/ 4524375 h 4791075"/>
              <a:gd name="connsiteX142" fmla="*/ 1428750 w 3371850"/>
              <a:gd name="connsiteY142" fmla="*/ 4600575 h 4791075"/>
              <a:gd name="connsiteX143" fmla="*/ 1704975 w 3371850"/>
              <a:gd name="connsiteY143" fmla="*/ 4724400 h 4791075"/>
              <a:gd name="connsiteX144" fmla="*/ 1885950 w 3371850"/>
              <a:gd name="connsiteY144" fmla="*/ 4791075 h 4791075"/>
              <a:gd name="connsiteX0" fmla="*/ 1885950 w 3371850"/>
              <a:gd name="connsiteY0" fmla="*/ 4791075 h 4791075"/>
              <a:gd name="connsiteX1" fmla="*/ 1857375 w 3371850"/>
              <a:gd name="connsiteY1" fmla="*/ 4686300 h 4791075"/>
              <a:gd name="connsiteX2" fmla="*/ 1822450 w 3371850"/>
              <a:gd name="connsiteY2" fmla="*/ 4635500 h 4791075"/>
              <a:gd name="connsiteX3" fmla="*/ 1800225 w 3371850"/>
              <a:gd name="connsiteY3" fmla="*/ 4581525 h 4791075"/>
              <a:gd name="connsiteX4" fmla="*/ 1739900 w 3371850"/>
              <a:gd name="connsiteY4" fmla="*/ 4572000 h 4791075"/>
              <a:gd name="connsiteX5" fmla="*/ 1651000 w 3371850"/>
              <a:gd name="connsiteY5" fmla="*/ 4572000 h 4791075"/>
              <a:gd name="connsiteX6" fmla="*/ 1612900 w 3371850"/>
              <a:gd name="connsiteY6" fmla="*/ 4511675 h 4791075"/>
              <a:gd name="connsiteX7" fmla="*/ 1663700 w 3371850"/>
              <a:gd name="connsiteY7" fmla="*/ 4448175 h 4791075"/>
              <a:gd name="connsiteX8" fmla="*/ 1704975 w 3371850"/>
              <a:gd name="connsiteY8" fmla="*/ 4352925 h 4791075"/>
              <a:gd name="connsiteX9" fmla="*/ 1666875 w 3371850"/>
              <a:gd name="connsiteY9" fmla="*/ 4314825 h 4791075"/>
              <a:gd name="connsiteX10" fmla="*/ 1600200 w 3371850"/>
              <a:gd name="connsiteY10" fmla="*/ 4286250 h 4791075"/>
              <a:gd name="connsiteX11" fmla="*/ 1520825 w 3371850"/>
              <a:gd name="connsiteY11" fmla="*/ 4292600 h 4791075"/>
              <a:gd name="connsiteX12" fmla="*/ 1422400 w 3371850"/>
              <a:gd name="connsiteY12" fmla="*/ 4276725 h 4791075"/>
              <a:gd name="connsiteX13" fmla="*/ 1377950 w 3371850"/>
              <a:gd name="connsiteY13" fmla="*/ 4143375 h 4791075"/>
              <a:gd name="connsiteX14" fmla="*/ 1295400 w 3371850"/>
              <a:gd name="connsiteY14" fmla="*/ 4038600 h 4791075"/>
              <a:gd name="connsiteX15" fmla="*/ 1200150 w 3371850"/>
              <a:gd name="connsiteY15" fmla="*/ 4000500 h 4791075"/>
              <a:gd name="connsiteX16" fmla="*/ 1143000 w 3371850"/>
              <a:gd name="connsiteY16" fmla="*/ 3971925 h 4791075"/>
              <a:gd name="connsiteX17" fmla="*/ 1114425 w 3371850"/>
              <a:gd name="connsiteY17" fmla="*/ 3933825 h 4791075"/>
              <a:gd name="connsiteX18" fmla="*/ 1095375 w 3371850"/>
              <a:gd name="connsiteY18" fmla="*/ 3838575 h 4791075"/>
              <a:gd name="connsiteX19" fmla="*/ 1123950 w 3371850"/>
              <a:gd name="connsiteY19" fmla="*/ 3781425 h 4791075"/>
              <a:gd name="connsiteX20" fmla="*/ 1266825 w 3371850"/>
              <a:gd name="connsiteY20" fmla="*/ 3771900 h 4791075"/>
              <a:gd name="connsiteX21" fmla="*/ 1390650 w 3371850"/>
              <a:gd name="connsiteY21" fmla="*/ 3552825 h 4791075"/>
              <a:gd name="connsiteX22" fmla="*/ 1390650 w 3371850"/>
              <a:gd name="connsiteY22" fmla="*/ 3403600 h 4791075"/>
              <a:gd name="connsiteX23" fmla="*/ 1343025 w 3371850"/>
              <a:gd name="connsiteY23" fmla="*/ 3286125 h 4791075"/>
              <a:gd name="connsiteX24" fmla="*/ 1266825 w 3371850"/>
              <a:gd name="connsiteY24" fmla="*/ 3200400 h 4791075"/>
              <a:gd name="connsiteX25" fmla="*/ 1181100 w 3371850"/>
              <a:gd name="connsiteY25" fmla="*/ 3162300 h 4791075"/>
              <a:gd name="connsiteX26" fmla="*/ 1085850 w 3371850"/>
              <a:gd name="connsiteY26" fmla="*/ 3067050 h 4791075"/>
              <a:gd name="connsiteX27" fmla="*/ 1047750 w 3371850"/>
              <a:gd name="connsiteY27" fmla="*/ 2943225 h 4791075"/>
              <a:gd name="connsiteX28" fmla="*/ 1000125 w 3371850"/>
              <a:gd name="connsiteY28" fmla="*/ 2857500 h 4791075"/>
              <a:gd name="connsiteX29" fmla="*/ 1000125 w 3371850"/>
              <a:gd name="connsiteY29" fmla="*/ 2819400 h 4791075"/>
              <a:gd name="connsiteX30" fmla="*/ 1000125 w 3371850"/>
              <a:gd name="connsiteY30" fmla="*/ 2819400 h 4791075"/>
              <a:gd name="connsiteX31" fmla="*/ 1114425 w 3371850"/>
              <a:gd name="connsiteY31" fmla="*/ 2676525 h 4791075"/>
              <a:gd name="connsiteX32" fmla="*/ 1190625 w 3371850"/>
              <a:gd name="connsiteY32" fmla="*/ 2609850 h 4791075"/>
              <a:gd name="connsiteX33" fmla="*/ 1190625 w 3371850"/>
              <a:gd name="connsiteY33" fmla="*/ 2609850 h 4791075"/>
              <a:gd name="connsiteX34" fmla="*/ 1285875 w 3371850"/>
              <a:gd name="connsiteY34" fmla="*/ 2581275 h 4791075"/>
              <a:gd name="connsiteX35" fmla="*/ 1457325 w 3371850"/>
              <a:gd name="connsiteY35" fmla="*/ 2476500 h 4791075"/>
              <a:gd name="connsiteX36" fmla="*/ 1504950 w 3371850"/>
              <a:gd name="connsiteY36" fmla="*/ 2438400 h 4791075"/>
              <a:gd name="connsiteX37" fmla="*/ 1514475 w 3371850"/>
              <a:gd name="connsiteY37" fmla="*/ 2333625 h 4791075"/>
              <a:gd name="connsiteX38" fmla="*/ 1524000 w 3371850"/>
              <a:gd name="connsiteY38" fmla="*/ 2247900 h 4791075"/>
              <a:gd name="connsiteX39" fmla="*/ 1476375 w 3371850"/>
              <a:gd name="connsiteY39" fmla="*/ 2171700 h 4791075"/>
              <a:gd name="connsiteX40" fmla="*/ 1371600 w 3371850"/>
              <a:gd name="connsiteY40" fmla="*/ 2168525 h 4791075"/>
              <a:gd name="connsiteX41" fmla="*/ 1292225 w 3371850"/>
              <a:gd name="connsiteY41" fmla="*/ 2146300 h 4791075"/>
              <a:gd name="connsiteX42" fmla="*/ 1187450 w 3371850"/>
              <a:gd name="connsiteY42" fmla="*/ 2181225 h 4791075"/>
              <a:gd name="connsiteX43" fmla="*/ 1009650 w 3371850"/>
              <a:gd name="connsiteY43" fmla="*/ 2168525 h 4791075"/>
              <a:gd name="connsiteX44" fmla="*/ 876300 w 3371850"/>
              <a:gd name="connsiteY44" fmla="*/ 2171700 h 4791075"/>
              <a:gd name="connsiteX45" fmla="*/ 847725 w 3371850"/>
              <a:gd name="connsiteY45" fmla="*/ 2085975 h 4791075"/>
              <a:gd name="connsiteX46" fmla="*/ 885825 w 3371850"/>
              <a:gd name="connsiteY46" fmla="*/ 1962150 h 4791075"/>
              <a:gd name="connsiteX47" fmla="*/ 952500 w 3371850"/>
              <a:gd name="connsiteY47" fmla="*/ 1828800 h 4791075"/>
              <a:gd name="connsiteX48" fmla="*/ 1000125 w 3371850"/>
              <a:gd name="connsiteY48" fmla="*/ 1666875 h 4791075"/>
              <a:gd name="connsiteX49" fmla="*/ 971550 w 3371850"/>
              <a:gd name="connsiteY49" fmla="*/ 1590675 h 4791075"/>
              <a:gd name="connsiteX50" fmla="*/ 904875 w 3371850"/>
              <a:gd name="connsiteY50" fmla="*/ 1533525 h 4791075"/>
              <a:gd name="connsiteX51" fmla="*/ 752475 w 3371850"/>
              <a:gd name="connsiteY51" fmla="*/ 1504950 h 4791075"/>
              <a:gd name="connsiteX52" fmla="*/ 628650 w 3371850"/>
              <a:gd name="connsiteY52" fmla="*/ 1438275 h 4791075"/>
              <a:gd name="connsiteX53" fmla="*/ 647700 w 3371850"/>
              <a:gd name="connsiteY53" fmla="*/ 1333500 h 4791075"/>
              <a:gd name="connsiteX54" fmla="*/ 755650 w 3371850"/>
              <a:gd name="connsiteY54" fmla="*/ 1219200 h 4791075"/>
              <a:gd name="connsiteX55" fmla="*/ 857250 w 3371850"/>
              <a:gd name="connsiteY55" fmla="*/ 1143000 h 4791075"/>
              <a:gd name="connsiteX56" fmla="*/ 904875 w 3371850"/>
              <a:gd name="connsiteY56" fmla="*/ 1104900 h 4791075"/>
              <a:gd name="connsiteX57" fmla="*/ 904875 w 3371850"/>
              <a:gd name="connsiteY57" fmla="*/ 1047750 h 4791075"/>
              <a:gd name="connsiteX58" fmla="*/ 923925 w 3371850"/>
              <a:gd name="connsiteY58" fmla="*/ 981075 h 4791075"/>
              <a:gd name="connsiteX59" fmla="*/ 952500 w 3371850"/>
              <a:gd name="connsiteY59" fmla="*/ 952500 h 4791075"/>
              <a:gd name="connsiteX60" fmla="*/ 962025 w 3371850"/>
              <a:gd name="connsiteY60" fmla="*/ 885825 h 4791075"/>
              <a:gd name="connsiteX61" fmla="*/ 962025 w 3371850"/>
              <a:gd name="connsiteY61" fmla="*/ 800100 h 4791075"/>
              <a:gd name="connsiteX62" fmla="*/ 1031875 w 3371850"/>
              <a:gd name="connsiteY62" fmla="*/ 685800 h 4791075"/>
              <a:gd name="connsiteX63" fmla="*/ 1276350 w 3371850"/>
              <a:gd name="connsiteY63" fmla="*/ 701675 h 4791075"/>
              <a:gd name="connsiteX64" fmla="*/ 1476375 w 3371850"/>
              <a:gd name="connsiteY64" fmla="*/ 600075 h 4791075"/>
              <a:gd name="connsiteX65" fmla="*/ 1600200 w 3371850"/>
              <a:gd name="connsiteY65" fmla="*/ 488950 h 4791075"/>
              <a:gd name="connsiteX66" fmla="*/ 1749425 w 3371850"/>
              <a:gd name="connsiteY66" fmla="*/ 454025 h 4791075"/>
              <a:gd name="connsiteX67" fmla="*/ 1914525 w 3371850"/>
              <a:gd name="connsiteY67" fmla="*/ 466725 h 4791075"/>
              <a:gd name="connsiteX68" fmla="*/ 2152650 w 3371850"/>
              <a:gd name="connsiteY68" fmla="*/ 542925 h 4791075"/>
              <a:gd name="connsiteX69" fmla="*/ 2286000 w 3371850"/>
              <a:gd name="connsiteY69" fmla="*/ 638175 h 4791075"/>
              <a:gd name="connsiteX70" fmla="*/ 2352675 w 3371850"/>
              <a:gd name="connsiteY70" fmla="*/ 695325 h 4791075"/>
              <a:gd name="connsiteX71" fmla="*/ 2667000 w 3371850"/>
              <a:gd name="connsiteY71" fmla="*/ 733425 h 4791075"/>
              <a:gd name="connsiteX72" fmla="*/ 2835275 w 3371850"/>
              <a:gd name="connsiteY72" fmla="*/ 755650 h 4791075"/>
              <a:gd name="connsiteX73" fmla="*/ 2943225 w 3371850"/>
              <a:gd name="connsiteY73" fmla="*/ 809625 h 4791075"/>
              <a:gd name="connsiteX74" fmla="*/ 3105150 w 3371850"/>
              <a:gd name="connsiteY74" fmla="*/ 790575 h 4791075"/>
              <a:gd name="connsiteX75" fmla="*/ 3190875 w 3371850"/>
              <a:gd name="connsiteY75" fmla="*/ 790575 h 4791075"/>
              <a:gd name="connsiteX76" fmla="*/ 3311525 w 3371850"/>
              <a:gd name="connsiteY76" fmla="*/ 787400 h 4791075"/>
              <a:gd name="connsiteX77" fmla="*/ 3340100 w 3371850"/>
              <a:gd name="connsiteY77" fmla="*/ 765175 h 4791075"/>
              <a:gd name="connsiteX78" fmla="*/ 3371850 w 3371850"/>
              <a:gd name="connsiteY78" fmla="*/ 704850 h 4791075"/>
              <a:gd name="connsiteX79" fmla="*/ 3336925 w 3371850"/>
              <a:gd name="connsiteY79" fmla="*/ 536575 h 4791075"/>
              <a:gd name="connsiteX80" fmla="*/ 3311525 w 3371850"/>
              <a:gd name="connsiteY80" fmla="*/ 479425 h 4791075"/>
              <a:gd name="connsiteX81" fmla="*/ 3197225 w 3371850"/>
              <a:gd name="connsiteY81" fmla="*/ 409575 h 4791075"/>
              <a:gd name="connsiteX82" fmla="*/ 3181350 w 3371850"/>
              <a:gd name="connsiteY82" fmla="*/ 352425 h 4791075"/>
              <a:gd name="connsiteX83" fmla="*/ 3133725 w 3371850"/>
              <a:gd name="connsiteY83" fmla="*/ 314325 h 4791075"/>
              <a:gd name="connsiteX84" fmla="*/ 3105150 w 3371850"/>
              <a:gd name="connsiteY84" fmla="*/ 336550 h 4791075"/>
              <a:gd name="connsiteX85" fmla="*/ 3086100 w 3371850"/>
              <a:gd name="connsiteY85" fmla="*/ 387350 h 4791075"/>
              <a:gd name="connsiteX86" fmla="*/ 3086100 w 3371850"/>
              <a:gd name="connsiteY86" fmla="*/ 447675 h 4791075"/>
              <a:gd name="connsiteX87" fmla="*/ 3038475 w 3371850"/>
              <a:gd name="connsiteY87" fmla="*/ 466725 h 4791075"/>
              <a:gd name="connsiteX88" fmla="*/ 2962275 w 3371850"/>
              <a:gd name="connsiteY88" fmla="*/ 419100 h 4791075"/>
              <a:gd name="connsiteX89" fmla="*/ 2867025 w 3371850"/>
              <a:gd name="connsiteY89" fmla="*/ 476250 h 4791075"/>
              <a:gd name="connsiteX90" fmla="*/ 2847975 w 3371850"/>
              <a:gd name="connsiteY90" fmla="*/ 504825 h 4791075"/>
              <a:gd name="connsiteX91" fmla="*/ 2838450 w 3371850"/>
              <a:gd name="connsiteY91" fmla="*/ 542925 h 4791075"/>
              <a:gd name="connsiteX92" fmla="*/ 2762250 w 3371850"/>
              <a:gd name="connsiteY92" fmla="*/ 504825 h 4791075"/>
              <a:gd name="connsiteX93" fmla="*/ 2647950 w 3371850"/>
              <a:gd name="connsiteY93" fmla="*/ 485775 h 4791075"/>
              <a:gd name="connsiteX94" fmla="*/ 2552700 w 3371850"/>
              <a:gd name="connsiteY94" fmla="*/ 438150 h 4791075"/>
              <a:gd name="connsiteX95" fmla="*/ 2419350 w 3371850"/>
              <a:gd name="connsiteY95" fmla="*/ 361950 h 4791075"/>
              <a:gd name="connsiteX96" fmla="*/ 2333625 w 3371850"/>
              <a:gd name="connsiteY96" fmla="*/ 276225 h 4791075"/>
              <a:gd name="connsiteX97" fmla="*/ 2209800 w 3371850"/>
              <a:gd name="connsiteY97" fmla="*/ 266700 h 4791075"/>
              <a:gd name="connsiteX98" fmla="*/ 2171700 w 3371850"/>
              <a:gd name="connsiteY98" fmla="*/ 133350 h 4791075"/>
              <a:gd name="connsiteX99" fmla="*/ 2143125 w 3371850"/>
              <a:gd name="connsiteY99" fmla="*/ 3175 h 4791075"/>
              <a:gd name="connsiteX100" fmla="*/ 1212850 w 3371850"/>
              <a:gd name="connsiteY100" fmla="*/ 0 h 4791075"/>
              <a:gd name="connsiteX101" fmla="*/ 1181100 w 3371850"/>
              <a:gd name="connsiteY101" fmla="*/ 133350 h 4791075"/>
              <a:gd name="connsiteX102" fmla="*/ 1143000 w 3371850"/>
              <a:gd name="connsiteY102" fmla="*/ 238125 h 4791075"/>
              <a:gd name="connsiteX103" fmla="*/ 933450 w 3371850"/>
              <a:gd name="connsiteY103" fmla="*/ 400050 h 4791075"/>
              <a:gd name="connsiteX104" fmla="*/ 923925 w 3371850"/>
              <a:gd name="connsiteY104" fmla="*/ 457200 h 4791075"/>
              <a:gd name="connsiteX105" fmla="*/ 800100 w 3371850"/>
              <a:gd name="connsiteY105" fmla="*/ 476250 h 4791075"/>
              <a:gd name="connsiteX106" fmla="*/ 628650 w 3371850"/>
              <a:gd name="connsiteY106" fmla="*/ 533400 h 4791075"/>
              <a:gd name="connsiteX107" fmla="*/ 581025 w 3371850"/>
              <a:gd name="connsiteY107" fmla="*/ 644525 h 4791075"/>
              <a:gd name="connsiteX108" fmla="*/ 476250 w 3371850"/>
              <a:gd name="connsiteY108" fmla="*/ 762000 h 4791075"/>
              <a:gd name="connsiteX109" fmla="*/ 466725 w 3371850"/>
              <a:gd name="connsiteY109" fmla="*/ 838200 h 4791075"/>
              <a:gd name="connsiteX110" fmla="*/ 476250 w 3371850"/>
              <a:gd name="connsiteY110" fmla="*/ 962025 h 4791075"/>
              <a:gd name="connsiteX111" fmla="*/ 428625 w 3371850"/>
              <a:gd name="connsiteY111" fmla="*/ 1009650 h 4791075"/>
              <a:gd name="connsiteX112" fmla="*/ 247650 w 3371850"/>
              <a:gd name="connsiteY112" fmla="*/ 981075 h 4791075"/>
              <a:gd name="connsiteX113" fmla="*/ 180975 w 3371850"/>
              <a:gd name="connsiteY113" fmla="*/ 990600 h 4791075"/>
              <a:gd name="connsiteX114" fmla="*/ 76200 w 3371850"/>
              <a:gd name="connsiteY114" fmla="*/ 1066800 h 4791075"/>
              <a:gd name="connsiteX115" fmla="*/ 57150 w 3371850"/>
              <a:gd name="connsiteY115" fmla="*/ 1162050 h 4791075"/>
              <a:gd name="connsiteX116" fmla="*/ 57150 w 3371850"/>
              <a:gd name="connsiteY116" fmla="*/ 1295400 h 4791075"/>
              <a:gd name="connsiteX117" fmla="*/ 28575 w 3371850"/>
              <a:gd name="connsiteY117" fmla="*/ 1409700 h 4791075"/>
              <a:gd name="connsiteX118" fmla="*/ 0 w 3371850"/>
              <a:gd name="connsiteY118" fmla="*/ 1524000 h 4791075"/>
              <a:gd name="connsiteX119" fmla="*/ 104775 w 3371850"/>
              <a:gd name="connsiteY119" fmla="*/ 1657350 h 4791075"/>
              <a:gd name="connsiteX120" fmla="*/ 161925 w 3371850"/>
              <a:gd name="connsiteY120" fmla="*/ 1838325 h 4791075"/>
              <a:gd name="connsiteX121" fmla="*/ 219075 w 3371850"/>
              <a:gd name="connsiteY121" fmla="*/ 2047875 h 4791075"/>
              <a:gd name="connsiteX122" fmla="*/ 276225 w 3371850"/>
              <a:gd name="connsiteY122" fmla="*/ 2314575 h 4791075"/>
              <a:gd name="connsiteX123" fmla="*/ 361950 w 3371850"/>
              <a:gd name="connsiteY123" fmla="*/ 2419350 h 4791075"/>
              <a:gd name="connsiteX124" fmla="*/ 333375 w 3371850"/>
              <a:gd name="connsiteY124" fmla="*/ 2628900 h 4791075"/>
              <a:gd name="connsiteX125" fmla="*/ 333375 w 3371850"/>
              <a:gd name="connsiteY125" fmla="*/ 2781300 h 4791075"/>
              <a:gd name="connsiteX126" fmla="*/ 381000 w 3371850"/>
              <a:gd name="connsiteY126" fmla="*/ 2876550 h 4791075"/>
              <a:gd name="connsiteX127" fmla="*/ 457200 w 3371850"/>
              <a:gd name="connsiteY127" fmla="*/ 3267075 h 4791075"/>
              <a:gd name="connsiteX128" fmla="*/ 447675 w 3371850"/>
              <a:gd name="connsiteY128" fmla="*/ 3381375 h 4791075"/>
              <a:gd name="connsiteX129" fmla="*/ 419100 w 3371850"/>
              <a:gd name="connsiteY129" fmla="*/ 3467100 h 4791075"/>
              <a:gd name="connsiteX130" fmla="*/ 400050 w 3371850"/>
              <a:gd name="connsiteY130" fmla="*/ 3648075 h 4791075"/>
              <a:gd name="connsiteX131" fmla="*/ 466725 w 3371850"/>
              <a:gd name="connsiteY131" fmla="*/ 3829050 h 4791075"/>
              <a:gd name="connsiteX132" fmla="*/ 533400 w 3371850"/>
              <a:gd name="connsiteY132" fmla="*/ 3933825 h 4791075"/>
              <a:gd name="connsiteX133" fmla="*/ 533400 w 3371850"/>
              <a:gd name="connsiteY133" fmla="*/ 4038600 h 4791075"/>
              <a:gd name="connsiteX134" fmla="*/ 485775 w 3371850"/>
              <a:gd name="connsiteY134" fmla="*/ 4095750 h 4791075"/>
              <a:gd name="connsiteX135" fmla="*/ 571500 w 3371850"/>
              <a:gd name="connsiteY135" fmla="*/ 4162425 h 4791075"/>
              <a:gd name="connsiteX136" fmla="*/ 704850 w 3371850"/>
              <a:gd name="connsiteY136" fmla="*/ 4276725 h 4791075"/>
              <a:gd name="connsiteX137" fmla="*/ 733425 w 3371850"/>
              <a:gd name="connsiteY137" fmla="*/ 4362450 h 4791075"/>
              <a:gd name="connsiteX138" fmla="*/ 885825 w 3371850"/>
              <a:gd name="connsiteY138" fmla="*/ 4305300 h 4791075"/>
              <a:gd name="connsiteX139" fmla="*/ 962025 w 3371850"/>
              <a:gd name="connsiteY139" fmla="*/ 4295775 h 4791075"/>
              <a:gd name="connsiteX140" fmla="*/ 1123950 w 3371850"/>
              <a:gd name="connsiteY140" fmla="*/ 4457700 h 4791075"/>
              <a:gd name="connsiteX141" fmla="*/ 1209675 w 3371850"/>
              <a:gd name="connsiteY141" fmla="*/ 4524375 h 4791075"/>
              <a:gd name="connsiteX142" fmla="*/ 1428750 w 3371850"/>
              <a:gd name="connsiteY142" fmla="*/ 4600575 h 4791075"/>
              <a:gd name="connsiteX143" fmla="*/ 1704975 w 3371850"/>
              <a:gd name="connsiteY143" fmla="*/ 4724400 h 4791075"/>
              <a:gd name="connsiteX144" fmla="*/ 1885950 w 3371850"/>
              <a:gd name="connsiteY144" fmla="*/ 4791075 h 4791075"/>
              <a:gd name="connsiteX0" fmla="*/ 1885950 w 3371850"/>
              <a:gd name="connsiteY0" fmla="*/ 4791075 h 4791075"/>
              <a:gd name="connsiteX1" fmla="*/ 1822450 w 3371850"/>
              <a:gd name="connsiteY1" fmla="*/ 4686300 h 4791075"/>
              <a:gd name="connsiteX2" fmla="*/ 1822450 w 3371850"/>
              <a:gd name="connsiteY2" fmla="*/ 4635500 h 4791075"/>
              <a:gd name="connsiteX3" fmla="*/ 1800225 w 3371850"/>
              <a:gd name="connsiteY3" fmla="*/ 4581525 h 4791075"/>
              <a:gd name="connsiteX4" fmla="*/ 1739900 w 3371850"/>
              <a:gd name="connsiteY4" fmla="*/ 4572000 h 4791075"/>
              <a:gd name="connsiteX5" fmla="*/ 1651000 w 3371850"/>
              <a:gd name="connsiteY5" fmla="*/ 4572000 h 4791075"/>
              <a:gd name="connsiteX6" fmla="*/ 1612900 w 3371850"/>
              <a:gd name="connsiteY6" fmla="*/ 4511675 h 4791075"/>
              <a:gd name="connsiteX7" fmla="*/ 1663700 w 3371850"/>
              <a:gd name="connsiteY7" fmla="*/ 4448175 h 4791075"/>
              <a:gd name="connsiteX8" fmla="*/ 1704975 w 3371850"/>
              <a:gd name="connsiteY8" fmla="*/ 4352925 h 4791075"/>
              <a:gd name="connsiteX9" fmla="*/ 1666875 w 3371850"/>
              <a:gd name="connsiteY9" fmla="*/ 4314825 h 4791075"/>
              <a:gd name="connsiteX10" fmla="*/ 1600200 w 3371850"/>
              <a:gd name="connsiteY10" fmla="*/ 4286250 h 4791075"/>
              <a:gd name="connsiteX11" fmla="*/ 1520825 w 3371850"/>
              <a:gd name="connsiteY11" fmla="*/ 4292600 h 4791075"/>
              <a:gd name="connsiteX12" fmla="*/ 1422400 w 3371850"/>
              <a:gd name="connsiteY12" fmla="*/ 4276725 h 4791075"/>
              <a:gd name="connsiteX13" fmla="*/ 1377950 w 3371850"/>
              <a:gd name="connsiteY13" fmla="*/ 4143375 h 4791075"/>
              <a:gd name="connsiteX14" fmla="*/ 1295400 w 3371850"/>
              <a:gd name="connsiteY14" fmla="*/ 4038600 h 4791075"/>
              <a:gd name="connsiteX15" fmla="*/ 1200150 w 3371850"/>
              <a:gd name="connsiteY15" fmla="*/ 4000500 h 4791075"/>
              <a:gd name="connsiteX16" fmla="*/ 1143000 w 3371850"/>
              <a:gd name="connsiteY16" fmla="*/ 3971925 h 4791075"/>
              <a:gd name="connsiteX17" fmla="*/ 1114425 w 3371850"/>
              <a:gd name="connsiteY17" fmla="*/ 3933825 h 4791075"/>
              <a:gd name="connsiteX18" fmla="*/ 1095375 w 3371850"/>
              <a:gd name="connsiteY18" fmla="*/ 3838575 h 4791075"/>
              <a:gd name="connsiteX19" fmla="*/ 1123950 w 3371850"/>
              <a:gd name="connsiteY19" fmla="*/ 3781425 h 4791075"/>
              <a:gd name="connsiteX20" fmla="*/ 1266825 w 3371850"/>
              <a:gd name="connsiteY20" fmla="*/ 3771900 h 4791075"/>
              <a:gd name="connsiteX21" fmla="*/ 1390650 w 3371850"/>
              <a:gd name="connsiteY21" fmla="*/ 3552825 h 4791075"/>
              <a:gd name="connsiteX22" fmla="*/ 1390650 w 3371850"/>
              <a:gd name="connsiteY22" fmla="*/ 3403600 h 4791075"/>
              <a:gd name="connsiteX23" fmla="*/ 1343025 w 3371850"/>
              <a:gd name="connsiteY23" fmla="*/ 3286125 h 4791075"/>
              <a:gd name="connsiteX24" fmla="*/ 1266825 w 3371850"/>
              <a:gd name="connsiteY24" fmla="*/ 3200400 h 4791075"/>
              <a:gd name="connsiteX25" fmla="*/ 1181100 w 3371850"/>
              <a:gd name="connsiteY25" fmla="*/ 3162300 h 4791075"/>
              <a:gd name="connsiteX26" fmla="*/ 1085850 w 3371850"/>
              <a:gd name="connsiteY26" fmla="*/ 3067050 h 4791075"/>
              <a:gd name="connsiteX27" fmla="*/ 1047750 w 3371850"/>
              <a:gd name="connsiteY27" fmla="*/ 2943225 h 4791075"/>
              <a:gd name="connsiteX28" fmla="*/ 1000125 w 3371850"/>
              <a:gd name="connsiteY28" fmla="*/ 2857500 h 4791075"/>
              <a:gd name="connsiteX29" fmla="*/ 1000125 w 3371850"/>
              <a:gd name="connsiteY29" fmla="*/ 2819400 h 4791075"/>
              <a:gd name="connsiteX30" fmla="*/ 1000125 w 3371850"/>
              <a:gd name="connsiteY30" fmla="*/ 2819400 h 4791075"/>
              <a:gd name="connsiteX31" fmla="*/ 1114425 w 3371850"/>
              <a:gd name="connsiteY31" fmla="*/ 2676525 h 4791075"/>
              <a:gd name="connsiteX32" fmla="*/ 1190625 w 3371850"/>
              <a:gd name="connsiteY32" fmla="*/ 2609850 h 4791075"/>
              <a:gd name="connsiteX33" fmla="*/ 1190625 w 3371850"/>
              <a:gd name="connsiteY33" fmla="*/ 2609850 h 4791075"/>
              <a:gd name="connsiteX34" fmla="*/ 1285875 w 3371850"/>
              <a:gd name="connsiteY34" fmla="*/ 2581275 h 4791075"/>
              <a:gd name="connsiteX35" fmla="*/ 1457325 w 3371850"/>
              <a:gd name="connsiteY35" fmla="*/ 2476500 h 4791075"/>
              <a:gd name="connsiteX36" fmla="*/ 1504950 w 3371850"/>
              <a:gd name="connsiteY36" fmla="*/ 2438400 h 4791075"/>
              <a:gd name="connsiteX37" fmla="*/ 1514475 w 3371850"/>
              <a:gd name="connsiteY37" fmla="*/ 2333625 h 4791075"/>
              <a:gd name="connsiteX38" fmla="*/ 1524000 w 3371850"/>
              <a:gd name="connsiteY38" fmla="*/ 2247900 h 4791075"/>
              <a:gd name="connsiteX39" fmla="*/ 1476375 w 3371850"/>
              <a:gd name="connsiteY39" fmla="*/ 2171700 h 4791075"/>
              <a:gd name="connsiteX40" fmla="*/ 1371600 w 3371850"/>
              <a:gd name="connsiteY40" fmla="*/ 2168525 h 4791075"/>
              <a:gd name="connsiteX41" fmla="*/ 1292225 w 3371850"/>
              <a:gd name="connsiteY41" fmla="*/ 2146300 h 4791075"/>
              <a:gd name="connsiteX42" fmla="*/ 1187450 w 3371850"/>
              <a:gd name="connsiteY42" fmla="*/ 2181225 h 4791075"/>
              <a:gd name="connsiteX43" fmla="*/ 1009650 w 3371850"/>
              <a:gd name="connsiteY43" fmla="*/ 2168525 h 4791075"/>
              <a:gd name="connsiteX44" fmla="*/ 876300 w 3371850"/>
              <a:gd name="connsiteY44" fmla="*/ 2171700 h 4791075"/>
              <a:gd name="connsiteX45" fmla="*/ 847725 w 3371850"/>
              <a:gd name="connsiteY45" fmla="*/ 2085975 h 4791075"/>
              <a:gd name="connsiteX46" fmla="*/ 885825 w 3371850"/>
              <a:gd name="connsiteY46" fmla="*/ 1962150 h 4791075"/>
              <a:gd name="connsiteX47" fmla="*/ 952500 w 3371850"/>
              <a:gd name="connsiteY47" fmla="*/ 1828800 h 4791075"/>
              <a:gd name="connsiteX48" fmla="*/ 1000125 w 3371850"/>
              <a:gd name="connsiteY48" fmla="*/ 1666875 h 4791075"/>
              <a:gd name="connsiteX49" fmla="*/ 971550 w 3371850"/>
              <a:gd name="connsiteY49" fmla="*/ 1590675 h 4791075"/>
              <a:gd name="connsiteX50" fmla="*/ 904875 w 3371850"/>
              <a:gd name="connsiteY50" fmla="*/ 1533525 h 4791075"/>
              <a:gd name="connsiteX51" fmla="*/ 752475 w 3371850"/>
              <a:gd name="connsiteY51" fmla="*/ 1504950 h 4791075"/>
              <a:gd name="connsiteX52" fmla="*/ 628650 w 3371850"/>
              <a:gd name="connsiteY52" fmla="*/ 1438275 h 4791075"/>
              <a:gd name="connsiteX53" fmla="*/ 647700 w 3371850"/>
              <a:gd name="connsiteY53" fmla="*/ 1333500 h 4791075"/>
              <a:gd name="connsiteX54" fmla="*/ 755650 w 3371850"/>
              <a:gd name="connsiteY54" fmla="*/ 1219200 h 4791075"/>
              <a:gd name="connsiteX55" fmla="*/ 857250 w 3371850"/>
              <a:gd name="connsiteY55" fmla="*/ 1143000 h 4791075"/>
              <a:gd name="connsiteX56" fmla="*/ 904875 w 3371850"/>
              <a:gd name="connsiteY56" fmla="*/ 1104900 h 4791075"/>
              <a:gd name="connsiteX57" fmla="*/ 904875 w 3371850"/>
              <a:gd name="connsiteY57" fmla="*/ 1047750 h 4791075"/>
              <a:gd name="connsiteX58" fmla="*/ 923925 w 3371850"/>
              <a:gd name="connsiteY58" fmla="*/ 981075 h 4791075"/>
              <a:gd name="connsiteX59" fmla="*/ 952500 w 3371850"/>
              <a:gd name="connsiteY59" fmla="*/ 952500 h 4791075"/>
              <a:gd name="connsiteX60" fmla="*/ 962025 w 3371850"/>
              <a:gd name="connsiteY60" fmla="*/ 885825 h 4791075"/>
              <a:gd name="connsiteX61" fmla="*/ 962025 w 3371850"/>
              <a:gd name="connsiteY61" fmla="*/ 800100 h 4791075"/>
              <a:gd name="connsiteX62" fmla="*/ 1031875 w 3371850"/>
              <a:gd name="connsiteY62" fmla="*/ 685800 h 4791075"/>
              <a:gd name="connsiteX63" fmla="*/ 1276350 w 3371850"/>
              <a:gd name="connsiteY63" fmla="*/ 701675 h 4791075"/>
              <a:gd name="connsiteX64" fmla="*/ 1476375 w 3371850"/>
              <a:gd name="connsiteY64" fmla="*/ 600075 h 4791075"/>
              <a:gd name="connsiteX65" fmla="*/ 1600200 w 3371850"/>
              <a:gd name="connsiteY65" fmla="*/ 488950 h 4791075"/>
              <a:gd name="connsiteX66" fmla="*/ 1749425 w 3371850"/>
              <a:gd name="connsiteY66" fmla="*/ 454025 h 4791075"/>
              <a:gd name="connsiteX67" fmla="*/ 1914525 w 3371850"/>
              <a:gd name="connsiteY67" fmla="*/ 466725 h 4791075"/>
              <a:gd name="connsiteX68" fmla="*/ 2152650 w 3371850"/>
              <a:gd name="connsiteY68" fmla="*/ 542925 h 4791075"/>
              <a:gd name="connsiteX69" fmla="*/ 2286000 w 3371850"/>
              <a:gd name="connsiteY69" fmla="*/ 638175 h 4791075"/>
              <a:gd name="connsiteX70" fmla="*/ 2352675 w 3371850"/>
              <a:gd name="connsiteY70" fmla="*/ 695325 h 4791075"/>
              <a:gd name="connsiteX71" fmla="*/ 2667000 w 3371850"/>
              <a:gd name="connsiteY71" fmla="*/ 733425 h 4791075"/>
              <a:gd name="connsiteX72" fmla="*/ 2835275 w 3371850"/>
              <a:gd name="connsiteY72" fmla="*/ 755650 h 4791075"/>
              <a:gd name="connsiteX73" fmla="*/ 2943225 w 3371850"/>
              <a:gd name="connsiteY73" fmla="*/ 809625 h 4791075"/>
              <a:gd name="connsiteX74" fmla="*/ 3105150 w 3371850"/>
              <a:gd name="connsiteY74" fmla="*/ 790575 h 4791075"/>
              <a:gd name="connsiteX75" fmla="*/ 3190875 w 3371850"/>
              <a:gd name="connsiteY75" fmla="*/ 790575 h 4791075"/>
              <a:gd name="connsiteX76" fmla="*/ 3311525 w 3371850"/>
              <a:gd name="connsiteY76" fmla="*/ 787400 h 4791075"/>
              <a:gd name="connsiteX77" fmla="*/ 3340100 w 3371850"/>
              <a:gd name="connsiteY77" fmla="*/ 765175 h 4791075"/>
              <a:gd name="connsiteX78" fmla="*/ 3371850 w 3371850"/>
              <a:gd name="connsiteY78" fmla="*/ 704850 h 4791075"/>
              <a:gd name="connsiteX79" fmla="*/ 3336925 w 3371850"/>
              <a:gd name="connsiteY79" fmla="*/ 536575 h 4791075"/>
              <a:gd name="connsiteX80" fmla="*/ 3311525 w 3371850"/>
              <a:gd name="connsiteY80" fmla="*/ 479425 h 4791075"/>
              <a:gd name="connsiteX81" fmla="*/ 3197225 w 3371850"/>
              <a:gd name="connsiteY81" fmla="*/ 409575 h 4791075"/>
              <a:gd name="connsiteX82" fmla="*/ 3181350 w 3371850"/>
              <a:gd name="connsiteY82" fmla="*/ 352425 h 4791075"/>
              <a:gd name="connsiteX83" fmla="*/ 3133725 w 3371850"/>
              <a:gd name="connsiteY83" fmla="*/ 314325 h 4791075"/>
              <a:gd name="connsiteX84" fmla="*/ 3105150 w 3371850"/>
              <a:gd name="connsiteY84" fmla="*/ 336550 h 4791075"/>
              <a:gd name="connsiteX85" fmla="*/ 3086100 w 3371850"/>
              <a:gd name="connsiteY85" fmla="*/ 387350 h 4791075"/>
              <a:gd name="connsiteX86" fmla="*/ 3086100 w 3371850"/>
              <a:gd name="connsiteY86" fmla="*/ 447675 h 4791075"/>
              <a:gd name="connsiteX87" fmla="*/ 3038475 w 3371850"/>
              <a:gd name="connsiteY87" fmla="*/ 466725 h 4791075"/>
              <a:gd name="connsiteX88" fmla="*/ 2962275 w 3371850"/>
              <a:gd name="connsiteY88" fmla="*/ 419100 h 4791075"/>
              <a:gd name="connsiteX89" fmla="*/ 2867025 w 3371850"/>
              <a:gd name="connsiteY89" fmla="*/ 476250 h 4791075"/>
              <a:gd name="connsiteX90" fmla="*/ 2847975 w 3371850"/>
              <a:gd name="connsiteY90" fmla="*/ 504825 h 4791075"/>
              <a:gd name="connsiteX91" fmla="*/ 2838450 w 3371850"/>
              <a:gd name="connsiteY91" fmla="*/ 542925 h 4791075"/>
              <a:gd name="connsiteX92" fmla="*/ 2762250 w 3371850"/>
              <a:gd name="connsiteY92" fmla="*/ 504825 h 4791075"/>
              <a:gd name="connsiteX93" fmla="*/ 2647950 w 3371850"/>
              <a:gd name="connsiteY93" fmla="*/ 485775 h 4791075"/>
              <a:gd name="connsiteX94" fmla="*/ 2552700 w 3371850"/>
              <a:gd name="connsiteY94" fmla="*/ 438150 h 4791075"/>
              <a:gd name="connsiteX95" fmla="*/ 2419350 w 3371850"/>
              <a:gd name="connsiteY95" fmla="*/ 361950 h 4791075"/>
              <a:gd name="connsiteX96" fmla="*/ 2333625 w 3371850"/>
              <a:gd name="connsiteY96" fmla="*/ 276225 h 4791075"/>
              <a:gd name="connsiteX97" fmla="*/ 2209800 w 3371850"/>
              <a:gd name="connsiteY97" fmla="*/ 266700 h 4791075"/>
              <a:gd name="connsiteX98" fmla="*/ 2171700 w 3371850"/>
              <a:gd name="connsiteY98" fmla="*/ 133350 h 4791075"/>
              <a:gd name="connsiteX99" fmla="*/ 2143125 w 3371850"/>
              <a:gd name="connsiteY99" fmla="*/ 3175 h 4791075"/>
              <a:gd name="connsiteX100" fmla="*/ 1212850 w 3371850"/>
              <a:gd name="connsiteY100" fmla="*/ 0 h 4791075"/>
              <a:gd name="connsiteX101" fmla="*/ 1181100 w 3371850"/>
              <a:gd name="connsiteY101" fmla="*/ 133350 h 4791075"/>
              <a:gd name="connsiteX102" fmla="*/ 1143000 w 3371850"/>
              <a:gd name="connsiteY102" fmla="*/ 238125 h 4791075"/>
              <a:gd name="connsiteX103" fmla="*/ 933450 w 3371850"/>
              <a:gd name="connsiteY103" fmla="*/ 400050 h 4791075"/>
              <a:gd name="connsiteX104" fmla="*/ 923925 w 3371850"/>
              <a:gd name="connsiteY104" fmla="*/ 457200 h 4791075"/>
              <a:gd name="connsiteX105" fmla="*/ 800100 w 3371850"/>
              <a:gd name="connsiteY105" fmla="*/ 476250 h 4791075"/>
              <a:gd name="connsiteX106" fmla="*/ 628650 w 3371850"/>
              <a:gd name="connsiteY106" fmla="*/ 533400 h 4791075"/>
              <a:gd name="connsiteX107" fmla="*/ 581025 w 3371850"/>
              <a:gd name="connsiteY107" fmla="*/ 644525 h 4791075"/>
              <a:gd name="connsiteX108" fmla="*/ 476250 w 3371850"/>
              <a:gd name="connsiteY108" fmla="*/ 762000 h 4791075"/>
              <a:gd name="connsiteX109" fmla="*/ 466725 w 3371850"/>
              <a:gd name="connsiteY109" fmla="*/ 838200 h 4791075"/>
              <a:gd name="connsiteX110" fmla="*/ 476250 w 3371850"/>
              <a:gd name="connsiteY110" fmla="*/ 962025 h 4791075"/>
              <a:gd name="connsiteX111" fmla="*/ 428625 w 3371850"/>
              <a:gd name="connsiteY111" fmla="*/ 1009650 h 4791075"/>
              <a:gd name="connsiteX112" fmla="*/ 247650 w 3371850"/>
              <a:gd name="connsiteY112" fmla="*/ 981075 h 4791075"/>
              <a:gd name="connsiteX113" fmla="*/ 180975 w 3371850"/>
              <a:gd name="connsiteY113" fmla="*/ 990600 h 4791075"/>
              <a:gd name="connsiteX114" fmla="*/ 76200 w 3371850"/>
              <a:gd name="connsiteY114" fmla="*/ 1066800 h 4791075"/>
              <a:gd name="connsiteX115" fmla="*/ 57150 w 3371850"/>
              <a:gd name="connsiteY115" fmla="*/ 1162050 h 4791075"/>
              <a:gd name="connsiteX116" fmla="*/ 57150 w 3371850"/>
              <a:gd name="connsiteY116" fmla="*/ 1295400 h 4791075"/>
              <a:gd name="connsiteX117" fmla="*/ 28575 w 3371850"/>
              <a:gd name="connsiteY117" fmla="*/ 1409700 h 4791075"/>
              <a:gd name="connsiteX118" fmla="*/ 0 w 3371850"/>
              <a:gd name="connsiteY118" fmla="*/ 1524000 h 4791075"/>
              <a:gd name="connsiteX119" fmla="*/ 104775 w 3371850"/>
              <a:gd name="connsiteY119" fmla="*/ 1657350 h 4791075"/>
              <a:gd name="connsiteX120" fmla="*/ 161925 w 3371850"/>
              <a:gd name="connsiteY120" fmla="*/ 1838325 h 4791075"/>
              <a:gd name="connsiteX121" fmla="*/ 219075 w 3371850"/>
              <a:gd name="connsiteY121" fmla="*/ 2047875 h 4791075"/>
              <a:gd name="connsiteX122" fmla="*/ 276225 w 3371850"/>
              <a:gd name="connsiteY122" fmla="*/ 2314575 h 4791075"/>
              <a:gd name="connsiteX123" fmla="*/ 361950 w 3371850"/>
              <a:gd name="connsiteY123" fmla="*/ 2419350 h 4791075"/>
              <a:gd name="connsiteX124" fmla="*/ 333375 w 3371850"/>
              <a:gd name="connsiteY124" fmla="*/ 2628900 h 4791075"/>
              <a:gd name="connsiteX125" fmla="*/ 333375 w 3371850"/>
              <a:gd name="connsiteY125" fmla="*/ 2781300 h 4791075"/>
              <a:gd name="connsiteX126" fmla="*/ 381000 w 3371850"/>
              <a:gd name="connsiteY126" fmla="*/ 2876550 h 4791075"/>
              <a:gd name="connsiteX127" fmla="*/ 457200 w 3371850"/>
              <a:gd name="connsiteY127" fmla="*/ 3267075 h 4791075"/>
              <a:gd name="connsiteX128" fmla="*/ 447675 w 3371850"/>
              <a:gd name="connsiteY128" fmla="*/ 3381375 h 4791075"/>
              <a:gd name="connsiteX129" fmla="*/ 419100 w 3371850"/>
              <a:gd name="connsiteY129" fmla="*/ 3467100 h 4791075"/>
              <a:gd name="connsiteX130" fmla="*/ 400050 w 3371850"/>
              <a:gd name="connsiteY130" fmla="*/ 3648075 h 4791075"/>
              <a:gd name="connsiteX131" fmla="*/ 466725 w 3371850"/>
              <a:gd name="connsiteY131" fmla="*/ 3829050 h 4791075"/>
              <a:gd name="connsiteX132" fmla="*/ 533400 w 3371850"/>
              <a:gd name="connsiteY132" fmla="*/ 3933825 h 4791075"/>
              <a:gd name="connsiteX133" fmla="*/ 533400 w 3371850"/>
              <a:gd name="connsiteY133" fmla="*/ 4038600 h 4791075"/>
              <a:gd name="connsiteX134" fmla="*/ 485775 w 3371850"/>
              <a:gd name="connsiteY134" fmla="*/ 4095750 h 4791075"/>
              <a:gd name="connsiteX135" fmla="*/ 571500 w 3371850"/>
              <a:gd name="connsiteY135" fmla="*/ 4162425 h 4791075"/>
              <a:gd name="connsiteX136" fmla="*/ 704850 w 3371850"/>
              <a:gd name="connsiteY136" fmla="*/ 4276725 h 4791075"/>
              <a:gd name="connsiteX137" fmla="*/ 733425 w 3371850"/>
              <a:gd name="connsiteY137" fmla="*/ 4362450 h 4791075"/>
              <a:gd name="connsiteX138" fmla="*/ 885825 w 3371850"/>
              <a:gd name="connsiteY138" fmla="*/ 4305300 h 4791075"/>
              <a:gd name="connsiteX139" fmla="*/ 962025 w 3371850"/>
              <a:gd name="connsiteY139" fmla="*/ 4295775 h 4791075"/>
              <a:gd name="connsiteX140" fmla="*/ 1123950 w 3371850"/>
              <a:gd name="connsiteY140" fmla="*/ 4457700 h 4791075"/>
              <a:gd name="connsiteX141" fmla="*/ 1209675 w 3371850"/>
              <a:gd name="connsiteY141" fmla="*/ 4524375 h 4791075"/>
              <a:gd name="connsiteX142" fmla="*/ 1428750 w 3371850"/>
              <a:gd name="connsiteY142" fmla="*/ 4600575 h 4791075"/>
              <a:gd name="connsiteX143" fmla="*/ 1704975 w 3371850"/>
              <a:gd name="connsiteY143" fmla="*/ 4724400 h 4791075"/>
              <a:gd name="connsiteX144" fmla="*/ 1885950 w 3371850"/>
              <a:gd name="connsiteY144" fmla="*/ 4791075 h 47910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57200 w 3371850"/>
              <a:gd name="connsiteY127" fmla="*/ 326707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33425 w 3371850"/>
              <a:gd name="connsiteY137" fmla="*/ 4362450 h 4727575"/>
              <a:gd name="connsiteX138" fmla="*/ 885825 w 3371850"/>
              <a:gd name="connsiteY138" fmla="*/ 4305300 h 4727575"/>
              <a:gd name="connsiteX139" fmla="*/ 962025 w 3371850"/>
              <a:gd name="connsiteY139" fmla="*/ 4295775 h 4727575"/>
              <a:gd name="connsiteX140" fmla="*/ 1123950 w 3371850"/>
              <a:gd name="connsiteY140" fmla="*/ 4457700 h 4727575"/>
              <a:gd name="connsiteX141" fmla="*/ 1209675 w 3371850"/>
              <a:gd name="connsiteY141" fmla="*/ 45243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57200 w 3371850"/>
              <a:gd name="connsiteY127" fmla="*/ 326707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33425 w 3371850"/>
              <a:gd name="connsiteY137" fmla="*/ 4362450 h 4727575"/>
              <a:gd name="connsiteX138" fmla="*/ 885825 w 3371850"/>
              <a:gd name="connsiteY138" fmla="*/ 4305300 h 4727575"/>
              <a:gd name="connsiteX139" fmla="*/ 962025 w 3371850"/>
              <a:gd name="connsiteY139" fmla="*/ 4295775 h 4727575"/>
              <a:gd name="connsiteX140" fmla="*/ 1123950 w 3371850"/>
              <a:gd name="connsiteY140" fmla="*/ 4457700 h 4727575"/>
              <a:gd name="connsiteX141" fmla="*/ 1209675 w 3371850"/>
              <a:gd name="connsiteY141" fmla="*/ 45243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57200 w 3371850"/>
              <a:gd name="connsiteY127" fmla="*/ 326707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33425 w 3371850"/>
              <a:gd name="connsiteY137" fmla="*/ 4362450 h 4727575"/>
              <a:gd name="connsiteX138" fmla="*/ 885825 w 3371850"/>
              <a:gd name="connsiteY138" fmla="*/ 4305300 h 4727575"/>
              <a:gd name="connsiteX139" fmla="*/ 962025 w 3371850"/>
              <a:gd name="connsiteY139" fmla="*/ 4295775 h 4727575"/>
              <a:gd name="connsiteX140" fmla="*/ 1130300 w 3371850"/>
              <a:gd name="connsiteY140" fmla="*/ 4441825 h 4727575"/>
              <a:gd name="connsiteX141" fmla="*/ 1209675 w 3371850"/>
              <a:gd name="connsiteY141" fmla="*/ 45243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57200 w 3371850"/>
              <a:gd name="connsiteY127" fmla="*/ 326707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33425 w 3371850"/>
              <a:gd name="connsiteY137" fmla="*/ 4362450 h 4727575"/>
              <a:gd name="connsiteX138" fmla="*/ 885825 w 3371850"/>
              <a:gd name="connsiteY138" fmla="*/ 4305300 h 4727575"/>
              <a:gd name="connsiteX139" fmla="*/ 962025 w 3371850"/>
              <a:gd name="connsiteY139" fmla="*/ 429577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57200 w 3371850"/>
              <a:gd name="connsiteY127" fmla="*/ 326707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33425 w 3371850"/>
              <a:gd name="connsiteY137" fmla="*/ 4362450 h 4727575"/>
              <a:gd name="connsiteX138" fmla="*/ 885825 w 3371850"/>
              <a:gd name="connsiteY138" fmla="*/ 4305300 h 4727575"/>
              <a:gd name="connsiteX139" fmla="*/ 962025 w 3371850"/>
              <a:gd name="connsiteY139" fmla="*/ 429577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57200 w 3371850"/>
              <a:gd name="connsiteY127" fmla="*/ 326707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885825 w 3371850"/>
              <a:gd name="connsiteY137" fmla="*/ 4305300 h 4727575"/>
              <a:gd name="connsiteX138" fmla="*/ 962025 w 3371850"/>
              <a:gd name="connsiteY138" fmla="*/ 429577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57200 w 3371850"/>
              <a:gd name="connsiteY127" fmla="*/ 326707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962025 w 3371850"/>
              <a:gd name="connsiteY138" fmla="*/ 429577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57200 w 3371850"/>
              <a:gd name="connsiteY127" fmla="*/ 326707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57200 w 3371850"/>
              <a:gd name="connsiteY127" fmla="*/ 326707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3125 w 3371850"/>
              <a:gd name="connsiteY138" fmla="*/ 4267200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57200 w 3371850"/>
              <a:gd name="connsiteY127" fmla="*/ 326707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57200 w 3371850"/>
              <a:gd name="connsiteY127" fmla="*/ 326707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476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807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419100 w 3371850"/>
              <a:gd name="connsiteY129" fmla="*/ 34671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43225 w 3371850"/>
              <a:gd name="connsiteY73" fmla="*/ 809625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835275 w 3371850"/>
              <a:gd name="connsiteY72" fmla="*/ 755650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67000 w 3371850"/>
              <a:gd name="connsiteY71" fmla="*/ 733425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52675 w 3371850"/>
              <a:gd name="connsiteY70" fmla="*/ 695325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86000 w 3371850"/>
              <a:gd name="connsiteY69" fmla="*/ 638175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152650 w 3371850"/>
              <a:gd name="connsiteY68" fmla="*/ 542925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14525 w 3371850"/>
              <a:gd name="connsiteY67" fmla="*/ 466725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49425 w 3371850"/>
              <a:gd name="connsiteY66" fmla="*/ 454025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00200 w 3371850"/>
              <a:gd name="connsiteY65" fmla="*/ 488950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476375 w 3371850"/>
              <a:gd name="connsiteY64" fmla="*/ 600075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76350 w 3371850"/>
              <a:gd name="connsiteY63" fmla="*/ 701675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52475 w 3371850"/>
              <a:gd name="connsiteY51" fmla="*/ 15049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04875 w 3371850"/>
              <a:gd name="connsiteY50" fmla="*/ 1533525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47725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62012 w 3371850"/>
              <a:gd name="connsiteY45" fmla="*/ 2085975 h 4727575"/>
              <a:gd name="connsiteX46" fmla="*/ 885825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862012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876300 w 3371850"/>
              <a:gd name="connsiteY44" fmla="*/ 2171700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09650 w 3371850"/>
              <a:gd name="connsiteY43" fmla="*/ 2168525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187450 w 3371850"/>
              <a:gd name="connsiteY42" fmla="*/ 2181225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292225 w 3371850"/>
              <a:gd name="connsiteY41" fmla="*/ 21463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371600 w 3371850"/>
              <a:gd name="connsiteY40" fmla="*/ 2168525 h 4727575"/>
              <a:gd name="connsiteX41" fmla="*/ 1339850 w 3371850"/>
              <a:gd name="connsiteY41" fmla="*/ 21082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24000 w 3371850"/>
              <a:gd name="connsiteY38" fmla="*/ 2247900 h 4727575"/>
              <a:gd name="connsiteX39" fmla="*/ 1476375 w 3371850"/>
              <a:gd name="connsiteY39" fmla="*/ 2171700 h 4727575"/>
              <a:gd name="connsiteX40" fmla="*/ 1423988 w 3371850"/>
              <a:gd name="connsiteY40" fmla="*/ 2135188 h 4727575"/>
              <a:gd name="connsiteX41" fmla="*/ 1339850 w 3371850"/>
              <a:gd name="connsiteY41" fmla="*/ 21082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14475 w 3371850"/>
              <a:gd name="connsiteY37" fmla="*/ 2333625 h 4727575"/>
              <a:gd name="connsiteX38" fmla="*/ 1566862 w 3371850"/>
              <a:gd name="connsiteY38" fmla="*/ 2247900 h 4727575"/>
              <a:gd name="connsiteX39" fmla="*/ 1476375 w 3371850"/>
              <a:gd name="connsiteY39" fmla="*/ 2171700 h 4727575"/>
              <a:gd name="connsiteX40" fmla="*/ 1423988 w 3371850"/>
              <a:gd name="connsiteY40" fmla="*/ 2135188 h 4727575"/>
              <a:gd name="connsiteX41" fmla="*/ 1339850 w 3371850"/>
              <a:gd name="connsiteY41" fmla="*/ 21082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38400 h 4727575"/>
              <a:gd name="connsiteX37" fmla="*/ 1557337 w 3371850"/>
              <a:gd name="connsiteY37" fmla="*/ 2362200 h 4727575"/>
              <a:gd name="connsiteX38" fmla="*/ 1566862 w 3371850"/>
              <a:gd name="connsiteY38" fmla="*/ 2247900 h 4727575"/>
              <a:gd name="connsiteX39" fmla="*/ 1476375 w 3371850"/>
              <a:gd name="connsiteY39" fmla="*/ 2171700 h 4727575"/>
              <a:gd name="connsiteX40" fmla="*/ 1423988 w 3371850"/>
              <a:gd name="connsiteY40" fmla="*/ 2135188 h 4727575"/>
              <a:gd name="connsiteX41" fmla="*/ 1339850 w 3371850"/>
              <a:gd name="connsiteY41" fmla="*/ 21082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57325 w 3371850"/>
              <a:gd name="connsiteY35" fmla="*/ 2476500 h 4727575"/>
              <a:gd name="connsiteX36" fmla="*/ 1504950 w 3371850"/>
              <a:gd name="connsiteY36" fmla="*/ 2466975 h 4727575"/>
              <a:gd name="connsiteX37" fmla="*/ 1557337 w 3371850"/>
              <a:gd name="connsiteY37" fmla="*/ 2362200 h 4727575"/>
              <a:gd name="connsiteX38" fmla="*/ 1566862 w 3371850"/>
              <a:gd name="connsiteY38" fmla="*/ 2247900 h 4727575"/>
              <a:gd name="connsiteX39" fmla="*/ 1476375 w 3371850"/>
              <a:gd name="connsiteY39" fmla="*/ 2171700 h 4727575"/>
              <a:gd name="connsiteX40" fmla="*/ 1423988 w 3371850"/>
              <a:gd name="connsiteY40" fmla="*/ 2135188 h 4727575"/>
              <a:gd name="connsiteX41" fmla="*/ 1339850 w 3371850"/>
              <a:gd name="connsiteY41" fmla="*/ 21082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285875 w 3371850"/>
              <a:gd name="connsiteY34" fmla="*/ 2581275 h 4727575"/>
              <a:gd name="connsiteX35" fmla="*/ 1462087 w 3371850"/>
              <a:gd name="connsiteY35" fmla="*/ 2519362 h 4727575"/>
              <a:gd name="connsiteX36" fmla="*/ 1504950 w 3371850"/>
              <a:gd name="connsiteY36" fmla="*/ 2466975 h 4727575"/>
              <a:gd name="connsiteX37" fmla="*/ 1557337 w 3371850"/>
              <a:gd name="connsiteY37" fmla="*/ 2362200 h 4727575"/>
              <a:gd name="connsiteX38" fmla="*/ 1566862 w 3371850"/>
              <a:gd name="connsiteY38" fmla="*/ 2247900 h 4727575"/>
              <a:gd name="connsiteX39" fmla="*/ 1476375 w 3371850"/>
              <a:gd name="connsiteY39" fmla="*/ 2171700 h 4727575"/>
              <a:gd name="connsiteX40" fmla="*/ 1423988 w 3371850"/>
              <a:gd name="connsiteY40" fmla="*/ 2135188 h 4727575"/>
              <a:gd name="connsiteX41" fmla="*/ 1339850 w 3371850"/>
              <a:gd name="connsiteY41" fmla="*/ 21082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190625 w 3371850"/>
              <a:gd name="connsiteY33" fmla="*/ 2609850 h 4727575"/>
              <a:gd name="connsiteX34" fmla="*/ 1309687 w 3371850"/>
              <a:gd name="connsiteY34" fmla="*/ 2609850 h 4727575"/>
              <a:gd name="connsiteX35" fmla="*/ 1462087 w 3371850"/>
              <a:gd name="connsiteY35" fmla="*/ 2519362 h 4727575"/>
              <a:gd name="connsiteX36" fmla="*/ 1504950 w 3371850"/>
              <a:gd name="connsiteY36" fmla="*/ 2466975 h 4727575"/>
              <a:gd name="connsiteX37" fmla="*/ 1557337 w 3371850"/>
              <a:gd name="connsiteY37" fmla="*/ 2362200 h 4727575"/>
              <a:gd name="connsiteX38" fmla="*/ 1566862 w 3371850"/>
              <a:gd name="connsiteY38" fmla="*/ 2247900 h 4727575"/>
              <a:gd name="connsiteX39" fmla="*/ 1476375 w 3371850"/>
              <a:gd name="connsiteY39" fmla="*/ 2171700 h 4727575"/>
              <a:gd name="connsiteX40" fmla="*/ 1423988 w 3371850"/>
              <a:gd name="connsiteY40" fmla="*/ 2135188 h 4727575"/>
              <a:gd name="connsiteX41" fmla="*/ 1339850 w 3371850"/>
              <a:gd name="connsiteY41" fmla="*/ 21082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14425 w 3371850"/>
              <a:gd name="connsiteY31" fmla="*/ 2676525 h 4727575"/>
              <a:gd name="connsiteX32" fmla="*/ 1190625 w 3371850"/>
              <a:gd name="connsiteY32" fmla="*/ 2609850 h 4727575"/>
              <a:gd name="connsiteX33" fmla="*/ 1214437 w 3371850"/>
              <a:gd name="connsiteY33" fmla="*/ 2633662 h 4727575"/>
              <a:gd name="connsiteX34" fmla="*/ 1309687 w 3371850"/>
              <a:gd name="connsiteY34" fmla="*/ 2609850 h 4727575"/>
              <a:gd name="connsiteX35" fmla="*/ 1462087 w 3371850"/>
              <a:gd name="connsiteY35" fmla="*/ 2519362 h 4727575"/>
              <a:gd name="connsiteX36" fmla="*/ 1504950 w 3371850"/>
              <a:gd name="connsiteY36" fmla="*/ 2466975 h 4727575"/>
              <a:gd name="connsiteX37" fmla="*/ 1557337 w 3371850"/>
              <a:gd name="connsiteY37" fmla="*/ 2362200 h 4727575"/>
              <a:gd name="connsiteX38" fmla="*/ 1566862 w 3371850"/>
              <a:gd name="connsiteY38" fmla="*/ 2247900 h 4727575"/>
              <a:gd name="connsiteX39" fmla="*/ 1476375 w 3371850"/>
              <a:gd name="connsiteY39" fmla="*/ 2171700 h 4727575"/>
              <a:gd name="connsiteX40" fmla="*/ 1423988 w 3371850"/>
              <a:gd name="connsiteY40" fmla="*/ 2135188 h 4727575"/>
              <a:gd name="connsiteX41" fmla="*/ 1339850 w 3371850"/>
              <a:gd name="connsiteY41" fmla="*/ 21082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00125 w 3371850"/>
              <a:gd name="connsiteY30" fmla="*/ 2819400 h 4727575"/>
              <a:gd name="connsiteX31" fmla="*/ 1147763 w 3371850"/>
              <a:gd name="connsiteY31" fmla="*/ 2695575 h 4727575"/>
              <a:gd name="connsiteX32" fmla="*/ 1190625 w 3371850"/>
              <a:gd name="connsiteY32" fmla="*/ 2609850 h 4727575"/>
              <a:gd name="connsiteX33" fmla="*/ 1214437 w 3371850"/>
              <a:gd name="connsiteY33" fmla="*/ 2633662 h 4727575"/>
              <a:gd name="connsiteX34" fmla="*/ 1309687 w 3371850"/>
              <a:gd name="connsiteY34" fmla="*/ 2609850 h 4727575"/>
              <a:gd name="connsiteX35" fmla="*/ 1462087 w 3371850"/>
              <a:gd name="connsiteY35" fmla="*/ 2519362 h 4727575"/>
              <a:gd name="connsiteX36" fmla="*/ 1504950 w 3371850"/>
              <a:gd name="connsiteY36" fmla="*/ 2466975 h 4727575"/>
              <a:gd name="connsiteX37" fmla="*/ 1557337 w 3371850"/>
              <a:gd name="connsiteY37" fmla="*/ 2362200 h 4727575"/>
              <a:gd name="connsiteX38" fmla="*/ 1566862 w 3371850"/>
              <a:gd name="connsiteY38" fmla="*/ 2247900 h 4727575"/>
              <a:gd name="connsiteX39" fmla="*/ 1476375 w 3371850"/>
              <a:gd name="connsiteY39" fmla="*/ 2171700 h 4727575"/>
              <a:gd name="connsiteX40" fmla="*/ 1423988 w 3371850"/>
              <a:gd name="connsiteY40" fmla="*/ 2135188 h 4727575"/>
              <a:gd name="connsiteX41" fmla="*/ 1339850 w 3371850"/>
              <a:gd name="connsiteY41" fmla="*/ 21082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19175 w 3371850"/>
              <a:gd name="connsiteY30" fmla="*/ 2819400 h 4727575"/>
              <a:gd name="connsiteX31" fmla="*/ 1147763 w 3371850"/>
              <a:gd name="connsiteY31" fmla="*/ 2695575 h 4727575"/>
              <a:gd name="connsiteX32" fmla="*/ 1190625 w 3371850"/>
              <a:gd name="connsiteY32" fmla="*/ 2609850 h 4727575"/>
              <a:gd name="connsiteX33" fmla="*/ 1214437 w 3371850"/>
              <a:gd name="connsiteY33" fmla="*/ 2633662 h 4727575"/>
              <a:gd name="connsiteX34" fmla="*/ 1309687 w 3371850"/>
              <a:gd name="connsiteY34" fmla="*/ 2609850 h 4727575"/>
              <a:gd name="connsiteX35" fmla="*/ 1462087 w 3371850"/>
              <a:gd name="connsiteY35" fmla="*/ 2519362 h 4727575"/>
              <a:gd name="connsiteX36" fmla="*/ 1504950 w 3371850"/>
              <a:gd name="connsiteY36" fmla="*/ 2466975 h 4727575"/>
              <a:gd name="connsiteX37" fmla="*/ 1557337 w 3371850"/>
              <a:gd name="connsiteY37" fmla="*/ 2362200 h 4727575"/>
              <a:gd name="connsiteX38" fmla="*/ 1566862 w 3371850"/>
              <a:gd name="connsiteY38" fmla="*/ 2247900 h 4727575"/>
              <a:gd name="connsiteX39" fmla="*/ 1476375 w 3371850"/>
              <a:gd name="connsiteY39" fmla="*/ 2171700 h 4727575"/>
              <a:gd name="connsiteX40" fmla="*/ 1423988 w 3371850"/>
              <a:gd name="connsiteY40" fmla="*/ 2135188 h 4727575"/>
              <a:gd name="connsiteX41" fmla="*/ 1339850 w 3371850"/>
              <a:gd name="connsiteY41" fmla="*/ 21082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019175 w 3371850"/>
              <a:gd name="connsiteY30" fmla="*/ 2819400 h 4727575"/>
              <a:gd name="connsiteX31" fmla="*/ 1147763 w 3371850"/>
              <a:gd name="connsiteY31" fmla="*/ 2695575 h 4727575"/>
              <a:gd name="connsiteX32" fmla="*/ 1190625 w 3371850"/>
              <a:gd name="connsiteY32" fmla="*/ 2609850 h 4727575"/>
              <a:gd name="connsiteX33" fmla="*/ 1214437 w 3371850"/>
              <a:gd name="connsiteY33" fmla="*/ 2633662 h 4727575"/>
              <a:gd name="connsiteX34" fmla="*/ 1309687 w 3371850"/>
              <a:gd name="connsiteY34" fmla="*/ 2609850 h 4727575"/>
              <a:gd name="connsiteX35" fmla="*/ 1462087 w 3371850"/>
              <a:gd name="connsiteY35" fmla="*/ 2519362 h 4727575"/>
              <a:gd name="connsiteX36" fmla="*/ 1504950 w 3371850"/>
              <a:gd name="connsiteY36" fmla="*/ 2466975 h 4727575"/>
              <a:gd name="connsiteX37" fmla="*/ 1557337 w 3371850"/>
              <a:gd name="connsiteY37" fmla="*/ 2362200 h 4727575"/>
              <a:gd name="connsiteX38" fmla="*/ 1566862 w 3371850"/>
              <a:gd name="connsiteY38" fmla="*/ 2247900 h 4727575"/>
              <a:gd name="connsiteX39" fmla="*/ 1476375 w 3371850"/>
              <a:gd name="connsiteY39" fmla="*/ 2171700 h 4727575"/>
              <a:gd name="connsiteX40" fmla="*/ 1423988 w 3371850"/>
              <a:gd name="connsiteY40" fmla="*/ 2135188 h 4727575"/>
              <a:gd name="connsiteX41" fmla="*/ 1339850 w 3371850"/>
              <a:gd name="connsiteY41" fmla="*/ 2108200 h 4727575"/>
              <a:gd name="connsiteX42" fmla="*/ 1239838 w 3371850"/>
              <a:gd name="connsiteY42" fmla="*/ 2114550 h 4727575"/>
              <a:gd name="connsiteX43" fmla="*/ 1042987 w 3371850"/>
              <a:gd name="connsiteY43" fmla="*/ 2135187 h 4727575"/>
              <a:gd name="connsiteX44" fmla="*/ 933450 w 3371850"/>
              <a:gd name="connsiteY44" fmla="*/ 2166938 h 4727575"/>
              <a:gd name="connsiteX45" fmla="*/ 909637 w 3371850"/>
              <a:gd name="connsiteY45" fmla="*/ 2085975 h 4727575"/>
              <a:gd name="connsiteX46" fmla="*/ 928687 w 3371850"/>
              <a:gd name="connsiteY46" fmla="*/ 1962150 h 4727575"/>
              <a:gd name="connsiteX47" fmla="*/ 952500 w 3371850"/>
              <a:gd name="connsiteY47" fmla="*/ 1828800 h 4727575"/>
              <a:gd name="connsiteX48" fmla="*/ 1000125 w 3371850"/>
              <a:gd name="connsiteY48" fmla="*/ 1666875 h 4727575"/>
              <a:gd name="connsiteX49" fmla="*/ 971550 w 3371850"/>
              <a:gd name="connsiteY49" fmla="*/ 1590675 h 4727575"/>
              <a:gd name="connsiteX50" fmla="*/ 952500 w 3371850"/>
              <a:gd name="connsiteY50" fmla="*/ 1524000 h 4727575"/>
              <a:gd name="connsiteX51" fmla="*/ 785813 w 3371850"/>
              <a:gd name="connsiteY51" fmla="*/ 1466850 h 4727575"/>
              <a:gd name="connsiteX52" fmla="*/ 628650 w 3371850"/>
              <a:gd name="connsiteY52" fmla="*/ 1438275 h 4727575"/>
              <a:gd name="connsiteX53" fmla="*/ 647700 w 3371850"/>
              <a:gd name="connsiteY53" fmla="*/ 1333500 h 4727575"/>
              <a:gd name="connsiteX54" fmla="*/ 755650 w 3371850"/>
              <a:gd name="connsiteY54" fmla="*/ 1219200 h 4727575"/>
              <a:gd name="connsiteX55" fmla="*/ 857250 w 3371850"/>
              <a:gd name="connsiteY55" fmla="*/ 1143000 h 4727575"/>
              <a:gd name="connsiteX56" fmla="*/ 904875 w 3371850"/>
              <a:gd name="connsiteY56" fmla="*/ 1104900 h 4727575"/>
              <a:gd name="connsiteX57" fmla="*/ 904875 w 3371850"/>
              <a:gd name="connsiteY57" fmla="*/ 1047750 h 4727575"/>
              <a:gd name="connsiteX58" fmla="*/ 923925 w 3371850"/>
              <a:gd name="connsiteY58" fmla="*/ 981075 h 4727575"/>
              <a:gd name="connsiteX59" fmla="*/ 952500 w 3371850"/>
              <a:gd name="connsiteY59" fmla="*/ 952500 h 4727575"/>
              <a:gd name="connsiteX60" fmla="*/ 962025 w 3371850"/>
              <a:gd name="connsiteY60" fmla="*/ 885825 h 4727575"/>
              <a:gd name="connsiteX61" fmla="*/ 962025 w 3371850"/>
              <a:gd name="connsiteY61" fmla="*/ 800100 h 4727575"/>
              <a:gd name="connsiteX62" fmla="*/ 1031875 w 3371850"/>
              <a:gd name="connsiteY62" fmla="*/ 685800 h 4727575"/>
              <a:gd name="connsiteX63" fmla="*/ 1295400 w 3371850"/>
              <a:gd name="connsiteY63" fmla="*/ 749300 h 4727575"/>
              <a:gd name="connsiteX64" fmla="*/ 1500188 w 3371850"/>
              <a:gd name="connsiteY64" fmla="*/ 642938 h 4727575"/>
              <a:gd name="connsiteX65" fmla="*/ 1633538 w 3371850"/>
              <a:gd name="connsiteY65" fmla="*/ 517525 h 4727575"/>
              <a:gd name="connsiteX66" fmla="*/ 1754187 w 3371850"/>
              <a:gd name="connsiteY66" fmla="*/ 506413 h 4727575"/>
              <a:gd name="connsiteX67" fmla="*/ 1909762 w 3371850"/>
              <a:gd name="connsiteY67" fmla="*/ 509587 h 4727575"/>
              <a:gd name="connsiteX68" fmla="*/ 2081212 w 3371850"/>
              <a:gd name="connsiteY68" fmla="*/ 566738 h 4727575"/>
              <a:gd name="connsiteX69" fmla="*/ 2214563 w 3371850"/>
              <a:gd name="connsiteY69" fmla="*/ 652463 h 4727575"/>
              <a:gd name="connsiteX70" fmla="*/ 2309813 w 3371850"/>
              <a:gd name="connsiteY70" fmla="*/ 728663 h 4727575"/>
              <a:gd name="connsiteX71" fmla="*/ 2624137 w 3371850"/>
              <a:gd name="connsiteY71" fmla="*/ 762000 h 4727575"/>
              <a:gd name="connsiteX72" fmla="*/ 2768600 w 3371850"/>
              <a:gd name="connsiteY72" fmla="*/ 788988 h 4727575"/>
              <a:gd name="connsiteX73" fmla="*/ 2900362 w 3371850"/>
              <a:gd name="connsiteY73" fmla="*/ 838200 h 4727575"/>
              <a:gd name="connsiteX74" fmla="*/ 3105150 w 3371850"/>
              <a:gd name="connsiteY74" fmla="*/ 790575 h 4727575"/>
              <a:gd name="connsiteX75" fmla="*/ 3190875 w 3371850"/>
              <a:gd name="connsiteY75" fmla="*/ 790575 h 4727575"/>
              <a:gd name="connsiteX76" fmla="*/ 3311525 w 3371850"/>
              <a:gd name="connsiteY76" fmla="*/ 787400 h 4727575"/>
              <a:gd name="connsiteX77" fmla="*/ 3340100 w 3371850"/>
              <a:gd name="connsiteY77" fmla="*/ 765175 h 4727575"/>
              <a:gd name="connsiteX78" fmla="*/ 3371850 w 3371850"/>
              <a:gd name="connsiteY78" fmla="*/ 704850 h 4727575"/>
              <a:gd name="connsiteX79" fmla="*/ 3336925 w 3371850"/>
              <a:gd name="connsiteY79" fmla="*/ 536575 h 4727575"/>
              <a:gd name="connsiteX80" fmla="*/ 3311525 w 3371850"/>
              <a:gd name="connsiteY80" fmla="*/ 479425 h 4727575"/>
              <a:gd name="connsiteX81" fmla="*/ 3197225 w 3371850"/>
              <a:gd name="connsiteY81" fmla="*/ 409575 h 4727575"/>
              <a:gd name="connsiteX82" fmla="*/ 3181350 w 3371850"/>
              <a:gd name="connsiteY82" fmla="*/ 352425 h 4727575"/>
              <a:gd name="connsiteX83" fmla="*/ 3133725 w 3371850"/>
              <a:gd name="connsiteY83" fmla="*/ 314325 h 4727575"/>
              <a:gd name="connsiteX84" fmla="*/ 3105150 w 3371850"/>
              <a:gd name="connsiteY84" fmla="*/ 336550 h 4727575"/>
              <a:gd name="connsiteX85" fmla="*/ 3086100 w 3371850"/>
              <a:gd name="connsiteY85" fmla="*/ 387350 h 4727575"/>
              <a:gd name="connsiteX86" fmla="*/ 3086100 w 3371850"/>
              <a:gd name="connsiteY86" fmla="*/ 447675 h 4727575"/>
              <a:gd name="connsiteX87" fmla="*/ 3038475 w 3371850"/>
              <a:gd name="connsiteY87" fmla="*/ 466725 h 4727575"/>
              <a:gd name="connsiteX88" fmla="*/ 2962275 w 3371850"/>
              <a:gd name="connsiteY88" fmla="*/ 419100 h 4727575"/>
              <a:gd name="connsiteX89" fmla="*/ 2867025 w 3371850"/>
              <a:gd name="connsiteY89" fmla="*/ 476250 h 4727575"/>
              <a:gd name="connsiteX90" fmla="*/ 2847975 w 3371850"/>
              <a:gd name="connsiteY90" fmla="*/ 504825 h 4727575"/>
              <a:gd name="connsiteX91" fmla="*/ 2838450 w 3371850"/>
              <a:gd name="connsiteY91" fmla="*/ 542925 h 4727575"/>
              <a:gd name="connsiteX92" fmla="*/ 2762250 w 3371850"/>
              <a:gd name="connsiteY92" fmla="*/ 504825 h 4727575"/>
              <a:gd name="connsiteX93" fmla="*/ 2647950 w 3371850"/>
              <a:gd name="connsiteY93" fmla="*/ 485775 h 4727575"/>
              <a:gd name="connsiteX94" fmla="*/ 2552700 w 3371850"/>
              <a:gd name="connsiteY94" fmla="*/ 438150 h 4727575"/>
              <a:gd name="connsiteX95" fmla="*/ 2419350 w 3371850"/>
              <a:gd name="connsiteY95" fmla="*/ 361950 h 4727575"/>
              <a:gd name="connsiteX96" fmla="*/ 2333625 w 3371850"/>
              <a:gd name="connsiteY96" fmla="*/ 276225 h 4727575"/>
              <a:gd name="connsiteX97" fmla="*/ 2209800 w 3371850"/>
              <a:gd name="connsiteY97" fmla="*/ 266700 h 4727575"/>
              <a:gd name="connsiteX98" fmla="*/ 2171700 w 3371850"/>
              <a:gd name="connsiteY98" fmla="*/ 133350 h 4727575"/>
              <a:gd name="connsiteX99" fmla="*/ 2143125 w 3371850"/>
              <a:gd name="connsiteY99" fmla="*/ 3175 h 4727575"/>
              <a:gd name="connsiteX100" fmla="*/ 1212850 w 3371850"/>
              <a:gd name="connsiteY100" fmla="*/ 0 h 4727575"/>
              <a:gd name="connsiteX101" fmla="*/ 1181100 w 3371850"/>
              <a:gd name="connsiteY101" fmla="*/ 133350 h 4727575"/>
              <a:gd name="connsiteX102" fmla="*/ 1143000 w 3371850"/>
              <a:gd name="connsiteY102" fmla="*/ 238125 h 4727575"/>
              <a:gd name="connsiteX103" fmla="*/ 933450 w 3371850"/>
              <a:gd name="connsiteY103" fmla="*/ 400050 h 4727575"/>
              <a:gd name="connsiteX104" fmla="*/ 923925 w 3371850"/>
              <a:gd name="connsiteY104" fmla="*/ 457200 h 4727575"/>
              <a:gd name="connsiteX105" fmla="*/ 800100 w 3371850"/>
              <a:gd name="connsiteY105" fmla="*/ 476250 h 4727575"/>
              <a:gd name="connsiteX106" fmla="*/ 628650 w 3371850"/>
              <a:gd name="connsiteY106" fmla="*/ 533400 h 4727575"/>
              <a:gd name="connsiteX107" fmla="*/ 581025 w 3371850"/>
              <a:gd name="connsiteY107" fmla="*/ 644525 h 4727575"/>
              <a:gd name="connsiteX108" fmla="*/ 476250 w 3371850"/>
              <a:gd name="connsiteY108" fmla="*/ 762000 h 4727575"/>
              <a:gd name="connsiteX109" fmla="*/ 466725 w 3371850"/>
              <a:gd name="connsiteY109" fmla="*/ 838200 h 4727575"/>
              <a:gd name="connsiteX110" fmla="*/ 476250 w 3371850"/>
              <a:gd name="connsiteY110" fmla="*/ 962025 h 4727575"/>
              <a:gd name="connsiteX111" fmla="*/ 428625 w 3371850"/>
              <a:gd name="connsiteY111" fmla="*/ 1009650 h 4727575"/>
              <a:gd name="connsiteX112" fmla="*/ 247650 w 3371850"/>
              <a:gd name="connsiteY112" fmla="*/ 981075 h 4727575"/>
              <a:gd name="connsiteX113" fmla="*/ 180975 w 3371850"/>
              <a:gd name="connsiteY113" fmla="*/ 990600 h 4727575"/>
              <a:gd name="connsiteX114" fmla="*/ 76200 w 3371850"/>
              <a:gd name="connsiteY114" fmla="*/ 1066800 h 4727575"/>
              <a:gd name="connsiteX115" fmla="*/ 57150 w 3371850"/>
              <a:gd name="connsiteY115" fmla="*/ 1162050 h 4727575"/>
              <a:gd name="connsiteX116" fmla="*/ 57150 w 3371850"/>
              <a:gd name="connsiteY116" fmla="*/ 1295400 h 4727575"/>
              <a:gd name="connsiteX117" fmla="*/ 28575 w 3371850"/>
              <a:gd name="connsiteY117" fmla="*/ 1409700 h 4727575"/>
              <a:gd name="connsiteX118" fmla="*/ 0 w 3371850"/>
              <a:gd name="connsiteY118" fmla="*/ 1524000 h 4727575"/>
              <a:gd name="connsiteX119" fmla="*/ 104775 w 3371850"/>
              <a:gd name="connsiteY119" fmla="*/ 1657350 h 4727575"/>
              <a:gd name="connsiteX120" fmla="*/ 161925 w 3371850"/>
              <a:gd name="connsiteY120" fmla="*/ 1838325 h 4727575"/>
              <a:gd name="connsiteX121" fmla="*/ 219075 w 3371850"/>
              <a:gd name="connsiteY121" fmla="*/ 2047875 h 4727575"/>
              <a:gd name="connsiteX122" fmla="*/ 276225 w 3371850"/>
              <a:gd name="connsiteY122" fmla="*/ 2314575 h 4727575"/>
              <a:gd name="connsiteX123" fmla="*/ 361950 w 3371850"/>
              <a:gd name="connsiteY123" fmla="*/ 2419350 h 4727575"/>
              <a:gd name="connsiteX124" fmla="*/ 333375 w 3371850"/>
              <a:gd name="connsiteY124" fmla="*/ 2628900 h 4727575"/>
              <a:gd name="connsiteX125" fmla="*/ 333375 w 3371850"/>
              <a:gd name="connsiteY125" fmla="*/ 2781300 h 4727575"/>
              <a:gd name="connsiteX126" fmla="*/ 381000 w 3371850"/>
              <a:gd name="connsiteY126" fmla="*/ 2876550 h 4727575"/>
              <a:gd name="connsiteX127" fmla="*/ 444500 w 3371850"/>
              <a:gd name="connsiteY127" fmla="*/ 3273425 h 4727575"/>
              <a:gd name="connsiteX128" fmla="*/ 434975 w 3371850"/>
              <a:gd name="connsiteY128" fmla="*/ 3381375 h 4727575"/>
              <a:gd name="connsiteX129" fmla="*/ 384175 w 3371850"/>
              <a:gd name="connsiteY129" fmla="*/ 3517900 h 4727575"/>
              <a:gd name="connsiteX130" fmla="*/ 400050 w 3371850"/>
              <a:gd name="connsiteY130" fmla="*/ 3641725 h 4727575"/>
              <a:gd name="connsiteX131" fmla="*/ 466725 w 3371850"/>
              <a:gd name="connsiteY131" fmla="*/ 3829050 h 4727575"/>
              <a:gd name="connsiteX132" fmla="*/ 533400 w 3371850"/>
              <a:gd name="connsiteY132" fmla="*/ 3933825 h 4727575"/>
              <a:gd name="connsiteX133" fmla="*/ 533400 w 3371850"/>
              <a:gd name="connsiteY133" fmla="*/ 4038600 h 4727575"/>
              <a:gd name="connsiteX134" fmla="*/ 485775 w 3371850"/>
              <a:gd name="connsiteY134" fmla="*/ 4095750 h 4727575"/>
              <a:gd name="connsiteX135" fmla="*/ 571500 w 3371850"/>
              <a:gd name="connsiteY135" fmla="*/ 4162425 h 4727575"/>
              <a:gd name="connsiteX136" fmla="*/ 704850 w 3371850"/>
              <a:gd name="connsiteY136" fmla="*/ 4276725 h 4727575"/>
              <a:gd name="connsiteX137" fmla="*/ 774700 w 3371850"/>
              <a:gd name="connsiteY137" fmla="*/ 4279900 h 4727575"/>
              <a:gd name="connsiteX138" fmla="*/ 879475 w 3371850"/>
              <a:gd name="connsiteY138" fmla="*/ 4238625 h 4727575"/>
              <a:gd name="connsiteX139" fmla="*/ 981075 w 3371850"/>
              <a:gd name="connsiteY139" fmla="*/ 4264025 h 4727575"/>
              <a:gd name="connsiteX140" fmla="*/ 1130300 w 3371850"/>
              <a:gd name="connsiteY140" fmla="*/ 4441825 h 4727575"/>
              <a:gd name="connsiteX141" fmla="*/ 1241425 w 3371850"/>
              <a:gd name="connsiteY141" fmla="*/ 4473575 h 4727575"/>
              <a:gd name="connsiteX142" fmla="*/ 1428750 w 3371850"/>
              <a:gd name="connsiteY142" fmla="*/ 4600575 h 4727575"/>
              <a:gd name="connsiteX143" fmla="*/ 1704975 w 3371850"/>
              <a:gd name="connsiteY143" fmla="*/ 4724400 h 4727575"/>
              <a:gd name="connsiteX144" fmla="*/ 1803400 w 3371850"/>
              <a:gd name="connsiteY144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00125 w 3371850"/>
              <a:gd name="connsiteY28" fmla="*/ 2857500 h 4727575"/>
              <a:gd name="connsiteX29" fmla="*/ 1000125 w 3371850"/>
              <a:gd name="connsiteY29" fmla="*/ 2819400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66800 w 3371850"/>
              <a:gd name="connsiteY28" fmla="*/ 2862263 h 4727575"/>
              <a:gd name="connsiteX29" fmla="*/ 1000125 w 3371850"/>
              <a:gd name="connsiteY29" fmla="*/ 2819400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66800 w 3371850"/>
              <a:gd name="connsiteY28" fmla="*/ 2862263 h 4727575"/>
              <a:gd name="connsiteX29" fmla="*/ 1147763 w 3371850"/>
              <a:gd name="connsiteY29" fmla="*/ 2695575 h 4727575"/>
              <a:gd name="connsiteX30" fmla="*/ 1190625 w 3371850"/>
              <a:gd name="connsiteY30" fmla="*/ 2609850 h 4727575"/>
              <a:gd name="connsiteX31" fmla="*/ 1214437 w 3371850"/>
              <a:gd name="connsiteY31" fmla="*/ 2633662 h 4727575"/>
              <a:gd name="connsiteX32" fmla="*/ 1309687 w 3371850"/>
              <a:gd name="connsiteY32" fmla="*/ 2609850 h 4727575"/>
              <a:gd name="connsiteX33" fmla="*/ 1462087 w 3371850"/>
              <a:gd name="connsiteY33" fmla="*/ 2519362 h 4727575"/>
              <a:gd name="connsiteX34" fmla="*/ 1504950 w 3371850"/>
              <a:gd name="connsiteY34" fmla="*/ 2466975 h 4727575"/>
              <a:gd name="connsiteX35" fmla="*/ 1557337 w 3371850"/>
              <a:gd name="connsiteY35" fmla="*/ 2362200 h 4727575"/>
              <a:gd name="connsiteX36" fmla="*/ 1566862 w 3371850"/>
              <a:gd name="connsiteY36" fmla="*/ 2247900 h 4727575"/>
              <a:gd name="connsiteX37" fmla="*/ 1476375 w 3371850"/>
              <a:gd name="connsiteY37" fmla="*/ 2171700 h 4727575"/>
              <a:gd name="connsiteX38" fmla="*/ 1423988 w 3371850"/>
              <a:gd name="connsiteY38" fmla="*/ 2135188 h 4727575"/>
              <a:gd name="connsiteX39" fmla="*/ 1339850 w 3371850"/>
              <a:gd name="connsiteY39" fmla="*/ 2108200 h 4727575"/>
              <a:gd name="connsiteX40" fmla="*/ 1239838 w 3371850"/>
              <a:gd name="connsiteY40" fmla="*/ 2114550 h 4727575"/>
              <a:gd name="connsiteX41" fmla="*/ 1042987 w 3371850"/>
              <a:gd name="connsiteY41" fmla="*/ 2135187 h 4727575"/>
              <a:gd name="connsiteX42" fmla="*/ 933450 w 3371850"/>
              <a:gd name="connsiteY42" fmla="*/ 2166938 h 4727575"/>
              <a:gd name="connsiteX43" fmla="*/ 909637 w 3371850"/>
              <a:gd name="connsiteY43" fmla="*/ 2085975 h 4727575"/>
              <a:gd name="connsiteX44" fmla="*/ 928687 w 3371850"/>
              <a:gd name="connsiteY44" fmla="*/ 1962150 h 4727575"/>
              <a:gd name="connsiteX45" fmla="*/ 952500 w 3371850"/>
              <a:gd name="connsiteY45" fmla="*/ 1828800 h 4727575"/>
              <a:gd name="connsiteX46" fmla="*/ 1000125 w 3371850"/>
              <a:gd name="connsiteY46" fmla="*/ 1666875 h 4727575"/>
              <a:gd name="connsiteX47" fmla="*/ 971550 w 3371850"/>
              <a:gd name="connsiteY47" fmla="*/ 1590675 h 4727575"/>
              <a:gd name="connsiteX48" fmla="*/ 952500 w 3371850"/>
              <a:gd name="connsiteY48" fmla="*/ 1524000 h 4727575"/>
              <a:gd name="connsiteX49" fmla="*/ 785813 w 3371850"/>
              <a:gd name="connsiteY49" fmla="*/ 1466850 h 4727575"/>
              <a:gd name="connsiteX50" fmla="*/ 628650 w 3371850"/>
              <a:gd name="connsiteY50" fmla="*/ 1438275 h 4727575"/>
              <a:gd name="connsiteX51" fmla="*/ 647700 w 3371850"/>
              <a:gd name="connsiteY51" fmla="*/ 1333500 h 4727575"/>
              <a:gd name="connsiteX52" fmla="*/ 755650 w 3371850"/>
              <a:gd name="connsiteY52" fmla="*/ 1219200 h 4727575"/>
              <a:gd name="connsiteX53" fmla="*/ 857250 w 3371850"/>
              <a:gd name="connsiteY53" fmla="*/ 1143000 h 4727575"/>
              <a:gd name="connsiteX54" fmla="*/ 904875 w 3371850"/>
              <a:gd name="connsiteY54" fmla="*/ 1104900 h 4727575"/>
              <a:gd name="connsiteX55" fmla="*/ 904875 w 3371850"/>
              <a:gd name="connsiteY55" fmla="*/ 1047750 h 4727575"/>
              <a:gd name="connsiteX56" fmla="*/ 923925 w 3371850"/>
              <a:gd name="connsiteY56" fmla="*/ 981075 h 4727575"/>
              <a:gd name="connsiteX57" fmla="*/ 952500 w 3371850"/>
              <a:gd name="connsiteY57" fmla="*/ 952500 h 4727575"/>
              <a:gd name="connsiteX58" fmla="*/ 962025 w 3371850"/>
              <a:gd name="connsiteY58" fmla="*/ 885825 h 4727575"/>
              <a:gd name="connsiteX59" fmla="*/ 962025 w 3371850"/>
              <a:gd name="connsiteY59" fmla="*/ 800100 h 4727575"/>
              <a:gd name="connsiteX60" fmla="*/ 1031875 w 3371850"/>
              <a:gd name="connsiteY60" fmla="*/ 685800 h 4727575"/>
              <a:gd name="connsiteX61" fmla="*/ 1295400 w 3371850"/>
              <a:gd name="connsiteY61" fmla="*/ 749300 h 4727575"/>
              <a:gd name="connsiteX62" fmla="*/ 1500188 w 3371850"/>
              <a:gd name="connsiteY62" fmla="*/ 642938 h 4727575"/>
              <a:gd name="connsiteX63" fmla="*/ 1633538 w 3371850"/>
              <a:gd name="connsiteY63" fmla="*/ 517525 h 4727575"/>
              <a:gd name="connsiteX64" fmla="*/ 1754187 w 3371850"/>
              <a:gd name="connsiteY64" fmla="*/ 506413 h 4727575"/>
              <a:gd name="connsiteX65" fmla="*/ 1909762 w 3371850"/>
              <a:gd name="connsiteY65" fmla="*/ 509587 h 4727575"/>
              <a:gd name="connsiteX66" fmla="*/ 2081212 w 3371850"/>
              <a:gd name="connsiteY66" fmla="*/ 566738 h 4727575"/>
              <a:gd name="connsiteX67" fmla="*/ 2214563 w 3371850"/>
              <a:gd name="connsiteY67" fmla="*/ 652463 h 4727575"/>
              <a:gd name="connsiteX68" fmla="*/ 2309813 w 3371850"/>
              <a:gd name="connsiteY68" fmla="*/ 728663 h 4727575"/>
              <a:gd name="connsiteX69" fmla="*/ 2624137 w 3371850"/>
              <a:gd name="connsiteY69" fmla="*/ 762000 h 4727575"/>
              <a:gd name="connsiteX70" fmla="*/ 2768600 w 3371850"/>
              <a:gd name="connsiteY70" fmla="*/ 788988 h 4727575"/>
              <a:gd name="connsiteX71" fmla="*/ 2900362 w 3371850"/>
              <a:gd name="connsiteY71" fmla="*/ 838200 h 4727575"/>
              <a:gd name="connsiteX72" fmla="*/ 3105150 w 3371850"/>
              <a:gd name="connsiteY72" fmla="*/ 790575 h 4727575"/>
              <a:gd name="connsiteX73" fmla="*/ 3190875 w 3371850"/>
              <a:gd name="connsiteY73" fmla="*/ 790575 h 4727575"/>
              <a:gd name="connsiteX74" fmla="*/ 3311525 w 3371850"/>
              <a:gd name="connsiteY74" fmla="*/ 787400 h 4727575"/>
              <a:gd name="connsiteX75" fmla="*/ 3340100 w 3371850"/>
              <a:gd name="connsiteY75" fmla="*/ 765175 h 4727575"/>
              <a:gd name="connsiteX76" fmla="*/ 3371850 w 3371850"/>
              <a:gd name="connsiteY76" fmla="*/ 704850 h 4727575"/>
              <a:gd name="connsiteX77" fmla="*/ 3336925 w 3371850"/>
              <a:gd name="connsiteY77" fmla="*/ 536575 h 4727575"/>
              <a:gd name="connsiteX78" fmla="*/ 3311525 w 3371850"/>
              <a:gd name="connsiteY78" fmla="*/ 479425 h 4727575"/>
              <a:gd name="connsiteX79" fmla="*/ 3197225 w 3371850"/>
              <a:gd name="connsiteY79" fmla="*/ 409575 h 4727575"/>
              <a:gd name="connsiteX80" fmla="*/ 3181350 w 3371850"/>
              <a:gd name="connsiteY80" fmla="*/ 352425 h 4727575"/>
              <a:gd name="connsiteX81" fmla="*/ 3133725 w 3371850"/>
              <a:gd name="connsiteY81" fmla="*/ 314325 h 4727575"/>
              <a:gd name="connsiteX82" fmla="*/ 3105150 w 3371850"/>
              <a:gd name="connsiteY82" fmla="*/ 336550 h 4727575"/>
              <a:gd name="connsiteX83" fmla="*/ 3086100 w 3371850"/>
              <a:gd name="connsiteY83" fmla="*/ 387350 h 4727575"/>
              <a:gd name="connsiteX84" fmla="*/ 3086100 w 3371850"/>
              <a:gd name="connsiteY84" fmla="*/ 447675 h 4727575"/>
              <a:gd name="connsiteX85" fmla="*/ 3038475 w 3371850"/>
              <a:gd name="connsiteY85" fmla="*/ 466725 h 4727575"/>
              <a:gd name="connsiteX86" fmla="*/ 2962275 w 3371850"/>
              <a:gd name="connsiteY86" fmla="*/ 419100 h 4727575"/>
              <a:gd name="connsiteX87" fmla="*/ 2867025 w 3371850"/>
              <a:gd name="connsiteY87" fmla="*/ 476250 h 4727575"/>
              <a:gd name="connsiteX88" fmla="*/ 2847975 w 3371850"/>
              <a:gd name="connsiteY88" fmla="*/ 504825 h 4727575"/>
              <a:gd name="connsiteX89" fmla="*/ 2838450 w 3371850"/>
              <a:gd name="connsiteY89" fmla="*/ 542925 h 4727575"/>
              <a:gd name="connsiteX90" fmla="*/ 2762250 w 3371850"/>
              <a:gd name="connsiteY90" fmla="*/ 504825 h 4727575"/>
              <a:gd name="connsiteX91" fmla="*/ 2647950 w 3371850"/>
              <a:gd name="connsiteY91" fmla="*/ 485775 h 4727575"/>
              <a:gd name="connsiteX92" fmla="*/ 2552700 w 3371850"/>
              <a:gd name="connsiteY92" fmla="*/ 438150 h 4727575"/>
              <a:gd name="connsiteX93" fmla="*/ 2419350 w 3371850"/>
              <a:gd name="connsiteY93" fmla="*/ 361950 h 4727575"/>
              <a:gd name="connsiteX94" fmla="*/ 2333625 w 3371850"/>
              <a:gd name="connsiteY94" fmla="*/ 276225 h 4727575"/>
              <a:gd name="connsiteX95" fmla="*/ 2209800 w 3371850"/>
              <a:gd name="connsiteY95" fmla="*/ 266700 h 4727575"/>
              <a:gd name="connsiteX96" fmla="*/ 2171700 w 3371850"/>
              <a:gd name="connsiteY96" fmla="*/ 133350 h 4727575"/>
              <a:gd name="connsiteX97" fmla="*/ 2143125 w 3371850"/>
              <a:gd name="connsiteY97" fmla="*/ 3175 h 4727575"/>
              <a:gd name="connsiteX98" fmla="*/ 1212850 w 3371850"/>
              <a:gd name="connsiteY98" fmla="*/ 0 h 4727575"/>
              <a:gd name="connsiteX99" fmla="*/ 1181100 w 3371850"/>
              <a:gd name="connsiteY99" fmla="*/ 133350 h 4727575"/>
              <a:gd name="connsiteX100" fmla="*/ 1143000 w 3371850"/>
              <a:gd name="connsiteY100" fmla="*/ 238125 h 4727575"/>
              <a:gd name="connsiteX101" fmla="*/ 933450 w 3371850"/>
              <a:gd name="connsiteY101" fmla="*/ 400050 h 4727575"/>
              <a:gd name="connsiteX102" fmla="*/ 923925 w 3371850"/>
              <a:gd name="connsiteY102" fmla="*/ 457200 h 4727575"/>
              <a:gd name="connsiteX103" fmla="*/ 800100 w 3371850"/>
              <a:gd name="connsiteY103" fmla="*/ 476250 h 4727575"/>
              <a:gd name="connsiteX104" fmla="*/ 628650 w 3371850"/>
              <a:gd name="connsiteY104" fmla="*/ 533400 h 4727575"/>
              <a:gd name="connsiteX105" fmla="*/ 581025 w 3371850"/>
              <a:gd name="connsiteY105" fmla="*/ 644525 h 4727575"/>
              <a:gd name="connsiteX106" fmla="*/ 476250 w 3371850"/>
              <a:gd name="connsiteY106" fmla="*/ 762000 h 4727575"/>
              <a:gd name="connsiteX107" fmla="*/ 466725 w 3371850"/>
              <a:gd name="connsiteY107" fmla="*/ 838200 h 4727575"/>
              <a:gd name="connsiteX108" fmla="*/ 476250 w 3371850"/>
              <a:gd name="connsiteY108" fmla="*/ 962025 h 4727575"/>
              <a:gd name="connsiteX109" fmla="*/ 428625 w 3371850"/>
              <a:gd name="connsiteY109" fmla="*/ 1009650 h 4727575"/>
              <a:gd name="connsiteX110" fmla="*/ 247650 w 3371850"/>
              <a:gd name="connsiteY110" fmla="*/ 981075 h 4727575"/>
              <a:gd name="connsiteX111" fmla="*/ 180975 w 3371850"/>
              <a:gd name="connsiteY111" fmla="*/ 990600 h 4727575"/>
              <a:gd name="connsiteX112" fmla="*/ 76200 w 3371850"/>
              <a:gd name="connsiteY112" fmla="*/ 1066800 h 4727575"/>
              <a:gd name="connsiteX113" fmla="*/ 57150 w 3371850"/>
              <a:gd name="connsiteY113" fmla="*/ 1162050 h 4727575"/>
              <a:gd name="connsiteX114" fmla="*/ 57150 w 3371850"/>
              <a:gd name="connsiteY114" fmla="*/ 1295400 h 4727575"/>
              <a:gd name="connsiteX115" fmla="*/ 28575 w 3371850"/>
              <a:gd name="connsiteY115" fmla="*/ 1409700 h 4727575"/>
              <a:gd name="connsiteX116" fmla="*/ 0 w 3371850"/>
              <a:gd name="connsiteY116" fmla="*/ 1524000 h 4727575"/>
              <a:gd name="connsiteX117" fmla="*/ 104775 w 3371850"/>
              <a:gd name="connsiteY117" fmla="*/ 1657350 h 4727575"/>
              <a:gd name="connsiteX118" fmla="*/ 161925 w 3371850"/>
              <a:gd name="connsiteY118" fmla="*/ 1838325 h 4727575"/>
              <a:gd name="connsiteX119" fmla="*/ 219075 w 3371850"/>
              <a:gd name="connsiteY119" fmla="*/ 2047875 h 4727575"/>
              <a:gd name="connsiteX120" fmla="*/ 276225 w 3371850"/>
              <a:gd name="connsiteY120" fmla="*/ 2314575 h 4727575"/>
              <a:gd name="connsiteX121" fmla="*/ 361950 w 3371850"/>
              <a:gd name="connsiteY121" fmla="*/ 2419350 h 4727575"/>
              <a:gd name="connsiteX122" fmla="*/ 333375 w 3371850"/>
              <a:gd name="connsiteY122" fmla="*/ 2628900 h 4727575"/>
              <a:gd name="connsiteX123" fmla="*/ 333375 w 3371850"/>
              <a:gd name="connsiteY123" fmla="*/ 2781300 h 4727575"/>
              <a:gd name="connsiteX124" fmla="*/ 381000 w 3371850"/>
              <a:gd name="connsiteY124" fmla="*/ 2876550 h 4727575"/>
              <a:gd name="connsiteX125" fmla="*/ 444500 w 3371850"/>
              <a:gd name="connsiteY125" fmla="*/ 3273425 h 4727575"/>
              <a:gd name="connsiteX126" fmla="*/ 434975 w 3371850"/>
              <a:gd name="connsiteY126" fmla="*/ 3381375 h 4727575"/>
              <a:gd name="connsiteX127" fmla="*/ 384175 w 3371850"/>
              <a:gd name="connsiteY127" fmla="*/ 3517900 h 4727575"/>
              <a:gd name="connsiteX128" fmla="*/ 400050 w 3371850"/>
              <a:gd name="connsiteY128" fmla="*/ 3641725 h 4727575"/>
              <a:gd name="connsiteX129" fmla="*/ 466725 w 3371850"/>
              <a:gd name="connsiteY129" fmla="*/ 3829050 h 4727575"/>
              <a:gd name="connsiteX130" fmla="*/ 533400 w 3371850"/>
              <a:gd name="connsiteY130" fmla="*/ 3933825 h 4727575"/>
              <a:gd name="connsiteX131" fmla="*/ 533400 w 3371850"/>
              <a:gd name="connsiteY131" fmla="*/ 4038600 h 4727575"/>
              <a:gd name="connsiteX132" fmla="*/ 485775 w 3371850"/>
              <a:gd name="connsiteY132" fmla="*/ 4095750 h 4727575"/>
              <a:gd name="connsiteX133" fmla="*/ 571500 w 3371850"/>
              <a:gd name="connsiteY133" fmla="*/ 4162425 h 4727575"/>
              <a:gd name="connsiteX134" fmla="*/ 704850 w 3371850"/>
              <a:gd name="connsiteY134" fmla="*/ 4276725 h 4727575"/>
              <a:gd name="connsiteX135" fmla="*/ 774700 w 3371850"/>
              <a:gd name="connsiteY135" fmla="*/ 4279900 h 4727575"/>
              <a:gd name="connsiteX136" fmla="*/ 879475 w 3371850"/>
              <a:gd name="connsiteY136" fmla="*/ 4238625 h 4727575"/>
              <a:gd name="connsiteX137" fmla="*/ 981075 w 3371850"/>
              <a:gd name="connsiteY137" fmla="*/ 4264025 h 4727575"/>
              <a:gd name="connsiteX138" fmla="*/ 1130300 w 3371850"/>
              <a:gd name="connsiteY138" fmla="*/ 4441825 h 4727575"/>
              <a:gd name="connsiteX139" fmla="*/ 1241425 w 3371850"/>
              <a:gd name="connsiteY139" fmla="*/ 4473575 h 4727575"/>
              <a:gd name="connsiteX140" fmla="*/ 1428750 w 3371850"/>
              <a:gd name="connsiteY140" fmla="*/ 4600575 h 4727575"/>
              <a:gd name="connsiteX141" fmla="*/ 1704975 w 3371850"/>
              <a:gd name="connsiteY141" fmla="*/ 4724400 h 4727575"/>
              <a:gd name="connsiteX142" fmla="*/ 1803400 w 3371850"/>
              <a:gd name="connsiteY142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66800 w 3371850"/>
              <a:gd name="connsiteY28" fmla="*/ 2862263 h 4727575"/>
              <a:gd name="connsiteX29" fmla="*/ 1104900 w 3371850"/>
              <a:gd name="connsiteY29" fmla="*/ 2776538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66800 w 3371850"/>
              <a:gd name="connsiteY28" fmla="*/ 2862263 h 4727575"/>
              <a:gd name="connsiteX29" fmla="*/ 1023938 w 3371850"/>
              <a:gd name="connsiteY29" fmla="*/ 27432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28700 w 3371850"/>
              <a:gd name="connsiteY28" fmla="*/ 2867026 h 4727575"/>
              <a:gd name="connsiteX29" fmla="*/ 1023938 w 3371850"/>
              <a:gd name="connsiteY29" fmla="*/ 27432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47750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0858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181100 w 3371850"/>
              <a:gd name="connsiteY25" fmla="*/ 3162300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266825 w 3371850"/>
              <a:gd name="connsiteY24" fmla="*/ 3200400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43025 w 3371850"/>
              <a:gd name="connsiteY23" fmla="*/ 3286125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390650 w 3371850"/>
              <a:gd name="connsiteY22" fmla="*/ 34036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00150 w 3371850"/>
              <a:gd name="connsiteY15" fmla="*/ 400050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295400 w 3371850"/>
              <a:gd name="connsiteY14" fmla="*/ 4038600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377950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22400 w 3371850"/>
              <a:gd name="connsiteY12" fmla="*/ 4276725 h 4727575"/>
              <a:gd name="connsiteX13" fmla="*/ 1420813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20825 w 3371850"/>
              <a:gd name="connsiteY11" fmla="*/ 4292600 h 4727575"/>
              <a:gd name="connsiteX12" fmla="*/ 1479550 w 3371850"/>
              <a:gd name="connsiteY12" fmla="*/ 4276725 h 4727575"/>
              <a:gd name="connsiteX13" fmla="*/ 1420813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04975 w 3371850"/>
              <a:gd name="connsiteY8" fmla="*/ 4352925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58925 w 3371850"/>
              <a:gd name="connsiteY11" fmla="*/ 4268787 h 4727575"/>
              <a:gd name="connsiteX12" fmla="*/ 1479550 w 3371850"/>
              <a:gd name="connsiteY12" fmla="*/ 4276725 h 4727575"/>
              <a:gd name="connsiteX13" fmla="*/ 1420813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63700 w 3371850"/>
              <a:gd name="connsiteY7" fmla="*/ 4448175 h 4727575"/>
              <a:gd name="connsiteX8" fmla="*/ 1733550 w 3371850"/>
              <a:gd name="connsiteY8" fmla="*/ 4357688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58925 w 3371850"/>
              <a:gd name="connsiteY11" fmla="*/ 4268787 h 4727575"/>
              <a:gd name="connsiteX12" fmla="*/ 1479550 w 3371850"/>
              <a:gd name="connsiteY12" fmla="*/ 4276725 h 4727575"/>
              <a:gd name="connsiteX13" fmla="*/ 1420813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12900 w 3371850"/>
              <a:gd name="connsiteY6" fmla="*/ 4511675 h 4727575"/>
              <a:gd name="connsiteX7" fmla="*/ 1697037 w 3371850"/>
              <a:gd name="connsiteY7" fmla="*/ 4457700 h 4727575"/>
              <a:gd name="connsiteX8" fmla="*/ 1733550 w 3371850"/>
              <a:gd name="connsiteY8" fmla="*/ 4357688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58925 w 3371850"/>
              <a:gd name="connsiteY11" fmla="*/ 4268787 h 4727575"/>
              <a:gd name="connsiteX12" fmla="*/ 1479550 w 3371850"/>
              <a:gd name="connsiteY12" fmla="*/ 4276725 h 4727575"/>
              <a:gd name="connsiteX13" fmla="*/ 1420813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51000 w 3371850"/>
              <a:gd name="connsiteY5" fmla="*/ 4572000 h 4727575"/>
              <a:gd name="connsiteX6" fmla="*/ 1674813 w 3371850"/>
              <a:gd name="connsiteY6" fmla="*/ 4525963 h 4727575"/>
              <a:gd name="connsiteX7" fmla="*/ 1697037 w 3371850"/>
              <a:gd name="connsiteY7" fmla="*/ 4457700 h 4727575"/>
              <a:gd name="connsiteX8" fmla="*/ 1733550 w 3371850"/>
              <a:gd name="connsiteY8" fmla="*/ 4357688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58925 w 3371850"/>
              <a:gd name="connsiteY11" fmla="*/ 4268787 h 4727575"/>
              <a:gd name="connsiteX12" fmla="*/ 1479550 w 3371850"/>
              <a:gd name="connsiteY12" fmla="*/ 4276725 h 4727575"/>
              <a:gd name="connsiteX13" fmla="*/ 1420813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00225 w 3371850"/>
              <a:gd name="connsiteY3" fmla="*/ 4581525 h 4727575"/>
              <a:gd name="connsiteX4" fmla="*/ 1739900 w 3371850"/>
              <a:gd name="connsiteY4" fmla="*/ 4572000 h 4727575"/>
              <a:gd name="connsiteX5" fmla="*/ 1674813 w 3371850"/>
              <a:gd name="connsiteY5" fmla="*/ 4572000 h 4727575"/>
              <a:gd name="connsiteX6" fmla="*/ 1674813 w 3371850"/>
              <a:gd name="connsiteY6" fmla="*/ 4525963 h 4727575"/>
              <a:gd name="connsiteX7" fmla="*/ 1697037 w 3371850"/>
              <a:gd name="connsiteY7" fmla="*/ 4457700 h 4727575"/>
              <a:gd name="connsiteX8" fmla="*/ 1733550 w 3371850"/>
              <a:gd name="connsiteY8" fmla="*/ 4357688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58925 w 3371850"/>
              <a:gd name="connsiteY11" fmla="*/ 4268787 h 4727575"/>
              <a:gd name="connsiteX12" fmla="*/ 1479550 w 3371850"/>
              <a:gd name="connsiteY12" fmla="*/ 4276725 h 4727575"/>
              <a:gd name="connsiteX13" fmla="*/ 1420813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52613 w 3371850"/>
              <a:gd name="connsiteY3" fmla="*/ 4586288 h 4727575"/>
              <a:gd name="connsiteX4" fmla="*/ 1739900 w 3371850"/>
              <a:gd name="connsiteY4" fmla="*/ 4572000 h 4727575"/>
              <a:gd name="connsiteX5" fmla="*/ 1674813 w 3371850"/>
              <a:gd name="connsiteY5" fmla="*/ 4572000 h 4727575"/>
              <a:gd name="connsiteX6" fmla="*/ 1674813 w 3371850"/>
              <a:gd name="connsiteY6" fmla="*/ 4525963 h 4727575"/>
              <a:gd name="connsiteX7" fmla="*/ 1697037 w 3371850"/>
              <a:gd name="connsiteY7" fmla="*/ 4457700 h 4727575"/>
              <a:gd name="connsiteX8" fmla="*/ 1733550 w 3371850"/>
              <a:gd name="connsiteY8" fmla="*/ 4357688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58925 w 3371850"/>
              <a:gd name="connsiteY11" fmla="*/ 4268787 h 4727575"/>
              <a:gd name="connsiteX12" fmla="*/ 1479550 w 3371850"/>
              <a:gd name="connsiteY12" fmla="*/ 4276725 h 4727575"/>
              <a:gd name="connsiteX13" fmla="*/ 1420813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22450 w 3371850"/>
              <a:gd name="connsiteY2" fmla="*/ 4635500 h 4727575"/>
              <a:gd name="connsiteX3" fmla="*/ 1852613 w 3371850"/>
              <a:gd name="connsiteY3" fmla="*/ 4586288 h 4727575"/>
              <a:gd name="connsiteX4" fmla="*/ 1739900 w 3371850"/>
              <a:gd name="connsiteY4" fmla="*/ 4548187 h 4727575"/>
              <a:gd name="connsiteX5" fmla="*/ 1674813 w 3371850"/>
              <a:gd name="connsiteY5" fmla="*/ 4572000 h 4727575"/>
              <a:gd name="connsiteX6" fmla="*/ 1674813 w 3371850"/>
              <a:gd name="connsiteY6" fmla="*/ 4525963 h 4727575"/>
              <a:gd name="connsiteX7" fmla="*/ 1697037 w 3371850"/>
              <a:gd name="connsiteY7" fmla="*/ 4457700 h 4727575"/>
              <a:gd name="connsiteX8" fmla="*/ 1733550 w 3371850"/>
              <a:gd name="connsiteY8" fmla="*/ 4357688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58925 w 3371850"/>
              <a:gd name="connsiteY11" fmla="*/ 4268787 h 4727575"/>
              <a:gd name="connsiteX12" fmla="*/ 1479550 w 3371850"/>
              <a:gd name="connsiteY12" fmla="*/ 4276725 h 4727575"/>
              <a:gd name="connsiteX13" fmla="*/ 1420813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22450 w 3371850"/>
              <a:gd name="connsiteY1" fmla="*/ 4686300 h 4727575"/>
              <a:gd name="connsiteX2" fmla="*/ 1870075 w 3371850"/>
              <a:gd name="connsiteY2" fmla="*/ 4645025 h 4727575"/>
              <a:gd name="connsiteX3" fmla="*/ 1852613 w 3371850"/>
              <a:gd name="connsiteY3" fmla="*/ 4586288 h 4727575"/>
              <a:gd name="connsiteX4" fmla="*/ 1739900 w 3371850"/>
              <a:gd name="connsiteY4" fmla="*/ 4548187 h 4727575"/>
              <a:gd name="connsiteX5" fmla="*/ 1674813 w 3371850"/>
              <a:gd name="connsiteY5" fmla="*/ 4572000 h 4727575"/>
              <a:gd name="connsiteX6" fmla="*/ 1674813 w 3371850"/>
              <a:gd name="connsiteY6" fmla="*/ 4525963 h 4727575"/>
              <a:gd name="connsiteX7" fmla="*/ 1697037 w 3371850"/>
              <a:gd name="connsiteY7" fmla="*/ 4457700 h 4727575"/>
              <a:gd name="connsiteX8" fmla="*/ 1733550 w 3371850"/>
              <a:gd name="connsiteY8" fmla="*/ 4357688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58925 w 3371850"/>
              <a:gd name="connsiteY11" fmla="*/ 4268787 h 4727575"/>
              <a:gd name="connsiteX12" fmla="*/ 1479550 w 3371850"/>
              <a:gd name="connsiteY12" fmla="*/ 4276725 h 4727575"/>
              <a:gd name="connsiteX13" fmla="*/ 1420813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803400 w 3371850"/>
              <a:gd name="connsiteY0" fmla="*/ 4727575 h 4727575"/>
              <a:gd name="connsiteX1" fmla="*/ 1870075 w 3371850"/>
              <a:gd name="connsiteY1" fmla="*/ 4724400 h 4727575"/>
              <a:gd name="connsiteX2" fmla="*/ 1870075 w 3371850"/>
              <a:gd name="connsiteY2" fmla="*/ 4645025 h 4727575"/>
              <a:gd name="connsiteX3" fmla="*/ 1852613 w 3371850"/>
              <a:gd name="connsiteY3" fmla="*/ 4586288 h 4727575"/>
              <a:gd name="connsiteX4" fmla="*/ 1739900 w 3371850"/>
              <a:gd name="connsiteY4" fmla="*/ 4548187 h 4727575"/>
              <a:gd name="connsiteX5" fmla="*/ 1674813 w 3371850"/>
              <a:gd name="connsiteY5" fmla="*/ 4572000 h 4727575"/>
              <a:gd name="connsiteX6" fmla="*/ 1674813 w 3371850"/>
              <a:gd name="connsiteY6" fmla="*/ 4525963 h 4727575"/>
              <a:gd name="connsiteX7" fmla="*/ 1697037 w 3371850"/>
              <a:gd name="connsiteY7" fmla="*/ 4457700 h 4727575"/>
              <a:gd name="connsiteX8" fmla="*/ 1733550 w 3371850"/>
              <a:gd name="connsiteY8" fmla="*/ 4357688 h 4727575"/>
              <a:gd name="connsiteX9" fmla="*/ 1666875 w 3371850"/>
              <a:gd name="connsiteY9" fmla="*/ 4314825 h 4727575"/>
              <a:gd name="connsiteX10" fmla="*/ 1600200 w 3371850"/>
              <a:gd name="connsiteY10" fmla="*/ 4286250 h 4727575"/>
              <a:gd name="connsiteX11" fmla="*/ 1558925 w 3371850"/>
              <a:gd name="connsiteY11" fmla="*/ 4268787 h 4727575"/>
              <a:gd name="connsiteX12" fmla="*/ 1479550 w 3371850"/>
              <a:gd name="connsiteY12" fmla="*/ 4276725 h 4727575"/>
              <a:gd name="connsiteX13" fmla="*/ 1420813 w 3371850"/>
              <a:gd name="connsiteY13" fmla="*/ 4143375 h 4727575"/>
              <a:gd name="connsiteX14" fmla="*/ 1347788 w 3371850"/>
              <a:gd name="connsiteY14" fmla="*/ 4033837 h 4727575"/>
              <a:gd name="connsiteX15" fmla="*/ 1228725 w 3371850"/>
              <a:gd name="connsiteY15" fmla="*/ 3981450 h 4727575"/>
              <a:gd name="connsiteX16" fmla="*/ 1143000 w 3371850"/>
              <a:gd name="connsiteY16" fmla="*/ 3971925 h 4727575"/>
              <a:gd name="connsiteX17" fmla="*/ 1114425 w 3371850"/>
              <a:gd name="connsiteY17" fmla="*/ 3933825 h 4727575"/>
              <a:gd name="connsiteX18" fmla="*/ 1095375 w 3371850"/>
              <a:gd name="connsiteY18" fmla="*/ 3838575 h 4727575"/>
              <a:gd name="connsiteX19" fmla="*/ 1123950 w 3371850"/>
              <a:gd name="connsiteY19" fmla="*/ 3781425 h 4727575"/>
              <a:gd name="connsiteX20" fmla="*/ 1266825 w 3371850"/>
              <a:gd name="connsiteY20" fmla="*/ 3771900 h 4727575"/>
              <a:gd name="connsiteX21" fmla="*/ 1390650 w 3371850"/>
              <a:gd name="connsiteY21" fmla="*/ 3552825 h 4727575"/>
              <a:gd name="connsiteX22" fmla="*/ 1443038 w 3371850"/>
              <a:gd name="connsiteY22" fmla="*/ 3441700 h 4727575"/>
              <a:gd name="connsiteX23" fmla="*/ 1381125 w 3371850"/>
              <a:gd name="connsiteY23" fmla="*/ 3271838 h 4727575"/>
              <a:gd name="connsiteX24" fmla="*/ 1309687 w 3371850"/>
              <a:gd name="connsiteY24" fmla="*/ 3190875 h 4727575"/>
              <a:gd name="connsiteX25" fmla="*/ 1214438 w 3371850"/>
              <a:gd name="connsiteY25" fmla="*/ 3148012 h 4727575"/>
              <a:gd name="connsiteX26" fmla="*/ 1123950 w 3371850"/>
              <a:gd name="connsiteY26" fmla="*/ 3067050 h 4727575"/>
              <a:gd name="connsiteX27" fmla="*/ 1071563 w 3371850"/>
              <a:gd name="connsiteY27" fmla="*/ 2943225 h 4727575"/>
              <a:gd name="connsiteX28" fmla="*/ 1028700 w 3371850"/>
              <a:gd name="connsiteY28" fmla="*/ 2867026 h 4727575"/>
              <a:gd name="connsiteX29" fmla="*/ 1047751 w 3371850"/>
              <a:gd name="connsiteY29" fmla="*/ 2781301 h 4727575"/>
              <a:gd name="connsiteX30" fmla="*/ 1147763 w 3371850"/>
              <a:gd name="connsiteY30" fmla="*/ 2695575 h 4727575"/>
              <a:gd name="connsiteX31" fmla="*/ 1190625 w 3371850"/>
              <a:gd name="connsiteY31" fmla="*/ 2609850 h 4727575"/>
              <a:gd name="connsiteX32" fmla="*/ 1214437 w 3371850"/>
              <a:gd name="connsiteY32" fmla="*/ 2633662 h 4727575"/>
              <a:gd name="connsiteX33" fmla="*/ 1309687 w 3371850"/>
              <a:gd name="connsiteY33" fmla="*/ 2609850 h 4727575"/>
              <a:gd name="connsiteX34" fmla="*/ 1462087 w 3371850"/>
              <a:gd name="connsiteY34" fmla="*/ 2519362 h 4727575"/>
              <a:gd name="connsiteX35" fmla="*/ 1504950 w 3371850"/>
              <a:gd name="connsiteY35" fmla="*/ 2466975 h 4727575"/>
              <a:gd name="connsiteX36" fmla="*/ 1557337 w 3371850"/>
              <a:gd name="connsiteY36" fmla="*/ 2362200 h 4727575"/>
              <a:gd name="connsiteX37" fmla="*/ 1566862 w 3371850"/>
              <a:gd name="connsiteY37" fmla="*/ 2247900 h 4727575"/>
              <a:gd name="connsiteX38" fmla="*/ 1476375 w 3371850"/>
              <a:gd name="connsiteY38" fmla="*/ 2171700 h 4727575"/>
              <a:gd name="connsiteX39" fmla="*/ 1423988 w 3371850"/>
              <a:gd name="connsiteY39" fmla="*/ 2135188 h 4727575"/>
              <a:gd name="connsiteX40" fmla="*/ 1339850 w 3371850"/>
              <a:gd name="connsiteY40" fmla="*/ 2108200 h 4727575"/>
              <a:gd name="connsiteX41" fmla="*/ 1239838 w 3371850"/>
              <a:gd name="connsiteY41" fmla="*/ 2114550 h 4727575"/>
              <a:gd name="connsiteX42" fmla="*/ 1042987 w 3371850"/>
              <a:gd name="connsiteY42" fmla="*/ 2135187 h 4727575"/>
              <a:gd name="connsiteX43" fmla="*/ 933450 w 3371850"/>
              <a:gd name="connsiteY43" fmla="*/ 2166938 h 4727575"/>
              <a:gd name="connsiteX44" fmla="*/ 909637 w 3371850"/>
              <a:gd name="connsiteY44" fmla="*/ 2085975 h 4727575"/>
              <a:gd name="connsiteX45" fmla="*/ 928687 w 3371850"/>
              <a:gd name="connsiteY45" fmla="*/ 1962150 h 4727575"/>
              <a:gd name="connsiteX46" fmla="*/ 952500 w 3371850"/>
              <a:gd name="connsiteY46" fmla="*/ 1828800 h 4727575"/>
              <a:gd name="connsiteX47" fmla="*/ 1000125 w 3371850"/>
              <a:gd name="connsiteY47" fmla="*/ 1666875 h 4727575"/>
              <a:gd name="connsiteX48" fmla="*/ 971550 w 3371850"/>
              <a:gd name="connsiteY48" fmla="*/ 1590675 h 4727575"/>
              <a:gd name="connsiteX49" fmla="*/ 952500 w 3371850"/>
              <a:gd name="connsiteY49" fmla="*/ 1524000 h 4727575"/>
              <a:gd name="connsiteX50" fmla="*/ 785813 w 3371850"/>
              <a:gd name="connsiteY50" fmla="*/ 1466850 h 4727575"/>
              <a:gd name="connsiteX51" fmla="*/ 628650 w 3371850"/>
              <a:gd name="connsiteY51" fmla="*/ 1438275 h 4727575"/>
              <a:gd name="connsiteX52" fmla="*/ 647700 w 3371850"/>
              <a:gd name="connsiteY52" fmla="*/ 1333500 h 4727575"/>
              <a:gd name="connsiteX53" fmla="*/ 755650 w 3371850"/>
              <a:gd name="connsiteY53" fmla="*/ 1219200 h 4727575"/>
              <a:gd name="connsiteX54" fmla="*/ 857250 w 3371850"/>
              <a:gd name="connsiteY54" fmla="*/ 1143000 h 4727575"/>
              <a:gd name="connsiteX55" fmla="*/ 904875 w 3371850"/>
              <a:gd name="connsiteY55" fmla="*/ 1104900 h 4727575"/>
              <a:gd name="connsiteX56" fmla="*/ 904875 w 3371850"/>
              <a:gd name="connsiteY56" fmla="*/ 1047750 h 4727575"/>
              <a:gd name="connsiteX57" fmla="*/ 923925 w 3371850"/>
              <a:gd name="connsiteY57" fmla="*/ 981075 h 4727575"/>
              <a:gd name="connsiteX58" fmla="*/ 952500 w 3371850"/>
              <a:gd name="connsiteY58" fmla="*/ 952500 h 4727575"/>
              <a:gd name="connsiteX59" fmla="*/ 962025 w 3371850"/>
              <a:gd name="connsiteY59" fmla="*/ 885825 h 4727575"/>
              <a:gd name="connsiteX60" fmla="*/ 962025 w 3371850"/>
              <a:gd name="connsiteY60" fmla="*/ 800100 h 4727575"/>
              <a:gd name="connsiteX61" fmla="*/ 1031875 w 3371850"/>
              <a:gd name="connsiteY61" fmla="*/ 685800 h 4727575"/>
              <a:gd name="connsiteX62" fmla="*/ 1295400 w 3371850"/>
              <a:gd name="connsiteY62" fmla="*/ 749300 h 4727575"/>
              <a:gd name="connsiteX63" fmla="*/ 1500188 w 3371850"/>
              <a:gd name="connsiteY63" fmla="*/ 642938 h 4727575"/>
              <a:gd name="connsiteX64" fmla="*/ 1633538 w 3371850"/>
              <a:gd name="connsiteY64" fmla="*/ 517525 h 4727575"/>
              <a:gd name="connsiteX65" fmla="*/ 1754187 w 3371850"/>
              <a:gd name="connsiteY65" fmla="*/ 506413 h 4727575"/>
              <a:gd name="connsiteX66" fmla="*/ 1909762 w 3371850"/>
              <a:gd name="connsiteY66" fmla="*/ 509587 h 4727575"/>
              <a:gd name="connsiteX67" fmla="*/ 2081212 w 3371850"/>
              <a:gd name="connsiteY67" fmla="*/ 566738 h 4727575"/>
              <a:gd name="connsiteX68" fmla="*/ 2214563 w 3371850"/>
              <a:gd name="connsiteY68" fmla="*/ 652463 h 4727575"/>
              <a:gd name="connsiteX69" fmla="*/ 2309813 w 3371850"/>
              <a:gd name="connsiteY69" fmla="*/ 728663 h 4727575"/>
              <a:gd name="connsiteX70" fmla="*/ 2624137 w 3371850"/>
              <a:gd name="connsiteY70" fmla="*/ 762000 h 4727575"/>
              <a:gd name="connsiteX71" fmla="*/ 2768600 w 3371850"/>
              <a:gd name="connsiteY71" fmla="*/ 788988 h 4727575"/>
              <a:gd name="connsiteX72" fmla="*/ 2900362 w 3371850"/>
              <a:gd name="connsiteY72" fmla="*/ 838200 h 4727575"/>
              <a:gd name="connsiteX73" fmla="*/ 3105150 w 3371850"/>
              <a:gd name="connsiteY73" fmla="*/ 790575 h 4727575"/>
              <a:gd name="connsiteX74" fmla="*/ 3190875 w 3371850"/>
              <a:gd name="connsiteY74" fmla="*/ 790575 h 4727575"/>
              <a:gd name="connsiteX75" fmla="*/ 3311525 w 3371850"/>
              <a:gd name="connsiteY75" fmla="*/ 787400 h 4727575"/>
              <a:gd name="connsiteX76" fmla="*/ 3340100 w 3371850"/>
              <a:gd name="connsiteY76" fmla="*/ 765175 h 4727575"/>
              <a:gd name="connsiteX77" fmla="*/ 3371850 w 3371850"/>
              <a:gd name="connsiteY77" fmla="*/ 704850 h 4727575"/>
              <a:gd name="connsiteX78" fmla="*/ 3336925 w 3371850"/>
              <a:gd name="connsiteY78" fmla="*/ 536575 h 4727575"/>
              <a:gd name="connsiteX79" fmla="*/ 3311525 w 3371850"/>
              <a:gd name="connsiteY79" fmla="*/ 479425 h 4727575"/>
              <a:gd name="connsiteX80" fmla="*/ 3197225 w 3371850"/>
              <a:gd name="connsiteY80" fmla="*/ 409575 h 4727575"/>
              <a:gd name="connsiteX81" fmla="*/ 3181350 w 3371850"/>
              <a:gd name="connsiteY81" fmla="*/ 352425 h 4727575"/>
              <a:gd name="connsiteX82" fmla="*/ 3133725 w 3371850"/>
              <a:gd name="connsiteY82" fmla="*/ 314325 h 4727575"/>
              <a:gd name="connsiteX83" fmla="*/ 3105150 w 3371850"/>
              <a:gd name="connsiteY83" fmla="*/ 336550 h 4727575"/>
              <a:gd name="connsiteX84" fmla="*/ 3086100 w 3371850"/>
              <a:gd name="connsiteY84" fmla="*/ 387350 h 4727575"/>
              <a:gd name="connsiteX85" fmla="*/ 3086100 w 3371850"/>
              <a:gd name="connsiteY85" fmla="*/ 447675 h 4727575"/>
              <a:gd name="connsiteX86" fmla="*/ 3038475 w 3371850"/>
              <a:gd name="connsiteY86" fmla="*/ 466725 h 4727575"/>
              <a:gd name="connsiteX87" fmla="*/ 2962275 w 3371850"/>
              <a:gd name="connsiteY87" fmla="*/ 419100 h 4727575"/>
              <a:gd name="connsiteX88" fmla="*/ 2867025 w 3371850"/>
              <a:gd name="connsiteY88" fmla="*/ 476250 h 4727575"/>
              <a:gd name="connsiteX89" fmla="*/ 2847975 w 3371850"/>
              <a:gd name="connsiteY89" fmla="*/ 504825 h 4727575"/>
              <a:gd name="connsiteX90" fmla="*/ 2838450 w 3371850"/>
              <a:gd name="connsiteY90" fmla="*/ 542925 h 4727575"/>
              <a:gd name="connsiteX91" fmla="*/ 2762250 w 3371850"/>
              <a:gd name="connsiteY91" fmla="*/ 504825 h 4727575"/>
              <a:gd name="connsiteX92" fmla="*/ 2647950 w 3371850"/>
              <a:gd name="connsiteY92" fmla="*/ 485775 h 4727575"/>
              <a:gd name="connsiteX93" fmla="*/ 2552700 w 3371850"/>
              <a:gd name="connsiteY93" fmla="*/ 438150 h 4727575"/>
              <a:gd name="connsiteX94" fmla="*/ 2419350 w 3371850"/>
              <a:gd name="connsiteY94" fmla="*/ 361950 h 4727575"/>
              <a:gd name="connsiteX95" fmla="*/ 2333625 w 3371850"/>
              <a:gd name="connsiteY95" fmla="*/ 276225 h 4727575"/>
              <a:gd name="connsiteX96" fmla="*/ 2209800 w 3371850"/>
              <a:gd name="connsiteY96" fmla="*/ 266700 h 4727575"/>
              <a:gd name="connsiteX97" fmla="*/ 2171700 w 3371850"/>
              <a:gd name="connsiteY97" fmla="*/ 133350 h 4727575"/>
              <a:gd name="connsiteX98" fmla="*/ 2143125 w 3371850"/>
              <a:gd name="connsiteY98" fmla="*/ 3175 h 4727575"/>
              <a:gd name="connsiteX99" fmla="*/ 1212850 w 3371850"/>
              <a:gd name="connsiteY99" fmla="*/ 0 h 4727575"/>
              <a:gd name="connsiteX100" fmla="*/ 1181100 w 3371850"/>
              <a:gd name="connsiteY100" fmla="*/ 133350 h 4727575"/>
              <a:gd name="connsiteX101" fmla="*/ 1143000 w 3371850"/>
              <a:gd name="connsiteY101" fmla="*/ 238125 h 4727575"/>
              <a:gd name="connsiteX102" fmla="*/ 933450 w 3371850"/>
              <a:gd name="connsiteY102" fmla="*/ 400050 h 4727575"/>
              <a:gd name="connsiteX103" fmla="*/ 923925 w 3371850"/>
              <a:gd name="connsiteY103" fmla="*/ 457200 h 4727575"/>
              <a:gd name="connsiteX104" fmla="*/ 800100 w 3371850"/>
              <a:gd name="connsiteY104" fmla="*/ 476250 h 4727575"/>
              <a:gd name="connsiteX105" fmla="*/ 628650 w 3371850"/>
              <a:gd name="connsiteY105" fmla="*/ 533400 h 4727575"/>
              <a:gd name="connsiteX106" fmla="*/ 581025 w 3371850"/>
              <a:gd name="connsiteY106" fmla="*/ 644525 h 4727575"/>
              <a:gd name="connsiteX107" fmla="*/ 476250 w 3371850"/>
              <a:gd name="connsiteY107" fmla="*/ 762000 h 4727575"/>
              <a:gd name="connsiteX108" fmla="*/ 466725 w 3371850"/>
              <a:gd name="connsiteY108" fmla="*/ 838200 h 4727575"/>
              <a:gd name="connsiteX109" fmla="*/ 476250 w 3371850"/>
              <a:gd name="connsiteY109" fmla="*/ 962025 h 4727575"/>
              <a:gd name="connsiteX110" fmla="*/ 428625 w 3371850"/>
              <a:gd name="connsiteY110" fmla="*/ 1009650 h 4727575"/>
              <a:gd name="connsiteX111" fmla="*/ 247650 w 3371850"/>
              <a:gd name="connsiteY111" fmla="*/ 981075 h 4727575"/>
              <a:gd name="connsiteX112" fmla="*/ 180975 w 3371850"/>
              <a:gd name="connsiteY112" fmla="*/ 990600 h 4727575"/>
              <a:gd name="connsiteX113" fmla="*/ 76200 w 3371850"/>
              <a:gd name="connsiteY113" fmla="*/ 1066800 h 4727575"/>
              <a:gd name="connsiteX114" fmla="*/ 57150 w 3371850"/>
              <a:gd name="connsiteY114" fmla="*/ 1162050 h 4727575"/>
              <a:gd name="connsiteX115" fmla="*/ 57150 w 3371850"/>
              <a:gd name="connsiteY115" fmla="*/ 1295400 h 4727575"/>
              <a:gd name="connsiteX116" fmla="*/ 28575 w 3371850"/>
              <a:gd name="connsiteY116" fmla="*/ 1409700 h 4727575"/>
              <a:gd name="connsiteX117" fmla="*/ 0 w 3371850"/>
              <a:gd name="connsiteY117" fmla="*/ 1524000 h 4727575"/>
              <a:gd name="connsiteX118" fmla="*/ 104775 w 3371850"/>
              <a:gd name="connsiteY118" fmla="*/ 1657350 h 4727575"/>
              <a:gd name="connsiteX119" fmla="*/ 161925 w 3371850"/>
              <a:gd name="connsiteY119" fmla="*/ 1838325 h 4727575"/>
              <a:gd name="connsiteX120" fmla="*/ 219075 w 3371850"/>
              <a:gd name="connsiteY120" fmla="*/ 2047875 h 4727575"/>
              <a:gd name="connsiteX121" fmla="*/ 276225 w 3371850"/>
              <a:gd name="connsiteY121" fmla="*/ 2314575 h 4727575"/>
              <a:gd name="connsiteX122" fmla="*/ 361950 w 3371850"/>
              <a:gd name="connsiteY122" fmla="*/ 2419350 h 4727575"/>
              <a:gd name="connsiteX123" fmla="*/ 333375 w 3371850"/>
              <a:gd name="connsiteY123" fmla="*/ 2628900 h 4727575"/>
              <a:gd name="connsiteX124" fmla="*/ 333375 w 3371850"/>
              <a:gd name="connsiteY124" fmla="*/ 2781300 h 4727575"/>
              <a:gd name="connsiteX125" fmla="*/ 381000 w 3371850"/>
              <a:gd name="connsiteY125" fmla="*/ 2876550 h 4727575"/>
              <a:gd name="connsiteX126" fmla="*/ 444500 w 3371850"/>
              <a:gd name="connsiteY126" fmla="*/ 3273425 h 4727575"/>
              <a:gd name="connsiteX127" fmla="*/ 434975 w 3371850"/>
              <a:gd name="connsiteY127" fmla="*/ 3381375 h 4727575"/>
              <a:gd name="connsiteX128" fmla="*/ 384175 w 3371850"/>
              <a:gd name="connsiteY128" fmla="*/ 3517900 h 4727575"/>
              <a:gd name="connsiteX129" fmla="*/ 400050 w 3371850"/>
              <a:gd name="connsiteY129" fmla="*/ 3641725 h 4727575"/>
              <a:gd name="connsiteX130" fmla="*/ 466725 w 3371850"/>
              <a:gd name="connsiteY130" fmla="*/ 3829050 h 4727575"/>
              <a:gd name="connsiteX131" fmla="*/ 533400 w 3371850"/>
              <a:gd name="connsiteY131" fmla="*/ 3933825 h 4727575"/>
              <a:gd name="connsiteX132" fmla="*/ 533400 w 3371850"/>
              <a:gd name="connsiteY132" fmla="*/ 4038600 h 4727575"/>
              <a:gd name="connsiteX133" fmla="*/ 485775 w 3371850"/>
              <a:gd name="connsiteY133" fmla="*/ 4095750 h 4727575"/>
              <a:gd name="connsiteX134" fmla="*/ 571500 w 3371850"/>
              <a:gd name="connsiteY134" fmla="*/ 4162425 h 4727575"/>
              <a:gd name="connsiteX135" fmla="*/ 704850 w 3371850"/>
              <a:gd name="connsiteY135" fmla="*/ 4276725 h 4727575"/>
              <a:gd name="connsiteX136" fmla="*/ 774700 w 3371850"/>
              <a:gd name="connsiteY136" fmla="*/ 4279900 h 4727575"/>
              <a:gd name="connsiteX137" fmla="*/ 879475 w 3371850"/>
              <a:gd name="connsiteY137" fmla="*/ 4238625 h 4727575"/>
              <a:gd name="connsiteX138" fmla="*/ 981075 w 3371850"/>
              <a:gd name="connsiteY138" fmla="*/ 4264025 h 4727575"/>
              <a:gd name="connsiteX139" fmla="*/ 1130300 w 3371850"/>
              <a:gd name="connsiteY139" fmla="*/ 4441825 h 4727575"/>
              <a:gd name="connsiteX140" fmla="*/ 1241425 w 3371850"/>
              <a:gd name="connsiteY140" fmla="*/ 4473575 h 4727575"/>
              <a:gd name="connsiteX141" fmla="*/ 1428750 w 3371850"/>
              <a:gd name="connsiteY141" fmla="*/ 4600575 h 4727575"/>
              <a:gd name="connsiteX142" fmla="*/ 1704975 w 3371850"/>
              <a:gd name="connsiteY142" fmla="*/ 4724400 h 4727575"/>
              <a:gd name="connsiteX143" fmla="*/ 1803400 w 3371850"/>
              <a:gd name="connsiteY143" fmla="*/ 4727575 h 4727575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485775 w 3371850"/>
              <a:gd name="connsiteY133" fmla="*/ 4095750 h 4775200"/>
              <a:gd name="connsiteX134" fmla="*/ 571500 w 3371850"/>
              <a:gd name="connsiteY134" fmla="*/ 4162425 h 4775200"/>
              <a:gd name="connsiteX135" fmla="*/ 704850 w 3371850"/>
              <a:gd name="connsiteY135" fmla="*/ 4276725 h 4775200"/>
              <a:gd name="connsiteX136" fmla="*/ 774700 w 3371850"/>
              <a:gd name="connsiteY136" fmla="*/ 4279900 h 4775200"/>
              <a:gd name="connsiteX137" fmla="*/ 879475 w 3371850"/>
              <a:gd name="connsiteY137" fmla="*/ 4238625 h 4775200"/>
              <a:gd name="connsiteX138" fmla="*/ 981075 w 3371850"/>
              <a:gd name="connsiteY138" fmla="*/ 4264025 h 4775200"/>
              <a:gd name="connsiteX139" fmla="*/ 1130300 w 3371850"/>
              <a:gd name="connsiteY139" fmla="*/ 4441825 h 4775200"/>
              <a:gd name="connsiteX140" fmla="*/ 1241425 w 3371850"/>
              <a:gd name="connsiteY140" fmla="*/ 4473575 h 4775200"/>
              <a:gd name="connsiteX141" fmla="*/ 1428750 w 3371850"/>
              <a:gd name="connsiteY141" fmla="*/ 4600575 h 4775200"/>
              <a:gd name="connsiteX142" fmla="*/ 1704975 w 3371850"/>
              <a:gd name="connsiteY142" fmla="*/ 47244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485775 w 3371850"/>
              <a:gd name="connsiteY133" fmla="*/ 4095750 h 4775200"/>
              <a:gd name="connsiteX134" fmla="*/ 571500 w 3371850"/>
              <a:gd name="connsiteY134" fmla="*/ 4162425 h 4775200"/>
              <a:gd name="connsiteX135" fmla="*/ 704850 w 3371850"/>
              <a:gd name="connsiteY135" fmla="*/ 4276725 h 4775200"/>
              <a:gd name="connsiteX136" fmla="*/ 774700 w 3371850"/>
              <a:gd name="connsiteY136" fmla="*/ 4279900 h 4775200"/>
              <a:gd name="connsiteX137" fmla="*/ 879475 w 3371850"/>
              <a:gd name="connsiteY137" fmla="*/ 4238625 h 4775200"/>
              <a:gd name="connsiteX138" fmla="*/ 981075 w 3371850"/>
              <a:gd name="connsiteY138" fmla="*/ 4264025 h 4775200"/>
              <a:gd name="connsiteX139" fmla="*/ 1130300 w 3371850"/>
              <a:gd name="connsiteY139" fmla="*/ 4441825 h 4775200"/>
              <a:gd name="connsiteX140" fmla="*/ 1241425 w 3371850"/>
              <a:gd name="connsiteY140" fmla="*/ 4473575 h 4775200"/>
              <a:gd name="connsiteX141" fmla="*/ 1428750 w 3371850"/>
              <a:gd name="connsiteY141" fmla="*/ 4600575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485775 w 3371850"/>
              <a:gd name="connsiteY133" fmla="*/ 4095750 h 4775200"/>
              <a:gd name="connsiteX134" fmla="*/ 571500 w 3371850"/>
              <a:gd name="connsiteY134" fmla="*/ 4162425 h 4775200"/>
              <a:gd name="connsiteX135" fmla="*/ 704850 w 3371850"/>
              <a:gd name="connsiteY135" fmla="*/ 4276725 h 4775200"/>
              <a:gd name="connsiteX136" fmla="*/ 774700 w 3371850"/>
              <a:gd name="connsiteY136" fmla="*/ 4279900 h 4775200"/>
              <a:gd name="connsiteX137" fmla="*/ 879475 w 3371850"/>
              <a:gd name="connsiteY137" fmla="*/ 4238625 h 4775200"/>
              <a:gd name="connsiteX138" fmla="*/ 981075 w 3371850"/>
              <a:gd name="connsiteY138" fmla="*/ 4264025 h 4775200"/>
              <a:gd name="connsiteX139" fmla="*/ 1130300 w 3371850"/>
              <a:gd name="connsiteY139" fmla="*/ 4441825 h 4775200"/>
              <a:gd name="connsiteX140" fmla="*/ 1241425 w 3371850"/>
              <a:gd name="connsiteY140" fmla="*/ 4473575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485775 w 3371850"/>
              <a:gd name="connsiteY133" fmla="*/ 4095750 h 4775200"/>
              <a:gd name="connsiteX134" fmla="*/ 571500 w 3371850"/>
              <a:gd name="connsiteY134" fmla="*/ 4162425 h 4775200"/>
              <a:gd name="connsiteX135" fmla="*/ 704850 w 3371850"/>
              <a:gd name="connsiteY135" fmla="*/ 4276725 h 4775200"/>
              <a:gd name="connsiteX136" fmla="*/ 774700 w 3371850"/>
              <a:gd name="connsiteY136" fmla="*/ 4279900 h 4775200"/>
              <a:gd name="connsiteX137" fmla="*/ 879475 w 3371850"/>
              <a:gd name="connsiteY137" fmla="*/ 4238625 h 4775200"/>
              <a:gd name="connsiteX138" fmla="*/ 981075 w 3371850"/>
              <a:gd name="connsiteY138" fmla="*/ 4264025 h 4775200"/>
              <a:gd name="connsiteX139" fmla="*/ 1130300 w 3371850"/>
              <a:gd name="connsiteY139" fmla="*/ 4441825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485775 w 3371850"/>
              <a:gd name="connsiteY133" fmla="*/ 4095750 h 4775200"/>
              <a:gd name="connsiteX134" fmla="*/ 571500 w 3371850"/>
              <a:gd name="connsiteY134" fmla="*/ 4162425 h 4775200"/>
              <a:gd name="connsiteX135" fmla="*/ 704850 w 3371850"/>
              <a:gd name="connsiteY135" fmla="*/ 4276725 h 4775200"/>
              <a:gd name="connsiteX136" fmla="*/ 774700 w 3371850"/>
              <a:gd name="connsiteY136" fmla="*/ 4279900 h 4775200"/>
              <a:gd name="connsiteX137" fmla="*/ 879475 w 3371850"/>
              <a:gd name="connsiteY137" fmla="*/ 4238625 h 4775200"/>
              <a:gd name="connsiteX138" fmla="*/ 942975 w 3371850"/>
              <a:gd name="connsiteY138" fmla="*/ 4302125 h 4775200"/>
              <a:gd name="connsiteX139" fmla="*/ 1130300 w 3371850"/>
              <a:gd name="connsiteY139" fmla="*/ 4441825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485775 w 3371850"/>
              <a:gd name="connsiteY133" fmla="*/ 4095750 h 4775200"/>
              <a:gd name="connsiteX134" fmla="*/ 571500 w 3371850"/>
              <a:gd name="connsiteY134" fmla="*/ 4162425 h 4775200"/>
              <a:gd name="connsiteX135" fmla="*/ 704850 w 3371850"/>
              <a:gd name="connsiteY135" fmla="*/ 4276725 h 4775200"/>
              <a:gd name="connsiteX136" fmla="*/ 774700 w 3371850"/>
              <a:gd name="connsiteY136" fmla="*/ 4279900 h 4775200"/>
              <a:gd name="connsiteX137" fmla="*/ 879475 w 3371850"/>
              <a:gd name="connsiteY137" fmla="*/ 42386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485775 w 3371850"/>
              <a:gd name="connsiteY133" fmla="*/ 4095750 h 4775200"/>
              <a:gd name="connsiteX134" fmla="*/ 571500 w 3371850"/>
              <a:gd name="connsiteY134" fmla="*/ 4162425 h 4775200"/>
              <a:gd name="connsiteX135" fmla="*/ 704850 w 3371850"/>
              <a:gd name="connsiteY135" fmla="*/ 4276725 h 4775200"/>
              <a:gd name="connsiteX136" fmla="*/ 774700 w 3371850"/>
              <a:gd name="connsiteY136" fmla="*/ 427990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485775 w 3371850"/>
              <a:gd name="connsiteY133" fmla="*/ 4095750 h 4775200"/>
              <a:gd name="connsiteX134" fmla="*/ 571500 w 3371850"/>
              <a:gd name="connsiteY134" fmla="*/ 4162425 h 4775200"/>
              <a:gd name="connsiteX135" fmla="*/ 704850 w 3371850"/>
              <a:gd name="connsiteY135" fmla="*/ 4276725 h 4775200"/>
              <a:gd name="connsiteX136" fmla="*/ 755650 w 3371850"/>
              <a:gd name="connsiteY136" fmla="*/ 4289425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485775 w 3371850"/>
              <a:gd name="connsiteY133" fmla="*/ 4095750 h 4775200"/>
              <a:gd name="connsiteX134" fmla="*/ 571500 w 3371850"/>
              <a:gd name="connsiteY134" fmla="*/ 4162425 h 4775200"/>
              <a:gd name="connsiteX135" fmla="*/ 704850 w 3371850"/>
              <a:gd name="connsiteY135" fmla="*/ 4276725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485775 w 3371850"/>
              <a:gd name="connsiteY133" fmla="*/ 4095750 h 4775200"/>
              <a:gd name="connsiteX134" fmla="*/ 571500 w 3371850"/>
              <a:gd name="connsiteY134" fmla="*/ 4162425 h 4775200"/>
              <a:gd name="connsiteX135" fmla="*/ 685800 w 3371850"/>
              <a:gd name="connsiteY135" fmla="*/ 4300537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485775 w 3371850"/>
              <a:gd name="connsiteY133" fmla="*/ 4095750 h 4775200"/>
              <a:gd name="connsiteX134" fmla="*/ 547687 w 3371850"/>
              <a:gd name="connsiteY134" fmla="*/ 4186237 h 4775200"/>
              <a:gd name="connsiteX135" fmla="*/ 685800 w 3371850"/>
              <a:gd name="connsiteY135" fmla="*/ 4300537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533400 w 3371850"/>
              <a:gd name="connsiteY132" fmla="*/ 4038600 h 4775200"/>
              <a:gd name="connsiteX133" fmla="*/ 395287 w 3371850"/>
              <a:gd name="connsiteY133" fmla="*/ 4157663 h 4775200"/>
              <a:gd name="connsiteX134" fmla="*/ 547687 w 3371850"/>
              <a:gd name="connsiteY134" fmla="*/ 4186237 h 4775200"/>
              <a:gd name="connsiteX135" fmla="*/ 685800 w 3371850"/>
              <a:gd name="connsiteY135" fmla="*/ 4300537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33400 w 3371850"/>
              <a:gd name="connsiteY131" fmla="*/ 3933825 h 4775200"/>
              <a:gd name="connsiteX132" fmla="*/ 481012 w 3371850"/>
              <a:gd name="connsiteY132" fmla="*/ 4000500 h 4775200"/>
              <a:gd name="connsiteX133" fmla="*/ 395287 w 3371850"/>
              <a:gd name="connsiteY133" fmla="*/ 4157663 h 4775200"/>
              <a:gd name="connsiteX134" fmla="*/ 547687 w 3371850"/>
              <a:gd name="connsiteY134" fmla="*/ 4186237 h 4775200"/>
              <a:gd name="connsiteX135" fmla="*/ 685800 w 3371850"/>
              <a:gd name="connsiteY135" fmla="*/ 4300537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333375 w 3371850"/>
              <a:gd name="connsiteY124" fmla="*/ 2781300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466725 w 3371850"/>
              <a:gd name="connsiteY131" fmla="*/ 3929063 h 4775200"/>
              <a:gd name="connsiteX132" fmla="*/ 481012 w 3371850"/>
              <a:gd name="connsiteY132" fmla="*/ 4000500 h 4775200"/>
              <a:gd name="connsiteX133" fmla="*/ 395287 w 3371850"/>
              <a:gd name="connsiteY133" fmla="*/ 4157663 h 4775200"/>
              <a:gd name="connsiteX134" fmla="*/ 547687 w 3371850"/>
              <a:gd name="connsiteY134" fmla="*/ 4186237 h 4775200"/>
              <a:gd name="connsiteX135" fmla="*/ 685800 w 3371850"/>
              <a:gd name="connsiteY135" fmla="*/ 4300537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404812 w 3371850"/>
              <a:gd name="connsiteY124" fmla="*/ 2786062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466725 w 3371850"/>
              <a:gd name="connsiteY131" fmla="*/ 3929063 h 4775200"/>
              <a:gd name="connsiteX132" fmla="*/ 481012 w 3371850"/>
              <a:gd name="connsiteY132" fmla="*/ 4000500 h 4775200"/>
              <a:gd name="connsiteX133" fmla="*/ 395287 w 3371850"/>
              <a:gd name="connsiteY133" fmla="*/ 4157663 h 4775200"/>
              <a:gd name="connsiteX134" fmla="*/ 547687 w 3371850"/>
              <a:gd name="connsiteY134" fmla="*/ 4186237 h 4775200"/>
              <a:gd name="connsiteX135" fmla="*/ 685800 w 3371850"/>
              <a:gd name="connsiteY135" fmla="*/ 4300537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404812 w 3371850"/>
              <a:gd name="connsiteY124" fmla="*/ 2786062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466725 w 3371850"/>
              <a:gd name="connsiteY131" fmla="*/ 3929063 h 4775200"/>
              <a:gd name="connsiteX132" fmla="*/ 481012 w 3371850"/>
              <a:gd name="connsiteY132" fmla="*/ 4000500 h 4775200"/>
              <a:gd name="connsiteX133" fmla="*/ 461962 w 3371850"/>
              <a:gd name="connsiteY133" fmla="*/ 4086225 h 4775200"/>
              <a:gd name="connsiteX134" fmla="*/ 547687 w 3371850"/>
              <a:gd name="connsiteY134" fmla="*/ 4186237 h 4775200"/>
              <a:gd name="connsiteX135" fmla="*/ 685800 w 3371850"/>
              <a:gd name="connsiteY135" fmla="*/ 4300537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404812 w 3371850"/>
              <a:gd name="connsiteY124" fmla="*/ 2786062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466725 w 3371850"/>
              <a:gd name="connsiteY131" fmla="*/ 3929063 h 4775200"/>
              <a:gd name="connsiteX132" fmla="*/ 481012 w 3371850"/>
              <a:gd name="connsiteY132" fmla="*/ 4000500 h 4775200"/>
              <a:gd name="connsiteX133" fmla="*/ 461962 w 3371850"/>
              <a:gd name="connsiteY133" fmla="*/ 4086225 h 4775200"/>
              <a:gd name="connsiteX134" fmla="*/ 623887 w 3371850"/>
              <a:gd name="connsiteY134" fmla="*/ 4162424 h 4775200"/>
              <a:gd name="connsiteX135" fmla="*/ 685800 w 3371850"/>
              <a:gd name="connsiteY135" fmla="*/ 4300537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404812 w 3371850"/>
              <a:gd name="connsiteY124" fmla="*/ 2786062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466725 w 3371850"/>
              <a:gd name="connsiteY131" fmla="*/ 3929063 h 4775200"/>
              <a:gd name="connsiteX132" fmla="*/ 481012 w 3371850"/>
              <a:gd name="connsiteY132" fmla="*/ 4000500 h 4775200"/>
              <a:gd name="connsiteX133" fmla="*/ 461962 w 3371850"/>
              <a:gd name="connsiteY133" fmla="*/ 4086225 h 4775200"/>
              <a:gd name="connsiteX134" fmla="*/ 623887 w 3371850"/>
              <a:gd name="connsiteY134" fmla="*/ 4162424 h 4775200"/>
              <a:gd name="connsiteX135" fmla="*/ 704850 w 3371850"/>
              <a:gd name="connsiteY135" fmla="*/ 4300537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404812 w 3371850"/>
              <a:gd name="connsiteY124" fmla="*/ 2786062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09588 w 3371850"/>
              <a:gd name="connsiteY131" fmla="*/ 3919538 h 4775200"/>
              <a:gd name="connsiteX132" fmla="*/ 481012 w 3371850"/>
              <a:gd name="connsiteY132" fmla="*/ 4000500 h 4775200"/>
              <a:gd name="connsiteX133" fmla="*/ 461962 w 3371850"/>
              <a:gd name="connsiteY133" fmla="*/ 4086225 h 4775200"/>
              <a:gd name="connsiteX134" fmla="*/ 623887 w 3371850"/>
              <a:gd name="connsiteY134" fmla="*/ 4162424 h 4775200"/>
              <a:gd name="connsiteX135" fmla="*/ 704850 w 3371850"/>
              <a:gd name="connsiteY135" fmla="*/ 4300537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93875 w 3371850"/>
              <a:gd name="connsiteY0" fmla="*/ 4775200 h 4775200"/>
              <a:gd name="connsiteX1" fmla="*/ 1870075 w 3371850"/>
              <a:gd name="connsiteY1" fmla="*/ 4724400 h 4775200"/>
              <a:gd name="connsiteX2" fmla="*/ 1870075 w 3371850"/>
              <a:gd name="connsiteY2" fmla="*/ 4645025 h 4775200"/>
              <a:gd name="connsiteX3" fmla="*/ 1852613 w 3371850"/>
              <a:gd name="connsiteY3" fmla="*/ 4586288 h 4775200"/>
              <a:gd name="connsiteX4" fmla="*/ 1739900 w 3371850"/>
              <a:gd name="connsiteY4" fmla="*/ 4548187 h 4775200"/>
              <a:gd name="connsiteX5" fmla="*/ 1674813 w 3371850"/>
              <a:gd name="connsiteY5" fmla="*/ 4572000 h 4775200"/>
              <a:gd name="connsiteX6" fmla="*/ 1674813 w 3371850"/>
              <a:gd name="connsiteY6" fmla="*/ 4525963 h 4775200"/>
              <a:gd name="connsiteX7" fmla="*/ 1697037 w 3371850"/>
              <a:gd name="connsiteY7" fmla="*/ 4457700 h 4775200"/>
              <a:gd name="connsiteX8" fmla="*/ 1733550 w 3371850"/>
              <a:gd name="connsiteY8" fmla="*/ 4357688 h 4775200"/>
              <a:gd name="connsiteX9" fmla="*/ 1666875 w 3371850"/>
              <a:gd name="connsiteY9" fmla="*/ 4314825 h 4775200"/>
              <a:gd name="connsiteX10" fmla="*/ 1600200 w 3371850"/>
              <a:gd name="connsiteY10" fmla="*/ 4286250 h 4775200"/>
              <a:gd name="connsiteX11" fmla="*/ 1558925 w 3371850"/>
              <a:gd name="connsiteY11" fmla="*/ 4268787 h 4775200"/>
              <a:gd name="connsiteX12" fmla="*/ 1479550 w 3371850"/>
              <a:gd name="connsiteY12" fmla="*/ 4276725 h 4775200"/>
              <a:gd name="connsiteX13" fmla="*/ 1420813 w 3371850"/>
              <a:gd name="connsiteY13" fmla="*/ 4143375 h 4775200"/>
              <a:gd name="connsiteX14" fmla="*/ 1347788 w 3371850"/>
              <a:gd name="connsiteY14" fmla="*/ 4033837 h 4775200"/>
              <a:gd name="connsiteX15" fmla="*/ 1228725 w 3371850"/>
              <a:gd name="connsiteY15" fmla="*/ 3981450 h 4775200"/>
              <a:gd name="connsiteX16" fmla="*/ 1143000 w 3371850"/>
              <a:gd name="connsiteY16" fmla="*/ 3971925 h 4775200"/>
              <a:gd name="connsiteX17" fmla="*/ 1114425 w 3371850"/>
              <a:gd name="connsiteY17" fmla="*/ 3933825 h 4775200"/>
              <a:gd name="connsiteX18" fmla="*/ 1095375 w 3371850"/>
              <a:gd name="connsiteY18" fmla="*/ 3838575 h 4775200"/>
              <a:gd name="connsiteX19" fmla="*/ 1123950 w 3371850"/>
              <a:gd name="connsiteY19" fmla="*/ 3781425 h 4775200"/>
              <a:gd name="connsiteX20" fmla="*/ 1266825 w 3371850"/>
              <a:gd name="connsiteY20" fmla="*/ 3771900 h 4775200"/>
              <a:gd name="connsiteX21" fmla="*/ 1390650 w 3371850"/>
              <a:gd name="connsiteY21" fmla="*/ 3552825 h 4775200"/>
              <a:gd name="connsiteX22" fmla="*/ 1443038 w 3371850"/>
              <a:gd name="connsiteY22" fmla="*/ 3441700 h 4775200"/>
              <a:gd name="connsiteX23" fmla="*/ 1381125 w 3371850"/>
              <a:gd name="connsiteY23" fmla="*/ 3271838 h 4775200"/>
              <a:gd name="connsiteX24" fmla="*/ 1309687 w 3371850"/>
              <a:gd name="connsiteY24" fmla="*/ 3190875 h 4775200"/>
              <a:gd name="connsiteX25" fmla="*/ 1214438 w 3371850"/>
              <a:gd name="connsiteY25" fmla="*/ 3148012 h 4775200"/>
              <a:gd name="connsiteX26" fmla="*/ 1123950 w 3371850"/>
              <a:gd name="connsiteY26" fmla="*/ 3067050 h 4775200"/>
              <a:gd name="connsiteX27" fmla="*/ 1071563 w 3371850"/>
              <a:gd name="connsiteY27" fmla="*/ 2943225 h 4775200"/>
              <a:gd name="connsiteX28" fmla="*/ 1028700 w 3371850"/>
              <a:gd name="connsiteY28" fmla="*/ 2867026 h 4775200"/>
              <a:gd name="connsiteX29" fmla="*/ 1047751 w 3371850"/>
              <a:gd name="connsiteY29" fmla="*/ 2781301 h 4775200"/>
              <a:gd name="connsiteX30" fmla="*/ 1147763 w 3371850"/>
              <a:gd name="connsiteY30" fmla="*/ 2695575 h 4775200"/>
              <a:gd name="connsiteX31" fmla="*/ 1190625 w 3371850"/>
              <a:gd name="connsiteY31" fmla="*/ 2609850 h 4775200"/>
              <a:gd name="connsiteX32" fmla="*/ 1214437 w 3371850"/>
              <a:gd name="connsiteY32" fmla="*/ 2633662 h 4775200"/>
              <a:gd name="connsiteX33" fmla="*/ 1309687 w 3371850"/>
              <a:gd name="connsiteY33" fmla="*/ 2609850 h 4775200"/>
              <a:gd name="connsiteX34" fmla="*/ 1462087 w 3371850"/>
              <a:gd name="connsiteY34" fmla="*/ 2519362 h 4775200"/>
              <a:gd name="connsiteX35" fmla="*/ 1504950 w 3371850"/>
              <a:gd name="connsiteY35" fmla="*/ 2466975 h 4775200"/>
              <a:gd name="connsiteX36" fmla="*/ 1557337 w 3371850"/>
              <a:gd name="connsiteY36" fmla="*/ 2362200 h 4775200"/>
              <a:gd name="connsiteX37" fmla="*/ 1566862 w 3371850"/>
              <a:gd name="connsiteY37" fmla="*/ 2247900 h 4775200"/>
              <a:gd name="connsiteX38" fmla="*/ 1476375 w 3371850"/>
              <a:gd name="connsiteY38" fmla="*/ 2171700 h 4775200"/>
              <a:gd name="connsiteX39" fmla="*/ 1423988 w 3371850"/>
              <a:gd name="connsiteY39" fmla="*/ 2135188 h 4775200"/>
              <a:gd name="connsiteX40" fmla="*/ 1339850 w 3371850"/>
              <a:gd name="connsiteY40" fmla="*/ 2108200 h 4775200"/>
              <a:gd name="connsiteX41" fmla="*/ 1239838 w 3371850"/>
              <a:gd name="connsiteY41" fmla="*/ 2114550 h 4775200"/>
              <a:gd name="connsiteX42" fmla="*/ 1042987 w 3371850"/>
              <a:gd name="connsiteY42" fmla="*/ 2135187 h 4775200"/>
              <a:gd name="connsiteX43" fmla="*/ 933450 w 3371850"/>
              <a:gd name="connsiteY43" fmla="*/ 2166938 h 4775200"/>
              <a:gd name="connsiteX44" fmla="*/ 909637 w 3371850"/>
              <a:gd name="connsiteY44" fmla="*/ 2085975 h 4775200"/>
              <a:gd name="connsiteX45" fmla="*/ 928687 w 3371850"/>
              <a:gd name="connsiteY45" fmla="*/ 1962150 h 4775200"/>
              <a:gd name="connsiteX46" fmla="*/ 952500 w 3371850"/>
              <a:gd name="connsiteY46" fmla="*/ 1828800 h 4775200"/>
              <a:gd name="connsiteX47" fmla="*/ 1000125 w 3371850"/>
              <a:gd name="connsiteY47" fmla="*/ 1666875 h 4775200"/>
              <a:gd name="connsiteX48" fmla="*/ 971550 w 3371850"/>
              <a:gd name="connsiteY48" fmla="*/ 1590675 h 4775200"/>
              <a:gd name="connsiteX49" fmla="*/ 952500 w 3371850"/>
              <a:gd name="connsiteY49" fmla="*/ 1524000 h 4775200"/>
              <a:gd name="connsiteX50" fmla="*/ 785813 w 3371850"/>
              <a:gd name="connsiteY50" fmla="*/ 1466850 h 4775200"/>
              <a:gd name="connsiteX51" fmla="*/ 628650 w 3371850"/>
              <a:gd name="connsiteY51" fmla="*/ 1438275 h 4775200"/>
              <a:gd name="connsiteX52" fmla="*/ 647700 w 3371850"/>
              <a:gd name="connsiteY52" fmla="*/ 1333500 h 4775200"/>
              <a:gd name="connsiteX53" fmla="*/ 755650 w 3371850"/>
              <a:gd name="connsiteY53" fmla="*/ 1219200 h 4775200"/>
              <a:gd name="connsiteX54" fmla="*/ 857250 w 3371850"/>
              <a:gd name="connsiteY54" fmla="*/ 1143000 h 4775200"/>
              <a:gd name="connsiteX55" fmla="*/ 904875 w 3371850"/>
              <a:gd name="connsiteY55" fmla="*/ 1104900 h 4775200"/>
              <a:gd name="connsiteX56" fmla="*/ 904875 w 3371850"/>
              <a:gd name="connsiteY56" fmla="*/ 1047750 h 4775200"/>
              <a:gd name="connsiteX57" fmla="*/ 923925 w 3371850"/>
              <a:gd name="connsiteY57" fmla="*/ 981075 h 4775200"/>
              <a:gd name="connsiteX58" fmla="*/ 952500 w 3371850"/>
              <a:gd name="connsiteY58" fmla="*/ 952500 h 4775200"/>
              <a:gd name="connsiteX59" fmla="*/ 962025 w 3371850"/>
              <a:gd name="connsiteY59" fmla="*/ 885825 h 4775200"/>
              <a:gd name="connsiteX60" fmla="*/ 962025 w 3371850"/>
              <a:gd name="connsiteY60" fmla="*/ 800100 h 4775200"/>
              <a:gd name="connsiteX61" fmla="*/ 1031875 w 3371850"/>
              <a:gd name="connsiteY61" fmla="*/ 685800 h 4775200"/>
              <a:gd name="connsiteX62" fmla="*/ 1295400 w 3371850"/>
              <a:gd name="connsiteY62" fmla="*/ 749300 h 4775200"/>
              <a:gd name="connsiteX63" fmla="*/ 1500188 w 3371850"/>
              <a:gd name="connsiteY63" fmla="*/ 642938 h 4775200"/>
              <a:gd name="connsiteX64" fmla="*/ 1633538 w 3371850"/>
              <a:gd name="connsiteY64" fmla="*/ 517525 h 4775200"/>
              <a:gd name="connsiteX65" fmla="*/ 1754187 w 3371850"/>
              <a:gd name="connsiteY65" fmla="*/ 506413 h 4775200"/>
              <a:gd name="connsiteX66" fmla="*/ 1909762 w 3371850"/>
              <a:gd name="connsiteY66" fmla="*/ 509587 h 4775200"/>
              <a:gd name="connsiteX67" fmla="*/ 2081212 w 3371850"/>
              <a:gd name="connsiteY67" fmla="*/ 566738 h 4775200"/>
              <a:gd name="connsiteX68" fmla="*/ 2214563 w 3371850"/>
              <a:gd name="connsiteY68" fmla="*/ 652463 h 4775200"/>
              <a:gd name="connsiteX69" fmla="*/ 2309813 w 3371850"/>
              <a:gd name="connsiteY69" fmla="*/ 728663 h 4775200"/>
              <a:gd name="connsiteX70" fmla="*/ 2624137 w 3371850"/>
              <a:gd name="connsiteY70" fmla="*/ 762000 h 4775200"/>
              <a:gd name="connsiteX71" fmla="*/ 2768600 w 3371850"/>
              <a:gd name="connsiteY71" fmla="*/ 788988 h 4775200"/>
              <a:gd name="connsiteX72" fmla="*/ 2900362 w 3371850"/>
              <a:gd name="connsiteY72" fmla="*/ 838200 h 4775200"/>
              <a:gd name="connsiteX73" fmla="*/ 3105150 w 3371850"/>
              <a:gd name="connsiteY73" fmla="*/ 790575 h 4775200"/>
              <a:gd name="connsiteX74" fmla="*/ 3190875 w 3371850"/>
              <a:gd name="connsiteY74" fmla="*/ 790575 h 4775200"/>
              <a:gd name="connsiteX75" fmla="*/ 3311525 w 3371850"/>
              <a:gd name="connsiteY75" fmla="*/ 787400 h 4775200"/>
              <a:gd name="connsiteX76" fmla="*/ 3340100 w 3371850"/>
              <a:gd name="connsiteY76" fmla="*/ 765175 h 4775200"/>
              <a:gd name="connsiteX77" fmla="*/ 3371850 w 3371850"/>
              <a:gd name="connsiteY77" fmla="*/ 704850 h 4775200"/>
              <a:gd name="connsiteX78" fmla="*/ 3336925 w 3371850"/>
              <a:gd name="connsiteY78" fmla="*/ 536575 h 4775200"/>
              <a:gd name="connsiteX79" fmla="*/ 3311525 w 3371850"/>
              <a:gd name="connsiteY79" fmla="*/ 479425 h 4775200"/>
              <a:gd name="connsiteX80" fmla="*/ 3197225 w 3371850"/>
              <a:gd name="connsiteY80" fmla="*/ 409575 h 4775200"/>
              <a:gd name="connsiteX81" fmla="*/ 3181350 w 3371850"/>
              <a:gd name="connsiteY81" fmla="*/ 352425 h 4775200"/>
              <a:gd name="connsiteX82" fmla="*/ 3133725 w 3371850"/>
              <a:gd name="connsiteY82" fmla="*/ 314325 h 4775200"/>
              <a:gd name="connsiteX83" fmla="*/ 3105150 w 3371850"/>
              <a:gd name="connsiteY83" fmla="*/ 336550 h 4775200"/>
              <a:gd name="connsiteX84" fmla="*/ 3086100 w 3371850"/>
              <a:gd name="connsiteY84" fmla="*/ 387350 h 4775200"/>
              <a:gd name="connsiteX85" fmla="*/ 3086100 w 3371850"/>
              <a:gd name="connsiteY85" fmla="*/ 447675 h 4775200"/>
              <a:gd name="connsiteX86" fmla="*/ 3038475 w 3371850"/>
              <a:gd name="connsiteY86" fmla="*/ 466725 h 4775200"/>
              <a:gd name="connsiteX87" fmla="*/ 2962275 w 3371850"/>
              <a:gd name="connsiteY87" fmla="*/ 419100 h 4775200"/>
              <a:gd name="connsiteX88" fmla="*/ 2867025 w 3371850"/>
              <a:gd name="connsiteY88" fmla="*/ 476250 h 4775200"/>
              <a:gd name="connsiteX89" fmla="*/ 2847975 w 3371850"/>
              <a:gd name="connsiteY89" fmla="*/ 504825 h 4775200"/>
              <a:gd name="connsiteX90" fmla="*/ 2838450 w 3371850"/>
              <a:gd name="connsiteY90" fmla="*/ 542925 h 4775200"/>
              <a:gd name="connsiteX91" fmla="*/ 2762250 w 3371850"/>
              <a:gd name="connsiteY91" fmla="*/ 504825 h 4775200"/>
              <a:gd name="connsiteX92" fmla="*/ 2647950 w 3371850"/>
              <a:gd name="connsiteY92" fmla="*/ 485775 h 4775200"/>
              <a:gd name="connsiteX93" fmla="*/ 2552700 w 3371850"/>
              <a:gd name="connsiteY93" fmla="*/ 438150 h 4775200"/>
              <a:gd name="connsiteX94" fmla="*/ 2419350 w 3371850"/>
              <a:gd name="connsiteY94" fmla="*/ 361950 h 4775200"/>
              <a:gd name="connsiteX95" fmla="*/ 2333625 w 3371850"/>
              <a:gd name="connsiteY95" fmla="*/ 276225 h 4775200"/>
              <a:gd name="connsiteX96" fmla="*/ 2209800 w 3371850"/>
              <a:gd name="connsiteY96" fmla="*/ 266700 h 4775200"/>
              <a:gd name="connsiteX97" fmla="*/ 2171700 w 3371850"/>
              <a:gd name="connsiteY97" fmla="*/ 133350 h 4775200"/>
              <a:gd name="connsiteX98" fmla="*/ 2143125 w 3371850"/>
              <a:gd name="connsiteY98" fmla="*/ 3175 h 4775200"/>
              <a:gd name="connsiteX99" fmla="*/ 1212850 w 3371850"/>
              <a:gd name="connsiteY99" fmla="*/ 0 h 4775200"/>
              <a:gd name="connsiteX100" fmla="*/ 1181100 w 3371850"/>
              <a:gd name="connsiteY100" fmla="*/ 133350 h 4775200"/>
              <a:gd name="connsiteX101" fmla="*/ 1143000 w 3371850"/>
              <a:gd name="connsiteY101" fmla="*/ 238125 h 4775200"/>
              <a:gd name="connsiteX102" fmla="*/ 933450 w 3371850"/>
              <a:gd name="connsiteY102" fmla="*/ 400050 h 4775200"/>
              <a:gd name="connsiteX103" fmla="*/ 923925 w 3371850"/>
              <a:gd name="connsiteY103" fmla="*/ 457200 h 4775200"/>
              <a:gd name="connsiteX104" fmla="*/ 800100 w 3371850"/>
              <a:gd name="connsiteY104" fmla="*/ 476250 h 4775200"/>
              <a:gd name="connsiteX105" fmla="*/ 628650 w 3371850"/>
              <a:gd name="connsiteY105" fmla="*/ 533400 h 4775200"/>
              <a:gd name="connsiteX106" fmla="*/ 581025 w 3371850"/>
              <a:gd name="connsiteY106" fmla="*/ 644525 h 4775200"/>
              <a:gd name="connsiteX107" fmla="*/ 476250 w 3371850"/>
              <a:gd name="connsiteY107" fmla="*/ 762000 h 4775200"/>
              <a:gd name="connsiteX108" fmla="*/ 466725 w 3371850"/>
              <a:gd name="connsiteY108" fmla="*/ 838200 h 4775200"/>
              <a:gd name="connsiteX109" fmla="*/ 476250 w 3371850"/>
              <a:gd name="connsiteY109" fmla="*/ 962025 h 4775200"/>
              <a:gd name="connsiteX110" fmla="*/ 428625 w 3371850"/>
              <a:gd name="connsiteY110" fmla="*/ 1009650 h 4775200"/>
              <a:gd name="connsiteX111" fmla="*/ 247650 w 3371850"/>
              <a:gd name="connsiteY111" fmla="*/ 981075 h 4775200"/>
              <a:gd name="connsiteX112" fmla="*/ 180975 w 3371850"/>
              <a:gd name="connsiteY112" fmla="*/ 990600 h 4775200"/>
              <a:gd name="connsiteX113" fmla="*/ 76200 w 3371850"/>
              <a:gd name="connsiteY113" fmla="*/ 1066800 h 4775200"/>
              <a:gd name="connsiteX114" fmla="*/ 57150 w 3371850"/>
              <a:gd name="connsiteY114" fmla="*/ 1162050 h 4775200"/>
              <a:gd name="connsiteX115" fmla="*/ 57150 w 3371850"/>
              <a:gd name="connsiteY115" fmla="*/ 1295400 h 4775200"/>
              <a:gd name="connsiteX116" fmla="*/ 28575 w 3371850"/>
              <a:gd name="connsiteY116" fmla="*/ 1409700 h 4775200"/>
              <a:gd name="connsiteX117" fmla="*/ 0 w 3371850"/>
              <a:gd name="connsiteY117" fmla="*/ 1524000 h 4775200"/>
              <a:gd name="connsiteX118" fmla="*/ 104775 w 3371850"/>
              <a:gd name="connsiteY118" fmla="*/ 1657350 h 4775200"/>
              <a:gd name="connsiteX119" fmla="*/ 161925 w 3371850"/>
              <a:gd name="connsiteY119" fmla="*/ 1838325 h 4775200"/>
              <a:gd name="connsiteX120" fmla="*/ 219075 w 3371850"/>
              <a:gd name="connsiteY120" fmla="*/ 2047875 h 4775200"/>
              <a:gd name="connsiteX121" fmla="*/ 276225 w 3371850"/>
              <a:gd name="connsiteY121" fmla="*/ 2314575 h 4775200"/>
              <a:gd name="connsiteX122" fmla="*/ 361950 w 3371850"/>
              <a:gd name="connsiteY122" fmla="*/ 2419350 h 4775200"/>
              <a:gd name="connsiteX123" fmla="*/ 333375 w 3371850"/>
              <a:gd name="connsiteY123" fmla="*/ 2628900 h 4775200"/>
              <a:gd name="connsiteX124" fmla="*/ 404812 w 3371850"/>
              <a:gd name="connsiteY124" fmla="*/ 2786062 h 4775200"/>
              <a:gd name="connsiteX125" fmla="*/ 381000 w 3371850"/>
              <a:gd name="connsiteY125" fmla="*/ 2876550 h 4775200"/>
              <a:gd name="connsiteX126" fmla="*/ 444500 w 3371850"/>
              <a:gd name="connsiteY126" fmla="*/ 3273425 h 4775200"/>
              <a:gd name="connsiteX127" fmla="*/ 434975 w 3371850"/>
              <a:gd name="connsiteY127" fmla="*/ 3381375 h 4775200"/>
              <a:gd name="connsiteX128" fmla="*/ 384175 w 3371850"/>
              <a:gd name="connsiteY128" fmla="*/ 3517900 h 4775200"/>
              <a:gd name="connsiteX129" fmla="*/ 400050 w 3371850"/>
              <a:gd name="connsiteY129" fmla="*/ 3641725 h 4775200"/>
              <a:gd name="connsiteX130" fmla="*/ 466725 w 3371850"/>
              <a:gd name="connsiteY130" fmla="*/ 3829050 h 4775200"/>
              <a:gd name="connsiteX131" fmla="*/ 509588 w 3371850"/>
              <a:gd name="connsiteY131" fmla="*/ 3919538 h 4775200"/>
              <a:gd name="connsiteX132" fmla="*/ 533400 w 3371850"/>
              <a:gd name="connsiteY132" fmla="*/ 4024312 h 4775200"/>
              <a:gd name="connsiteX133" fmla="*/ 461962 w 3371850"/>
              <a:gd name="connsiteY133" fmla="*/ 4086225 h 4775200"/>
              <a:gd name="connsiteX134" fmla="*/ 623887 w 3371850"/>
              <a:gd name="connsiteY134" fmla="*/ 4162424 h 4775200"/>
              <a:gd name="connsiteX135" fmla="*/ 704850 w 3371850"/>
              <a:gd name="connsiteY135" fmla="*/ 4300537 h 4775200"/>
              <a:gd name="connsiteX136" fmla="*/ 765175 w 3371850"/>
              <a:gd name="connsiteY136" fmla="*/ 4337050 h 4775200"/>
              <a:gd name="connsiteX137" fmla="*/ 855663 w 3371850"/>
              <a:gd name="connsiteY137" fmla="*/ 4276725 h 4775200"/>
              <a:gd name="connsiteX138" fmla="*/ 942975 w 3371850"/>
              <a:gd name="connsiteY138" fmla="*/ 4302125 h 4775200"/>
              <a:gd name="connsiteX139" fmla="*/ 1106487 w 3371850"/>
              <a:gd name="connsiteY139" fmla="*/ 4456112 h 4775200"/>
              <a:gd name="connsiteX140" fmla="*/ 1217612 w 3371850"/>
              <a:gd name="connsiteY140" fmla="*/ 4516437 h 4775200"/>
              <a:gd name="connsiteX141" fmla="*/ 1395412 w 3371850"/>
              <a:gd name="connsiteY141" fmla="*/ 4629150 h 4775200"/>
              <a:gd name="connsiteX142" fmla="*/ 1676400 w 3371850"/>
              <a:gd name="connsiteY142" fmla="*/ 4762500 h 4775200"/>
              <a:gd name="connsiteX143" fmla="*/ 1793875 w 3371850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790575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22637 w 3357562"/>
              <a:gd name="connsiteY78" fmla="*/ 536575 h 4775200"/>
              <a:gd name="connsiteX79" fmla="*/ 3297237 w 3357562"/>
              <a:gd name="connsiteY79" fmla="*/ 479425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71812 w 3357562"/>
              <a:gd name="connsiteY85" fmla="*/ 447675 h 4775200"/>
              <a:gd name="connsiteX86" fmla="*/ 3024187 w 3357562"/>
              <a:gd name="connsiteY86" fmla="*/ 466725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33662 w 3357562"/>
              <a:gd name="connsiteY92" fmla="*/ 485775 h 4775200"/>
              <a:gd name="connsiteX93" fmla="*/ 2538412 w 3357562"/>
              <a:gd name="connsiteY93" fmla="*/ 438150 h 4775200"/>
              <a:gd name="connsiteX94" fmla="*/ 2405062 w 3357562"/>
              <a:gd name="connsiteY94" fmla="*/ 361950 h 4775200"/>
              <a:gd name="connsiteX95" fmla="*/ 2319337 w 3357562"/>
              <a:gd name="connsiteY95" fmla="*/ 276225 h 4775200"/>
              <a:gd name="connsiteX96" fmla="*/ 2195512 w 3357562"/>
              <a:gd name="connsiteY96" fmla="*/ 266700 h 4775200"/>
              <a:gd name="connsiteX97" fmla="*/ 2157412 w 3357562"/>
              <a:gd name="connsiteY97" fmla="*/ 133350 h 4775200"/>
              <a:gd name="connsiteX98" fmla="*/ 2128837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790575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22637 w 3357562"/>
              <a:gd name="connsiteY78" fmla="*/ 536575 h 4775200"/>
              <a:gd name="connsiteX79" fmla="*/ 3297237 w 3357562"/>
              <a:gd name="connsiteY79" fmla="*/ 479425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71812 w 3357562"/>
              <a:gd name="connsiteY85" fmla="*/ 447675 h 4775200"/>
              <a:gd name="connsiteX86" fmla="*/ 3024187 w 3357562"/>
              <a:gd name="connsiteY86" fmla="*/ 466725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33662 w 3357562"/>
              <a:gd name="connsiteY92" fmla="*/ 485775 h 4775200"/>
              <a:gd name="connsiteX93" fmla="*/ 2538412 w 3357562"/>
              <a:gd name="connsiteY93" fmla="*/ 438150 h 4775200"/>
              <a:gd name="connsiteX94" fmla="*/ 2433637 w 3357562"/>
              <a:gd name="connsiteY94" fmla="*/ 361950 h 4775200"/>
              <a:gd name="connsiteX95" fmla="*/ 2319337 w 3357562"/>
              <a:gd name="connsiteY95" fmla="*/ 276225 h 4775200"/>
              <a:gd name="connsiteX96" fmla="*/ 2195512 w 3357562"/>
              <a:gd name="connsiteY96" fmla="*/ 266700 h 4775200"/>
              <a:gd name="connsiteX97" fmla="*/ 2157412 w 3357562"/>
              <a:gd name="connsiteY97" fmla="*/ 133350 h 4775200"/>
              <a:gd name="connsiteX98" fmla="*/ 2128837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790575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22637 w 3357562"/>
              <a:gd name="connsiteY78" fmla="*/ 536575 h 4775200"/>
              <a:gd name="connsiteX79" fmla="*/ 3297237 w 3357562"/>
              <a:gd name="connsiteY79" fmla="*/ 479425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71812 w 3357562"/>
              <a:gd name="connsiteY85" fmla="*/ 447675 h 4775200"/>
              <a:gd name="connsiteX86" fmla="*/ 3024187 w 3357562"/>
              <a:gd name="connsiteY86" fmla="*/ 466725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33662 w 3357562"/>
              <a:gd name="connsiteY92" fmla="*/ 485775 h 4775200"/>
              <a:gd name="connsiteX93" fmla="*/ 2557462 w 3357562"/>
              <a:gd name="connsiteY93" fmla="*/ 428625 h 4775200"/>
              <a:gd name="connsiteX94" fmla="*/ 2433637 w 3357562"/>
              <a:gd name="connsiteY94" fmla="*/ 361950 h 4775200"/>
              <a:gd name="connsiteX95" fmla="*/ 2319337 w 3357562"/>
              <a:gd name="connsiteY95" fmla="*/ 276225 h 4775200"/>
              <a:gd name="connsiteX96" fmla="*/ 2195512 w 3357562"/>
              <a:gd name="connsiteY96" fmla="*/ 266700 h 4775200"/>
              <a:gd name="connsiteX97" fmla="*/ 2157412 w 3357562"/>
              <a:gd name="connsiteY97" fmla="*/ 133350 h 4775200"/>
              <a:gd name="connsiteX98" fmla="*/ 2128837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790575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22637 w 3357562"/>
              <a:gd name="connsiteY78" fmla="*/ 536575 h 4775200"/>
              <a:gd name="connsiteX79" fmla="*/ 3297237 w 3357562"/>
              <a:gd name="connsiteY79" fmla="*/ 479425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71812 w 3357562"/>
              <a:gd name="connsiteY85" fmla="*/ 447675 h 4775200"/>
              <a:gd name="connsiteX86" fmla="*/ 3024187 w 3357562"/>
              <a:gd name="connsiteY86" fmla="*/ 466725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57475 w 3357562"/>
              <a:gd name="connsiteY92" fmla="*/ 476250 h 4775200"/>
              <a:gd name="connsiteX93" fmla="*/ 2557462 w 3357562"/>
              <a:gd name="connsiteY93" fmla="*/ 428625 h 4775200"/>
              <a:gd name="connsiteX94" fmla="*/ 2433637 w 3357562"/>
              <a:gd name="connsiteY94" fmla="*/ 361950 h 4775200"/>
              <a:gd name="connsiteX95" fmla="*/ 2319337 w 3357562"/>
              <a:gd name="connsiteY95" fmla="*/ 276225 h 4775200"/>
              <a:gd name="connsiteX96" fmla="*/ 2195512 w 3357562"/>
              <a:gd name="connsiteY96" fmla="*/ 266700 h 4775200"/>
              <a:gd name="connsiteX97" fmla="*/ 2157412 w 3357562"/>
              <a:gd name="connsiteY97" fmla="*/ 133350 h 4775200"/>
              <a:gd name="connsiteX98" fmla="*/ 2128837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804863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22637 w 3357562"/>
              <a:gd name="connsiteY78" fmla="*/ 536575 h 4775200"/>
              <a:gd name="connsiteX79" fmla="*/ 3297237 w 3357562"/>
              <a:gd name="connsiteY79" fmla="*/ 479425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71812 w 3357562"/>
              <a:gd name="connsiteY85" fmla="*/ 447675 h 4775200"/>
              <a:gd name="connsiteX86" fmla="*/ 3024187 w 3357562"/>
              <a:gd name="connsiteY86" fmla="*/ 466725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57475 w 3357562"/>
              <a:gd name="connsiteY92" fmla="*/ 476250 h 4775200"/>
              <a:gd name="connsiteX93" fmla="*/ 2557462 w 3357562"/>
              <a:gd name="connsiteY93" fmla="*/ 428625 h 4775200"/>
              <a:gd name="connsiteX94" fmla="*/ 2433637 w 3357562"/>
              <a:gd name="connsiteY94" fmla="*/ 361950 h 4775200"/>
              <a:gd name="connsiteX95" fmla="*/ 2319337 w 3357562"/>
              <a:gd name="connsiteY95" fmla="*/ 276225 h 4775200"/>
              <a:gd name="connsiteX96" fmla="*/ 2195512 w 3357562"/>
              <a:gd name="connsiteY96" fmla="*/ 266700 h 4775200"/>
              <a:gd name="connsiteX97" fmla="*/ 2157412 w 3357562"/>
              <a:gd name="connsiteY97" fmla="*/ 133350 h 4775200"/>
              <a:gd name="connsiteX98" fmla="*/ 2128837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804863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36924 w 3357562"/>
              <a:gd name="connsiteY78" fmla="*/ 536575 h 4775200"/>
              <a:gd name="connsiteX79" fmla="*/ 3297237 w 3357562"/>
              <a:gd name="connsiteY79" fmla="*/ 479425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71812 w 3357562"/>
              <a:gd name="connsiteY85" fmla="*/ 447675 h 4775200"/>
              <a:gd name="connsiteX86" fmla="*/ 3024187 w 3357562"/>
              <a:gd name="connsiteY86" fmla="*/ 466725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57475 w 3357562"/>
              <a:gd name="connsiteY92" fmla="*/ 476250 h 4775200"/>
              <a:gd name="connsiteX93" fmla="*/ 2557462 w 3357562"/>
              <a:gd name="connsiteY93" fmla="*/ 428625 h 4775200"/>
              <a:gd name="connsiteX94" fmla="*/ 2433637 w 3357562"/>
              <a:gd name="connsiteY94" fmla="*/ 361950 h 4775200"/>
              <a:gd name="connsiteX95" fmla="*/ 2319337 w 3357562"/>
              <a:gd name="connsiteY95" fmla="*/ 276225 h 4775200"/>
              <a:gd name="connsiteX96" fmla="*/ 2195512 w 3357562"/>
              <a:gd name="connsiteY96" fmla="*/ 266700 h 4775200"/>
              <a:gd name="connsiteX97" fmla="*/ 2157412 w 3357562"/>
              <a:gd name="connsiteY97" fmla="*/ 133350 h 4775200"/>
              <a:gd name="connsiteX98" fmla="*/ 2128837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804863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36924 w 3357562"/>
              <a:gd name="connsiteY78" fmla="*/ 536575 h 4775200"/>
              <a:gd name="connsiteX79" fmla="*/ 3301999 w 3357562"/>
              <a:gd name="connsiteY79" fmla="*/ 474662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71812 w 3357562"/>
              <a:gd name="connsiteY85" fmla="*/ 447675 h 4775200"/>
              <a:gd name="connsiteX86" fmla="*/ 3024187 w 3357562"/>
              <a:gd name="connsiteY86" fmla="*/ 466725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57475 w 3357562"/>
              <a:gd name="connsiteY92" fmla="*/ 476250 h 4775200"/>
              <a:gd name="connsiteX93" fmla="*/ 2557462 w 3357562"/>
              <a:gd name="connsiteY93" fmla="*/ 428625 h 4775200"/>
              <a:gd name="connsiteX94" fmla="*/ 2433637 w 3357562"/>
              <a:gd name="connsiteY94" fmla="*/ 361950 h 4775200"/>
              <a:gd name="connsiteX95" fmla="*/ 2319337 w 3357562"/>
              <a:gd name="connsiteY95" fmla="*/ 276225 h 4775200"/>
              <a:gd name="connsiteX96" fmla="*/ 2195512 w 3357562"/>
              <a:gd name="connsiteY96" fmla="*/ 266700 h 4775200"/>
              <a:gd name="connsiteX97" fmla="*/ 2157412 w 3357562"/>
              <a:gd name="connsiteY97" fmla="*/ 133350 h 4775200"/>
              <a:gd name="connsiteX98" fmla="*/ 2128837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804863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36924 w 3357562"/>
              <a:gd name="connsiteY78" fmla="*/ 536575 h 4775200"/>
              <a:gd name="connsiteX79" fmla="*/ 3301999 w 3357562"/>
              <a:gd name="connsiteY79" fmla="*/ 474662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71812 w 3357562"/>
              <a:gd name="connsiteY85" fmla="*/ 447675 h 4775200"/>
              <a:gd name="connsiteX86" fmla="*/ 3024187 w 3357562"/>
              <a:gd name="connsiteY86" fmla="*/ 466725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57475 w 3357562"/>
              <a:gd name="connsiteY92" fmla="*/ 476250 h 4775200"/>
              <a:gd name="connsiteX93" fmla="*/ 2557462 w 3357562"/>
              <a:gd name="connsiteY93" fmla="*/ 428625 h 4775200"/>
              <a:gd name="connsiteX94" fmla="*/ 2433637 w 3357562"/>
              <a:gd name="connsiteY94" fmla="*/ 361950 h 4775200"/>
              <a:gd name="connsiteX95" fmla="*/ 2319337 w 3357562"/>
              <a:gd name="connsiteY95" fmla="*/ 276225 h 4775200"/>
              <a:gd name="connsiteX96" fmla="*/ 2195512 w 3357562"/>
              <a:gd name="connsiteY96" fmla="*/ 266700 h 4775200"/>
              <a:gd name="connsiteX97" fmla="*/ 2157412 w 3357562"/>
              <a:gd name="connsiteY97" fmla="*/ 133350 h 4775200"/>
              <a:gd name="connsiteX98" fmla="*/ 2143124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804863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36924 w 3357562"/>
              <a:gd name="connsiteY78" fmla="*/ 536575 h 4775200"/>
              <a:gd name="connsiteX79" fmla="*/ 3301999 w 3357562"/>
              <a:gd name="connsiteY79" fmla="*/ 474662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71812 w 3357562"/>
              <a:gd name="connsiteY85" fmla="*/ 447675 h 4775200"/>
              <a:gd name="connsiteX86" fmla="*/ 3024187 w 3357562"/>
              <a:gd name="connsiteY86" fmla="*/ 466725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57475 w 3357562"/>
              <a:gd name="connsiteY92" fmla="*/ 476250 h 4775200"/>
              <a:gd name="connsiteX93" fmla="*/ 2557462 w 3357562"/>
              <a:gd name="connsiteY93" fmla="*/ 428625 h 4775200"/>
              <a:gd name="connsiteX94" fmla="*/ 2433637 w 3357562"/>
              <a:gd name="connsiteY94" fmla="*/ 361950 h 4775200"/>
              <a:gd name="connsiteX95" fmla="*/ 2319337 w 3357562"/>
              <a:gd name="connsiteY95" fmla="*/ 276225 h 4775200"/>
              <a:gd name="connsiteX96" fmla="*/ 2190750 w 3357562"/>
              <a:gd name="connsiteY96" fmla="*/ 247650 h 4775200"/>
              <a:gd name="connsiteX97" fmla="*/ 2157412 w 3357562"/>
              <a:gd name="connsiteY97" fmla="*/ 133350 h 4775200"/>
              <a:gd name="connsiteX98" fmla="*/ 2143124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804863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36924 w 3357562"/>
              <a:gd name="connsiteY78" fmla="*/ 536575 h 4775200"/>
              <a:gd name="connsiteX79" fmla="*/ 3301999 w 3357562"/>
              <a:gd name="connsiteY79" fmla="*/ 474662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71812 w 3357562"/>
              <a:gd name="connsiteY85" fmla="*/ 447675 h 4775200"/>
              <a:gd name="connsiteX86" fmla="*/ 3024187 w 3357562"/>
              <a:gd name="connsiteY86" fmla="*/ 466725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57475 w 3357562"/>
              <a:gd name="connsiteY92" fmla="*/ 476250 h 4775200"/>
              <a:gd name="connsiteX93" fmla="*/ 2557462 w 3357562"/>
              <a:gd name="connsiteY93" fmla="*/ 428625 h 4775200"/>
              <a:gd name="connsiteX94" fmla="*/ 2433637 w 3357562"/>
              <a:gd name="connsiteY94" fmla="*/ 361950 h 4775200"/>
              <a:gd name="connsiteX95" fmla="*/ 2333624 w 3357562"/>
              <a:gd name="connsiteY95" fmla="*/ 276225 h 4775200"/>
              <a:gd name="connsiteX96" fmla="*/ 2190750 w 3357562"/>
              <a:gd name="connsiteY96" fmla="*/ 247650 h 4775200"/>
              <a:gd name="connsiteX97" fmla="*/ 2157412 w 3357562"/>
              <a:gd name="connsiteY97" fmla="*/ 133350 h 4775200"/>
              <a:gd name="connsiteX98" fmla="*/ 2143124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804863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36924 w 3357562"/>
              <a:gd name="connsiteY78" fmla="*/ 536575 h 4775200"/>
              <a:gd name="connsiteX79" fmla="*/ 3301999 w 3357562"/>
              <a:gd name="connsiteY79" fmla="*/ 474662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62287 w 3357562"/>
              <a:gd name="connsiteY85" fmla="*/ 438150 h 4775200"/>
              <a:gd name="connsiteX86" fmla="*/ 3024187 w 3357562"/>
              <a:gd name="connsiteY86" fmla="*/ 466725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57475 w 3357562"/>
              <a:gd name="connsiteY92" fmla="*/ 476250 h 4775200"/>
              <a:gd name="connsiteX93" fmla="*/ 2557462 w 3357562"/>
              <a:gd name="connsiteY93" fmla="*/ 428625 h 4775200"/>
              <a:gd name="connsiteX94" fmla="*/ 2433637 w 3357562"/>
              <a:gd name="connsiteY94" fmla="*/ 361950 h 4775200"/>
              <a:gd name="connsiteX95" fmla="*/ 2333624 w 3357562"/>
              <a:gd name="connsiteY95" fmla="*/ 276225 h 4775200"/>
              <a:gd name="connsiteX96" fmla="*/ 2190750 w 3357562"/>
              <a:gd name="connsiteY96" fmla="*/ 247650 h 4775200"/>
              <a:gd name="connsiteX97" fmla="*/ 2157412 w 3357562"/>
              <a:gd name="connsiteY97" fmla="*/ 133350 h 4775200"/>
              <a:gd name="connsiteX98" fmla="*/ 2143124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5200 h 4775200"/>
              <a:gd name="connsiteX1" fmla="*/ 1855787 w 3357562"/>
              <a:gd name="connsiteY1" fmla="*/ 4724400 h 4775200"/>
              <a:gd name="connsiteX2" fmla="*/ 1855787 w 3357562"/>
              <a:gd name="connsiteY2" fmla="*/ 4645025 h 4775200"/>
              <a:gd name="connsiteX3" fmla="*/ 1838325 w 3357562"/>
              <a:gd name="connsiteY3" fmla="*/ 4586288 h 4775200"/>
              <a:gd name="connsiteX4" fmla="*/ 1725612 w 3357562"/>
              <a:gd name="connsiteY4" fmla="*/ 4548187 h 4775200"/>
              <a:gd name="connsiteX5" fmla="*/ 1660525 w 3357562"/>
              <a:gd name="connsiteY5" fmla="*/ 4572000 h 4775200"/>
              <a:gd name="connsiteX6" fmla="*/ 1660525 w 3357562"/>
              <a:gd name="connsiteY6" fmla="*/ 4525963 h 4775200"/>
              <a:gd name="connsiteX7" fmla="*/ 1682749 w 3357562"/>
              <a:gd name="connsiteY7" fmla="*/ 4457700 h 4775200"/>
              <a:gd name="connsiteX8" fmla="*/ 1719262 w 3357562"/>
              <a:gd name="connsiteY8" fmla="*/ 4357688 h 4775200"/>
              <a:gd name="connsiteX9" fmla="*/ 1652587 w 3357562"/>
              <a:gd name="connsiteY9" fmla="*/ 4314825 h 4775200"/>
              <a:gd name="connsiteX10" fmla="*/ 1585912 w 3357562"/>
              <a:gd name="connsiteY10" fmla="*/ 4286250 h 4775200"/>
              <a:gd name="connsiteX11" fmla="*/ 1544637 w 3357562"/>
              <a:gd name="connsiteY11" fmla="*/ 4268787 h 4775200"/>
              <a:gd name="connsiteX12" fmla="*/ 1465262 w 3357562"/>
              <a:gd name="connsiteY12" fmla="*/ 4276725 h 4775200"/>
              <a:gd name="connsiteX13" fmla="*/ 1406525 w 3357562"/>
              <a:gd name="connsiteY13" fmla="*/ 4143375 h 4775200"/>
              <a:gd name="connsiteX14" fmla="*/ 1333500 w 3357562"/>
              <a:gd name="connsiteY14" fmla="*/ 4033837 h 4775200"/>
              <a:gd name="connsiteX15" fmla="*/ 1214437 w 3357562"/>
              <a:gd name="connsiteY15" fmla="*/ 3981450 h 4775200"/>
              <a:gd name="connsiteX16" fmla="*/ 1128712 w 3357562"/>
              <a:gd name="connsiteY16" fmla="*/ 3971925 h 4775200"/>
              <a:gd name="connsiteX17" fmla="*/ 1100137 w 3357562"/>
              <a:gd name="connsiteY17" fmla="*/ 3933825 h 4775200"/>
              <a:gd name="connsiteX18" fmla="*/ 1081087 w 3357562"/>
              <a:gd name="connsiteY18" fmla="*/ 3838575 h 4775200"/>
              <a:gd name="connsiteX19" fmla="*/ 1109662 w 3357562"/>
              <a:gd name="connsiteY19" fmla="*/ 3781425 h 4775200"/>
              <a:gd name="connsiteX20" fmla="*/ 1252537 w 3357562"/>
              <a:gd name="connsiteY20" fmla="*/ 3771900 h 4775200"/>
              <a:gd name="connsiteX21" fmla="*/ 1376362 w 3357562"/>
              <a:gd name="connsiteY21" fmla="*/ 3552825 h 4775200"/>
              <a:gd name="connsiteX22" fmla="*/ 1428750 w 3357562"/>
              <a:gd name="connsiteY22" fmla="*/ 3441700 h 4775200"/>
              <a:gd name="connsiteX23" fmla="*/ 1366837 w 3357562"/>
              <a:gd name="connsiteY23" fmla="*/ 3271838 h 4775200"/>
              <a:gd name="connsiteX24" fmla="*/ 1295399 w 3357562"/>
              <a:gd name="connsiteY24" fmla="*/ 3190875 h 4775200"/>
              <a:gd name="connsiteX25" fmla="*/ 1200150 w 3357562"/>
              <a:gd name="connsiteY25" fmla="*/ 3148012 h 4775200"/>
              <a:gd name="connsiteX26" fmla="*/ 1109662 w 3357562"/>
              <a:gd name="connsiteY26" fmla="*/ 3067050 h 4775200"/>
              <a:gd name="connsiteX27" fmla="*/ 1057275 w 3357562"/>
              <a:gd name="connsiteY27" fmla="*/ 2943225 h 4775200"/>
              <a:gd name="connsiteX28" fmla="*/ 1014412 w 3357562"/>
              <a:gd name="connsiteY28" fmla="*/ 2867026 h 4775200"/>
              <a:gd name="connsiteX29" fmla="*/ 1033463 w 3357562"/>
              <a:gd name="connsiteY29" fmla="*/ 2781301 h 4775200"/>
              <a:gd name="connsiteX30" fmla="*/ 1133475 w 3357562"/>
              <a:gd name="connsiteY30" fmla="*/ 2695575 h 4775200"/>
              <a:gd name="connsiteX31" fmla="*/ 1176337 w 3357562"/>
              <a:gd name="connsiteY31" fmla="*/ 2609850 h 4775200"/>
              <a:gd name="connsiteX32" fmla="*/ 1200149 w 3357562"/>
              <a:gd name="connsiteY32" fmla="*/ 2633662 h 4775200"/>
              <a:gd name="connsiteX33" fmla="*/ 1295399 w 3357562"/>
              <a:gd name="connsiteY33" fmla="*/ 2609850 h 4775200"/>
              <a:gd name="connsiteX34" fmla="*/ 1447799 w 3357562"/>
              <a:gd name="connsiteY34" fmla="*/ 2519362 h 4775200"/>
              <a:gd name="connsiteX35" fmla="*/ 1490662 w 3357562"/>
              <a:gd name="connsiteY35" fmla="*/ 2466975 h 4775200"/>
              <a:gd name="connsiteX36" fmla="*/ 1543049 w 3357562"/>
              <a:gd name="connsiteY36" fmla="*/ 2362200 h 4775200"/>
              <a:gd name="connsiteX37" fmla="*/ 1552574 w 3357562"/>
              <a:gd name="connsiteY37" fmla="*/ 2247900 h 4775200"/>
              <a:gd name="connsiteX38" fmla="*/ 1462087 w 3357562"/>
              <a:gd name="connsiteY38" fmla="*/ 2171700 h 4775200"/>
              <a:gd name="connsiteX39" fmla="*/ 1409700 w 3357562"/>
              <a:gd name="connsiteY39" fmla="*/ 2135188 h 4775200"/>
              <a:gd name="connsiteX40" fmla="*/ 1325562 w 3357562"/>
              <a:gd name="connsiteY40" fmla="*/ 2108200 h 4775200"/>
              <a:gd name="connsiteX41" fmla="*/ 1225550 w 3357562"/>
              <a:gd name="connsiteY41" fmla="*/ 2114550 h 4775200"/>
              <a:gd name="connsiteX42" fmla="*/ 1028699 w 3357562"/>
              <a:gd name="connsiteY42" fmla="*/ 2135187 h 4775200"/>
              <a:gd name="connsiteX43" fmla="*/ 919162 w 3357562"/>
              <a:gd name="connsiteY43" fmla="*/ 2166938 h 4775200"/>
              <a:gd name="connsiteX44" fmla="*/ 895349 w 3357562"/>
              <a:gd name="connsiteY44" fmla="*/ 2085975 h 4775200"/>
              <a:gd name="connsiteX45" fmla="*/ 914399 w 3357562"/>
              <a:gd name="connsiteY45" fmla="*/ 1962150 h 4775200"/>
              <a:gd name="connsiteX46" fmla="*/ 938212 w 3357562"/>
              <a:gd name="connsiteY46" fmla="*/ 1828800 h 4775200"/>
              <a:gd name="connsiteX47" fmla="*/ 985837 w 3357562"/>
              <a:gd name="connsiteY47" fmla="*/ 1666875 h 4775200"/>
              <a:gd name="connsiteX48" fmla="*/ 957262 w 3357562"/>
              <a:gd name="connsiteY48" fmla="*/ 1590675 h 4775200"/>
              <a:gd name="connsiteX49" fmla="*/ 938212 w 3357562"/>
              <a:gd name="connsiteY49" fmla="*/ 1524000 h 4775200"/>
              <a:gd name="connsiteX50" fmla="*/ 771525 w 3357562"/>
              <a:gd name="connsiteY50" fmla="*/ 1466850 h 4775200"/>
              <a:gd name="connsiteX51" fmla="*/ 614362 w 3357562"/>
              <a:gd name="connsiteY51" fmla="*/ 1438275 h 4775200"/>
              <a:gd name="connsiteX52" fmla="*/ 633412 w 3357562"/>
              <a:gd name="connsiteY52" fmla="*/ 1333500 h 4775200"/>
              <a:gd name="connsiteX53" fmla="*/ 741362 w 3357562"/>
              <a:gd name="connsiteY53" fmla="*/ 1219200 h 4775200"/>
              <a:gd name="connsiteX54" fmla="*/ 842962 w 3357562"/>
              <a:gd name="connsiteY54" fmla="*/ 1143000 h 4775200"/>
              <a:gd name="connsiteX55" fmla="*/ 890587 w 3357562"/>
              <a:gd name="connsiteY55" fmla="*/ 1104900 h 4775200"/>
              <a:gd name="connsiteX56" fmla="*/ 890587 w 3357562"/>
              <a:gd name="connsiteY56" fmla="*/ 1047750 h 4775200"/>
              <a:gd name="connsiteX57" fmla="*/ 909637 w 3357562"/>
              <a:gd name="connsiteY57" fmla="*/ 981075 h 4775200"/>
              <a:gd name="connsiteX58" fmla="*/ 938212 w 3357562"/>
              <a:gd name="connsiteY58" fmla="*/ 952500 h 4775200"/>
              <a:gd name="connsiteX59" fmla="*/ 947737 w 3357562"/>
              <a:gd name="connsiteY59" fmla="*/ 885825 h 4775200"/>
              <a:gd name="connsiteX60" fmla="*/ 947737 w 3357562"/>
              <a:gd name="connsiteY60" fmla="*/ 800100 h 4775200"/>
              <a:gd name="connsiteX61" fmla="*/ 1017587 w 3357562"/>
              <a:gd name="connsiteY61" fmla="*/ 685800 h 4775200"/>
              <a:gd name="connsiteX62" fmla="*/ 1281112 w 3357562"/>
              <a:gd name="connsiteY62" fmla="*/ 749300 h 4775200"/>
              <a:gd name="connsiteX63" fmla="*/ 1485900 w 3357562"/>
              <a:gd name="connsiteY63" fmla="*/ 642938 h 4775200"/>
              <a:gd name="connsiteX64" fmla="*/ 1619250 w 3357562"/>
              <a:gd name="connsiteY64" fmla="*/ 517525 h 4775200"/>
              <a:gd name="connsiteX65" fmla="*/ 1739899 w 3357562"/>
              <a:gd name="connsiteY65" fmla="*/ 506413 h 4775200"/>
              <a:gd name="connsiteX66" fmla="*/ 1895474 w 3357562"/>
              <a:gd name="connsiteY66" fmla="*/ 509587 h 4775200"/>
              <a:gd name="connsiteX67" fmla="*/ 2066924 w 3357562"/>
              <a:gd name="connsiteY67" fmla="*/ 566738 h 4775200"/>
              <a:gd name="connsiteX68" fmla="*/ 2200275 w 3357562"/>
              <a:gd name="connsiteY68" fmla="*/ 652463 h 4775200"/>
              <a:gd name="connsiteX69" fmla="*/ 2295525 w 3357562"/>
              <a:gd name="connsiteY69" fmla="*/ 728663 h 4775200"/>
              <a:gd name="connsiteX70" fmla="*/ 2609849 w 3357562"/>
              <a:gd name="connsiteY70" fmla="*/ 762000 h 4775200"/>
              <a:gd name="connsiteX71" fmla="*/ 2754312 w 3357562"/>
              <a:gd name="connsiteY71" fmla="*/ 788988 h 4775200"/>
              <a:gd name="connsiteX72" fmla="*/ 2886074 w 3357562"/>
              <a:gd name="connsiteY72" fmla="*/ 838200 h 4775200"/>
              <a:gd name="connsiteX73" fmla="*/ 3090862 w 3357562"/>
              <a:gd name="connsiteY73" fmla="*/ 790575 h 4775200"/>
              <a:gd name="connsiteX74" fmla="*/ 3176587 w 3357562"/>
              <a:gd name="connsiteY74" fmla="*/ 804863 h 4775200"/>
              <a:gd name="connsiteX75" fmla="*/ 3297237 w 3357562"/>
              <a:gd name="connsiteY75" fmla="*/ 787400 h 4775200"/>
              <a:gd name="connsiteX76" fmla="*/ 3325812 w 3357562"/>
              <a:gd name="connsiteY76" fmla="*/ 765175 h 4775200"/>
              <a:gd name="connsiteX77" fmla="*/ 3357562 w 3357562"/>
              <a:gd name="connsiteY77" fmla="*/ 704850 h 4775200"/>
              <a:gd name="connsiteX78" fmla="*/ 3336924 w 3357562"/>
              <a:gd name="connsiteY78" fmla="*/ 536575 h 4775200"/>
              <a:gd name="connsiteX79" fmla="*/ 3301999 w 3357562"/>
              <a:gd name="connsiteY79" fmla="*/ 474662 h 4775200"/>
              <a:gd name="connsiteX80" fmla="*/ 3182937 w 3357562"/>
              <a:gd name="connsiteY80" fmla="*/ 409575 h 4775200"/>
              <a:gd name="connsiteX81" fmla="*/ 3167062 w 3357562"/>
              <a:gd name="connsiteY81" fmla="*/ 352425 h 4775200"/>
              <a:gd name="connsiteX82" fmla="*/ 3119437 w 3357562"/>
              <a:gd name="connsiteY82" fmla="*/ 314325 h 4775200"/>
              <a:gd name="connsiteX83" fmla="*/ 3090862 w 3357562"/>
              <a:gd name="connsiteY83" fmla="*/ 336550 h 4775200"/>
              <a:gd name="connsiteX84" fmla="*/ 3071812 w 3357562"/>
              <a:gd name="connsiteY84" fmla="*/ 387350 h 4775200"/>
              <a:gd name="connsiteX85" fmla="*/ 3062287 w 3357562"/>
              <a:gd name="connsiteY85" fmla="*/ 438150 h 4775200"/>
              <a:gd name="connsiteX86" fmla="*/ 3019425 w 3357562"/>
              <a:gd name="connsiteY86" fmla="*/ 452438 h 4775200"/>
              <a:gd name="connsiteX87" fmla="*/ 2947987 w 3357562"/>
              <a:gd name="connsiteY87" fmla="*/ 419100 h 4775200"/>
              <a:gd name="connsiteX88" fmla="*/ 2852737 w 3357562"/>
              <a:gd name="connsiteY88" fmla="*/ 476250 h 4775200"/>
              <a:gd name="connsiteX89" fmla="*/ 2833687 w 3357562"/>
              <a:gd name="connsiteY89" fmla="*/ 504825 h 4775200"/>
              <a:gd name="connsiteX90" fmla="*/ 2824162 w 3357562"/>
              <a:gd name="connsiteY90" fmla="*/ 542925 h 4775200"/>
              <a:gd name="connsiteX91" fmla="*/ 2747962 w 3357562"/>
              <a:gd name="connsiteY91" fmla="*/ 504825 h 4775200"/>
              <a:gd name="connsiteX92" fmla="*/ 2657475 w 3357562"/>
              <a:gd name="connsiteY92" fmla="*/ 476250 h 4775200"/>
              <a:gd name="connsiteX93" fmla="*/ 2557462 w 3357562"/>
              <a:gd name="connsiteY93" fmla="*/ 428625 h 4775200"/>
              <a:gd name="connsiteX94" fmla="*/ 2433637 w 3357562"/>
              <a:gd name="connsiteY94" fmla="*/ 361950 h 4775200"/>
              <a:gd name="connsiteX95" fmla="*/ 2333624 w 3357562"/>
              <a:gd name="connsiteY95" fmla="*/ 276225 h 4775200"/>
              <a:gd name="connsiteX96" fmla="*/ 2190750 w 3357562"/>
              <a:gd name="connsiteY96" fmla="*/ 247650 h 4775200"/>
              <a:gd name="connsiteX97" fmla="*/ 2157412 w 3357562"/>
              <a:gd name="connsiteY97" fmla="*/ 133350 h 4775200"/>
              <a:gd name="connsiteX98" fmla="*/ 2143124 w 3357562"/>
              <a:gd name="connsiteY98" fmla="*/ 3175 h 4775200"/>
              <a:gd name="connsiteX99" fmla="*/ 1198562 w 3357562"/>
              <a:gd name="connsiteY99" fmla="*/ 0 h 4775200"/>
              <a:gd name="connsiteX100" fmla="*/ 1166812 w 3357562"/>
              <a:gd name="connsiteY100" fmla="*/ 133350 h 4775200"/>
              <a:gd name="connsiteX101" fmla="*/ 1128712 w 3357562"/>
              <a:gd name="connsiteY101" fmla="*/ 238125 h 4775200"/>
              <a:gd name="connsiteX102" fmla="*/ 919162 w 3357562"/>
              <a:gd name="connsiteY102" fmla="*/ 400050 h 4775200"/>
              <a:gd name="connsiteX103" fmla="*/ 909637 w 3357562"/>
              <a:gd name="connsiteY103" fmla="*/ 457200 h 4775200"/>
              <a:gd name="connsiteX104" fmla="*/ 785812 w 3357562"/>
              <a:gd name="connsiteY104" fmla="*/ 476250 h 4775200"/>
              <a:gd name="connsiteX105" fmla="*/ 614362 w 3357562"/>
              <a:gd name="connsiteY105" fmla="*/ 533400 h 4775200"/>
              <a:gd name="connsiteX106" fmla="*/ 566737 w 3357562"/>
              <a:gd name="connsiteY106" fmla="*/ 644525 h 4775200"/>
              <a:gd name="connsiteX107" fmla="*/ 461962 w 3357562"/>
              <a:gd name="connsiteY107" fmla="*/ 762000 h 4775200"/>
              <a:gd name="connsiteX108" fmla="*/ 452437 w 3357562"/>
              <a:gd name="connsiteY108" fmla="*/ 838200 h 4775200"/>
              <a:gd name="connsiteX109" fmla="*/ 461962 w 3357562"/>
              <a:gd name="connsiteY109" fmla="*/ 962025 h 4775200"/>
              <a:gd name="connsiteX110" fmla="*/ 414337 w 3357562"/>
              <a:gd name="connsiteY110" fmla="*/ 1009650 h 4775200"/>
              <a:gd name="connsiteX111" fmla="*/ 233362 w 3357562"/>
              <a:gd name="connsiteY111" fmla="*/ 981075 h 4775200"/>
              <a:gd name="connsiteX112" fmla="*/ 166687 w 3357562"/>
              <a:gd name="connsiteY112" fmla="*/ 990600 h 4775200"/>
              <a:gd name="connsiteX113" fmla="*/ 61912 w 3357562"/>
              <a:gd name="connsiteY113" fmla="*/ 1066800 h 4775200"/>
              <a:gd name="connsiteX114" fmla="*/ 42862 w 3357562"/>
              <a:gd name="connsiteY114" fmla="*/ 1162050 h 4775200"/>
              <a:gd name="connsiteX115" fmla="*/ 42862 w 3357562"/>
              <a:gd name="connsiteY115" fmla="*/ 1295400 h 4775200"/>
              <a:gd name="connsiteX116" fmla="*/ 14287 w 3357562"/>
              <a:gd name="connsiteY116" fmla="*/ 1409700 h 4775200"/>
              <a:gd name="connsiteX117" fmla="*/ 0 w 3357562"/>
              <a:gd name="connsiteY117" fmla="*/ 1524000 h 4775200"/>
              <a:gd name="connsiteX118" fmla="*/ 90487 w 3357562"/>
              <a:gd name="connsiteY118" fmla="*/ 1657350 h 4775200"/>
              <a:gd name="connsiteX119" fmla="*/ 147637 w 3357562"/>
              <a:gd name="connsiteY119" fmla="*/ 1838325 h 4775200"/>
              <a:gd name="connsiteX120" fmla="*/ 204787 w 3357562"/>
              <a:gd name="connsiteY120" fmla="*/ 2047875 h 4775200"/>
              <a:gd name="connsiteX121" fmla="*/ 261937 w 3357562"/>
              <a:gd name="connsiteY121" fmla="*/ 2314575 h 4775200"/>
              <a:gd name="connsiteX122" fmla="*/ 347662 w 3357562"/>
              <a:gd name="connsiteY122" fmla="*/ 2419350 h 4775200"/>
              <a:gd name="connsiteX123" fmla="*/ 319087 w 3357562"/>
              <a:gd name="connsiteY123" fmla="*/ 2628900 h 4775200"/>
              <a:gd name="connsiteX124" fmla="*/ 390524 w 3357562"/>
              <a:gd name="connsiteY124" fmla="*/ 2786062 h 4775200"/>
              <a:gd name="connsiteX125" fmla="*/ 366712 w 3357562"/>
              <a:gd name="connsiteY125" fmla="*/ 2876550 h 4775200"/>
              <a:gd name="connsiteX126" fmla="*/ 430212 w 3357562"/>
              <a:gd name="connsiteY126" fmla="*/ 3273425 h 4775200"/>
              <a:gd name="connsiteX127" fmla="*/ 420687 w 3357562"/>
              <a:gd name="connsiteY127" fmla="*/ 3381375 h 4775200"/>
              <a:gd name="connsiteX128" fmla="*/ 369887 w 3357562"/>
              <a:gd name="connsiteY128" fmla="*/ 3517900 h 4775200"/>
              <a:gd name="connsiteX129" fmla="*/ 385762 w 3357562"/>
              <a:gd name="connsiteY129" fmla="*/ 3641725 h 4775200"/>
              <a:gd name="connsiteX130" fmla="*/ 452437 w 3357562"/>
              <a:gd name="connsiteY130" fmla="*/ 3829050 h 4775200"/>
              <a:gd name="connsiteX131" fmla="*/ 495300 w 3357562"/>
              <a:gd name="connsiteY131" fmla="*/ 3919538 h 4775200"/>
              <a:gd name="connsiteX132" fmla="*/ 519112 w 3357562"/>
              <a:gd name="connsiteY132" fmla="*/ 4024312 h 4775200"/>
              <a:gd name="connsiteX133" fmla="*/ 447674 w 3357562"/>
              <a:gd name="connsiteY133" fmla="*/ 4086225 h 4775200"/>
              <a:gd name="connsiteX134" fmla="*/ 609599 w 3357562"/>
              <a:gd name="connsiteY134" fmla="*/ 4162424 h 4775200"/>
              <a:gd name="connsiteX135" fmla="*/ 690562 w 3357562"/>
              <a:gd name="connsiteY135" fmla="*/ 4300537 h 4775200"/>
              <a:gd name="connsiteX136" fmla="*/ 750887 w 3357562"/>
              <a:gd name="connsiteY136" fmla="*/ 4337050 h 4775200"/>
              <a:gd name="connsiteX137" fmla="*/ 841375 w 3357562"/>
              <a:gd name="connsiteY137" fmla="*/ 4276725 h 4775200"/>
              <a:gd name="connsiteX138" fmla="*/ 928687 w 3357562"/>
              <a:gd name="connsiteY138" fmla="*/ 4302125 h 4775200"/>
              <a:gd name="connsiteX139" fmla="*/ 1092199 w 3357562"/>
              <a:gd name="connsiteY139" fmla="*/ 4456112 h 4775200"/>
              <a:gd name="connsiteX140" fmla="*/ 1203324 w 3357562"/>
              <a:gd name="connsiteY140" fmla="*/ 4516437 h 4775200"/>
              <a:gd name="connsiteX141" fmla="*/ 1381124 w 3357562"/>
              <a:gd name="connsiteY141" fmla="*/ 4629150 h 4775200"/>
              <a:gd name="connsiteX142" fmla="*/ 1662112 w 3357562"/>
              <a:gd name="connsiteY142" fmla="*/ 4762500 h 4775200"/>
              <a:gd name="connsiteX143" fmla="*/ 1779587 w 3357562"/>
              <a:gd name="connsiteY143" fmla="*/ 4775200 h 4775200"/>
              <a:gd name="connsiteX0" fmla="*/ 1779587 w 3357562"/>
              <a:gd name="connsiteY0" fmla="*/ 4776708 h 4776708"/>
              <a:gd name="connsiteX1" fmla="*/ 1855787 w 3357562"/>
              <a:gd name="connsiteY1" fmla="*/ 4725908 h 4776708"/>
              <a:gd name="connsiteX2" fmla="*/ 1855787 w 3357562"/>
              <a:gd name="connsiteY2" fmla="*/ 4646533 h 4776708"/>
              <a:gd name="connsiteX3" fmla="*/ 1838325 w 3357562"/>
              <a:gd name="connsiteY3" fmla="*/ 4587796 h 4776708"/>
              <a:gd name="connsiteX4" fmla="*/ 1725612 w 3357562"/>
              <a:gd name="connsiteY4" fmla="*/ 4549695 h 4776708"/>
              <a:gd name="connsiteX5" fmla="*/ 1660525 w 3357562"/>
              <a:gd name="connsiteY5" fmla="*/ 4573508 h 4776708"/>
              <a:gd name="connsiteX6" fmla="*/ 1660525 w 3357562"/>
              <a:gd name="connsiteY6" fmla="*/ 4527471 h 4776708"/>
              <a:gd name="connsiteX7" fmla="*/ 1682749 w 3357562"/>
              <a:gd name="connsiteY7" fmla="*/ 4459208 h 4776708"/>
              <a:gd name="connsiteX8" fmla="*/ 1719262 w 3357562"/>
              <a:gd name="connsiteY8" fmla="*/ 4359196 h 4776708"/>
              <a:gd name="connsiteX9" fmla="*/ 1652587 w 3357562"/>
              <a:gd name="connsiteY9" fmla="*/ 4316333 h 4776708"/>
              <a:gd name="connsiteX10" fmla="*/ 1585912 w 3357562"/>
              <a:gd name="connsiteY10" fmla="*/ 4287758 h 4776708"/>
              <a:gd name="connsiteX11" fmla="*/ 1544637 w 3357562"/>
              <a:gd name="connsiteY11" fmla="*/ 4270295 h 4776708"/>
              <a:gd name="connsiteX12" fmla="*/ 1465262 w 3357562"/>
              <a:gd name="connsiteY12" fmla="*/ 4278233 h 4776708"/>
              <a:gd name="connsiteX13" fmla="*/ 1406525 w 3357562"/>
              <a:gd name="connsiteY13" fmla="*/ 4144883 h 4776708"/>
              <a:gd name="connsiteX14" fmla="*/ 1333500 w 3357562"/>
              <a:gd name="connsiteY14" fmla="*/ 4035345 h 4776708"/>
              <a:gd name="connsiteX15" fmla="*/ 1214437 w 3357562"/>
              <a:gd name="connsiteY15" fmla="*/ 3982958 h 4776708"/>
              <a:gd name="connsiteX16" fmla="*/ 1128712 w 3357562"/>
              <a:gd name="connsiteY16" fmla="*/ 3973433 h 4776708"/>
              <a:gd name="connsiteX17" fmla="*/ 1100137 w 3357562"/>
              <a:gd name="connsiteY17" fmla="*/ 3935333 h 4776708"/>
              <a:gd name="connsiteX18" fmla="*/ 1081087 w 3357562"/>
              <a:gd name="connsiteY18" fmla="*/ 3840083 h 4776708"/>
              <a:gd name="connsiteX19" fmla="*/ 1109662 w 3357562"/>
              <a:gd name="connsiteY19" fmla="*/ 3782933 h 4776708"/>
              <a:gd name="connsiteX20" fmla="*/ 1252537 w 3357562"/>
              <a:gd name="connsiteY20" fmla="*/ 3773408 h 4776708"/>
              <a:gd name="connsiteX21" fmla="*/ 1376362 w 3357562"/>
              <a:gd name="connsiteY21" fmla="*/ 3554333 h 4776708"/>
              <a:gd name="connsiteX22" fmla="*/ 1428750 w 3357562"/>
              <a:gd name="connsiteY22" fmla="*/ 3443208 h 4776708"/>
              <a:gd name="connsiteX23" fmla="*/ 1366837 w 3357562"/>
              <a:gd name="connsiteY23" fmla="*/ 3273346 h 4776708"/>
              <a:gd name="connsiteX24" fmla="*/ 1295399 w 3357562"/>
              <a:gd name="connsiteY24" fmla="*/ 3192383 h 4776708"/>
              <a:gd name="connsiteX25" fmla="*/ 1200150 w 3357562"/>
              <a:gd name="connsiteY25" fmla="*/ 3149520 h 4776708"/>
              <a:gd name="connsiteX26" fmla="*/ 1109662 w 3357562"/>
              <a:gd name="connsiteY26" fmla="*/ 3068558 h 4776708"/>
              <a:gd name="connsiteX27" fmla="*/ 1057275 w 3357562"/>
              <a:gd name="connsiteY27" fmla="*/ 2944733 h 4776708"/>
              <a:gd name="connsiteX28" fmla="*/ 1014412 w 3357562"/>
              <a:gd name="connsiteY28" fmla="*/ 2868534 h 4776708"/>
              <a:gd name="connsiteX29" fmla="*/ 1033463 w 3357562"/>
              <a:gd name="connsiteY29" fmla="*/ 2782809 h 4776708"/>
              <a:gd name="connsiteX30" fmla="*/ 1133475 w 3357562"/>
              <a:gd name="connsiteY30" fmla="*/ 2697083 h 4776708"/>
              <a:gd name="connsiteX31" fmla="*/ 1176337 w 3357562"/>
              <a:gd name="connsiteY31" fmla="*/ 2611358 h 4776708"/>
              <a:gd name="connsiteX32" fmla="*/ 1200149 w 3357562"/>
              <a:gd name="connsiteY32" fmla="*/ 2635170 h 4776708"/>
              <a:gd name="connsiteX33" fmla="*/ 1295399 w 3357562"/>
              <a:gd name="connsiteY33" fmla="*/ 2611358 h 4776708"/>
              <a:gd name="connsiteX34" fmla="*/ 1447799 w 3357562"/>
              <a:gd name="connsiteY34" fmla="*/ 2520870 h 4776708"/>
              <a:gd name="connsiteX35" fmla="*/ 1490662 w 3357562"/>
              <a:gd name="connsiteY35" fmla="*/ 2468483 h 4776708"/>
              <a:gd name="connsiteX36" fmla="*/ 1543049 w 3357562"/>
              <a:gd name="connsiteY36" fmla="*/ 2363708 h 4776708"/>
              <a:gd name="connsiteX37" fmla="*/ 1552574 w 3357562"/>
              <a:gd name="connsiteY37" fmla="*/ 2249408 h 4776708"/>
              <a:gd name="connsiteX38" fmla="*/ 1462087 w 3357562"/>
              <a:gd name="connsiteY38" fmla="*/ 2173208 h 4776708"/>
              <a:gd name="connsiteX39" fmla="*/ 1409700 w 3357562"/>
              <a:gd name="connsiteY39" fmla="*/ 2136696 h 4776708"/>
              <a:gd name="connsiteX40" fmla="*/ 1325562 w 3357562"/>
              <a:gd name="connsiteY40" fmla="*/ 2109708 h 4776708"/>
              <a:gd name="connsiteX41" fmla="*/ 1225550 w 3357562"/>
              <a:gd name="connsiteY41" fmla="*/ 2116058 h 4776708"/>
              <a:gd name="connsiteX42" fmla="*/ 1028699 w 3357562"/>
              <a:gd name="connsiteY42" fmla="*/ 2136695 h 4776708"/>
              <a:gd name="connsiteX43" fmla="*/ 919162 w 3357562"/>
              <a:gd name="connsiteY43" fmla="*/ 2168446 h 4776708"/>
              <a:gd name="connsiteX44" fmla="*/ 895349 w 3357562"/>
              <a:gd name="connsiteY44" fmla="*/ 2087483 h 4776708"/>
              <a:gd name="connsiteX45" fmla="*/ 914399 w 3357562"/>
              <a:gd name="connsiteY45" fmla="*/ 1963658 h 4776708"/>
              <a:gd name="connsiteX46" fmla="*/ 938212 w 3357562"/>
              <a:gd name="connsiteY46" fmla="*/ 1830308 h 4776708"/>
              <a:gd name="connsiteX47" fmla="*/ 985837 w 3357562"/>
              <a:gd name="connsiteY47" fmla="*/ 1668383 h 4776708"/>
              <a:gd name="connsiteX48" fmla="*/ 957262 w 3357562"/>
              <a:gd name="connsiteY48" fmla="*/ 1592183 h 4776708"/>
              <a:gd name="connsiteX49" fmla="*/ 938212 w 3357562"/>
              <a:gd name="connsiteY49" fmla="*/ 1525508 h 4776708"/>
              <a:gd name="connsiteX50" fmla="*/ 771525 w 3357562"/>
              <a:gd name="connsiteY50" fmla="*/ 1468358 h 4776708"/>
              <a:gd name="connsiteX51" fmla="*/ 614362 w 3357562"/>
              <a:gd name="connsiteY51" fmla="*/ 1439783 h 4776708"/>
              <a:gd name="connsiteX52" fmla="*/ 633412 w 3357562"/>
              <a:gd name="connsiteY52" fmla="*/ 1335008 h 4776708"/>
              <a:gd name="connsiteX53" fmla="*/ 741362 w 3357562"/>
              <a:gd name="connsiteY53" fmla="*/ 1220708 h 4776708"/>
              <a:gd name="connsiteX54" fmla="*/ 842962 w 3357562"/>
              <a:gd name="connsiteY54" fmla="*/ 1144508 h 4776708"/>
              <a:gd name="connsiteX55" fmla="*/ 890587 w 3357562"/>
              <a:gd name="connsiteY55" fmla="*/ 1106408 h 4776708"/>
              <a:gd name="connsiteX56" fmla="*/ 890587 w 3357562"/>
              <a:gd name="connsiteY56" fmla="*/ 1049258 h 4776708"/>
              <a:gd name="connsiteX57" fmla="*/ 909637 w 3357562"/>
              <a:gd name="connsiteY57" fmla="*/ 982583 h 4776708"/>
              <a:gd name="connsiteX58" fmla="*/ 938212 w 3357562"/>
              <a:gd name="connsiteY58" fmla="*/ 954008 h 4776708"/>
              <a:gd name="connsiteX59" fmla="*/ 947737 w 3357562"/>
              <a:gd name="connsiteY59" fmla="*/ 887333 h 4776708"/>
              <a:gd name="connsiteX60" fmla="*/ 947737 w 3357562"/>
              <a:gd name="connsiteY60" fmla="*/ 801608 h 4776708"/>
              <a:gd name="connsiteX61" fmla="*/ 1017587 w 3357562"/>
              <a:gd name="connsiteY61" fmla="*/ 687308 h 4776708"/>
              <a:gd name="connsiteX62" fmla="*/ 1281112 w 3357562"/>
              <a:gd name="connsiteY62" fmla="*/ 750808 h 4776708"/>
              <a:gd name="connsiteX63" fmla="*/ 1485900 w 3357562"/>
              <a:gd name="connsiteY63" fmla="*/ 644446 h 4776708"/>
              <a:gd name="connsiteX64" fmla="*/ 1619250 w 3357562"/>
              <a:gd name="connsiteY64" fmla="*/ 519033 h 4776708"/>
              <a:gd name="connsiteX65" fmla="*/ 1739899 w 3357562"/>
              <a:gd name="connsiteY65" fmla="*/ 507921 h 4776708"/>
              <a:gd name="connsiteX66" fmla="*/ 1895474 w 3357562"/>
              <a:gd name="connsiteY66" fmla="*/ 511095 h 4776708"/>
              <a:gd name="connsiteX67" fmla="*/ 2066924 w 3357562"/>
              <a:gd name="connsiteY67" fmla="*/ 568246 h 4776708"/>
              <a:gd name="connsiteX68" fmla="*/ 2200275 w 3357562"/>
              <a:gd name="connsiteY68" fmla="*/ 653971 h 4776708"/>
              <a:gd name="connsiteX69" fmla="*/ 2295525 w 3357562"/>
              <a:gd name="connsiteY69" fmla="*/ 730171 h 4776708"/>
              <a:gd name="connsiteX70" fmla="*/ 2609849 w 3357562"/>
              <a:gd name="connsiteY70" fmla="*/ 763508 h 4776708"/>
              <a:gd name="connsiteX71" fmla="*/ 2754312 w 3357562"/>
              <a:gd name="connsiteY71" fmla="*/ 790496 h 4776708"/>
              <a:gd name="connsiteX72" fmla="*/ 2886074 w 3357562"/>
              <a:gd name="connsiteY72" fmla="*/ 839708 h 4776708"/>
              <a:gd name="connsiteX73" fmla="*/ 3090862 w 3357562"/>
              <a:gd name="connsiteY73" fmla="*/ 792083 h 4776708"/>
              <a:gd name="connsiteX74" fmla="*/ 3176587 w 3357562"/>
              <a:gd name="connsiteY74" fmla="*/ 806371 h 4776708"/>
              <a:gd name="connsiteX75" fmla="*/ 3297237 w 3357562"/>
              <a:gd name="connsiteY75" fmla="*/ 788908 h 4776708"/>
              <a:gd name="connsiteX76" fmla="*/ 3325812 w 3357562"/>
              <a:gd name="connsiteY76" fmla="*/ 766683 h 4776708"/>
              <a:gd name="connsiteX77" fmla="*/ 3357562 w 3357562"/>
              <a:gd name="connsiteY77" fmla="*/ 706358 h 4776708"/>
              <a:gd name="connsiteX78" fmla="*/ 3336924 w 3357562"/>
              <a:gd name="connsiteY78" fmla="*/ 538083 h 4776708"/>
              <a:gd name="connsiteX79" fmla="*/ 3301999 w 3357562"/>
              <a:gd name="connsiteY79" fmla="*/ 476170 h 4776708"/>
              <a:gd name="connsiteX80" fmla="*/ 3182937 w 3357562"/>
              <a:gd name="connsiteY80" fmla="*/ 411083 h 4776708"/>
              <a:gd name="connsiteX81" fmla="*/ 3167062 w 3357562"/>
              <a:gd name="connsiteY81" fmla="*/ 353933 h 4776708"/>
              <a:gd name="connsiteX82" fmla="*/ 3119437 w 3357562"/>
              <a:gd name="connsiteY82" fmla="*/ 315833 h 4776708"/>
              <a:gd name="connsiteX83" fmla="*/ 3090862 w 3357562"/>
              <a:gd name="connsiteY83" fmla="*/ 338058 h 4776708"/>
              <a:gd name="connsiteX84" fmla="*/ 3071812 w 3357562"/>
              <a:gd name="connsiteY84" fmla="*/ 388858 h 4776708"/>
              <a:gd name="connsiteX85" fmla="*/ 3062287 w 3357562"/>
              <a:gd name="connsiteY85" fmla="*/ 439658 h 4776708"/>
              <a:gd name="connsiteX86" fmla="*/ 3019425 w 3357562"/>
              <a:gd name="connsiteY86" fmla="*/ 453946 h 4776708"/>
              <a:gd name="connsiteX87" fmla="*/ 2947987 w 3357562"/>
              <a:gd name="connsiteY87" fmla="*/ 420608 h 4776708"/>
              <a:gd name="connsiteX88" fmla="*/ 2852737 w 3357562"/>
              <a:gd name="connsiteY88" fmla="*/ 477758 h 4776708"/>
              <a:gd name="connsiteX89" fmla="*/ 2833687 w 3357562"/>
              <a:gd name="connsiteY89" fmla="*/ 506333 h 4776708"/>
              <a:gd name="connsiteX90" fmla="*/ 2824162 w 3357562"/>
              <a:gd name="connsiteY90" fmla="*/ 544433 h 4776708"/>
              <a:gd name="connsiteX91" fmla="*/ 2747962 w 3357562"/>
              <a:gd name="connsiteY91" fmla="*/ 506333 h 4776708"/>
              <a:gd name="connsiteX92" fmla="*/ 2657475 w 3357562"/>
              <a:gd name="connsiteY92" fmla="*/ 477758 h 4776708"/>
              <a:gd name="connsiteX93" fmla="*/ 2557462 w 3357562"/>
              <a:gd name="connsiteY93" fmla="*/ 430133 h 4776708"/>
              <a:gd name="connsiteX94" fmla="*/ 2433637 w 3357562"/>
              <a:gd name="connsiteY94" fmla="*/ 363458 h 4776708"/>
              <a:gd name="connsiteX95" fmla="*/ 2333624 w 3357562"/>
              <a:gd name="connsiteY95" fmla="*/ 277733 h 4776708"/>
              <a:gd name="connsiteX96" fmla="*/ 2190750 w 3357562"/>
              <a:gd name="connsiteY96" fmla="*/ 249158 h 4776708"/>
              <a:gd name="connsiteX97" fmla="*/ 2157412 w 3357562"/>
              <a:gd name="connsiteY97" fmla="*/ 134858 h 4776708"/>
              <a:gd name="connsiteX98" fmla="*/ 2143124 w 3357562"/>
              <a:gd name="connsiteY98" fmla="*/ 4683 h 4776708"/>
              <a:gd name="connsiteX99" fmla="*/ 1273629 w 3357562"/>
              <a:gd name="connsiteY99" fmla="*/ 0 h 4776708"/>
              <a:gd name="connsiteX100" fmla="*/ 1198562 w 3357562"/>
              <a:gd name="connsiteY100" fmla="*/ 1508 h 4776708"/>
              <a:gd name="connsiteX101" fmla="*/ 1166812 w 3357562"/>
              <a:gd name="connsiteY101" fmla="*/ 134858 h 4776708"/>
              <a:gd name="connsiteX102" fmla="*/ 1128712 w 3357562"/>
              <a:gd name="connsiteY102" fmla="*/ 239633 h 4776708"/>
              <a:gd name="connsiteX103" fmla="*/ 919162 w 3357562"/>
              <a:gd name="connsiteY103" fmla="*/ 401558 h 4776708"/>
              <a:gd name="connsiteX104" fmla="*/ 909637 w 3357562"/>
              <a:gd name="connsiteY104" fmla="*/ 458708 h 4776708"/>
              <a:gd name="connsiteX105" fmla="*/ 785812 w 3357562"/>
              <a:gd name="connsiteY105" fmla="*/ 477758 h 4776708"/>
              <a:gd name="connsiteX106" fmla="*/ 614362 w 3357562"/>
              <a:gd name="connsiteY106" fmla="*/ 534908 h 4776708"/>
              <a:gd name="connsiteX107" fmla="*/ 566737 w 3357562"/>
              <a:gd name="connsiteY107" fmla="*/ 646033 h 4776708"/>
              <a:gd name="connsiteX108" fmla="*/ 461962 w 3357562"/>
              <a:gd name="connsiteY108" fmla="*/ 763508 h 4776708"/>
              <a:gd name="connsiteX109" fmla="*/ 452437 w 3357562"/>
              <a:gd name="connsiteY109" fmla="*/ 839708 h 4776708"/>
              <a:gd name="connsiteX110" fmla="*/ 461962 w 3357562"/>
              <a:gd name="connsiteY110" fmla="*/ 963533 h 4776708"/>
              <a:gd name="connsiteX111" fmla="*/ 414337 w 3357562"/>
              <a:gd name="connsiteY111" fmla="*/ 1011158 h 4776708"/>
              <a:gd name="connsiteX112" fmla="*/ 233362 w 3357562"/>
              <a:gd name="connsiteY112" fmla="*/ 982583 h 4776708"/>
              <a:gd name="connsiteX113" fmla="*/ 166687 w 3357562"/>
              <a:gd name="connsiteY113" fmla="*/ 992108 h 4776708"/>
              <a:gd name="connsiteX114" fmla="*/ 61912 w 3357562"/>
              <a:gd name="connsiteY114" fmla="*/ 1068308 h 4776708"/>
              <a:gd name="connsiteX115" fmla="*/ 42862 w 3357562"/>
              <a:gd name="connsiteY115" fmla="*/ 1163558 h 4776708"/>
              <a:gd name="connsiteX116" fmla="*/ 42862 w 3357562"/>
              <a:gd name="connsiteY116" fmla="*/ 1296908 h 4776708"/>
              <a:gd name="connsiteX117" fmla="*/ 14287 w 3357562"/>
              <a:gd name="connsiteY117" fmla="*/ 1411208 h 4776708"/>
              <a:gd name="connsiteX118" fmla="*/ 0 w 3357562"/>
              <a:gd name="connsiteY118" fmla="*/ 1525508 h 4776708"/>
              <a:gd name="connsiteX119" fmla="*/ 90487 w 3357562"/>
              <a:gd name="connsiteY119" fmla="*/ 1658858 h 4776708"/>
              <a:gd name="connsiteX120" fmla="*/ 147637 w 3357562"/>
              <a:gd name="connsiteY120" fmla="*/ 1839833 h 4776708"/>
              <a:gd name="connsiteX121" fmla="*/ 204787 w 3357562"/>
              <a:gd name="connsiteY121" fmla="*/ 2049383 h 4776708"/>
              <a:gd name="connsiteX122" fmla="*/ 261937 w 3357562"/>
              <a:gd name="connsiteY122" fmla="*/ 2316083 h 4776708"/>
              <a:gd name="connsiteX123" fmla="*/ 347662 w 3357562"/>
              <a:gd name="connsiteY123" fmla="*/ 2420858 h 4776708"/>
              <a:gd name="connsiteX124" fmla="*/ 319087 w 3357562"/>
              <a:gd name="connsiteY124" fmla="*/ 2630408 h 4776708"/>
              <a:gd name="connsiteX125" fmla="*/ 390524 w 3357562"/>
              <a:gd name="connsiteY125" fmla="*/ 2787570 h 4776708"/>
              <a:gd name="connsiteX126" fmla="*/ 366712 w 3357562"/>
              <a:gd name="connsiteY126" fmla="*/ 2878058 h 4776708"/>
              <a:gd name="connsiteX127" fmla="*/ 430212 w 3357562"/>
              <a:gd name="connsiteY127" fmla="*/ 3274933 h 4776708"/>
              <a:gd name="connsiteX128" fmla="*/ 420687 w 3357562"/>
              <a:gd name="connsiteY128" fmla="*/ 3382883 h 4776708"/>
              <a:gd name="connsiteX129" fmla="*/ 369887 w 3357562"/>
              <a:gd name="connsiteY129" fmla="*/ 3519408 h 4776708"/>
              <a:gd name="connsiteX130" fmla="*/ 385762 w 3357562"/>
              <a:gd name="connsiteY130" fmla="*/ 3643233 h 4776708"/>
              <a:gd name="connsiteX131" fmla="*/ 452437 w 3357562"/>
              <a:gd name="connsiteY131" fmla="*/ 3830558 h 4776708"/>
              <a:gd name="connsiteX132" fmla="*/ 495300 w 3357562"/>
              <a:gd name="connsiteY132" fmla="*/ 3921046 h 4776708"/>
              <a:gd name="connsiteX133" fmla="*/ 519112 w 3357562"/>
              <a:gd name="connsiteY133" fmla="*/ 4025820 h 4776708"/>
              <a:gd name="connsiteX134" fmla="*/ 447674 w 3357562"/>
              <a:gd name="connsiteY134" fmla="*/ 4087733 h 4776708"/>
              <a:gd name="connsiteX135" fmla="*/ 609599 w 3357562"/>
              <a:gd name="connsiteY135" fmla="*/ 4163932 h 4776708"/>
              <a:gd name="connsiteX136" fmla="*/ 690562 w 3357562"/>
              <a:gd name="connsiteY136" fmla="*/ 4302045 h 4776708"/>
              <a:gd name="connsiteX137" fmla="*/ 750887 w 3357562"/>
              <a:gd name="connsiteY137" fmla="*/ 4338558 h 4776708"/>
              <a:gd name="connsiteX138" fmla="*/ 841375 w 3357562"/>
              <a:gd name="connsiteY138" fmla="*/ 4278233 h 4776708"/>
              <a:gd name="connsiteX139" fmla="*/ 928687 w 3357562"/>
              <a:gd name="connsiteY139" fmla="*/ 4303633 h 4776708"/>
              <a:gd name="connsiteX140" fmla="*/ 1092199 w 3357562"/>
              <a:gd name="connsiteY140" fmla="*/ 4457620 h 4776708"/>
              <a:gd name="connsiteX141" fmla="*/ 1203324 w 3357562"/>
              <a:gd name="connsiteY141" fmla="*/ 4517945 h 4776708"/>
              <a:gd name="connsiteX142" fmla="*/ 1381124 w 3357562"/>
              <a:gd name="connsiteY142" fmla="*/ 4630658 h 4776708"/>
              <a:gd name="connsiteX143" fmla="*/ 1662112 w 3357562"/>
              <a:gd name="connsiteY143" fmla="*/ 4764008 h 4776708"/>
              <a:gd name="connsiteX144" fmla="*/ 1779587 w 3357562"/>
              <a:gd name="connsiteY144" fmla="*/ 4776708 h 4776708"/>
              <a:gd name="connsiteX0" fmla="*/ 1779587 w 3357562"/>
              <a:gd name="connsiteY0" fmla="*/ 4878308 h 4878308"/>
              <a:gd name="connsiteX1" fmla="*/ 1855787 w 3357562"/>
              <a:gd name="connsiteY1" fmla="*/ 4827508 h 4878308"/>
              <a:gd name="connsiteX2" fmla="*/ 1855787 w 3357562"/>
              <a:gd name="connsiteY2" fmla="*/ 4748133 h 4878308"/>
              <a:gd name="connsiteX3" fmla="*/ 1838325 w 3357562"/>
              <a:gd name="connsiteY3" fmla="*/ 4689396 h 4878308"/>
              <a:gd name="connsiteX4" fmla="*/ 1725612 w 3357562"/>
              <a:gd name="connsiteY4" fmla="*/ 4651295 h 4878308"/>
              <a:gd name="connsiteX5" fmla="*/ 1660525 w 3357562"/>
              <a:gd name="connsiteY5" fmla="*/ 4675108 h 4878308"/>
              <a:gd name="connsiteX6" fmla="*/ 1660525 w 3357562"/>
              <a:gd name="connsiteY6" fmla="*/ 4629071 h 4878308"/>
              <a:gd name="connsiteX7" fmla="*/ 1682749 w 3357562"/>
              <a:gd name="connsiteY7" fmla="*/ 4560808 h 4878308"/>
              <a:gd name="connsiteX8" fmla="*/ 1719262 w 3357562"/>
              <a:gd name="connsiteY8" fmla="*/ 4460796 h 4878308"/>
              <a:gd name="connsiteX9" fmla="*/ 1652587 w 3357562"/>
              <a:gd name="connsiteY9" fmla="*/ 4417933 h 4878308"/>
              <a:gd name="connsiteX10" fmla="*/ 1585912 w 3357562"/>
              <a:gd name="connsiteY10" fmla="*/ 4389358 h 4878308"/>
              <a:gd name="connsiteX11" fmla="*/ 1544637 w 3357562"/>
              <a:gd name="connsiteY11" fmla="*/ 4371895 h 4878308"/>
              <a:gd name="connsiteX12" fmla="*/ 1465262 w 3357562"/>
              <a:gd name="connsiteY12" fmla="*/ 4379833 h 4878308"/>
              <a:gd name="connsiteX13" fmla="*/ 1406525 w 3357562"/>
              <a:gd name="connsiteY13" fmla="*/ 4246483 h 4878308"/>
              <a:gd name="connsiteX14" fmla="*/ 1333500 w 3357562"/>
              <a:gd name="connsiteY14" fmla="*/ 4136945 h 4878308"/>
              <a:gd name="connsiteX15" fmla="*/ 1214437 w 3357562"/>
              <a:gd name="connsiteY15" fmla="*/ 4084558 h 4878308"/>
              <a:gd name="connsiteX16" fmla="*/ 1128712 w 3357562"/>
              <a:gd name="connsiteY16" fmla="*/ 4075033 h 4878308"/>
              <a:gd name="connsiteX17" fmla="*/ 1100137 w 3357562"/>
              <a:gd name="connsiteY17" fmla="*/ 4036933 h 4878308"/>
              <a:gd name="connsiteX18" fmla="*/ 1081087 w 3357562"/>
              <a:gd name="connsiteY18" fmla="*/ 3941683 h 4878308"/>
              <a:gd name="connsiteX19" fmla="*/ 1109662 w 3357562"/>
              <a:gd name="connsiteY19" fmla="*/ 3884533 h 4878308"/>
              <a:gd name="connsiteX20" fmla="*/ 1252537 w 3357562"/>
              <a:gd name="connsiteY20" fmla="*/ 3875008 h 4878308"/>
              <a:gd name="connsiteX21" fmla="*/ 1376362 w 3357562"/>
              <a:gd name="connsiteY21" fmla="*/ 3655933 h 4878308"/>
              <a:gd name="connsiteX22" fmla="*/ 1428750 w 3357562"/>
              <a:gd name="connsiteY22" fmla="*/ 3544808 h 4878308"/>
              <a:gd name="connsiteX23" fmla="*/ 1366837 w 3357562"/>
              <a:gd name="connsiteY23" fmla="*/ 3374946 h 4878308"/>
              <a:gd name="connsiteX24" fmla="*/ 1295399 w 3357562"/>
              <a:gd name="connsiteY24" fmla="*/ 3293983 h 4878308"/>
              <a:gd name="connsiteX25" fmla="*/ 1200150 w 3357562"/>
              <a:gd name="connsiteY25" fmla="*/ 3251120 h 4878308"/>
              <a:gd name="connsiteX26" fmla="*/ 1109662 w 3357562"/>
              <a:gd name="connsiteY26" fmla="*/ 3170158 h 4878308"/>
              <a:gd name="connsiteX27" fmla="*/ 1057275 w 3357562"/>
              <a:gd name="connsiteY27" fmla="*/ 3046333 h 4878308"/>
              <a:gd name="connsiteX28" fmla="*/ 1014412 w 3357562"/>
              <a:gd name="connsiteY28" fmla="*/ 2970134 h 4878308"/>
              <a:gd name="connsiteX29" fmla="*/ 1033463 w 3357562"/>
              <a:gd name="connsiteY29" fmla="*/ 2884409 h 4878308"/>
              <a:gd name="connsiteX30" fmla="*/ 1133475 w 3357562"/>
              <a:gd name="connsiteY30" fmla="*/ 2798683 h 4878308"/>
              <a:gd name="connsiteX31" fmla="*/ 1176337 w 3357562"/>
              <a:gd name="connsiteY31" fmla="*/ 2712958 h 4878308"/>
              <a:gd name="connsiteX32" fmla="*/ 1200149 w 3357562"/>
              <a:gd name="connsiteY32" fmla="*/ 2736770 h 4878308"/>
              <a:gd name="connsiteX33" fmla="*/ 1295399 w 3357562"/>
              <a:gd name="connsiteY33" fmla="*/ 2712958 h 4878308"/>
              <a:gd name="connsiteX34" fmla="*/ 1447799 w 3357562"/>
              <a:gd name="connsiteY34" fmla="*/ 2622470 h 4878308"/>
              <a:gd name="connsiteX35" fmla="*/ 1490662 w 3357562"/>
              <a:gd name="connsiteY35" fmla="*/ 2570083 h 4878308"/>
              <a:gd name="connsiteX36" fmla="*/ 1543049 w 3357562"/>
              <a:gd name="connsiteY36" fmla="*/ 2465308 h 4878308"/>
              <a:gd name="connsiteX37" fmla="*/ 1552574 w 3357562"/>
              <a:gd name="connsiteY37" fmla="*/ 2351008 h 4878308"/>
              <a:gd name="connsiteX38" fmla="*/ 1462087 w 3357562"/>
              <a:gd name="connsiteY38" fmla="*/ 2274808 h 4878308"/>
              <a:gd name="connsiteX39" fmla="*/ 1409700 w 3357562"/>
              <a:gd name="connsiteY39" fmla="*/ 2238296 h 4878308"/>
              <a:gd name="connsiteX40" fmla="*/ 1325562 w 3357562"/>
              <a:gd name="connsiteY40" fmla="*/ 2211308 h 4878308"/>
              <a:gd name="connsiteX41" fmla="*/ 1225550 w 3357562"/>
              <a:gd name="connsiteY41" fmla="*/ 2217658 h 4878308"/>
              <a:gd name="connsiteX42" fmla="*/ 1028699 w 3357562"/>
              <a:gd name="connsiteY42" fmla="*/ 2238295 h 4878308"/>
              <a:gd name="connsiteX43" fmla="*/ 919162 w 3357562"/>
              <a:gd name="connsiteY43" fmla="*/ 2270046 h 4878308"/>
              <a:gd name="connsiteX44" fmla="*/ 895349 w 3357562"/>
              <a:gd name="connsiteY44" fmla="*/ 2189083 h 4878308"/>
              <a:gd name="connsiteX45" fmla="*/ 914399 w 3357562"/>
              <a:gd name="connsiteY45" fmla="*/ 2065258 h 4878308"/>
              <a:gd name="connsiteX46" fmla="*/ 938212 w 3357562"/>
              <a:gd name="connsiteY46" fmla="*/ 1931908 h 4878308"/>
              <a:gd name="connsiteX47" fmla="*/ 985837 w 3357562"/>
              <a:gd name="connsiteY47" fmla="*/ 1769983 h 4878308"/>
              <a:gd name="connsiteX48" fmla="*/ 957262 w 3357562"/>
              <a:gd name="connsiteY48" fmla="*/ 1693783 h 4878308"/>
              <a:gd name="connsiteX49" fmla="*/ 938212 w 3357562"/>
              <a:gd name="connsiteY49" fmla="*/ 1627108 h 4878308"/>
              <a:gd name="connsiteX50" fmla="*/ 771525 w 3357562"/>
              <a:gd name="connsiteY50" fmla="*/ 1569958 h 4878308"/>
              <a:gd name="connsiteX51" fmla="*/ 614362 w 3357562"/>
              <a:gd name="connsiteY51" fmla="*/ 1541383 h 4878308"/>
              <a:gd name="connsiteX52" fmla="*/ 633412 w 3357562"/>
              <a:gd name="connsiteY52" fmla="*/ 1436608 h 4878308"/>
              <a:gd name="connsiteX53" fmla="*/ 741362 w 3357562"/>
              <a:gd name="connsiteY53" fmla="*/ 1322308 h 4878308"/>
              <a:gd name="connsiteX54" fmla="*/ 842962 w 3357562"/>
              <a:gd name="connsiteY54" fmla="*/ 1246108 h 4878308"/>
              <a:gd name="connsiteX55" fmla="*/ 890587 w 3357562"/>
              <a:gd name="connsiteY55" fmla="*/ 1208008 h 4878308"/>
              <a:gd name="connsiteX56" fmla="*/ 890587 w 3357562"/>
              <a:gd name="connsiteY56" fmla="*/ 1150858 h 4878308"/>
              <a:gd name="connsiteX57" fmla="*/ 909637 w 3357562"/>
              <a:gd name="connsiteY57" fmla="*/ 1084183 h 4878308"/>
              <a:gd name="connsiteX58" fmla="*/ 938212 w 3357562"/>
              <a:gd name="connsiteY58" fmla="*/ 1055608 h 4878308"/>
              <a:gd name="connsiteX59" fmla="*/ 947737 w 3357562"/>
              <a:gd name="connsiteY59" fmla="*/ 988933 h 4878308"/>
              <a:gd name="connsiteX60" fmla="*/ 947737 w 3357562"/>
              <a:gd name="connsiteY60" fmla="*/ 903208 h 4878308"/>
              <a:gd name="connsiteX61" fmla="*/ 1017587 w 3357562"/>
              <a:gd name="connsiteY61" fmla="*/ 788908 h 4878308"/>
              <a:gd name="connsiteX62" fmla="*/ 1281112 w 3357562"/>
              <a:gd name="connsiteY62" fmla="*/ 852408 h 4878308"/>
              <a:gd name="connsiteX63" fmla="*/ 1485900 w 3357562"/>
              <a:gd name="connsiteY63" fmla="*/ 746046 h 4878308"/>
              <a:gd name="connsiteX64" fmla="*/ 1619250 w 3357562"/>
              <a:gd name="connsiteY64" fmla="*/ 620633 h 4878308"/>
              <a:gd name="connsiteX65" fmla="*/ 1739899 w 3357562"/>
              <a:gd name="connsiteY65" fmla="*/ 609521 h 4878308"/>
              <a:gd name="connsiteX66" fmla="*/ 1895474 w 3357562"/>
              <a:gd name="connsiteY66" fmla="*/ 612695 h 4878308"/>
              <a:gd name="connsiteX67" fmla="*/ 2066924 w 3357562"/>
              <a:gd name="connsiteY67" fmla="*/ 669846 h 4878308"/>
              <a:gd name="connsiteX68" fmla="*/ 2200275 w 3357562"/>
              <a:gd name="connsiteY68" fmla="*/ 755571 h 4878308"/>
              <a:gd name="connsiteX69" fmla="*/ 2295525 w 3357562"/>
              <a:gd name="connsiteY69" fmla="*/ 831771 h 4878308"/>
              <a:gd name="connsiteX70" fmla="*/ 2609849 w 3357562"/>
              <a:gd name="connsiteY70" fmla="*/ 865108 h 4878308"/>
              <a:gd name="connsiteX71" fmla="*/ 2754312 w 3357562"/>
              <a:gd name="connsiteY71" fmla="*/ 892096 h 4878308"/>
              <a:gd name="connsiteX72" fmla="*/ 2886074 w 3357562"/>
              <a:gd name="connsiteY72" fmla="*/ 941308 h 4878308"/>
              <a:gd name="connsiteX73" fmla="*/ 3090862 w 3357562"/>
              <a:gd name="connsiteY73" fmla="*/ 893683 h 4878308"/>
              <a:gd name="connsiteX74" fmla="*/ 3176587 w 3357562"/>
              <a:gd name="connsiteY74" fmla="*/ 907971 h 4878308"/>
              <a:gd name="connsiteX75" fmla="*/ 3297237 w 3357562"/>
              <a:gd name="connsiteY75" fmla="*/ 890508 h 4878308"/>
              <a:gd name="connsiteX76" fmla="*/ 3325812 w 3357562"/>
              <a:gd name="connsiteY76" fmla="*/ 868283 h 4878308"/>
              <a:gd name="connsiteX77" fmla="*/ 3357562 w 3357562"/>
              <a:gd name="connsiteY77" fmla="*/ 807958 h 4878308"/>
              <a:gd name="connsiteX78" fmla="*/ 3336924 w 3357562"/>
              <a:gd name="connsiteY78" fmla="*/ 639683 h 4878308"/>
              <a:gd name="connsiteX79" fmla="*/ 3301999 w 3357562"/>
              <a:gd name="connsiteY79" fmla="*/ 577770 h 4878308"/>
              <a:gd name="connsiteX80" fmla="*/ 3182937 w 3357562"/>
              <a:gd name="connsiteY80" fmla="*/ 512683 h 4878308"/>
              <a:gd name="connsiteX81" fmla="*/ 3167062 w 3357562"/>
              <a:gd name="connsiteY81" fmla="*/ 455533 h 4878308"/>
              <a:gd name="connsiteX82" fmla="*/ 3119437 w 3357562"/>
              <a:gd name="connsiteY82" fmla="*/ 417433 h 4878308"/>
              <a:gd name="connsiteX83" fmla="*/ 3090862 w 3357562"/>
              <a:gd name="connsiteY83" fmla="*/ 439658 h 4878308"/>
              <a:gd name="connsiteX84" fmla="*/ 3071812 w 3357562"/>
              <a:gd name="connsiteY84" fmla="*/ 490458 h 4878308"/>
              <a:gd name="connsiteX85" fmla="*/ 3062287 w 3357562"/>
              <a:gd name="connsiteY85" fmla="*/ 541258 h 4878308"/>
              <a:gd name="connsiteX86" fmla="*/ 3019425 w 3357562"/>
              <a:gd name="connsiteY86" fmla="*/ 555546 h 4878308"/>
              <a:gd name="connsiteX87" fmla="*/ 2947987 w 3357562"/>
              <a:gd name="connsiteY87" fmla="*/ 522208 h 4878308"/>
              <a:gd name="connsiteX88" fmla="*/ 2852737 w 3357562"/>
              <a:gd name="connsiteY88" fmla="*/ 579358 h 4878308"/>
              <a:gd name="connsiteX89" fmla="*/ 2833687 w 3357562"/>
              <a:gd name="connsiteY89" fmla="*/ 607933 h 4878308"/>
              <a:gd name="connsiteX90" fmla="*/ 2824162 w 3357562"/>
              <a:gd name="connsiteY90" fmla="*/ 646033 h 4878308"/>
              <a:gd name="connsiteX91" fmla="*/ 2747962 w 3357562"/>
              <a:gd name="connsiteY91" fmla="*/ 607933 h 4878308"/>
              <a:gd name="connsiteX92" fmla="*/ 2657475 w 3357562"/>
              <a:gd name="connsiteY92" fmla="*/ 579358 h 4878308"/>
              <a:gd name="connsiteX93" fmla="*/ 2557462 w 3357562"/>
              <a:gd name="connsiteY93" fmla="*/ 531733 h 4878308"/>
              <a:gd name="connsiteX94" fmla="*/ 2433637 w 3357562"/>
              <a:gd name="connsiteY94" fmla="*/ 465058 h 4878308"/>
              <a:gd name="connsiteX95" fmla="*/ 2333624 w 3357562"/>
              <a:gd name="connsiteY95" fmla="*/ 379333 h 4878308"/>
              <a:gd name="connsiteX96" fmla="*/ 2190750 w 3357562"/>
              <a:gd name="connsiteY96" fmla="*/ 350758 h 4878308"/>
              <a:gd name="connsiteX97" fmla="*/ 2157412 w 3357562"/>
              <a:gd name="connsiteY97" fmla="*/ 236458 h 4878308"/>
              <a:gd name="connsiteX98" fmla="*/ 2143124 w 3357562"/>
              <a:gd name="connsiteY98" fmla="*/ 106283 h 4878308"/>
              <a:gd name="connsiteX99" fmla="*/ 1162504 w 3357562"/>
              <a:gd name="connsiteY99" fmla="*/ 0 h 4878308"/>
              <a:gd name="connsiteX100" fmla="*/ 1198562 w 3357562"/>
              <a:gd name="connsiteY100" fmla="*/ 103108 h 4878308"/>
              <a:gd name="connsiteX101" fmla="*/ 1166812 w 3357562"/>
              <a:gd name="connsiteY101" fmla="*/ 236458 h 4878308"/>
              <a:gd name="connsiteX102" fmla="*/ 1128712 w 3357562"/>
              <a:gd name="connsiteY102" fmla="*/ 341233 h 4878308"/>
              <a:gd name="connsiteX103" fmla="*/ 919162 w 3357562"/>
              <a:gd name="connsiteY103" fmla="*/ 503158 h 4878308"/>
              <a:gd name="connsiteX104" fmla="*/ 909637 w 3357562"/>
              <a:gd name="connsiteY104" fmla="*/ 560308 h 4878308"/>
              <a:gd name="connsiteX105" fmla="*/ 785812 w 3357562"/>
              <a:gd name="connsiteY105" fmla="*/ 579358 h 4878308"/>
              <a:gd name="connsiteX106" fmla="*/ 614362 w 3357562"/>
              <a:gd name="connsiteY106" fmla="*/ 636508 h 4878308"/>
              <a:gd name="connsiteX107" fmla="*/ 566737 w 3357562"/>
              <a:gd name="connsiteY107" fmla="*/ 747633 h 4878308"/>
              <a:gd name="connsiteX108" fmla="*/ 461962 w 3357562"/>
              <a:gd name="connsiteY108" fmla="*/ 865108 h 4878308"/>
              <a:gd name="connsiteX109" fmla="*/ 452437 w 3357562"/>
              <a:gd name="connsiteY109" fmla="*/ 941308 h 4878308"/>
              <a:gd name="connsiteX110" fmla="*/ 461962 w 3357562"/>
              <a:gd name="connsiteY110" fmla="*/ 1065133 h 4878308"/>
              <a:gd name="connsiteX111" fmla="*/ 414337 w 3357562"/>
              <a:gd name="connsiteY111" fmla="*/ 1112758 h 4878308"/>
              <a:gd name="connsiteX112" fmla="*/ 233362 w 3357562"/>
              <a:gd name="connsiteY112" fmla="*/ 1084183 h 4878308"/>
              <a:gd name="connsiteX113" fmla="*/ 166687 w 3357562"/>
              <a:gd name="connsiteY113" fmla="*/ 1093708 h 4878308"/>
              <a:gd name="connsiteX114" fmla="*/ 61912 w 3357562"/>
              <a:gd name="connsiteY114" fmla="*/ 1169908 h 4878308"/>
              <a:gd name="connsiteX115" fmla="*/ 42862 w 3357562"/>
              <a:gd name="connsiteY115" fmla="*/ 1265158 h 4878308"/>
              <a:gd name="connsiteX116" fmla="*/ 42862 w 3357562"/>
              <a:gd name="connsiteY116" fmla="*/ 1398508 h 4878308"/>
              <a:gd name="connsiteX117" fmla="*/ 14287 w 3357562"/>
              <a:gd name="connsiteY117" fmla="*/ 1512808 h 4878308"/>
              <a:gd name="connsiteX118" fmla="*/ 0 w 3357562"/>
              <a:gd name="connsiteY118" fmla="*/ 1627108 h 4878308"/>
              <a:gd name="connsiteX119" fmla="*/ 90487 w 3357562"/>
              <a:gd name="connsiteY119" fmla="*/ 1760458 h 4878308"/>
              <a:gd name="connsiteX120" fmla="*/ 147637 w 3357562"/>
              <a:gd name="connsiteY120" fmla="*/ 1941433 h 4878308"/>
              <a:gd name="connsiteX121" fmla="*/ 204787 w 3357562"/>
              <a:gd name="connsiteY121" fmla="*/ 2150983 h 4878308"/>
              <a:gd name="connsiteX122" fmla="*/ 261937 w 3357562"/>
              <a:gd name="connsiteY122" fmla="*/ 2417683 h 4878308"/>
              <a:gd name="connsiteX123" fmla="*/ 347662 w 3357562"/>
              <a:gd name="connsiteY123" fmla="*/ 2522458 h 4878308"/>
              <a:gd name="connsiteX124" fmla="*/ 319087 w 3357562"/>
              <a:gd name="connsiteY124" fmla="*/ 2732008 h 4878308"/>
              <a:gd name="connsiteX125" fmla="*/ 390524 w 3357562"/>
              <a:gd name="connsiteY125" fmla="*/ 2889170 h 4878308"/>
              <a:gd name="connsiteX126" fmla="*/ 366712 w 3357562"/>
              <a:gd name="connsiteY126" fmla="*/ 2979658 h 4878308"/>
              <a:gd name="connsiteX127" fmla="*/ 430212 w 3357562"/>
              <a:gd name="connsiteY127" fmla="*/ 3376533 h 4878308"/>
              <a:gd name="connsiteX128" fmla="*/ 420687 w 3357562"/>
              <a:gd name="connsiteY128" fmla="*/ 3484483 h 4878308"/>
              <a:gd name="connsiteX129" fmla="*/ 369887 w 3357562"/>
              <a:gd name="connsiteY129" fmla="*/ 3621008 h 4878308"/>
              <a:gd name="connsiteX130" fmla="*/ 385762 w 3357562"/>
              <a:gd name="connsiteY130" fmla="*/ 3744833 h 4878308"/>
              <a:gd name="connsiteX131" fmla="*/ 452437 w 3357562"/>
              <a:gd name="connsiteY131" fmla="*/ 3932158 h 4878308"/>
              <a:gd name="connsiteX132" fmla="*/ 495300 w 3357562"/>
              <a:gd name="connsiteY132" fmla="*/ 4022646 h 4878308"/>
              <a:gd name="connsiteX133" fmla="*/ 519112 w 3357562"/>
              <a:gd name="connsiteY133" fmla="*/ 4127420 h 4878308"/>
              <a:gd name="connsiteX134" fmla="*/ 447674 w 3357562"/>
              <a:gd name="connsiteY134" fmla="*/ 4189333 h 4878308"/>
              <a:gd name="connsiteX135" fmla="*/ 609599 w 3357562"/>
              <a:gd name="connsiteY135" fmla="*/ 4265532 h 4878308"/>
              <a:gd name="connsiteX136" fmla="*/ 690562 w 3357562"/>
              <a:gd name="connsiteY136" fmla="*/ 4403645 h 4878308"/>
              <a:gd name="connsiteX137" fmla="*/ 750887 w 3357562"/>
              <a:gd name="connsiteY137" fmla="*/ 4440158 h 4878308"/>
              <a:gd name="connsiteX138" fmla="*/ 841375 w 3357562"/>
              <a:gd name="connsiteY138" fmla="*/ 4379833 h 4878308"/>
              <a:gd name="connsiteX139" fmla="*/ 928687 w 3357562"/>
              <a:gd name="connsiteY139" fmla="*/ 4405233 h 4878308"/>
              <a:gd name="connsiteX140" fmla="*/ 1092199 w 3357562"/>
              <a:gd name="connsiteY140" fmla="*/ 4559220 h 4878308"/>
              <a:gd name="connsiteX141" fmla="*/ 1203324 w 3357562"/>
              <a:gd name="connsiteY141" fmla="*/ 4619545 h 4878308"/>
              <a:gd name="connsiteX142" fmla="*/ 1381124 w 3357562"/>
              <a:gd name="connsiteY142" fmla="*/ 4732258 h 4878308"/>
              <a:gd name="connsiteX143" fmla="*/ 1662112 w 3357562"/>
              <a:gd name="connsiteY143" fmla="*/ 4865608 h 4878308"/>
              <a:gd name="connsiteX144" fmla="*/ 1779587 w 3357562"/>
              <a:gd name="connsiteY144" fmla="*/ 4878308 h 4878308"/>
              <a:gd name="connsiteX0" fmla="*/ 1779587 w 3357562"/>
              <a:gd name="connsiteY0" fmla="*/ 4878308 h 4878308"/>
              <a:gd name="connsiteX1" fmla="*/ 1855787 w 3357562"/>
              <a:gd name="connsiteY1" fmla="*/ 4827508 h 4878308"/>
              <a:gd name="connsiteX2" fmla="*/ 1855787 w 3357562"/>
              <a:gd name="connsiteY2" fmla="*/ 4748133 h 4878308"/>
              <a:gd name="connsiteX3" fmla="*/ 1838325 w 3357562"/>
              <a:gd name="connsiteY3" fmla="*/ 4689396 h 4878308"/>
              <a:gd name="connsiteX4" fmla="*/ 1725612 w 3357562"/>
              <a:gd name="connsiteY4" fmla="*/ 4651295 h 4878308"/>
              <a:gd name="connsiteX5" fmla="*/ 1660525 w 3357562"/>
              <a:gd name="connsiteY5" fmla="*/ 4675108 h 4878308"/>
              <a:gd name="connsiteX6" fmla="*/ 1660525 w 3357562"/>
              <a:gd name="connsiteY6" fmla="*/ 4629071 h 4878308"/>
              <a:gd name="connsiteX7" fmla="*/ 1682749 w 3357562"/>
              <a:gd name="connsiteY7" fmla="*/ 4560808 h 4878308"/>
              <a:gd name="connsiteX8" fmla="*/ 1719262 w 3357562"/>
              <a:gd name="connsiteY8" fmla="*/ 4460796 h 4878308"/>
              <a:gd name="connsiteX9" fmla="*/ 1652587 w 3357562"/>
              <a:gd name="connsiteY9" fmla="*/ 4417933 h 4878308"/>
              <a:gd name="connsiteX10" fmla="*/ 1585912 w 3357562"/>
              <a:gd name="connsiteY10" fmla="*/ 4389358 h 4878308"/>
              <a:gd name="connsiteX11" fmla="*/ 1544637 w 3357562"/>
              <a:gd name="connsiteY11" fmla="*/ 4371895 h 4878308"/>
              <a:gd name="connsiteX12" fmla="*/ 1465262 w 3357562"/>
              <a:gd name="connsiteY12" fmla="*/ 4379833 h 4878308"/>
              <a:gd name="connsiteX13" fmla="*/ 1406525 w 3357562"/>
              <a:gd name="connsiteY13" fmla="*/ 4246483 h 4878308"/>
              <a:gd name="connsiteX14" fmla="*/ 1333500 w 3357562"/>
              <a:gd name="connsiteY14" fmla="*/ 4136945 h 4878308"/>
              <a:gd name="connsiteX15" fmla="*/ 1214437 w 3357562"/>
              <a:gd name="connsiteY15" fmla="*/ 4084558 h 4878308"/>
              <a:gd name="connsiteX16" fmla="*/ 1128712 w 3357562"/>
              <a:gd name="connsiteY16" fmla="*/ 4075033 h 4878308"/>
              <a:gd name="connsiteX17" fmla="*/ 1100137 w 3357562"/>
              <a:gd name="connsiteY17" fmla="*/ 4036933 h 4878308"/>
              <a:gd name="connsiteX18" fmla="*/ 1081087 w 3357562"/>
              <a:gd name="connsiteY18" fmla="*/ 3941683 h 4878308"/>
              <a:gd name="connsiteX19" fmla="*/ 1109662 w 3357562"/>
              <a:gd name="connsiteY19" fmla="*/ 3884533 h 4878308"/>
              <a:gd name="connsiteX20" fmla="*/ 1252537 w 3357562"/>
              <a:gd name="connsiteY20" fmla="*/ 3875008 h 4878308"/>
              <a:gd name="connsiteX21" fmla="*/ 1376362 w 3357562"/>
              <a:gd name="connsiteY21" fmla="*/ 3655933 h 4878308"/>
              <a:gd name="connsiteX22" fmla="*/ 1428750 w 3357562"/>
              <a:gd name="connsiteY22" fmla="*/ 3544808 h 4878308"/>
              <a:gd name="connsiteX23" fmla="*/ 1366837 w 3357562"/>
              <a:gd name="connsiteY23" fmla="*/ 3374946 h 4878308"/>
              <a:gd name="connsiteX24" fmla="*/ 1295399 w 3357562"/>
              <a:gd name="connsiteY24" fmla="*/ 3293983 h 4878308"/>
              <a:gd name="connsiteX25" fmla="*/ 1200150 w 3357562"/>
              <a:gd name="connsiteY25" fmla="*/ 3251120 h 4878308"/>
              <a:gd name="connsiteX26" fmla="*/ 1109662 w 3357562"/>
              <a:gd name="connsiteY26" fmla="*/ 3170158 h 4878308"/>
              <a:gd name="connsiteX27" fmla="*/ 1057275 w 3357562"/>
              <a:gd name="connsiteY27" fmla="*/ 3046333 h 4878308"/>
              <a:gd name="connsiteX28" fmla="*/ 1014412 w 3357562"/>
              <a:gd name="connsiteY28" fmla="*/ 2970134 h 4878308"/>
              <a:gd name="connsiteX29" fmla="*/ 1033463 w 3357562"/>
              <a:gd name="connsiteY29" fmla="*/ 2884409 h 4878308"/>
              <a:gd name="connsiteX30" fmla="*/ 1133475 w 3357562"/>
              <a:gd name="connsiteY30" fmla="*/ 2798683 h 4878308"/>
              <a:gd name="connsiteX31" fmla="*/ 1176337 w 3357562"/>
              <a:gd name="connsiteY31" fmla="*/ 2712958 h 4878308"/>
              <a:gd name="connsiteX32" fmla="*/ 1200149 w 3357562"/>
              <a:gd name="connsiteY32" fmla="*/ 2736770 h 4878308"/>
              <a:gd name="connsiteX33" fmla="*/ 1295399 w 3357562"/>
              <a:gd name="connsiteY33" fmla="*/ 2712958 h 4878308"/>
              <a:gd name="connsiteX34" fmla="*/ 1447799 w 3357562"/>
              <a:gd name="connsiteY34" fmla="*/ 2622470 h 4878308"/>
              <a:gd name="connsiteX35" fmla="*/ 1490662 w 3357562"/>
              <a:gd name="connsiteY35" fmla="*/ 2570083 h 4878308"/>
              <a:gd name="connsiteX36" fmla="*/ 1543049 w 3357562"/>
              <a:gd name="connsiteY36" fmla="*/ 2465308 h 4878308"/>
              <a:gd name="connsiteX37" fmla="*/ 1552574 w 3357562"/>
              <a:gd name="connsiteY37" fmla="*/ 2351008 h 4878308"/>
              <a:gd name="connsiteX38" fmla="*/ 1462087 w 3357562"/>
              <a:gd name="connsiteY38" fmla="*/ 2274808 h 4878308"/>
              <a:gd name="connsiteX39" fmla="*/ 1409700 w 3357562"/>
              <a:gd name="connsiteY39" fmla="*/ 2238296 h 4878308"/>
              <a:gd name="connsiteX40" fmla="*/ 1325562 w 3357562"/>
              <a:gd name="connsiteY40" fmla="*/ 2211308 h 4878308"/>
              <a:gd name="connsiteX41" fmla="*/ 1225550 w 3357562"/>
              <a:gd name="connsiteY41" fmla="*/ 2217658 h 4878308"/>
              <a:gd name="connsiteX42" fmla="*/ 1028699 w 3357562"/>
              <a:gd name="connsiteY42" fmla="*/ 2238295 h 4878308"/>
              <a:gd name="connsiteX43" fmla="*/ 919162 w 3357562"/>
              <a:gd name="connsiteY43" fmla="*/ 2270046 h 4878308"/>
              <a:gd name="connsiteX44" fmla="*/ 895349 w 3357562"/>
              <a:gd name="connsiteY44" fmla="*/ 2189083 h 4878308"/>
              <a:gd name="connsiteX45" fmla="*/ 914399 w 3357562"/>
              <a:gd name="connsiteY45" fmla="*/ 2065258 h 4878308"/>
              <a:gd name="connsiteX46" fmla="*/ 938212 w 3357562"/>
              <a:gd name="connsiteY46" fmla="*/ 1931908 h 4878308"/>
              <a:gd name="connsiteX47" fmla="*/ 985837 w 3357562"/>
              <a:gd name="connsiteY47" fmla="*/ 1769983 h 4878308"/>
              <a:gd name="connsiteX48" fmla="*/ 957262 w 3357562"/>
              <a:gd name="connsiteY48" fmla="*/ 1693783 h 4878308"/>
              <a:gd name="connsiteX49" fmla="*/ 938212 w 3357562"/>
              <a:gd name="connsiteY49" fmla="*/ 1627108 h 4878308"/>
              <a:gd name="connsiteX50" fmla="*/ 771525 w 3357562"/>
              <a:gd name="connsiteY50" fmla="*/ 1569958 h 4878308"/>
              <a:gd name="connsiteX51" fmla="*/ 614362 w 3357562"/>
              <a:gd name="connsiteY51" fmla="*/ 1541383 h 4878308"/>
              <a:gd name="connsiteX52" fmla="*/ 633412 w 3357562"/>
              <a:gd name="connsiteY52" fmla="*/ 1436608 h 4878308"/>
              <a:gd name="connsiteX53" fmla="*/ 741362 w 3357562"/>
              <a:gd name="connsiteY53" fmla="*/ 1322308 h 4878308"/>
              <a:gd name="connsiteX54" fmla="*/ 842962 w 3357562"/>
              <a:gd name="connsiteY54" fmla="*/ 1246108 h 4878308"/>
              <a:gd name="connsiteX55" fmla="*/ 890587 w 3357562"/>
              <a:gd name="connsiteY55" fmla="*/ 1208008 h 4878308"/>
              <a:gd name="connsiteX56" fmla="*/ 890587 w 3357562"/>
              <a:gd name="connsiteY56" fmla="*/ 1150858 h 4878308"/>
              <a:gd name="connsiteX57" fmla="*/ 909637 w 3357562"/>
              <a:gd name="connsiteY57" fmla="*/ 1084183 h 4878308"/>
              <a:gd name="connsiteX58" fmla="*/ 938212 w 3357562"/>
              <a:gd name="connsiteY58" fmla="*/ 1055608 h 4878308"/>
              <a:gd name="connsiteX59" fmla="*/ 947737 w 3357562"/>
              <a:gd name="connsiteY59" fmla="*/ 988933 h 4878308"/>
              <a:gd name="connsiteX60" fmla="*/ 947737 w 3357562"/>
              <a:gd name="connsiteY60" fmla="*/ 903208 h 4878308"/>
              <a:gd name="connsiteX61" fmla="*/ 1017587 w 3357562"/>
              <a:gd name="connsiteY61" fmla="*/ 788908 h 4878308"/>
              <a:gd name="connsiteX62" fmla="*/ 1281112 w 3357562"/>
              <a:gd name="connsiteY62" fmla="*/ 852408 h 4878308"/>
              <a:gd name="connsiteX63" fmla="*/ 1485900 w 3357562"/>
              <a:gd name="connsiteY63" fmla="*/ 746046 h 4878308"/>
              <a:gd name="connsiteX64" fmla="*/ 1619250 w 3357562"/>
              <a:gd name="connsiteY64" fmla="*/ 620633 h 4878308"/>
              <a:gd name="connsiteX65" fmla="*/ 1739899 w 3357562"/>
              <a:gd name="connsiteY65" fmla="*/ 609521 h 4878308"/>
              <a:gd name="connsiteX66" fmla="*/ 1895474 w 3357562"/>
              <a:gd name="connsiteY66" fmla="*/ 612695 h 4878308"/>
              <a:gd name="connsiteX67" fmla="*/ 2066924 w 3357562"/>
              <a:gd name="connsiteY67" fmla="*/ 669846 h 4878308"/>
              <a:gd name="connsiteX68" fmla="*/ 2200275 w 3357562"/>
              <a:gd name="connsiteY68" fmla="*/ 755571 h 4878308"/>
              <a:gd name="connsiteX69" fmla="*/ 2295525 w 3357562"/>
              <a:gd name="connsiteY69" fmla="*/ 831771 h 4878308"/>
              <a:gd name="connsiteX70" fmla="*/ 2609849 w 3357562"/>
              <a:gd name="connsiteY70" fmla="*/ 865108 h 4878308"/>
              <a:gd name="connsiteX71" fmla="*/ 2754312 w 3357562"/>
              <a:gd name="connsiteY71" fmla="*/ 892096 h 4878308"/>
              <a:gd name="connsiteX72" fmla="*/ 2886074 w 3357562"/>
              <a:gd name="connsiteY72" fmla="*/ 941308 h 4878308"/>
              <a:gd name="connsiteX73" fmla="*/ 3090862 w 3357562"/>
              <a:gd name="connsiteY73" fmla="*/ 893683 h 4878308"/>
              <a:gd name="connsiteX74" fmla="*/ 3176587 w 3357562"/>
              <a:gd name="connsiteY74" fmla="*/ 907971 h 4878308"/>
              <a:gd name="connsiteX75" fmla="*/ 3297237 w 3357562"/>
              <a:gd name="connsiteY75" fmla="*/ 890508 h 4878308"/>
              <a:gd name="connsiteX76" fmla="*/ 3325812 w 3357562"/>
              <a:gd name="connsiteY76" fmla="*/ 868283 h 4878308"/>
              <a:gd name="connsiteX77" fmla="*/ 3357562 w 3357562"/>
              <a:gd name="connsiteY77" fmla="*/ 807958 h 4878308"/>
              <a:gd name="connsiteX78" fmla="*/ 3336924 w 3357562"/>
              <a:gd name="connsiteY78" fmla="*/ 639683 h 4878308"/>
              <a:gd name="connsiteX79" fmla="*/ 3301999 w 3357562"/>
              <a:gd name="connsiteY79" fmla="*/ 577770 h 4878308"/>
              <a:gd name="connsiteX80" fmla="*/ 3182937 w 3357562"/>
              <a:gd name="connsiteY80" fmla="*/ 512683 h 4878308"/>
              <a:gd name="connsiteX81" fmla="*/ 3167062 w 3357562"/>
              <a:gd name="connsiteY81" fmla="*/ 455533 h 4878308"/>
              <a:gd name="connsiteX82" fmla="*/ 3119437 w 3357562"/>
              <a:gd name="connsiteY82" fmla="*/ 417433 h 4878308"/>
              <a:gd name="connsiteX83" fmla="*/ 3090862 w 3357562"/>
              <a:gd name="connsiteY83" fmla="*/ 439658 h 4878308"/>
              <a:gd name="connsiteX84" fmla="*/ 3071812 w 3357562"/>
              <a:gd name="connsiteY84" fmla="*/ 490458 h 4878308"/>
              <a:gd name="connsiteX85" fmla="*/ 3062287 w 3357562"/>
              <a:gd name="connsiteY85" fmla="*/ 541258 h 4878308"/>
              <a:gd name="connsiteX86" fmla="*/ 3019425 w 3357562"/>
              <a:gd name="connsiteY86" fmla="*/ 555546 h 4878308"/>
              <a:gd name="connsiteX87" fmla="*/ 2947987 w 3357562"/>
              <a:gd name="connsiteY87" fmla="*/ 522208 h 4878308"/>
              <a:gd name="connsiteX88" fmla="*/ 2852737 w 3357562"/>
              <a:gd name="connsiteY88" fmla="*/ 579358 h 4878308"/>
              <a:gd name="connsiteX89" fmla="*/ 2833687 w 3357562"/>
              <a:gd name="connsiteY89" fmla="*/ 607933 h 4878308"/>
              <a:gd name="connsiteX90" fmla="*/ 2824162 w 3357562"/>
              <a:gd name="connsiteY90" fmla="*/ 646033 h 4878308"/>
              <a:gd name="connsiteX91" fmla="*/ 2747962 w 3357562"/>
              <a:gd name="connsiteY91" fmla="*/ 607933 h 4878308"/>
              <a:gd name="connsiteX92" fmla="*/ 2657475 w 3357562"/>
              <a:gd name="connsiteY92" fmla="*/ 579358 h 4878308"/>
              <a:gd name="connsiteX93" fmla="*/ 2557462 w 3357562"/>
              <a:gd name="connsiteY93" fmla="*/ 531733 h 4878308"/>
              <a:gd name="connsiteX94" fmla="*/ 2433637 w 3357562"/>
              <a:gd name="connsiteY94" fmla="*/ 465058 h 4878308"/>
              <a:gd name="connsiteX95" fmla="*/ 2333624 w 3357562"/>
              <a:gd name="connsiteY95" fmla="*/ 379333 h 4878308"/>
              <a:gd name="connsiteX96" fmla="*/ 2190750 w 3357562"/>
              <a:gd name="connsiteY96" fmla="*/ 350758 h 4878308"/>
              <a:gd name="connsiteX97" fmla="*/ 2157412 w 3357562"/>
              <a:gd name="connsiteY97" fmla="*/ 236458 h 4878308"/>
              <a:gd name="connsiteX98" fmla="*/ 2143124 w 3357562"/>
              <a:gd name="connsiteY98" fmla="*/ 106283 h 4878308"/>
              <a:gd name="connsiteX99" fmla="*/ 1245054 w 3357562"/>
              <a:gd name="connsiteY99" fmla="*/ 9525 h 4878308"/>
              <a:gd name="connsiteX100" fmla="*/ 1162504 w 3357562"/>
              <a:gd name="connsiteY100" fmla="*/ 0 h 4878308"/>
              <a:gd name="connsiteX101" fmla="*/ 1198562 w 3357562"/>
              <a:gd name="connsiteY101" fmla="*/ 103108 h 4878308"/>
              <a:gd name="connsiteX102" fmla="*/ 1166812 w 3357562"/>
              <a:gd name="connsiteY102" fmla="*/ 236458 h 4878308"/>
              <a:gd name="connsiteX103" fmla="*/ 1128712 w 3357562"/>
              <a:gd name="connsiteY103" fmla="*/ 341233 h 4878308"/>
              <a:gd name="connsiteX104" fmla="*/ 919162 w 3357562"/>
              <a:gd name="connsiteY104" fmla="*/ 503158 h 4878308"/>
              <a:gd name="connsiteX105" fmla="*/ 909637 w 3357562"/>
              <a:gd name="connsiteY105" fmla="*/ 560308 h 4878308"/>
              <a:gd name="connsiteX106" fmla="*/ 785812 w 3357562"/>
              <a:gd name="connsiteY106" fmla="*/ 579358 h 4878308"/>
              <a:gd name="connsiteX107" fmla="*/ 614362 w 3357562"/>
              <a:gd name="connsiteY107" fmla="*/ 636508 h 4878308"/>
              <a:gd name="connsiteX108" fmla="*/ 566737 w 3357562"/>
              <a:gd name="connsiteY108" fmla="*/ 747633 h 4878308"/>
              <a:gd name="connsiteX109" fmla="*/ 461962 w 3357562"/>
              <a:gd name="connsiteY109" fmla="*/ 865108 h 4878308"/>
              <a:gd name="connsiteX110" fmla="*/ 452437 w 3357562"/>
              <a:gd name="connsiteY110" fmla="*/ 941308 h 4878308"/>
              <a:gd name="connsiteX111" fmla="*/ 461962 w 3357562"/>
              <a:gd name="connsiteY111" fmla="*/ 1065133 h 4878308"/>
              <a:gd name="connsiteX112" fmla="*/ 414337 w 3357562"/>
              <a:gd name="connsiteY112" fmla="*/ 1112758 h 4878308"/>
              <a:gd name="connsiteX113" fmla="*/ 233362 w 3357562"/>
              <a:gd name="connsiteY113" fmla="*/ 1084183 h 4878308"/>
              <a:gd name="connsiteX114" fmla="*/ 166687 w 3357562"/>
              <a:gd name="connsiteY114" fmla="*/ 1093708 h 4878308"/>
              <a:gd name="connsiteX115" fmla="*/ 61912 w 3357562"/>
              <a:gd name="connsiteY115" fmla="*/ 1169908 h 4878308"/>
              <a:gd name="connsiteX116" fmla="*/ 42862 w 3357562"/>
              <a:gd name="connsiteY116" fmla="*/ 1265158 h 4878308"/>
              <a:gd name="connsiteX117" fmla="*/ 42862 w 3357562"/>
              <a:gd name="connsiteY117" fmla="*/ 1398508 h 4878308"/>
              <a:gd name="connsiteX118" fmla="*/ 14287 w 3357562"/>
              <a:gd name="connsiteY118" fmla="*/ 1512808 h 4878308"/>
              <a:gd name="connsiteX119" fmla="*/ 0 w 3357562"/>
              <a:gd name="connsiteY119" fmla="*/ 1627108 h 4878308"/>
              <a:gd name="connsiteX120" fmla="*/ 90487 w 3357562"/>
              <a:gd name="connsiteY120" fmla="*/ 1760458 h 4878308"/>
              <a:gd name="connsiteX121" fmla="*/ 147637 w 3357562"/>
              <a:gd name="connsiteY121" fmla="*/ 1941433 h 4878308"/>
              <a:gd name="connsiteX122" fmla="*/ 204787 w 3357562"/>
              <a:gd name="connsiteY122" fmla="*/ 2150983 h 4878308"/>
              <a:gd name="connsiteX123" fmla="*/ 261937 w 3357562"/>
              <a:gd name="connsiteY123" fmla="*/ 2417683 h 4878308"/>
              <a:gd name="connsiteX124" fmla="*/ 347662 w 3357562"/>
              <a:gd name="connsiteY124" fmla="*/ 2522458 h 4878308"/>
              <a:gd name="connsiteX125" fmla="*/ 319087 w 3357562"/>
              <a:gd name="connsiteY125" fmla="*/ 2732008 h 4878308"/>
              <a:gd name="connsiteX126" fmla="*/ 390524 w 3357562"/>
              <a:gd name="connsiteY126" fmla="*/ 2889170 h 4878308"/>
              <a:gd name="connsiteX127" fmla="*/ 366712 w 3357562"/>
              <a:gd name="connsiteY127" fmla="*/ 2979658 h 4878308"/>
              <a:gd name="connsiteX128" fmla="*/ 430212 w 3357562"/>
              <a:gd name="connsiteY128" fmla="*/ 3376533 h 4878308"/>
              <a:gd name="connsiteX129" fmla="*/ 420687 w 3357562"/>
              <a:gd name="connsiteY129" fmla="*/ 3484483 h 4878308"/>
              <a:gd name="connsiteX130" fmla="*/ 369887 w 3357562"/>
              <a:gd name="connsiteY130" fmla="*/ 3621008 h 4878308"/>
              <a:gd name="connsiteX131" fmla="*/ 385762 w 3357562"/>
              <a:gd name="connsiteY131" fmla="*/ 3744833 h 4878308"/>
              <a:gd name="connsiteX132" fmla="*/ 452437 w 3357562"/>
              <a:gd name="connsiteY132" fmla="*/ 3932158 h 4878308"/>
              <a:gd name="connsiteX133" fmla="*/ 495300 w 3357562"/>
              <a:gd name="connsiteY133" fmla="*/ 4022646 h 4878308"/>
              <a:gd name="connsiteX134" fmla="*/ 519112 w 3357562"/>
              <a:gd name="connsiteY134" fmla="*/ 4127420 h 4878308"/>
              <a:gd name="connsiteX135" fmla="*/ 447674 w 3357562"/>
              <a:gd name="connsiteY135" fmla="*/ 4189333 h 4878308"/>
              <a:gd name="connsiteX136" fmla="*/ 609599 w 3357562"/>
              <a:gd name="connsiteY136" fmla="*/ 4265532 h 4878308"/>
              <a:gd name="connsiteX137" fmla="*/ 690562 w 3357562"/>
              <a:gd name="connsiteY137" fmla="*/ 4403645 h 4878308"/>
              <a:gd name="connsiteX138" fmla="*/ 750887 w 3357562"/>
              <a:gd name="connsiteY138" fmla="*/ 4440158 h 4878308"/>
              <a:gd name="connsiteX139" fmla="*/ 841375 w 3357562"/>
              <a:gd name="connsiteY139" fmla="*/ 4379833 h 4878308"/>
              <a:gd name="connsiteX140" fmla="*/ 928687 w 3357562"/>
              <a:gd name="connsiteY140" fmla="*/ 4405233 h 4878308"/>
              <a:gd name="connsiteX141" fmla="*/ 1092199 w 3357562"/>
              <a:gd name="connsiteY141" fmla="*/ 4559220 h 4878308"/>
              <a:gd name="connsiteX142" fmla="*/ 1203324 w 3357562"/>
              <a:gd name="connsiteY142" fmla="*/ 4619545 h 4878308"/>
              <a:gd name="connsiteX143" fmla="*/ 1381124 w 3357562"/>
              <a:gd name="connsiteY143" fmla="*/ 4732258 h 4878308"/>
              <a:gd name="connsiteX144" fmla="*/ 1662112 w 3357562"/>
              <a:gd name="connsiteY144" fmla="*/ 4865608 h 4878308"/>
              <a:gd name="connsiteX145" fmla="*/ 1779587 w 3357562"/>
              <a:gd name="connsiteY145" fmla="*/ 4878308 h 4878308"/>
              <a:gd name="connsiteX0" fmla="*/ 1779587 w 3357562"/>
              <a:gd name="connsiteY0" fmla="*/ 4951333 h 4951333"/>
              <a:gd name="connsiteX1" fmla="*/ 1855787 w 3357562"/>
              <a:gd name="connsiteY1" fmla="*/ 4900533 h 4951333"/>
              <a:gd name="connsiteX2" fmla="*/ 1855787 w 3357562"/>
              <a:gd name="connsiteY2" fmla="*/ 4821158 h 4951333"/>
              <a:gd name="connsiteX3" fmla="*/ 1838325 w 3357562"/>
              <a:gd name="connsiteY3" fmla="*/ 4762421 h 4951333"/>
              <a:gd name="connsiteX4" fmla="*/ 1725612 w 3357562"/>
              <a:gd name="connsiteY4" fmla="*/ 4724320 h 4951333"/>
              <a:gd name="connsiteX5" fmla="*/ 1660525 w 3357562"/>
              <a:gd name="connsiteY5" fmla="*/ 4748133 h 4951333"/>
              <a:gd name="connsiteX6" fmla="*/ 1660525 w 3357562"/>
              <a:gd name="connsiteY6" fmla="*/ 4702096 h 4951333"/>
              <a:gd name="connsiteX7" fmla="*/ 1682749 w 3357562"/>
              <a:gd name="connsiteY7" fmla="*/ 4633833 h 4951333"/>
              <a:gd name="connsiteX8" fmla="*/ 1719262 w 3357562"/>
              <a:gd name="connsiteY8" fmla="*/ 4533821 h 4951333"/>
              <a:gd name="connsiteX9" fmla="*/ 1652587 w 3357562"/>
              <a:gd name="connsiteY9" fmla="*/ 4490958 h 4951333"/>
              <a:gd name="connsiteX10" fmla="*/ 1585912 w 3357562"/>
              <a:gd name="connsiteY10" fmla="*/ 4462383 h 4951333"/>
              <a:gd name="connsiteX11" fmla="*/ 1544637 w 3357562"/>
              <a:gd name="connsiteY11" fmla="*/ 4444920 h 4951333"/>
              <a:gd name="connsiteX12" fmla="*/ 1465262 w 3357562"/>
              <a:gd name="connsiteY12" fmla="*/ 4452858 h 4951333"/>
              <a:gd name="connsiteX13" fmla="*/ 1406525 w 3357562"/>
              <a:gd name="connsiteY13" fmla="*/ 4319508 h 4951333"/>
              <a:gd name="connsiteX14" fmla="*/ 1333500 w 3357562"/>
              <a:gd name="connsiteY14" fmla="*/ 4209970 h 4951333"/>
              <a:gd name="connsiteX15" fmla="*/ 1214437 w 3357562"/>
              <a:gd name="connsiteY15" fmla="*/ 4157583 h 4951333"/>
              <a:gd name="connsiteX16" fmla="*/ 1128712 w 3357562"/>
              <a:gd name="connsiteY16" fmla="*/ 4148058 h 4951333"/>
              <a:gd name="connsiteX17" fmla="*/ 1100137 w 3357562"/>
              <a:gd name="connsiteY17" fmla="*/ 4109958 h 4951333"/>
              <a:gd name="connsiteX18" fmla="*/ 1081087 w 3357562"/>
              <a:gd name="connsiteY18" fmla="*/ 4014708 h 4951333"/>
              <a:gd name="connsiteX19" fmla="*/ 1109662 w 3357562"/>
              <a:gd name="connsiteY19" fmla="*/ 3957558 h 4951333"/>
              <a:gd name="connsiteX20" fmla="*/ 1252537 w 3357562"/>
              <a:gd name="connsiteY20" fmla="*/ 3948033 h 4951333"/>
              <a:gd name="connsiteX21" fmla="*/ 1376362 w 3357562"/>
              <a:gd name="connsiteY21" fmla="*/ 3728958 h 4951333"/>
              <a:gd name="connsiteX22" fmla="*/ 1428750 w 3357562"/>
              <a:gd name="connsiteY22" fmla="*/ 3617833 h 4951333"/>
              <a:gd name="connsiteX23" fmla="*/ 1366837 w 3357562"/>
              <a:gd name="connsiteY23" fmla="*/ 3447971 h 4951333"/>
              <a:gd name="connsiteX24" fmla="*/ 1295399 w 3357562"/>
              <a:gd name="connsiteY24" fmla="*/ 3367008 h 4951333"/>
              <a:gd name="connsiteX25" fmla="*/ 1200150 w 3357562"/>
              <a:gd name="connsiteY25" fmla="*/ 3324145 h 4951333"/>
              <a:gd name="connsiteX26" fmla="*/ 1109662 w 3357562"/>
              <a:gd name="connsiteY26" fmla="*/ 3243183 h 4951333"/>
              <a:gd name="connsiteX27" fmla="*/ 1057275 w 3357562"/>
              <a:gd name="connsiteY27" fmla="*/ 3119358 h 4951333"/>
              <a:gd name="connsiteX28" fmla="*/ 1014412 w 3357562"/>
              <a:gd name="connsiteY28" fmla="*/ 3043159 h 4951333"/>
              <a:gd name="connsiteX29" fmla="*/ 1033463 w 3357562"/>
              <a:gd name="connsiteY29" fmla="*/ 2957434 h 4951333"/>
              <a:gd name="connsiteX30" fmla="*/ 1133475 w 3357562"/>
              <a:gd name="connsiteY30" fmla="*/ 2871708 h 4951333"/>
              <a:gd name="connsiteX31" fmla="*/ 1176337 w 3357562"/>
              <a:gd name="connsiteY31" fmla="*/ 2785983 h 4951333"/>
              <a:gd name="connsiteX32" fmla="*/ 1200149 w 3357562"/>
              <a:gd name="connsiteY32" fmla="*/ 2809795 h 4951333"/>
              <a:gd name="connsiteX33" fmla="*/ 1295399 w 3357562"/>
              <a:gd name="connsiteY33" fmla="*/ 2785983 h 4951333"/>
              <a:gd name="connsiteX34" fmla="*/ 1447799 w 3357562"/>
              <a:gd name="connsiteY34" fmla="*/ 2695495 h 4951333"/>
              <a:gd name="connsiteX35" fmla="*/ 1490662 w 3357562"/>
              <a:gd name="connsiteY35" fmla="*/ 2643108 h 4951333"/>
              <a:gd name="connsiteX36" fmla="*/ 1543049 w 3357562"/>
              <a:gd name="connsiteY36" fmla="*/ 2538333 h 4951333"/>
              <a:gd name="connsiteX37" fmla="*/ 1552574 w 3357562"/>
              <a:gd name="connsiteY37" fmla="*/ 2424033 h 4951333"/>
              <a:gd name="connsiteX38" fmla="*/ 1462087 w 3357562"/>
              <a:gd name="connsiteY38" fmla="*/ 2347833 h 4951333"/>
              <a:gd name="connsiteX39" fmla="*/ 1409700 w 3357562"/>
              <a:gd name="connsiteY39" fmla="*/ 2311321 h 4951333"/>
              <a:gd name="connsiteX40" fmla="*/ 1325562 w 3357562"/>
              <a:gd name="connsiteY40" fmla="*/ 2284333 h 4951333"/>
              <a:gd name="connsiteX41" fmla="*/ 1225550 w 3357562"/>
              <a:gd name="connsiteY41" fmla="*/ 2290683 h 4951333"/>
              <a:gd name="connsiteX42" fmla="*/ 1028699 w 3357562"/>
              <a:gd name="connsiteY42" fmla="*/ 2311320 h 4951333"/>
              <a:gd name="connsiteX43" fmla="*/ 919162 w 3357562"/>
              <a:gd name="connsiteY43" fmla="*/ 2343071 h 4951333"/>
              <a:gd name="connsiteX44" fmla="*/ 895349 w 3357562"/>
              <a:gd name="connsiteY44" fmla="*/ 2262108 h 4951333"/>
              <a:gd name="connsiteX45" fmla="*/ 914399 w 3357562"/>
              <a:gd name="connsiteY45" fmla="*/ 2138283 h 4951333"/>
              <a:gd name="connsiteX46" fmla="*/ 938212 w 3357562"/>
              <a:gd name="connsiteY46" fmla="*/ 2004933 h 4951333"/>
              <a:gd name="connsiteX47" fmla="*/ 985837 w 3357562"/>
              <a:gd name="connsiteY47" fmla="*/ 1843008 h 4951333"/>
              <a:gd name="connsiteX48" fmla="*/ 957262 w 3357562"/>
              <a:gd name="connsiteY48" fmla="*/ 1766808 h 4951333"/>
              <a:gd name="connsiteX49" fmla="*/ 938212 w 3357562"/>
              <a:gd name="connsiteY49" fmla="*/ 1700133 h 4951333"/>
              <a:gd name="connsiteX50" fmla="*/ 771525 w 3357562"/>
              <a:gd name="connsiteY50" fmla="*/ 1642983 h 4951333"/>
              <a:gd name="connsiteX51" fmla="*/ 614362 w 3357562"/>
              <a:gd name="connsiteY51" fmla="*/ 1614408 h 4951333"/>
              <a:gd name="connsiteX52" fmla="*/ 633412 w 3357562"/>
              <a:gd name="connsiteY52" fmla="*/ 1509633 h 4951333"/>
              <a:gd name="connsiteX53" fmla="*/ 741362 w 3357562"/>
              <a:gd name="connsiteY53" fmla="*/ 1395333 h 4951333"/>
              <a:gd name="connsiteX54" fmla="*/ 842962 w 3357562"/>
              <a:gd name="connsiteY54" fmla="*/ 1319133 h 4951333"/>
              <a:gd name="connsiteX55" fmla="*/ 890587 w 3357562"/>
              <a:gd name="connsiteY55" fmla="*/ 1281033 h 4951333"/>
              <a:gd name="connsiteX56" fmla="*/ 890587 w 3357562"/>
              <a:gd name="connsiteY56" fmla="*/ 1223883 h 4951333"/>
              <a:gd name="connsiteX57" fmla="*/ 909637 w 3357562"/>
              <a:gd name="connsiteY57" fmla="*/ 1157208 h 4951333"/>
              <a:gd name="connsiteX58" fmla="*/ 938212 w 3357562"/>
              <a:gd name="connsiteY58" fmla="*/ 1128633 h 4951333"/>
              <a:gd name="connsiteX59" fmla="*/ 947737 w 3357562"/>
              <a:gd name="connsiteY59" fmla="*/ 1061958 h 4951333"/>
              <a:gd name="connsiteX60" fmla="*/ 947737 w 3357562"/>
              <a:gd name="connsiteY60" fmla="*/ 976233 h 4951333"/>
              <a:gd name="connsiteX61" fmla="*/ 1017587 w 3357562"/>
              <a:gd name="connsiteY61" fmla="*/ 861933 h 4951333"/>
              <a:gd name="connsiteX62" fmla="*/ 1281112 w 3357562"/>
              <a:gd name="connsiteY62" fmla="*/ 925433 h 4951333"/>
              <a:gd name="connsiteX63" fmla="*/ 1485900 w 3357562"/>
              <a:gd name="connsiteY63" fmla="*/ 819071 h 4951333"/>
              <a:gd name="connsiteX64" fmla="*/ 1619250 w 3357562"/>
              <a:gd name="connsiteY64" fmla="*/ 693658 h 4951333"/>
              <a:gd name="connsiteX65" fmla="*/ 1739899 w 3357562"/>
              <a:gd name="connsiteY65" fmla="*/ 682546 h 4951333"/>
              <a:gd name="connsiteX66" fmla="*/ 1895474 w 3357562"/>
              <a:gd name="connsiteY66" fmla="*/ 685720 h 4951333"/>
              <a:gd name="connsiteX67" fmla="*/ 2066924 w 3357562"/>
              <a:gd name="connsiteY67" fmla="*/ 742871 h 4951333"/>
              <a:gd name="connsiteX68" fmla="*/ 2200275 w 3357562"/>
              <a:gd name="connsiteY68" fmla="*/ 828596 h 4951333"/>
              <a:gd name="connsiteX69" fmla="*/ 2295525 w 3357562"/>
              <a:gd name="connsiteY69" fmla="*/ 904796 h 4951333"/>
              <a:gd name="connsiteX70" fmla="*/ 2609849 w 3357562"/>
              <a:gd name="connsiteY70" fmla="*/ 938133 h 4951333"/>
              <a:gd name="connsiteX71" fmla="*/ 2754312 w 3357562"/>
              <a:gd name="connsiteY71" fmla="*/ 965121 h 4951333"/>
              <a:gd name="connsiteX72" fmla="*/ 2886074 w 3357562"/>
              <a:gd name="connsiteY72" fmla="*/ 1014333 h 4951333"/>
              <a:gd name="connsiteX73" fmla="*/ 3090862 w 3357562"/>
              <a:gd name="connsiteY73" fmla="*/ 966708 h 4951333"/>
              <a:gd name="connsiteX74" fmla="*/ 3176587 w 3357562"/>
              <a:gd name="connsiteY74" fmla="*/ 980996 h 4951333"/>
              <a:gd name="connsiteX75" fmla="*/ 3297237 w 3357562"/>
              <a:gd name="connsiteY75" fmla="*/ 963533 h 4951333"/>
              <a:gd name="connsiteX76" fmla="*/ 3325812 w 3357562"/>
              <a:gd name="connsiteY76" fmla="*/ 941308 h 4951333"/>
              <a:gd name="connsiteX77" fmla="*/ 3357562 w 3357562"/>
              <a:gd name="connsiteY77" fmla="*/ 880983 h 4951333"/>
              <a:gd name="connsiteX78" fmla="*/ 3336924 w 3357562"/>
              <a:gd name="connsiteY78" fmla="*/ 712708 h 4951333"/>
              <a:gd name="connsiteX79" fmla="*/ 3301999 w 3357562"/>
              <a:gd name="connsiteY79" fmla="*/ 650795 h 4951333"/>
              <a:gd name="connsiteX80" fmla="*/ 3182937 w 3357562"/>
              <a:gd name="connsiteY80" fmla="*/ 585708 h 4951333"/>
              <a:gd name="connsiteX81" fmla="*/ 3167062 w 3357562"/>
              <a:gd name="connsiteY81" fmla="*/ 528558 h 4951333"/>
              <a:gd name="connsiteX82" fmla="*/ 3119437 w 3357562"/>
              <a:gd name="connsiteY82" fmla="*/ 490458 h 4951333"/>
              <a:gd name="connsiteX83" fmla="*/ 3090862 w 3357562"/>
              <a:gd name="connsiteY83" fmla="*/ 512683 h 4951333"/>
              <a:gd name="connsiteX84" fmla="*/ 3071812 w 3357562"/>
              <a:gd name="connsiteY84" fmla="*/ 563483 h 4951333"/>
              <a:gd name="connsiteX85" fmla="*/ 3062287 w 3357562"/>
              <a:gd name="connsiteY85" fmla="*/ 614283 h 4951333"/>
              <a:gd name="connsiteX86" fmla="*/ 3019425 w 3357562"/>
              <a:gd name="connsiteY86" fmla="*/ 628571 h 4951333"/>
              <a:gd name="connsiteX87" fmla="*/ 2947987 w 3357562"/>
              <a:gd name="connsiteY87" fmla="*/ 595233 h 4951333"/>
              <a:gd name="connsiteX88" fmla="*/ 2852737 w 3357562"/>
              <a:gd name="connsiteY88" fmla="*/ 652383 h 4951333"/>
              <a:gd name="connsiteX89" fmla="*/ 2833687 w 3357562"/>
              <a:gd name="connsiteY89" fmla="*/ 680958 h 4951333"/>
              <a:gd name="connsiteX90" fmla="*/ 2824162 w 3357562"/>
              <a:gd name="connsiteY90" fmla="*/ 719058 h 4951333"/>
              <a:gd name="connsiteX91" fmla="*/ 2747962 w 3357562"/>
              <a:gd name="connsiteY91" fmla="*/ 680958 h 4951333"/>
              <a:gd name="connsiteX92" fmla="*/ 2657475 w 3357562"/>
              <a:gd name="connsiteY92" fmla="*/ 652383 h 4951333"/>
              <a:gd name="connsiteX93" fmla="*/ 2557462 w 3357562"/>
              <a:gd name="connsiteY93" fmla="*/ 604758 h 4951333"/>
              <a:gd name="connsiteX94" fmla="*/ 2433637 w 3357562"/>
              <a:gd name="connsiteY94" fmla="*/ 538083 h 4951333"/>
              <a:gd name="connsiteX95" fmla="*/ 2333624 w 3357562"/>
              <a:gd name="connsiteY95" fmla="*/ 452358 h 4951333"/>
              <a:gd name="connsiteX96" fmla="*/ 2190750 w 3357562"/>
              <a:gd name="connsiteY96" fmla="*/ 423783 h 4951333"/>
              <a:gd name="connsiteX97" fmla="*/ 2157412 w 3357562"/>
              <a:gd name="connsiteY97" fmla="*/ 309483 h 4951333"/>
              <a:gd name="connsiteX98" fmla="*/ 2143124 w 3357562"/>
              <a:gd name="connsiteY98" fmla="*/ 179308 h 4951333"/>
              <a:gd name="connsiteX99" fmla="*/ 1235529 w 3357562"/>
              <a:gd name="connsiteY99" fmla="*/ 0 h 4951333"/>
              <a:gd name="connsiteX100" fmla="*/ 1162504 w 3357562"/>
              <a:gd name="connsiteY100" fmla="*/ 73025 h 4951333"/>
              <a:gd name="connsiteX101" fmla="*/ 1198562 w 3357562"/>
              <a:gd name="connsiteY101" fmla="*/ 176133 h 4951333"/>
              <a:gd name="connsiteX102" fmla="*/ 1166812 w 3357562"/>
              <a:gd name="connsiteY102" fmla="*/ 309483 h 4951333"/>
              <a:gd name="connsiteX103" fmla="*/ 1128712 w 3357562"/>
              <a:gd name="connsiteY103" fmla="*/ 414258 h 4951333"/>
              <a:gd name="connsiteX104" fmla="*/ 919162 w 3357562"/>
              <a:gd name="connsiteY104" fmla="*/ 576183 h 4951333"/>
              <a:gd name="connsiteX105" fmla="*/ 909637 w 3357562"/>
              <a:gd name="connsiteY105" fmla="*/ 633333 h 4951333"/>
              <a:gd name="connsiteX106" fmla="*/ 785812 w 3357562"/>
              <a:gd name="connsiteY106" fmla="*/ 652383 h 4951333"/>
              <a:gd name="connsiteX107" fmla="*/ 614362 w 3357562"/>
              <a:gd name="connsiteY107" fmla="*/ 709533 h 4951333"/>
              <a:gd name="connsiteX108" fmla="*/ 566737 w 3357562"/>
              <a:gd name="connsiteY108" fmla="*/ 820658 h 4951333"/>
              <a:gd name="connsiteX109" fmla="*/ 461962 w 3357562"/>
              <a:gd name="connsiteY109" fmla="*/ 938133 h 4951333"/>
              <a:gd name="connsiteX110" fmla="*/ 452437 w 3357562"/>
              <a:gd name="connsiteY110" fmla="*/ 1014333 h 4951333"/>
              <a:gd name="connsiteX111" fmla="*/ 461962 w 3357562"/>
              <a:gd name="connsiteY111" fmla="*/ 1138158 h 4951333"/>
              <a:gd name="connsiteX112" fmla="*/ 414337 w 3357562"/>
              <a:gd name="connsiteY112" fmla="*/ 1185783 h 4951333"/>
              <a:gd name="connsiteX113" fmla="*/ 233362 w 3357562"/>
              <a:gd name="connsiteY113" fmla="*/ 1157208 h 4951333"/>
              <a:gd name="connsiteX114" fmla="*/ 166687 w 3357562"/>
              <a:gd name="connsiteY114" fmla="*/ 1166733 h 4951333"/>
              <a:gd name="connsiteX115" fmla="*/ 61912 w 3357562"/>
              <a:gd name="connsiteY115" fmla="*/ 1242933 h 4951333"/>
              <a:gd name="connsiteX116" fmla="*/ 42862 w 3357562"/>
              <a:gd name="connsiteY116" fmla="*/ 1338183 h 4951333"/>
              <a:gd name="connsiteX117" fmla="*/ 42862 w 3357562"/>
              <a:gd name="connsiteY117" fmla="*/ 1471533 h 4951333"/>
              <a:gd name="connsiteX118" fmla="*/ 14287 w 3357562"/>
              <a:gd name="connsiteY118" fmla="*/ 1585833 h 4951333"/>
              <a:gd name="connsiteX119" fmla="*/ 0 w 3357562"/>
              <a:gd name="connsiteY119" fmla="*/ 1700133 h 4951333"/>
              <a:gd name="connsiteX120" fmla="*/ 90487 w 3357562"/>
              <a:gd name="connsiteY120" fmla="*/ 1833483 h 4951333"/>
              <a:gd name="connsiteX121" fmla="*/ 147637 w 3357562"/>
              <a:gd name="connsiteY121" fmla="*/ 2014458 h 4951333"/>
              <a:gd name="connsiteX122" fmla="*/ 204787 w 3357562"/>
              <a:gd name="connsiteY122" fmla="*/ 2224008 h 4951333"/>
              <a:gd name="connsiteX123" fmla="*/ 261937 w 3357562"/>
              <a:gd name="connsiteY123" fmla="*/ 2490708 h 4951333"/>
              <a:gd name="connsiteX124" fmla="*/ 347662 w 3357562"/>
              <a:gd name="connsiteY124" fmla="*/ 2595483 h 4951333"/>
              <a:gd name="connsiteX125" fmla="*/ 319087 w 3357562"/>
              <a:gd name="connsiteY125" fmla="*/ 2805033 h 4951333"/>
              <a:gd name="connsiteX126" fmla="*/ 390524 w 3357562"/>
              <a:gd name="connsiteY126" fmla="*/ 2962195 h 4951333"/>
              <a:gd name="connsiteX127" fmla="*/ 366712 w 3357562"/>
              <a:gd name="connsiteY127" fmla="*/ 3052683 h 4951333"/>
              <a:gd name="connsiteX128" fmla="*/ 430212 w 3357562"/>
              <a:gd name="connsiteY128" fmla="*/ 3449558 h 4951333"/>
              <a:gd name="connsiteX129" fmla="*/ 420687 w 3357562"/>
              <a:gd name="connsiteY129" fmla="*/ 3557508 h 4951333"/>
              <a:gd name="connsiteX130" fmla="*/ 369887 w 3357562"/>
              <a:gd name="connsiteY130" fmla="*/ 3694033 h 4951333"/>
              <a:gd name="connsiteX131" fmla="*/ 385762 w 3357562"/>
              <a:gd name="connsiteY131" fmla="*/ 3817858 h 4951333"/>
              <a:gd name="connsiteX132" fmla="*/ 452437 w 3357562"/>
              <a:gd name="connsiteY132" fmla="*/ 4005183 h 4951333"/>
              <a:gd name="connsiteX133" fmla="*/ 495300 w 3357562"/>
              <a:gd name="connsiteY133" fmla="*/ 4095671 h 4951333"/>
              <a:gd name="connsiteX134" fmla="*/ 519112 w 3357562"/>
              <a:gd name="connsiteY134" fmla="*/ 4200445 h 4951333"/>
              <a:gd name="connsiteX135" fmla="*/ 447674 w 3357562"/>
              <a:gd name="connsiteY135" fmla="*/ 4262358 h 4951333"/>
              <a:gd name="connsiteX136" fmla="*/ 609599 w 3357562"/>
              <a:gd name="connsiteY136" fmla="*/ 4338557 h 4951333"/>
              <a:gd name="connsiteX137" fmla="*/ 690562 w 3357562"/>
              <a:gd name="connsiteY137" fmla="*/ 4476670 h 4951333"/>
              <a:gd name="connsiteX138" fmla="*/ 750887 w 3357562"/>
              <a:gd name="connsiteY138" fmla="*/ 4513183 h 4951333"/>
              <a:gd name="connsiteX139" fmla="*/ 841375 w 3357562"/>
              <a:gd name="connsiteY139" fmla="*/ 4452858 h 4951333"/>
              <a:gd name="connsiteX140" fmla="*/ 928687 w 3357562"/>
              <a:gd name="connsiteY140" fmla="*/ 4478258 h 4951333"/>
              <a:gd name="connsiteX141" fmla="*/ 1092199 w 3357562"/>
              <a:gd name="connsiteY141" fmla="*/ 4632245 h 4951333"/>
              <a:gd name="connsiteX142" fmla="*/ 1203324 w 3357562"/>
              <a:gd name="connsiteY142" fmla="*/ 4692570 h 4951333"/>
              <a:gd name="connsiteX143" fmla="*/ 1381124 w 3357562"/>
              <a:gd name="connsiteY143" fmla="*/ 4805283 h 4951333"/>
              <a:gd name="connsiteX144" fmla="*/ 1662112 w 3357562"/>
              <a:gd name="connsiteY144" fmla="*/ 4938633 h 4951333"/>
              <a:gd name="connsiteX145" fmla="*/ 1779587 w 3357562"/>
              <a:gd name="connsiteY145" fmla="*/ 4951333 h 4951333"/>
              <a:gd name="connsiteX0" fmla="*/ 1779587 w 3357562"/>
              <a:gd name="connsiteY0" fmla="*/ 4951333 h 4951333"/>
              <a:gd name="connsiteX1" fmla="*/ 1855787 w 3357562"/>
              <a:gd name="connsiteY1" fmla="*/ 4900533 h 4951333"/>
              <a:gd name="connsiteX2" fmla="*/ 1855787 w 3357562"/>
              <a:gd name="connsiteY2" fmla="*/ 4821158 h 4951333"/>
              <a:gd name="connsiteX3" fmla="*/ 1838325 w 3357562"/>
              <a:gd name="connsiteY3" fmla="*/ 4762421 h 4951333"/>
              <a:gd name="connsiteX4" fmla="*/ 1725612 w 3357562"/>
              <a:gd name="connsiteY4" fmla="*/ 4724320 h 4951333"/>
              <a:gd name="connsiteX5" fmla="*/ 1660525 w 3357562"/>
              <a:gd name="connsiteY5" fmla="*/ 4748133 h 4951333"/>
              <a:gd name="connsiteX6" fmla="*/ 1660525 w 3357562"/>
              <a:gd name="connsiteY6" fmla="*/ 4702096 h 4951333"/>
              <a:gd name="connsiteX7" fmla="*/ 1682749 w 3357562"/>
              <a:gd name="connsiteY7" fmla="*/ 4633833 h 4951333"/>
              <a:gd name="connsiteX8" fmla="*/ 1719262 w 3357562"/>
              <a:gd name="connsiteY8" fmla="*/ 4533821 h 4951333"/>
              <a:gd name="connsiteX9" fmla="*/ 1652587 w 3357562"/>
              <a:gd name="connsiteY9" fmla="*/ 4490958 h 4951333"/>
              <a:gd name="connsiteX10" fmla="*/ 1585912 w 3357562"/>
              <a:gd name="connsiteY10" fmla="*/ 4462383 h 4951333"/>
              <a:gd name="connsiteX11" fmla="*/ 1544637 w 3357562"/>
              <a:gd name="connsiteY11" fmla="*/ 4444920 h 4951333"/>
              <a:gd name="connsiteX12" fmla="*/ 1465262 w 3357562"/>
              <a:gd name="connsiteY12" fmla="*/ 4452858 h 4951333"/>
              <a:gd name="connsiteX13" fmla="*/ 1406525 w 3357562"/>
              <a:gd name="connsiteY13" fmla="*/ 4319508 h 4951333"/>
              <a:gd name="connsiteX14" fmla="*/ 1333500 w 3357562"/>
              <a:gd name="connsiteY14" fmla="*/ 4209970 h 4951333"/>
              <a:gd name="connsiteX15" fmla="*/ 1214437 w 3357562"/>
              <a:gd name="connsiteY15" fmla="*/ 4157583 h 4951333"/>
              <a:gd name="connsiteX16" fmla="*/ 1128712 w 3357562"/>
              <a:gd name="connsiteY16" fmla="*/ 4148058 h 4951333"/>
              <a:gd name="connsiteX17" fmla="*/ 1100137 w 3357562"/>
              <a:gd name="connsiteY17" fmla="*/ 4109958 h 4951333"/>
              <a:gd name="connsiteX18" fmla="*/ 1081087 w 3357562"/>
              <a:gd name="connsiteY18" fmla="*/ 4014708 h 4951333"/>
              <a:gd name="connsiteX19" fmla="*/ 1109662 w 3357562"/>
              <a:gd name="connsiteY19" fmla="*/ 3957558 h 4951333"/>
              <a:gd name="connsiteX20" fmla="*/ 1252537 w 3357562"/>
              <a:gd name="connsiteY20" fmla="*/ 3948033 h 4951333"/>
              <a:gd name="connsiteX21" fmla="*/ 1376362 w 3357562"/>
              <a:gd name="connsiteY21" fmla="*/ 3728958 h 4951333"/>
              <a:gd name="connsiteX22" fmla="*/ 1428750 w 3357562"/>
              <a:gd name="connsiteY22" fmla="*/ 3617833 h 4951333"/>
              <a:gd name="connsiteX23" fmla="*/ 1366837 w 3357562"/>
              <a:gd name="connsiteY23" fmla="*/ 3447971 h 4951333"/>
              <a:gd name="connsiteX24" fmla="*/ 1295399 w 3357562"/>
              <a:gd name="connsiteY24" fmla="*/ 3367008 h 4951333"/>
              <a:gd name="connsiteX25" fmla="*/ 1200150 w 3357562"/>
              <a:gd name="connsiteY25" fmla="*/ 3324145 h 4951333"/>
              <a:gd name="connsiteX26" fmla="*/ 1109662 w 3357562"/>
              <a:gd name="connsiteY26" fmla="*/ 3243183 h 4951333"/>
              <a:gd name="connsiteX27" fmla="*/ 1057275 w 3357562"/>
              <a:gd name="connsiteY27" fmla="*/ 3119358 h 4951333"/>
              <a:gd name="connsiteX28" fmla="*/ 1014412 w 3357562"/>
              <a:gd name="connsiteY28" fmla="*/ 3043159 h 4951333"/>
              <a:gd name="connsiteX29" fmla="*/ 1033463 w 3357562"/>
              <a:gd name="connsiteY29" fmla="*/ 2957434 h 4951333"/>
              <a:gd name="connsiteX30" fmla="*/ 1133475 w 3357562"/>
              <a:gd name="connsiteY30" fmla="*/ 2871708 h 4951333"/>
              <a:gd name="connsiteX31" fmla="*/ 1176337 w 3357562"/>
              <a:gd name="connsiteY31" fmla="*/ 2785983 h 4951333"/>
              <a:gd name="connsiteX32" fmla="*/ 1200149 w 3357562"/>
              <a:gd name="connsiteY32" fmla="*/ 2809795 h 4951333"/>
              <a:gd name="connsiteX33" fmla="*/ 1295399 w 3357562"/>
              <a:gd name="connsiteY33" fmla="*/ 2785983 h 4951333"/>
              <a:gd name="connsiteX34" fmla="*/ 1447799 w 3357562"/>
              <a:gd name="connsiteY34" fmla="*/ 2695495 h 4951333"/>
              <a:gd name="connsiteX35" fmla="*/ 1490662 w 3357562"/>
              <a:gd name="connsiteY35" fmla="*/ 2643108 h 4951333"/>
              <a:gd name="connsiteX36" fmla="*/ 1543049 w 3357562"/>
              <a:gd name="connsiteY36" fmla="*/ 2538333 h 4951333"/>
              <a:gd name="connsiteX37" fmla="*/ 1552574 w 3357562"/>
              <a:gd name="connsiteY37" fmla="*/ 2424033 h 4951333"/>
              <a:gd name="connsiteX38" fmla="*/ 1462087 w 3357562"/>
              <a:gd name="connsiteY38" fmla="*/ 2347833 h 4951333"/>
              <a:gd name="connsiteX39" fmla="*/ 1409700 w 3357562"/>
              <a:gd name="connsiteY39" fmla="*/ 2311321 h 4951333"/>
              <a:gd name="connsiteX40" fmla="*/ 1325562 w 3357562"/>
              <a:gd name="connsiteY40" fmla="*/ 2284333 h 4951333"/>
              <a:gd name="connsiteX41" fmla="*/ 1225550 w 3357562"/>
              <a:gd name="connsiteY41" fmla="*/ 2290683 h 4951333"/>
              <a:gd name="connsiteX42" fmla="*/ 1028699 w 3357562"/>
              <a:gd name="connsiteY42" fmla="*/ 2311320 h 4951333"/>
              <a:gd name="connsiteX43" fmla="*/ 919162 w 3357562"/>
              <a:gd name="connsiteY43" fmla="*/ 2343071 h 4951333"/>
              <a:gd name="connsiteX44" fmla="*/ 895349 w 3357562"/>
              <a:gd name="connsiteY44" fmla="*/ 2262108 h 4951333"/>
              <a:gd name="connsiteX45" fmla="*/ 914399 w 3357562"/>
              <a:gd name="connsiteY45" fmla="*/ 2138283 h 4951333"/>
              <a:gd name="connsiteX46" fmla="*/ 938212 w 3357562"/>
              <a:gd name="connsiteY46" fmla="*/ 2004933 h 4951333"/>
              <a:gd name="connsiteX47" fmla="*/ 985837 w 3357562"/>
              <a:gd name="connsiteY47" fmla="*/ 1843008 h 4951333"/>
              <a:gd name="connsiteX48" fmla="*/ 957262 w 3357562"/>
              <a:gd name="connsiteY48" fmla="*/ 1766808 h 4951333"/>
              <a:gd name="connsiteX49" fmla="*/ 938212 w 3357562"/>
              <a:gd name="connsiteY49" fmla="*/ 1700133 h 4951333"/>
              <a:gd name="connsiteX50" fmla="*/ 771525 w 3357562"/>
              <a:gd name="connsiteY50" fmla="*/ 1642983 h 4951333"/>
              <a:gd name="connsiteX51" fmla="*/ 614362 w 3357562"/>
              <a:gd name="connsiteY51" fmla="*/ 1614408 h 4951333"/>
              <a:gd name="connsiteX52" fmla="*/ 633412 w 3357562"/>
              <a:gd name="connsiteY52" fmla="*/ 1509633 h 4951333"/>
              <a:gd name="connsiteX53" fmla="*/ 741362 w 3357562"/>
              <a:gd name="connsiteY53" fmla="*/ 1395333 h 4951333"/>
              <a:gd name="connsiteX54" fmla="*/ 842962 w 3357562"/>
              <a:gd name="connsiteY54" fmla="*/ 1319133 h 4951333"/>
              <a:gd name="connsiteX55" fmla="*/ 890587 w 3357562"/>
              <a:gd name="connsiteY55" fmla="*/ 1281033 h 4951333"/>
              <a:gd name="connsiteX56" fmla="*/ 890587 w 3357562"/>
              <a:gd name="connsiteY56" fmla="*/ 1223883 h 4951333"/>
              <a:gd name="connsiteX57" fmla="*/ 909637 w 3357562"/>
              <a:gd name="connsiteY57" fmla="*/ 1157208 h 4951333"/>
              <a:gd name="connsiteX58" fmla="*/ 938212 w 3357562"/>
              <a:gd name="connsiteY58" fmla="*/ 1128633 h 4951333"/>
              <a:gd name="connsiteX59" fmla="*/ 947737 w 3357562"/>
              <a:gd name="connsiteY59" fmla="*/ 1061958 h 4951333"/>
              <a:gd name="connsiteX60" fmla="*/ 947737 w 3357562"/>
              <a:gd name="connsiteY60" fmla="*/ 976233 h 4951333"/>
              <a:gd name="connsiteX61" fmla="*/ 1017587 w 3357562"/>
              <a:gd name="connsiteY61" fmla="*/ 861933 h 4951333"/>
              <a:gd name="connsiteX62" fmla="*/ 1281112 w 3357562"/>
              <a:gd name="connsiteY62" fmla="*/ 925433 h 4951333"/>
              <a:gd name="connsiteX63" fmla="*/ 1485900 w 3357562"/>
              <a:gd name="connsiteY63" fmla="*/ 819071 h 4951333"/>
              <a:gd name="connsiteX64" fmla="*/ 1619250 w 3357562"/>
              <a:gd name="connsiteY64" fmla="*/ 693658 h 4951333"/>
              <a:gd name="connsiteX65" fmla="*/ 1739899 w 3357562"/>
              <a:gd name="connsiteY65" fmla="*/ 682546 h 4951333"/>
              <a:gd name="connsiteX66" fmla="*/ 1895474 w 3357562"/>
              <a:gd name="connsiteY66" fmla="*/ 685720 h 4951333"/>
              <a:gd name="connsiteX67" fmla="*/ 2066924 w 3357562"/>
              <a:gd name="connsiteY67" fmla="*/ 742871 h 4951333"/>
              <a:gd name="connsiteX68" fmla="*/ 2200275 w 3357562"/>
              <a:gd name="connsiteY68" fmla="*/ 828596 h 4951333"/>
              <a:gd name="connsiteX69" fmla="*/ 2295525 w 3357562"/>
              <a:gd name="connsiteY69" fmla="*/ 904796 h 4951333"/>
              <a:gd name="connsiteX70" fmla="*/ 2609849 w 3357562"/>
              <a:gd name="connsiteY70" fmla="*/ 938133 h 4951333"/>
              <a:gd name="connsiteX71" fmla="*/ 2754312 w 3357562"/>
              <a:gd name="connsiteY71" fmla="*/ 965121 h 4951333"/>
              <a:gd name="connsiteX72" fmla="*/ 2886074 w 3357562"/>
              <a:gd name="connsiteY72" fmla="*/ 1014333 h 4951333"/>
              <a:gd name="connsiteX73" fmla="*/ 3090862 w 3357562"/>
              <a:gd name="connsiteY73" fmla="*/ 966708 h 4951333"/>
              <a:gd name="connsiteX74" fmla="*/ 3176587 w 3357562"/>
              <a:gd name="connsiteY74" fmla="*/ 980996 h 4951333"/>
              <a:gd name="connsiteX75" fmla="*/ 3297237 w 3357562"/>
              <a:gd name="connsiteY75" fmla="*/ 963533 h 4951333"/>
              <a:gd name="connsiteX76" fmla="*/ 3325812 w 3357562"/>
              <a:gd name="connsiteY76" fmla="*/ 941308 h 4951333"/>
              <a:gd name="connsiteX77" fmla="*/ 3357562 w 3357562"/>
              <a:gd name="connsiteY77" fmla="*/ 880983 h 4951333"/>
              <a:gd name="connsiteX78" fmla="*/ 3336924 w 3357562"/>
              <a:gd name="connsiteY78" fmla="*/ 712708 h 4951333"/>
              <a:gd name="connsiteX79" fmla="*/ 3301999 w 3357562"/>
              <a:gd name="connsiteY79" fmla="*/ 650795 h 4951333"/>
              <a:gd name="connsiteX80" fmla="*/ 3182937 w 3357562"/>
              <a:gd name="connsiteY80" fmla="*/ 585708 h 4951333"/>
              <a:gd name="connsiteX81" fmla="*/ 3167062 w 3357562"/>
              <a:gd name="connsiteY81" fmla="*/ 528558 h 4951333"/>
              <a:gd name="connsiteX82" fmla="*/ 3119437 w 3357562"/>
              <a:gd name="connsiteY82" fmla="*/ 490458 h 4951333"/>
              <a:gd name="connsiteX83" fmla="*/ 3090862 w 3357562"/>
              <a:gd name="connsiteY83" fmla="*/ 512683 h 4951333"/>
              <a:gd name="connsiteX84" fmla="*/ 3071812 w 3357562"/>
              <a:gd name="connsiteY84" fmla="*/ 563483 h 4951333"/>
              <a:gd name="connsiteX85" fmla="*/ 3062287 w 3357562"/>
              <a:gd name="connsiteY85" fmla="*/ 614283 h 4951333"/>
              <a:gd name="connsiteX86" fmla="*/ 3019425 w 3357562"/>
              <a:gd name="connsiteY86" fmla="*/ 628571 h 4951333"/>
              <a:gd name="connsiteX87" fmla="*/ 2947987 w 3357562"/>
              <a:gd name="connsiteY87" fmla="*/ 595233 h 4951333"/>
              <a:gd name="connsiteX88" fmla="*/ 2852737 w 3357562"/>
              <a:gd name="connsiteY88" fmla="*/ 652383 h 4951333"/>
              <a:gd name="connsiteX89" fmla="*/ 2833687 w 3357562"/>
              <a:gd name="connsiteY89" fmla="*/ 680958 h 4951333"/>
              <a:gd name="connsiteX90" fmla="*/ 2824162 w 3357562"/>
              <a:gd name="connsiteY90" fmla="*/ 719058 h 4951333"/>
              <a:gd name="connsiteX91" fmla="*/ 2747962 w 3357562"/>
              <a:gd name="connsiteY91" fmla="*/ 680958 h 4951333"/>
              <a:gd name="connsiteX92" fmla="*/ 2657475 w 3357562"/>
              <a:gd name="connsiteY92" fmla="*/ 652383 h 4951333"/>
              <a:gd name="connsiteX93" fmla="*/ 2557462 w 3357562"/>
              <a:gd name="connsiteY93" fmla="*/ 604758 h 4951333"/>
              <a:gd name="connsiteX94" fmla="*/ 2433637 w 3357562"/>
              <a:gd name="connsiteY94" fmla="*/ 538083 h 4951333"/>
              <a:gd name="connsiteX95" fmla="*/ 2333624 w 3357562"/>
              <a:gd name="connsiteY95" fmla="*/ 452358 h 4951333"/>
              <a:gd name="connsiteX96" fmla="*/ 2190750 w 3357562"/>
              <a:gd name="connsiteY96" fmla="*/ 423783 h 4951333"/>
              <a:gd name="connsiteX97" fmla="*/ 2157412 w 3357562"/>
              <a:gd name="connsiteY97" fmla="*/ 309483 h 4951333"/>
              <a:gd name="connsiteX98" fmla="*/ 2143124 w 3357562"/>
              <a:gd name="connsiteY98" fmla="*/ 179308 h 4951333"/>
              <a:gd name="connsiteX99" fmla="*/ 1372054 w 3357562"/>
              <a:gd name="connsiteY99" fmla="*/ 25401 h 4951333"/>
              <a:gd name="connsiteX100" fmla="*/ 1235529 w 3357562"/>
              <a:gd name="connsiteY100" fmla="*/ 0 h 4951333"/>
              <a:gd name="connsiteX101" fmla="*/ 1162504 w 3357562"/>
              <a:gd name="connsiteY101" fmla="*/ 73025 h 4951333"/>
              <a:gd name="connsiteX102" fmla="*/ 1198562 w 3357562"/>
              <a:gd name="connsiteY102" fmla="*/ 176133 h 4951333"/>
              <a:gd name="connsiteX103" fmla="*/ 1166812 w 3357562"/>
              <a:gd name="connsiteY103" fmla="*/ 309483 h 4951333"/>
              <a:gd name="connsiteX104" fmla="*/ 1128712 w 3357562"/>
              <a:gd name="connsiteY104" fmla="*/ 414258 h 4951333"/>
              <a:gd name="connsiteX105" fmla="*/ 919162 w 3357562"/>
              <a:gd name="connsiteY105" fmla="*/ 576183 h 4951333"/>
              <a:gd name="connsiteX106" fmla="*/ 909637 w 3357562"/>
              <a:gd name="connsiteY106" fmla="*/ 633333 h 4951333"/>
              <a:gd name="connsiteX107" fmla="*/ 785812 w 3357562"/>
              <a:gd name="connsiteY107" fmla="*/ 652383 h 4951333"/>
              <a:gd name="connsiteX108" fmla="*/ 614362 w 3357562"/>
              <a:gd name="connsiteY108" fmla="*/ 709533 h 4951333"/>
              <a:gd name="connsiteX109" fmla="*/ 566737 w 3357562"/>
              <a:gd name="connsiteY109" fmla="*/ 820658 h 4951333"/>
              <a:gd name="connsiteX110" fmla="*/ 461962 w 3357562"/>
              <a:gd name="connsiteY110" fmla="*/ 938133 h 4951333"/>
              <a:gd name="connsiteX111" fmla="*/ 452437 w 3357562"/>
              <a:gd name="connsiteY111" fmla="*/ 1014333 h 4951333"/>
              <a:gd name="connsiteX112" fmla="*/ 461962 w 3357562"/>
              <a:gd name="connsiteY112" fmla="*/ 1138158 h 4951333"/>
              <a:gd name="connsiteX113" fmla="*/ 414337 w 3357562"/>
              <a:gd name="connsiteY113" fmla="*/ 1185783 h 4951333"/>
              <a:gd name="connsiteX114" fmla="*/ 233362 w 3357562"/>
              <a:gd name="connsiteY114" fmla="*/ 1157208 h 4951333"/>
              <a:gd name="connsiteX115" fmla="*/ 166687 w 3357562"/>
              <a:gd name="connsiteY115" fmla="*/ 1166733 h 4951333"/>
              <a:gd name="connsiteX116" fmla="*/ 61912 w 3357562"/>
              <a:gd name="connsiteY116" fmla="*/ 1242933 h 4951333"/>
              <a:gd name="connsiteX117" fmla="*/ 42862 w 3357562"/>
              <a:gd name="connsiteY117" fmla="*/ 1338183 h 4951333"/>
              <a:gd name="connsiteX118" fmla="*/ 42862 w 3357562"/>
              <a:gd name="connsiteY118" fmla="*/ 1471533 h 4951333"/>
              <a:gd name="connsiteX119" fmla="*/ 14287 w 3357562"/>
              <a:gd name="connsiteY119" fmla="*/ 1585833 h 4951333"/>
              <a:gd name="connsiteX120" fmla="*/ 0 w 3357562"/>
              <a:gd name="connsiteY120" fmla="*/ 1700133 h 4951333"/>
              <a:gd name="connsiteX121" fmla="*/ 90487 w 3357562"/>
              <a:gd name="connsiteY121" fmla="*/ 1833483 h 4951333"/>
              <a:gd name="connsiteX122" fmla="*/ 147637 w 3357562"/>
              <a:gd name="connsiteY122" fmla="*/ 2014458 h 4951333"/>
              <a:gd name="connsiteX123" fmla="*/ 204787 w 3357562"/>
              <a:gd name="connsiteY123" fmla="*/ 2224008 h 4951333"/>
              <a:gd name="connsiteX124" fmla="*/ 261937 w 3357562"/>
              <a:gd name="connsiteY124" fmla="*/ 2490708 h 4951333"/>
              <a:gd name="connsiteX125" fmla="*/ 347662 w 3357562"/>
              <a:gd name="connsiteY125" fmla="*/ 2595483 h 4951333"/>
              <a:gd name="connsiteX126" fmla="*/ 319087 w 3357562"/>
              <a:gd name="connsiteY126" fmla="*/ 2805033 h 4951333"/>
              <a:gd name="connsiteX127" fmla="*/ 390524 w 3357562"/>
              <a:gd name="connsiteY127" fmla="*/ 2962195 h 4951333"/>
              <a:gd name="connsiteX128" fmla="*/ 366712 w 3357562"/>
              <a:gd name="connsiteY128" fmla="*/ 3052683 h 4951333"/>
              <a:gd name="connsiteX129" fmla="*/ 430212 w 3357562"/>
              <a:gd name="connsiteY129" fmla="*/ 3449558 h 4951333"/>
              <a:gd name="connsiteX130" fmla="*/ 420687 w 3357562"/>
              <a:gd name="connsiteY130" fmla="*/ 3557508 h 4951333"/>
              <a:gd name="connsiteX131" fmla="*/ 369887 w 3357562"/>
              <a:gd name="connsiteY131" fmla="*/ 3694033 h 4951333"/>
              <a:gd name="connsiteX132" fmla="*/ 385762 w 3357562"/>
              <a:gd name="connsiteY132" fmla="*/ 3817858 h 4951333"/>
              <a:gd name="connsiteX133" fmla="*/ 452437 w 3357562"/>
              <a:gd name="connsiteY133" fmla="*/ 4005183 h 4951333"/>
              <a:gd name="connsiteX134" fmla="*/ 495300 w 3357562"/>
              <a:gd name="connsiteY134" fmla="*/ 4095671 h 4951333"/>
              <a:gd name="connsiteX135" fmla="*/ 519112 w 3357562"/>
              <a:gd name="connsiteY135" fmla="*/ 4200445 h 4951333"/>
              <a:gd name="connsiteX136" fmla="*/ 447674 w 3357562"/>
              <a:gd name="connsiteY136" fmla="*/ 4262358 h 4951333"/>
              <a:gd name="connsiteX137" fmla="*/ 609599 w 3357562"/>
              <a:gd name="connsiteY137" fmla="*/ 4338557 h 4951333"/>
              <a:gd name="connsiteX138" fmla="*/ 690562 w 3357562"/>
              <a:gd name="connsiteY138" fmla="*/ 4476670 h 4951333"/>
              <a:gd name="connsiteX139" fmla="*/ 750887 w 3357562"/>
              <a:gd name="connsiteY139" fmla="*/ 4513183 h 4951333"/>
              <a:gd name="connsiteX140" fmla="*/ 841375 w 3357562"/>
              <a:gd name="connsiteY140" fmla="*/ 4452858 h 4951333"/>
              <a:gd name="connsiteX141" fmla="*/ 928687 w 3357562"/>
              <a:gd name="connsiteY141" fmla="*/ 4478258 h 4951333"/>
              <a:gd name="connsiteX142" fmla="*/ 1092199 w 3357562"/>
              <a:gd name="connsiteY142" fmla="*/ 4632245 h 4951333"/>
              <a:gd name="connsiteX143" fmla="*/ 1203324 w 3357562"/>
              <a:gd name="connsiteY143" fmla="*/ 4692570 h 4951333"/>
              <a:gd name="connsiteX144" fmla="*/ 1381124 w 3357562"/>
              <a:gd name="connsiteY144" fmla="*/ 4805283 h 4951333"/>
              <a:gd name="connsiteX145" fmla="*/ 1662112 w 3357562"/>
              <a:gd name="connsiteY145" fmla="*/ 4938633 h 4951333"/>
              <a:gd name="connsiteX146" fmla="*/ 1779587 w 3357562"/>
              <a:gd name="connsiteY146" fmla="*/ 4951333 h 4951333"/>
              <a:gd name="connsiteX0" fmla="*/ 1779587 w 3357562"/>
              <a:gd name="connsiteY0" fmla="*/ 4951333 h 4951333"/>
              <a:gd name="connsiteX1" fmla="*/ 1855787 w 3357562"/>
              <a:gd name="connsiteY1" fmla="*/ 4900533 h 4951333"/>
              <a:gd name="connsiteX2" fmla="*/ 1855787 w 3357562"/>
              <a:gd name="connsiteY2" fmla="*/ 4821158 h 4951333"/>
              <a:gd name="connsiteX3" fmla="*/ 1838325 w 3357562"/>
              <a:gd name="connsiteY3" fmla="*/ 4762421 h 4951333"/>
              <a:gd name="connsiteX4" fmla="*/ 1725612 w 3357562"/>
              <a:gd name="connsiteY4" fmla="*/ 4724320 h 4951333"/>
              <a:gd name="connsiteX5" fmla="*/ 1660525 w 3357562"/>
              <a:gd name="connsiteY5" fmla="*/ 4748133 h 4951333"/>
              <a:gd name="connsiteX6" fmla="*/ 1660525 w 3357562"/>
              <a:gd name="connsiteY6" fmla="*/ 4702096 h 4951333"/>
              <a:gd name="connsiteX7" fmla="*/ 1682749 w 3357562"/>
              <a:gd name="connsiteY7" fmla="*/ 4633833 h 4951333"/>
              <a:gd name="connsiteX8" fmla="*/ 1719262 w 3357562"/>
              <a:gd name="connsiteY8" fmla="*/ 4533821 h 4951333"/>
              <a:gd name="connsiteX9" fmla="*/ 1652587 w 3357562"/>
              <a:gd name="connsiteY9" fmla="*/ 4490958 h 4951333"/>
              <a:gd name="connsiteX10" fmla="*/ 1585912 w 3357562"/>
              <a:gd name="connsiteY10" fmla="*/ 4462383 h 4951333"/>
              <a:gd name="connsiteX11" fmla="*/ 1544637 w 3357562"/>
              <a:gd name="connsiteY11" fmla="*/ 4444920 h 4951333"/>
              <a:gd name="connsiteX12" fmla="*/ 1465262 w 3357562"/>
              <a:gd name="connsiteY12" fmla="*/ 4452858 h 4951333"/>
              <a:gd name="connsiteX13" fmla="*/ 1406525 w 3357562"/>
              <a:gd name="connsiteY13" fmla="*/ 4319508 h 4951333"/>
              <a:gd name="connsiteX14" fmla="*/ 1333500 w 3357562"/>
              <a:gd name="connsiteY14" fmla="*/ 4209970 h 4951333"/>
              <a:gd name="connsiteX15" fmla="*/ 1214437 w 3357562"/>
              <a:gd name="connsiteY15" fmla="*/ 4157583 h 4951333"/>
              <a:gd name="connsiteX16" fmla="*/ 1128712 w 3357562"/>
              <a:gd name="connsiteY16" fmla="*/ 4148058 h 4951333"/>
              <a:gd name="connsiteX17" fmla="*/ 1100137 w 3357562"/>
              <a:gd name="connsiteY17" fmla="*/ 4109958 h 4951333"/>
              <a:gd name="connsiteX18" fmla="*/ 1081087 w 3357562"/>
              <a:gd name="connsiteY18" fmla="*/ 4014708 h 4951333"/>
              <a:gd name="connsiteX19" fmla="*/ 1109662 w 3357562"/>
              <a:gd name="connsiteY19" fmla="*/ 3957558 h 4951333"/>
              <a:gd name="connsiteX20" fmla="*/ 1252537 w 3357562"/>
              <a:gd name="connsiteY20" fmla="*/ 3948033 h 4951333"/>
              <a:gd name="connsiteX21" fmla="*/ 1376362 w 3357562"/>
              <a:gd name="connsiteY21" fmla="*/ 3728958 h 4951333"/>
              <a:gd name="connsiteX22" fmla="*/ 1428750 w 3357562"/>
              <a:gd name="connsiteY22" fmla="*/ 3617833 h 4951333"/>
              <a:gd name="connsiteX23" fmla="*/ 1366837 w 3357562"/>
              <a:gd name="connsiteY23" fmla="*/ 3447971 h 4951333"/>
              <a:gd name="connsiteX24" fmla="*/ 1295399 w 3357562"/>
              <a:gd name="connsiteY24" fmla="*/ 3367008 h 4951333"/>
              <a:gd name="connsiteX25" fmla="*/ 1200150 w 3357562"/>
              <a:gd name="connsiteY25" fmla="*/ 3324145 h 4951333"/>
              <a:gd name="connsiteX26" fmla="*/ 1109662 w 3357562"/>
              <a:gd name="connsiteY26" fmla="*/ 3243183 h 4951333"/>
              <a:gd name="connsiteX27" fmla="*/ 1057275 w 3357562"/>
              <a:gd name="connsiteY27" fmla="*/ 3119358 h 4951333"/>
              <a:gd name="connsiteX28" fmla="*/ 1014412 w 3357562"/>
              <a:gd name="connsiteY28" fmla="*/ 3043159 h 4951333"/>
              <a:gd name="connsiteX29" fmla="*/ 1033463 w 3357562"/>
              <a:gd name="connsiteY29" fmla="*/ 2957434 h 4951333"/>
              <a:gd name="connsiteX30" fmla="*/ 1133475 w 3357562"/>
              <a:gd name="connsiteY30" fmla="*/ 2871708 h 4951333"/>
              <a:gd name="connsiteX31" fmla="*/ 1176337 w 3357562"/>
              <a:gd name="connsiteY31" fmla="*/ 2785983 h 4951333"/>
              <a:gd name="connsiteX32" fmla="*/ 1200149 w 3357562"/>
              <a:gd name="connsiteY32" fmla="*/ 2809795 h 4951333"/>
              <a:gd name="connsiteX33" fmla="*/ 1295399 w 3357562"/>
              <a:gd name="connsiteY33" fmla="*/ 2785983 h 4951333"/>
              <a:gd name="connsiteX34" fmla="*/ 1447799 w 3357562"/>
              <a:gd name="connsiteY34" fmla="*/ 2695495 h 4951333"/>
              <a:gd name="connsiteX35" fmla="*/ 1490662 w 3357562"/>
              <a:gd name="connsiteY35" fmla="*/ 2643108 h 4951333"/>
              <a:gd name="connsiteX36" fmla="*/ 1543049 w 3357562"/>
              <a:gd name="connsiteY36" fmla="*/ 2538333 h 4951333"/>
              <a:gd name="connsiteX37" fmla="*/ 1552574 w 3357562"/>
              <a:gd name="connsiteY37" fmla="*/ 2424033 h 4951333"/>
              <a:gd name="connsiteX38" fmla="*/ 1462087 w 3357562"/>
              <a:gd name="connsiteY38" fmla="*/ 2347833 h 4951333"/>
              <a:gd name="connsiteX39" fmla="*/ 1409700 w 3357562"/>
              <a:gd name="connsiteY39" fmla="*/ 2311321 h 4951333"/>
              <a:gd name="connsiteX40" fmla="*/ 1325562 w 3357562"/>
              <a:gd name="connsiteY40" fmla="*/ 2284333 h 4951333"/>
              <a:gd name="connsiteX41" fmla="*/ 1225550 w 3357562"/>
              <a:gd name="connsiteY41" fmla="*/ 2290683 h 4951333"/>
              <a:gd name="connsiteX42" fmla="*/ 1028699 w 3357562"/>
              <a:gd name="connsiteY42" fmla="*/ 2311320 h 4951333"/>
              <a:gd name="connsiteX43" fmla="*/ 919162 w 3357562"/>
              <a:gd name="connsiteY43" fmla="*/ 2343071 h 4951333"/>
              <a:gd name="connsiteX44" fmla="*/ 895349 w 3357562"/>
              <a:gd name="connsiteY44" fmla="*/ 2262108 h 4951333"/>
              <a:gd name="connsiteX45" fmla="*/ 914399 w 3357562"/>
              <a:gd name="connsiteY45" fmla="*/ 2138283 h 4951333"/>
              <a:gd name="connsiteX46" fmla="*/ 938212 w 3357562"/>
              <a:gd name="connsiteY46" fmla="*/ 2004933 h 4951333"/>
              <a:gd name="connsiteX47" fmla="*/ 985837 w 3357562"/>
              <a:gd name="connsiteY47" fmla="*/ 1843008 h 4951333"/>
              <a:gd name="connsiteX48" fmla="*/ 957262 w 3357562"/>
              <a:gd name="connsiteY48" fmla="*/ 1766808 h 4951333"/>
              <a:gd name="connsiteX49" fmla="*/ 938212 w 3357562"/>
              <a:gd name="connsiteY49" fmla="*/ 1700133 h 4951333"/>
              <a:gd name="connsiteX50" fmla="*/ 771525 w 3357562"/>
              <a:gd name="connsiteY50" fmla="*/ 1642983 h 4951333"/>
              <a:gd name="connsiteX51" fmla="*/ 614362 w 3357562"/>
              <a:gd name="connsiteY51" fmla="*/ 1614408 h 4951333"/>
              <a:gd name="connsiteX52" fmla="*/ 633412 w 3357562"/>
              <a:gd name="connsiteY52" fmla="*/ 1509633 h 4951333"/>
              <a:gd name="connsiteX53" fmla="*/ 741362 w 3357562"/>
              <a:gd name="connsiteY53" fmla="*/ 1395333 h 4951333"/>
              <a:gd name="connsiteX54" fmla="*/ 842962 w 3357562"/>
              <a:gd name="connsiteY54" fmla="*/ 1319133 h 4951333"/>
              <a:gd name="connsiteX55" fmla="*/ 890587 w 3357562"/>
              <a:gd name="connsiteY55" fmla="*/ 1281033 h 4951333"/>
              <a:gd name="connsiteX56" fmla="*/ 890587 w 3357562"/>
              <a:gd name="connsiteY56" fmla="*/ 1223883 h 4951333"/>
              <a:gd name="connsiteX57" fmla="*/ 909637 w 3357562"/>
              <a:gd name="connsiteY57" fmla="*/ 1157208 h 4951333"/>
              <a:gd name="connsiteX58" fmla="*/ 938212 w 3357562"/>
              <a:gd name="connsiteY58" fmla="*/ 1128633 h 4951333"/>
              <a:gd name="connsiteX59" fmla="*/ 947737 w 3357562"/>
              <a:gd name="connsiteY59" fmla="*/ 1061958 h 4951333"/>
              <a:gd name="connsiteX60" fmla="*/ 947737 w 3357562"/>
              <a:gd name="connsiteY60" fmla="*/ 976233 h 4951333"/>
              <a:gd name="connsiteX61" fmla="*/ 1017587 w 3357562"/>
              <a:gd name="connsiteY61" fmla="*/ 861933 h 4951333"/>
              <a:gd name="connsiteX62" fmla="*/ 1281112 w 3357562"/>
              <a:gd name="connsiteY62" fmla="*/ 925433 h 4951333"/>
              <a:gd name="connsiteX63" fmla="*/ 1485900 w 3357562"/>
              <a:gd name="connsiteY63" fmla="*/ 819071 h 4951333"/>
              <a:gd name="connsiteX64" fmla="*/ 1619250 w 3357562"/>
              <a:gd name="connsiteY64" fmla="*/ 693658 h 4951333"/>
              <a:gd name="connsiteX65" fmla="*/ 1739899 w 3357562"/>
              <a:gd name="connsiteY65" fmla="*/ 682546 h 4951333"/>
              <a:gd name="connsiteX66" fmla="*/ 1895474 w 3357562"/>
              <a:gd name="connsiteY66" fmla="*/ 685720 h 4951333"/>
              <a:gd name="connsiteX67" fmla="*/ 2066924 w 3357562"/>
              <a:gd name="connsiteY67" fmla="*/ 742871 h 4951333"/>
              <a:gd name="connsiteX68" fmla="*/ 2200275 w 3357562"/>
              <a:gd name="connsiteY68" fmla="*/ 828596 h 4951333"/>
              <a:gd name="connsiteX69" fmla="*/ 2295525 w 3357562"/>
              <a:gd name="connsiteY69" fmla="*/ 904796 h 4951333"/>
              <a:gd name="connsiteX70" fmla="*/ 2609849 w 3357562"/>
              <a:gd name="connsiteY70" fmla="*/ 938133 h 4951333"/>
              <a:gd name="connsiteX71" fmla="*/ 2754312 w 3357562"/>
              <a:gd name="connsiteY71" fmla="*/ 965121 h 4951333"/>
              <a:gd name="connsiteX72" fmla="*/ 2886074 w 3357562"/>
              <a:gd name="connsiteY72" fmla="*/ 1014333 h 4951333"/>
              <a:gd name="connsiteX73" fmla="*/ 3090862 w 3357562"/>
              <a:gd name="connsiteY73" fmla="*/ 966708 h 4951333"/>
              <a:gd name="connsiteX74" fmla="*/ 3176587 w 3357562"/>
              <a:gd name="connsiteY74" fmla="*/ 980996 h 4951333"/>
              <a:gd name="connsiteX75" fmla="*/ 3297237 w 3357562"/>
              <a:gd name="connsiteY75" fmla="*/ 963533 h 4951333"/>
              <a:gd name="connsiteX76" fmla="*/ 3325812 w 3357562"/>
              <a:gd name="connsiteY76" fmla="*/ 941308 h 4951333"/>
              <a:gd name="connsiteX77" fmla="*/ 3357562 w 3357562"/>
              <a:gd name="connsiteY77" fmla="*/ 880983 h 4951333"/>
              <a:gd name="connsiteX78" fmla="*/ 3336924 w 3357562"/>
              <a:gd name="connsiteY78" fmla="*/ 712708 h 4951333"/>
              <a:gd name="connsiteX79" fmla="*/ 3301999 w 3357562"/>
              <a:gd name="connsiteY79" fmla="*/ 650795 h 4951333"/>
              <a:gd name="connsiteX80" fmla="*/ 3182937 w 3357562"/>
              <a:gd name="connsiteY80" fmla="*/ 585708 h 4951333"/>
              <a:gd name="connsiteX81" fmla="*/ 3167062 w 3357562"/>
              <a:gd name="connsiteY81" fmla="*/ 528558 h 4951333"/>
              <a:gd name="connsiteX82" fmla="*/ 3119437 w 3357562"/>
              <a:gd name="connsiteY82" fmla="*/ 490458 h 4951333"/>
              <a:gd name="connsiteX83" fmla="*/ 3090862 w 3357562"/>
              <a:gd name="connsiteY83" fmla="*/ 512683 h 4951333"/>
              <a:gd name="connsiteX84" fmla="*/ 3071812 w 3357562"/>
              <a:gd name="connsiteY84" fmla="*/ 563483 h 4951333"/>
              <a:gd name="connsiteX85" fmla="*/ 3062287 w 3357562"/>
              <a:gd name="connsiteY85" fmla="*/ 614283 h 4951333"/>
              <a:gd name="connsiteX86" fmla="*/ 3019425 w 3357562"/>
              <a:gd name="connsiteY86" fmla="*/ 628571 h 4951333"/>
              <a:gd name="connsiteX87" fmla="*/ 2947987 w 3357562"/>
              <a:gd name="connsiteY87" fmla="*/ 595233 h 4951333"/>
              <a:gd name="connsiteX88" fmla="*/ 2852737 w 3357562"/>
              <a:gd name="connsiteY88" fmla="*/ 652383 h 4951333"/>
              <a:gd name="connsiteX89" fmla="*/ 2833687 w 3357562"/>
              <a:gd name="connsiteY89" fmla="*/ 680958 h 4951333"/>
              <a:gd name="connsiteX90" fmla="*/ 2824162 w 3357562"/>
              <a:gd name="connsiteY90" fmla="*/ 719058 h 4951333"/>
              <a:gd name="connsiteX91" fmla="*/ 2747962 w 3357562"/>
              <a:gd name="connsiteY91" fmla="*/ 680958 h 4951333"/>
              <a:gd name="connsiteX92" fmla="*/ 2657475 w 3357562"/>
              <a:gd name="connsiteY92" fmla="*/ 652383 h 4951333"/>
              <a:gd name="connsiteX93" fmla="*/ 2557462 w 3357562"/>
              <a:gd name="connsiteY93" fmla="*/ 604758 h 4951333"/>
              <a:gd name="connsiteX94" fmla="*/ 2433637 w 3357562"/>
              <a:gd name="connsiteY94" fmla="*/ 538083 h 4951333"/>
              <a:gd name="connsiteX95" fmla="*/ 2333624 w 3357562"/>
              <a:gd name="connsiteY95" fmla="*/ 452358 h 4951333"/>
              <a:gd name="connsiteX96" fmla="*/ 2190750 w 3357562"/>
              <a:gd name="connsiteY96" fmla="*/ 423783 h 4951333"/>
              <a:gd name="connsiteX97" fmla="*/ 2157412 w 3357562"/>
              <a:gd name="connsiteY97" fmla="*/ 309483 h 4951333"/>
              <a:gd name="connsiteX98" fmla="*/ 2143124 w 3357562"/>
              <a:gd name="connsiteY98" fmla="*/ 179308 h 4951333"/>
              <a:gd name="connsiteX99" fmla="*/ 1518104 w 3357562"/>
              <a:gd name="connsiteY99" fmla="*/ 47626 h 4951333"/>
              <a:gd name="connsiteX100" fmla="*/ 1372054 w 3357562"/>
              <a:gd name="connsiteY100" fmla="*/ 25401 h 4951333"/>
              <a:gd name="connsiteX101" fmla="*/ 1235529 w 3357562"/>
              <a:gd name="connsiteY101" fmla="*/ 0 h 4951333"/>
              <a:gd name="connsiteX102" fmla="*/ 1162504 w 3357562"/>
              <a:gd name="connsiteY102" fmla="*/ 73025 h 4951333"/>
              <a:gd name="connsiteX103" fmla="*/ 1198562 w 3357562"/>
              <a:gd name="connsiteY103" fmla="*/ 176133 h 4951333"/>
              <a:gd name="connsiteX104" fmla="*/ 1166812 w 3357562"/>
              <a:gd name="connsiteY104" fmla="*/ 309483 h 4951333"/>
              <a:gd name="connsiteX105" fmla="*/ 1128712 w 3357562"/>
              <a:gd name="connsiteY105" fmla="*/ 414258 h 4951333"/>
              <a:gd name="connsiteX106" fmla="*/ 919162 w 3357562"/>
              <a:gd name="connsiteY106" fmla="*/ 576183 h 4951333"/>
              <a:gd name="connsiteX107" fmla="*/ 909637 w 3357562"/>
              <a:gd name="connsiteY107" fmla="*/ 633333 h 4951333"/>
              <a:gd name="connsiteX108" fmla="*/ 785812 w 3357562"/>
              <a:gd name="connsiteY108" fmla="*/ 652383 h 4951333"/>
              <a:gd name="connsiteX109" fmla="*/ 614362 w 3357562"/>
              <a:gd name="connsiteY109" fmla="*/ 709533 h 4951333"/>
              <a:gd name="connsiteX110" fmla="*/ 566737 w 3357562"/>
              <a:gd name="connsiteY110" fmla="*/ 820658 h 4951333"/>
              <a:gd name="connsiteX111" fmla="*/ 461962 w 3357562"/>
              <a:gd name="connsiteY111" fmla="*/ 938133 h 4951333"/>
              <a:gd name="connsiteX112" fmla="*/ 452437 w 3357562"/>
              <a:gd name="connsiteY112" fmla="*/ 1014333 h 4951333"/>
              <a:gd name="connsiteX113" fmla="*/ 461962 w 3357562"/>
              <a:gd name="connsiteY113" fmla="*/ 1138158 h 4951333"/>
              <a:gd name="connsiteX114" fmla="*/ 414337 w 3357562"/>
              <a:gd name="connsiteY114" fmla="*/ 1185783 h 4951333"/>
              <a:gd name="connsiteX115" fmla="*/ 233362 w 3357562"/>
              <a:gd name="connsiteY115" fmla="*/ 1157208 h 4951333"/>
              <a:gd name="connsiteX116" fmla="*/ 166687 w 3357562"/>
              <a:gd name="connsiteY116" fmla="*/ 1166733 h 4951333"/>
              <a:gd name="connsiteX117" fmla="*/ 61912 w 3357562"/>
              <a:gd name="connsiteY117" fmla="*/ 1242933 h 4951333"/>
              <a:gd name="connsiteX118" fmla="*/ 42862 w 3357562"/>
              <a:gd name="connsiteY118" fmla="*/ 1338183 h 4951333"/>
              <a:gd name="connsiteX119" fmla="*/ 42862 w 3357562"/>
              <a:gd name="connsiteY119" fmla="*/ 1471533 h 4951333"/>
              <a:gd name="connsiteX120" fmla="*/ 14287 w 3357562"/>
              <a:gd name="connsiteY120" fmla="*/ 1585833 h 4951333"/>
              <a:gd name="connsiteX121" fmla="*/ 0 w 3357562"/>
              <a:gd name="connsiteY121" fmla="*/ 1700133 h 4951333"/>
              <a:gd name="connsiteX122" fmla="*/ 90487 w 3357562"/>
              <a:gd name="connsiteY122" fmla="*/ 1833483 h 4951333"/>
              <a:gd name="connsiteX123" fmla="*/ 147637 w 3357562"/>
              <a:gd name="connsiteY123" fmla="*/ 2014458 h 4951333"/>
              <a:gd name="connsiteX124" fmla="*/ 204787 w 3357562"/>
              <a:gd name="connsiteY124" fmla="*/ 2224008 h 4951333"/>
              <a:gd name="connsiteX125" fmla="*/ 261937 w 3357562"/>
              <a:gd name="connsiteY125" fmla="*/ 2490708 h 4951333"/>
              <a:gd name="connsiteX126" fmla="*/ 347662 w 3357562"/>
              <a:gd name="connsiteY126" fmla="*/ 2595483 h 4951333"/>
              <a:gd name="connsiteX127" fmla="*/ 319087 w 3357562"/>
              <a:gd name="connsiteY127" fmla="*/ 2805033 h 4951333"/>
              <a:gd name="connsiteX128" fmla="*/ 390524 w 3357562"/>
              <a:gd name="connsiteY128" fmla="*/ 2962195 h 4951333"/>
              <a:gd name="connsiteX129" fmla="*/ 366712 w 3357562"/>
              <a:gd name="connsiteY129" fmla="*/ 3052683 h 4951333"/>
              <a:gd name="connsiteX130" fmla="*/ 430212 w 3357562"/>
              <a:gd name="connsiteY130" fmla="*/ 3449558 h 4951333"/>
              <a:gd name="connsiteX131" fmla="*/ 420687 w 3357562"/>
              <a:gd name="connsiteY131" fmla="*/ 3557508 h 4951333"/>
              <a:gd name="connsiteX132" fmla="*/ 369887 w 3357562"/>
              <a:gd name="connsiteY132" fmla="*/ 3694033 h 4951333"/>
              <a:gd name="connsiteX133" fmla="*/ 385762 w 3357562"/>
              <a:gd name="connsiteY133" fmla="*/ 3817858 h 4951333"/>
              <a:gd name="connsiteX134" fmla="*/ 452437 w 3357562"/>
              <a:gd name="connsiteY134" fmla="*/ 4005183 h 4951333"/>
              <a:gd name="connsiteX135" fmla="*/ 495300 w 3357562"/>
              <a:gd name="connsiteY135" fmla="*/ 4095671 h 4951333"/>
              <a:gd name="connsiteX136" fmla="*/ 519112 w 3357562"/>
              <a:gd name="connsiteY136" fmla="*/ 4200445 h 4951333"/>
              <a:gd name="connsiteX137" fmla="*/ 447674 w 3357562"/>
              <a:gd name="connsiteY137" fmla="*/ 4262358 h 4951333"/>
              <a:gd name="connsiteX138" fmla="*/ 609599 w 3357562"/>
              <a:gd name="connsiteY138" fmla="*/ 4338557 h 4951333"/>
              <a:gd name="connsiteX139" fmla="*/ 690562 w 3357562"/>
              <a:gd name="connsiteY139" fmla="*/ 4476670 h 4951333"/>
              <a:gd name="connsiteX140" fmla="*/ 750887 w 3357562"/>
              <a:gd name="connsiteY140" fmla="*/ 4513183 h 4951333"/>
              <a:gd name="connsiteX141" fmla="*/ 841375 w 3357562"/>
              <a:gd name="connsiteY141" fmla="*/ 4452858 h 4951333"/>
              <a:gd name="connsiteX142" fmla="*/ 928687 w 3357562"/>
              <a:gd name="connsiteY142" fmla="*/ 4478258 h 4951333"/>
              <a:gd name="connsiteX143" fmla="*/ 1092199 w 3357562"/>
              <a:gd name="connsiteY143" fmla="*/ 4632245 h 4951333"/>
              <a:gd name="connsiteX144" fmla="*/ 1203324 w 3357562"/>
              <a:gd name="connsiteY144" fmla="*/ 4692570 h 4951333"/>
              <a:gd name="connsiteX145" fmla="*/ 1381124 w 3357562"/>
              <a:gd name="connsiteY145" fmla="*/ 4805283 h 4951333"/>
              <a:gd name="connsiteX146" fmla="*/ 1662112 w 3357562"/>
              <a:gd name="connsiteY146" fmla="*/ 4938633 h 4951333"/>
              <a:gd name="connsiteX147" fmla="*/ 1779587 w 3357562"/>
              <a:gd name="connsiteY147" fmla="*/ 4951333 h 4951333"/>
              <a:gd name="connsiteX0" fmla="*/ 1779587 w 3357562"/>
              <a:gd name="connsiteY0" fmla="*/ 4951333 h 4951333"/>
              <a:gd name="connsiteX1" fmla="*/ 1855787 w 3357562"/>
              <a:gd name="connsiteY1" fmla="*/ 4900533 h 4951333"/>
              <a:gd name="connsiteX2" fmla="*/ 1855787 w 3357562"/>
              <a:gd name="connsiteY2" fmla="*/ 4821158 h 4951333"/>
              <a:gd name="connsiteX3" fmla="*/ 1838325 w 3357562"/>
              <a:gd name="connsiteY3" fmla="*/ 4762421 h 4951333"/>
              <a:gd name="connsiteX4" fmla="*/ 1725612 w 3357562"/>
              <a:gd name="connsiteY4" fmla="*/ 4724320 h 4951333"/>
              <a:gd name="connsiteX5" fmla="*/ 1660525 w 3357562"/>
              <a:gd name="connsiteY5" fmla="*/ 4748133 h 4951333"/>
              <a:gd name="connsiteX6" fmla="*/ 1660525 w 3357562"/>
              <a:gd name="connsiteY6" fmla="*/ 4702096 h 4951333"/>
              <a:gd name="connsiteX7" fmla="*/ 1682749 w 3357562"/>
              <a:gd name="connsiteY7" fmla="*/ 4633833 h 4951333"/>
              <a:gd name="connsiteX8" fmla="*/ 1719262 w 3357562"/>
              <a:gd name="connsiteY8" fmla="*/ 4533821 h 4951333"/>
              <a:gd name="connsiteX9" fmla="*/ 1652587 w 3357562"/>
              <a:gd name="connsiteY9" fmla="*/ 4490958 h 4951333"/>
              <a:gd name="connsiteX10" fmla="*/ 1585912 w 3357562"/>
              <a:gd name="connsiteY10" fmla="*/ 4462383 h 4951333"/>
              <a:gd name="connsiteX11" fmla="*/ 1544637 w 3357562"/>
              <a:gd name="connsiteY11" fmla="*/ 4444920 h 4951333"/>
              <a:gd name="connsiteX12" fmla="*/ 1465262 w 3357562"/>
              <a:gd name="connsiteY12" fmla="*/ 4452858 h 4951333"/>
              <a:gd name="connsiteX13" fmla="*/ 1406525 w 3357562"/>
              <a:gd name="connsiteY13" fmla="*/ 4319508 h 4951333"/>
              <a:gd name="connsiteX14" fmla="*/ 1333500 w 3357562"/>
              <a:gd name="connsiteY14" fmla="*/ 4209970 h 4951333"/>
              <a:gd name="connsiteX15" fmla="*/ 1214437 w 3357562"/>
              <a:gd name="connsiteY15" fmla="*/ 4157583 h 4951333"/>
              <a:gd name="connsiteX16" fmla="*/ 1128712 w 3357562"/>
              <a:gd name="connsiteY16" fmla="*/ 4148058 h 4951333"/>
              <a:gd name="connsiteX17" fmla="*/ 1100137 w 3357562"/>
              <a:gd name="connsiteY17" fmla="*/ 4109958 h 4951333"/>
              <a:gd name="connsiteX18" fmla="*/ 1081087 w 3357562"/>
              <a:gd name="connsiteY18" fmla="*/ 4014708 h 4951333"/>
              <a:gd name="connsiteX19" fmla="*/ 1109662 w 3357562"/>
              <a:gd name="connsiteY19" fmla="*/ 3957558 h 4951333"/>
              <a:gd name="connsiteX20" fmla="*/ 1252537 w 3357562"/>
              <a:gd name="connsiteY20" fmla="*/ 3948033 h 4951333"/>
              <a:gd name="connsiteX21" fmla="*/ 1376362 w 3357562"/>
              <a:gd name="connsiteY21" fmla="*/ 3728958 h 4951333"/>
              <a:gd name="connsiteX22" fmla="*/ 1428750 w 3357562"/>
              <a:gd name="connsiteY22" fmla="*/ 3617833 h 4951333"/>
              <a:gd name="connsiteX23" fmla="*/ 1366837 w 3357562"/>
              <a:gd name="connsiteY23" fmla="*/ 3447971 h 4951333"/>
              <a:gd name="connsiteX24" fmla="*/ 1295399 w 3357562"/>
              <a:gd name="connsiteY24" fmla="*/ 3367008 h 4951333"/>
              <a:gd name="connsiteX25" fmla="*/ 1200150 w 3357562"/>
              <a:gd name="connsiteY25" fmla="*/ 3324145 h 4951333"/>
              <a:gd name="connsiteX26" fmla="*/ 1109662 w 3357562"/>
              <a:gd name="connsiteY26" fmla="*/ 3243183 h 4951333"/>
              <a:gd name="connsiteX27" fmla="*/ 1057275 w 3357562"/>
              <a:gd name="connsiteY27" fmla="*/ 3119358 h 4951333"/>
              <a:gd name="connsiteX28" fmla="*/ 1014412 w 3357562"/>
              <a:gd name="connsiteY28" fmla="*/ 3043159 h 4951333"/>
              <a:gd name="connsiteX29" fmla="*/ 1033463 w 3357562"/>
              <a:gd name="connsiteY29" fmla="*/ 2957434 h 4951333"/>
              <a:gd name="connsiteX30" fmla="*/ 1133475 w 3357562"/>
              <a:gd name="connsiteY30" fmla="*/ 2871708 h 4951333"/>
              <a:gd name="connsiteX31" fmla="*/ 1176337 w 3357562"/>
              <a:gd name="connsiteY31" fmla="*/ 2785983 h 4951333"/>
              <a:gd name="connsiteX32" fmla="*/ 1200149 w 3357562"/>
              <a:gd name="connsiteY32" fmla="*/ 2809795 h 4951333"/>
              <a:gd name="connsiteX33" fmla="*/ 1295399 w 3357562"/>
              <a:gd name="connsiteY33" fmla="*/ 2785983 h 4951333"/>
              <a:gd name="connsiteX34" fmla="*/ 1447799 w 3357562"/>
              <a:gd name="connsiteY34" fmla="*/ 2695495 h 4951333"/>
              <a:gd name="connsiteX35" fmla="*/ 1490662 w 3357562"/>
              <a:gd name="connsiteY35" fmla="*/ 2643108 h 4951333"/>
              <a:gd name="connsiteX36" fmla="*/ 1543049 w 3357562"/>
              <a:gd name="connsiteY36" fmla="*/ 2538333 h 4951333"/>
              <a:gd name="connsiteX37" fmla="*/ 1552574 w 3357562"/>
              <a:gd name="connsiteY37" fmla="*/ 2424033 h 4951333"/>
              <a:gd name="connsiteX38" fmla="*/ 1462087 w 3357562"/>
              <a:gd name="connsiteY38" fmla="*/ 2347833 h 4951333"/>
              <a:gd name="connsiteX39" fmla="*/ 1409700 w 3357562"/>
              <a:gd name="connsiteY39" fmla="*/ 2311321 h 4951333"/>
              <a:gd name="connsiteX40" fmla="*/ 1325562 w 3357562"/>
              <a:gd name="connsiteY40" fmla="*/ 2284333 h 4951333"/>
              <a:gd name="connsiteX41" fmla="*/ 1225550 w 3357562"/>
              <a:gd name="connsiteY41" fmla="*/ 2290683 h 4951333"/>
              <a:gd name="connsiteX42" fmla="*/ 1028699 w 3357562"/>
              <a:gd name="connsiteY42" fmla="*/ 2311320 h 4951333"/>
              <a:gd name="connsiteX43" fmla="*/ 919162 w 3357562"/>
              <a:gd name="connsiteY43" fmla="*/ 2343071 h 4951333"/>
              <a:gd name="connsiteX44" fmla="*/ 895349 w 3357562"/>
              <a:gd name="connsiteY44" fmla="*/ 2262108 h 4951333"/>
              <a:gd name="connsiteX45" fmla="*/ 914399 w 3357562"/>
              <a:gd name="connsiteY45" fmla="*/ 2138283 h 4951333"/>
              <a:gd name="connsiteX46" fmla="*/ 938212 w 3357562"/>
              <a:gd name="connsiteY46" fmla="*/ 2004933 h 4951333"/>
              <a:gd name="connsiteX47" fmla="*/ 985837 w 3357562"/>
              <a:gd name="connsiteY47" fmla="*/ 1843008 h 4951333"/>
              <a:gd name="connsiteX48" fmla="*/ 957262 w 3357562"/>
              <a:gd name="connsiteY48" fmla="*/ 1766808 h 4951333"/>
              <a:gd name="connsiteX49" fmla="*/ 938212 w 3357562"/>
              <a:gd name="connsiteY49" fmla="*/ 1700133 h 4951333"/>
              <a:gd name="connsiteX50" fmla="*/ 771525 w 3357562"/>
              <a:gd name="connsiteY50" fmla="*/ 1642983 h 4951333"/>
              <a:gd name="connsiteX51" fmla="*/ 614362 w 3357562"/>
              <a:gd name="connsiteY51" fmla="*/ 1614408 h 4951333"/>
              <a:gd name="connsiteX52" fmla="*/ 633412 w 3357562"/>
              <a:gd name="connsiteY52" fmla="*/ 1509633 h 4951333"/>
              <a:gd name="connsiteX53" fmla="*/ 741362 w 3357562"/>
              <a:gd name="connsiteY53" fmla="*/ 1395333 h 4951333"/>
              <a:gd name="connsiteX54" fmla="*/ 842962 w 3357562"/>
              <a:gd name="connsiteY54" fmla="*/ 1319133 h 4951333"/>
              <a:gd name="connsiteX55" fmla="*/ 890587 w 3357562"/>
              <a:gd name="connsiteY55" fmla="*/ 1281033 h 4951333"/>
              <a:gd name="connsiteX56" fmla="*/ 890587 w 3357562"/>
              <a:gd name="connsiteY56" fmla="*/ 1223883 h 4951333"/>
              <a:gd name="connsiteX57" fmla="*/ 909637 w 3357562"/>
              <a:gd name="connsiteY57" fmla="*/ 1157208 h 4951333"/>
              <a:gd name="connsiteX58" fmla="*/ 938212 w 3357562"/>
              <a:gd name="connsiteY58" fmla="*/ 1128633 h 4951333"/>
              <a:gd name="connsiteX59" fmla="*/ 947737 w 3357562"/>
              <a:gd name="connsiteY59" fmla="*/ 1061958 h 4951333"/>
              <a:gd name="connsiteX60" fmla="*/ 947737 w 3357562"/>
              <a:gd name="connsiteY60" fmla="*/ 976233 h 4951333"/>
              <a:gd name="connsiteX61" fmla="*/ 1017587 w 3357562"/>
              <a:gd name="connsiteY61" fmla="*/ 861933 h 4951333"/>
              <a:gd name="connsiteX62" fmla="*/ 1281112 w 3357562"/>
              <a:gd name="connsiteY62" fmla="*/ 925433 h 4951333"/>
              <a:gd name="connsiteX63" fmla="*/ 1485900 w 3357562"/>
              <a:gd name="connsiteY63" fmla="*/ 819071 h 4951333"/>
              <a:gd name="connsiteX64" fmla="*/ 1619250 w 3357562"/>
              <a:gd name="connsiteY64" fmla="*/ 693658 h 4951333"/>
              <a:gd name="connsiteX65" fmla="*/ 1739899 w 3357562"/>
              <a:gd name="connsiteY65" fmla="*/ 682546 h 4951333"/>
              <a:gd name="connsiteX66" fmla="*/ 1895474 w 3357562"/>
              <a:gd name="connsiteY66" fmla="*/ 685720 h 4951333"/>
              <a:gd name="connsiteX67" fmla="*/ 2066924 w 3357562"/>
              <a:gd name="connsiteY67" fmla="*/ 742871 h 4951333"/>
              <a:gd name="connsiteX68" fmla="*/ 2200275 w 3357562"/>
              <a:gd name="connsiteY68" fmla="*/ 828596 h 4951333"/>
              <a:gd name="connsiteX69" fmla="*/ 2295525 w 3357562"/>
              <a:gd name="connsiteY69" fmla="*/ 904796 h 4951333"/>
              <a:gd name="connsiteX70" fmla="*/ 2609849 w 3357562"/>
              <a:gd name="connsiteY70" fmla="*/ 938133 h 4951333"/>
              <a:gd name="connsiteX71" fmla="*/ 2754312 w 3357562"/>
              <a:gd name="connsiteY71" fmla="*/ 965121 h 4951333"/>
              <a:gd name="connsiteX72" fmla="*/ 2886074 w 3357562"/>
              <a:gd name="connsiteY72" fmla="*/ 1014333 h 4951333"/>
              <a:gd name="connsiteX73" fmla="*/ 3090862 w 3357562"/>
              <a:gd name="connsiteY73" fmla="*/ 966708 h 4951333"/>
              <a:gd name="connsiteX74" fmla="*/ 3176587 w 3357562"/>
              <a:gd name="connsiteY74" fmla="*/ 980996 h 4951333"/>
              <a:gd name="connsiteX75" fmla="*/ 3297237 w 3357562"/>
              <a:gd name="connsiteY75" fmla="*/ 963533 h 4951333"/>
              <a:gd name="connsiteX76" fmla="*/ 3325812 w 3357562"/>
              <a:gd name="connsiteY76" fmla="*/ 941308 h 4951333"/>
              <a:gd name="connsiteX77" fmla="*/ 3357562 w 3357562"/>
              <a:gd name="connsiteY77" fmla="*/ 880983 h 4951333"/>
              <a:gd name="connsiteX78" fmla="*/ 3336924 w 3357562"/>
              <a:gd name="connsiteY78" fmla="*/ 712708 h 4951333"/>
              <a:gd name="connsiteX79" fmla="*/ 3301999 w 3357562"/>
              <a:gd name="connsiteY79" fmla="*/ 650795 h 4951333"/>
              <a:gd name="connsiteX80" fmla="*/ 3182937 w 3357562"/>
              <a:gd name="connsiteY80" fmla="*/ 585708 h 4951333"/>
              <a:gd name="connsiteX81" fmla="*/ 3167062 w 3357562"/>
              <a:gd name="connsiteY81" fmla="*/ 528558 h 4951333"/>
              <a:gd name="connsiteX82" fmla="*/ 3119437 w 3357562"/>
              <a:gd name="connsiteY82" fmla="*/ 490458 h 4951333"/>
              <a:gd name="connsiteX83" fmla="*/ 3090862 w 3357562"/>
              <a:gd name="connsiteY83" fmla="*/ 512683 h 4951333"/>
              <a:gd name="connsiteX84" fmla="*/ 3071812 w 3357562"/>
              <a:gd name="connsiteY84" fmla="*/ 563483 h 4951333"/>
              <a:gd name="connsiteX85" fmla="*/ 3062287 w 3357562"/>
              <a:gd name="connsiteY85" fmla="*/ 614283 h 4951333"/>
              <a:gd name="connsiteX86" fmla="*/ 3019425 w 3357562"/>
              <a:gd name="connsiteY86" fmla="*/ 628571 h 4951333"/>
              <a:gd name="connsiteX87" fmla="*/ 2947987 w 3357562"/>
              <a:gd name="connsiteY87" fmla="*/ 595233 h 4951333"/>
              <a:gd name="connsiteX88" fmla="*/ 2852737 w 3357562"/>
              <a:gd name="connsiteY88" fmla="*/ 652383 h 4951333"/>
              <a:gd name="connsiteX89" fmla="*/ 2833687 w 3357562"/>
              <a:gd name="connsiteY89" fmla="*/ 680958 h 4951333"/>
              <a:gd name="connsiteX90" fmla="*/ 2824162 w 3357562"/>
              <a:gd name="connsiteY90" fmla="*/ 719058 h 4951333"/>
              <a:gd name="connsiteX91" fmla="*/ 2747962 w 3357562"/>
              <a:gd name="connsiteY91" fmla="*/ 680958 h 4951333"/>
              <a:gd name="connsiteX92" fmla="*/ 2657475 w 3357562"/>
              <a:gd name="connsiteY92" fmla="*/ 652383 h 4951333"/>
              <a:gd name="connsiteX93" fmla="*/ 2557462 w 3357562"/>
              <a:gd name="connsiteY93" fmla="*/ 604758 h 4951333"/>
              <a:gd name="connsiteX94" fmla="*/ 2433637 w 3357562"/>
              <a:gd name="connsiteY94" fmla="*/ 538083 h 4951333"/>
              <a:gd name="connsiteX95" fmla="*/ 2333624 w 3357562"/>
              <a:gd name="connsiteY95" fmla="*/ 452358 h 4951333"/>
              <a:gd name="connsiteX96" fmla="*/ 2190750 w 3357562"/>
              <a:gd name="connsiteY96" fmla="*/ 423783 h 4951333"/>
              <a:gd name="connsiteX97" fmla="*/ 2157412 w 3357562"/>
              <a:gd name="connsiteY97" fmla="*/ 309483 h 4951333"/>
              <a:gd name="connsiteX98" fmla="*/ 2143124 w 3357562"/>
              <a:gd name="connsiteY98" fmla="*/ 179308 h 4951333"/>
              <a:gd name="connsiteX99" fmla="*/ 1518104 w 3357562"/>
              <a:gd name="connsiteY99" fmla="*/ 111126 h 4951333"/>
              <a:gd name="connsiteX100" fmla="*/ 1372054 w 3357562"/>
              <a:gd name="connsiteY100" fmla="*/ 25401 h 4951333"/>
              <a:gd name="connsiteX101" fmla="*/ 1235529 w 3357562"/>
              <a:gd name="connsiteY101" fmla="*/ 0 h 4951333"/>
              <a:gd name="connsiteX102" fmla="*/ 1162504 w 3357562"/>
              <a:gd name="connsiteY102" fmla="*/ 73025 h 4951333"/>
              <a:gd name="connsiteX103" fmla="*/ 1198562 w 3357562"/>
              <a:gd name="connsiteY103" fmla="*/ 176133 h 4951333"/>
              <a:gd name="connsiteX104" fmla="*/ 1166812 w 3357562"/>
              <a:gd name="connsiteY104" fmla="*/ 309483 h 4951333"/>
              <a:gd name="connsiteX105" fmla="*/ 1128712 w 3357562"/>
              <a:gd name="connsiteY105" fmla="*/ 414258 h 4951333"/>
              <a:gd name="connsiteX106" fmla="*/ 919162 w 3357562"/>
              <a:gd name="connsiteY106" fmla="*/ 576183 h 4951333"/>
              <a:gd name="connsiteX107" fmla="*/ 909637 w 3357562"/>
              <a:gd name="connsiteY107" fmla="*/ 633333 h 4951333"/>
              <a:gd name="connsiteX108" fmla="*/ 785812 w 3357562"/>
              <a:gd name="connsiteY108" fmla="*/ 652383 h 4951333"/>
              <a:gd name="connsiteX109" fmla="*/ 614362 w 3357562"/>
              <a:gd name="connsiteY109" fmla="*/ 709533 h 4951333"/>
              <a:gd name="connsiteX110" fmla="*/ 566737 w 3357562"/>
              <a:gd name="connsiteY110" fmla="*/ 820658 h 4951333"/>
              <a:gd name="connsiteX111" fmla="*/ 461962 w 3357562"/>
              <a:gd name="connsiteY111" fmla="*/ 938133 h 4951333"/>
              <a:gd name="connsiteX112" fmla="*/ 452437 w 3357562"/>
              <a:gd name="connsiteY112" fmla="*/ 1014333 h 4951333"/>
              <a:gd name="connsiteX113" fmla="*/ 461962 w 3357562"/>
              <a:gd name="connsiteY113" fmla="*/ 1138158 h 4951333"/>
              <a:gd name="connsiteX114" fmla="*/ 414337 w 3357562"/>
              <a:gd name="connsiteY114" fmla="*/ 1185783 h 4951333"/>
              <a:gd name="connsiteX115" fmla="*/ 233362 w 3357562"/>
              <a:gd name="connsiteY115" fmla="*/ 1157208 h 4951333"/>
              <a:gd name="connsiteX116" fmla="*/ 166687 w 3357562"/>
              <a:gd name="connsiteY116" fmla="*/ 1166733 h 4951333"/>
              <a:gd name="connsiteX117" fmla="*/ 61912 w 3357562"/>
              <a:gd name="connsiteY117" fmla="*/ 1242933 h 4951333"/>
              <a:gd name="connsiteX118" fmla="*/ 42862 w 3357562"/>
              <a:gd name="connsiteY118" fmla="*/ 1338183 h 4951333"/>
              <a:gd name="connsiteX119" fmla="*/ 42862 w 3357562"/>
              <a:gd name="connsiteY119" fmla="*/ 1471533 h 4951333"/>
              <a:gd name="connsiteX120" fmla="*/ 14287 w 3357562"/>
              <a:gd name="connsiteY120" fmla="*/ 1585833 h 4951333"/>
              <a:gd name="connsiteX121" fmla="*/ 0 w 3357562"/>
              <a:gd name="connsiteY121" fmla="*/ 1700133 h 4951333"/>
              <a:gd name="connsiteX122" fmla="*/ 90487 w 3357562"/>
              <a:gd name="connsiteY122" fmla="*/ 1833483 h 4951333"/>
              <a:gd name="connsiteX123" fmla="*/ 147637 w 3357562"/>
              <a:gd name="connsiteY123" fmla="*/ 2014458 h 4951333"/>
              <a:gd name="connsiteX124" fmla="*/ 204787 w 3357562"/>
              <a:gd name="connsiteY124" fmla="*/ 2224008 h 4951333"/>
              <a:gd name="connsiteX125" fmla="*/ 261937 w 3357562"/>
              <a:gd name="connsiteY125" fmla="*/ 2490708 h 4951333"/>
              <a:gd name="connsiteX126" fmla="*/ 347662 w 3357562"/>
              <a:gd name="connsiteY126" fmla="*/ 2595483 h 4951333"/>
              <a:gd name="connsiteX127" fmla="*/ 319087 w 3357562"/>
              <a:gd name="connsiteY127" fmla="*/ 2805033 h 4951333"/>
              <a:gd name="connsiteX128" fmla="*/ 390524 w 3357562"/>
              <a:gd name="connsiteY128" fmla="*/ 2962195 h 4951333"/>
              <a:gd name="connsiteX129" fmla="*/ 366712 w 3357562"/>
              <a:gd name="connsiteY129" fmla="*/ 3052683 h 4951333"/>
              <a:gd name="connsiteX130" fmla="*/ 430212 w 3357562"/>
              <a:gd name="connsiteY130" fmla="*/ 3449558 h 4951333"/>
              <a:gd name="connsiteX131" fmla="*/ 420687 w 3357562"/>
              <a:gd name="connsiteY131" fmla="*/ 3557508 h 4951333"/>
              <a:gd name="connsiteX132" fmla="*/ 369887 w 3357562"/>
              <a:gd name="connsiteY132" fmla="*/ 3694033 h 4951333"/>
              <a:gd name="connsiteX133" fmla="*/ 385762 w 3357562"/>
              <a:gd name="connsiteY133" fmla="*/ 3817858 h 4951333"/>
              <a:gd name="connsiteX134" fmla="*/ 452437 w 3357562"/>
              <a:gd name="connsiteY134" fmla="*/ 4005183 h 4951333"/>
              <a:gd name="connsiteX135" fmla="*/ 495300 w 3357562"/>
              <a:gd name="connsiteY135" fmla="*/ 4095671 h 4951333"/>
              <a:gd name="connsiteX136" fmla="*/ 519112 w 3357562"/>
              <a:gd name="connsiteY136" fmla="*/ 4200445 h 4951333"/>
              <a:gd name="connsiteX137" fmla="*/ 447674 w 3357562"/>
              <a:gd name="connsiteY137" fmla="*/ 4262358 h 4951333"/>
              <a:gd name="connsiteX138" fmla="*/ 609599 w 3357562"/>
              <a:gd name="connsiteY138" fmla="*/ 4338557 h 4951333"/>
              <a:gd name="connsiteX139" fmla="*/ 690562 w 3357562"/>
              <a:gd name="connsiteY139" fmla="*/ 4476670 h 4951333"/>
              <a:gd name="connsiteX140" fmla="*/ 750887 w 3357562"/>
              <a:gd name="connsiteY140" fmla="*/ 4513183 h 4951333"/>
              <a:gd name="connsiteX141" fmla="*/ 841375 w 3357562"/>
              <a:gd name="connsiteY141" fmla="*/ 4452858 h 4951333"/>
              <a:gd name="connsiteX142" fmla="*/ 928687 w 3357562"/>
              <a:gd name="connsiteY142" fmla="*/ 4478258 h 4951333"/>
              <a:gd name="connsiteX143" fmla="*/ 1092199 w 3357562"/>
              <a:gd name="connsiteY143" fmla="*/ 4632245 h 4951333"/>
              <a:gd name="connsiteX144" fmla="*/ 1203324 w 3357562"/>
              <a:gd name="connsiteY144" fmla="*/ 4692570 h 4951333"/>
              <a:gd name="connsiteX145" fmla="*/ 1381124 w 3357562"/>
              <a:gd name="connsiteY145" fmla="*/ 4805283 h 4951333"/>
              <a:gd name="connsiteX146" fmla="*/ 1662112 w 3357562"/>
              <a:gd name="connsiteY146" fmla="*/ 4938633 h 4951333"/>
              <a:gd name="connsiteX147" fmla="*/ 1779587 w 3357562"/>
              <a:gd name="connsiteY147" fmla="*/ 4951333 h 4951333"/>
              <a:gd name="connsiteX0" fmla="*/ 1779587 w 3357562"/>
              <a:gd name="connsiteY0" fmla="*/ 4951333 h 4951333"/>
              <a:gd name="connsiteX1" fmla="*/ 1855787 w 3357562"/>
              <a:gd name="connsiteY1" fmla="*/ 4900533 h 4951333"/>
              <a:gd name="connsiteX2" fmla="*/ 1855787 w 3357562"/>
              <a:gd name="connsiteY2" fmla="*/ 4821158 h 4951333"/>
              <a:gd name="connsiteX3" fmla="*/ 1838325 w 3357562"/>
              <a:gd name="connsiteY3" fmla="*/ 4762421 h 4951333"/>
              <a:gd name="connsiteX4" fmla="*/ 1725612 w 3357562"/>
              <a:gd name="connsiteY4" fmla="*/ 4724320 h 4951333"/>
              <a:gd name="connsiteX5" fmla="*/ 1660525 w 3357562"/>
              <a:gd name="connsiteY5" fmla="*/ 4748133 h 4951333"/>
              <a:gd name="connsiteX6" fmla="*/ 1660525 w 3357562"/>
              <a:gd name="connsiteY6" fmla="*/ 4702096 h 4951333"/>
              <a:gd name="connsiteX7" fmla="*/ 1682749 w 3357562"/>
              <a:gd name="connsiteY7" fmla="*/ 4633833 h 4951333"/>
              <a:gd name="connsiteX8" fmla="*/ 1719262 w 3357562"/>
              <a:gd name="connsiteY8" fmla="*/ 4533821 h 4951333"/>
              <a:gd name="connsiteX9" fmla="*/ 1652587 w 3357562"/>
              <a:gd name="connsiteY9" fmla="*/ 4490958 h 4951333"/>
              <a:gd name="connsiteX10" fmla="*/ 1585912 w 3357562"/>
              <a:gd name="connsiteY10" fmla="*/ 4462383 h 4951333"/>
              <a:gd name="connsiteX11" fmla="*/ 1544637 w 3357562"/>
              <a:gd name="connsiteY11" fmla="*/ 4444920 h 4951333"/>
              <a:gd name="connsiteX12" fmla="*/ 1465262 w 3357562"/>
              <a:gd name="connsiteY12" fmla="*/ 4452858 h 4951333"/>
              <a:gd name="connsiteX13" fmla="*/ 1406525 w 3357562"/>
              <a:gd name="connsiteY13" fmla="*/ 4319508 h 4951333"/>
              <a:gd name="connsiteX14" fmla="*/ 1333500 w 3357562"/>
              <a:gd name="connsiteY14" fmla="*/ 4209970 h 4951333"/>
              <a:gd name="connsiteX15" fmla="*/ 1214437 w 3357562"/>
              <a:gd name="connsiteY15" fmla="*/ 4157583 h 4951333"/>
              <a:gd name="connsiteX16" fmla="*/ 1128712 w 3357562"/>
              <a:gd name="connsiteY16" fmla="*/ 4148058 h 4951333"/>
              <a:gd name="connsiteX17" fmla="*/ 1100137 w 3357562"/>
              <a:gd name="connsiteY17" fmla="*/ 4109958 h 4951333"/>
              <a:gd name="connsiteX18" fmla="*/ 1081087 w 3357562"/>
              <a:gd name="connsiteY18" fmla="*/ 4014708 h 4951333"/>
              <a:gd name="connsiteX19" fmla="*/ 1109662 w 3357562"/>
              <a:gd name="connsiteY19" fmla="*/ 3957558 h 4951333"/>
              <a:gd name="connsiteX20" fmla="*/ 1252537 w 3357562"/>
              <a:gd name="connsiteY20" fmla="*/ 3948033 h 4951333"/>
              <a:gd name="connsiteX21" fmla="*/ 1376362 w 3357562"/>
              <a:gd name="connsiteY21" fmla="*/ 3728958 h 4951333"/>
              <a:gd name="connsiteX22" fmla="*/ 1428750 w 3357562"/>
              <a:gd name="connsiteY22" fmla="*/ 3617833 h 4951333"/>
              <a:gd name="connsiteX23" fmla="*/ 1366837 w 3357562"/>
              <a:gd name="connsiteY23" fmla="*/ 3447971 h 4951333"/>
              <a:gd name="connsiteX24" fmla="*/ 1295399 w 3357562"/>
              <a:gd name="connsiteY24" fmla="*/ 3367008 h 4951333"/>
              <a:gd name="connsiteX25" fmla="*/ 1200150 w 3357562"/>
              <a:gd name="connsiteY25" fmla="*/ 3324145 h 4951333"/>
              <a:gd name="connsiteX26" fmla="*/ 1109662 w 3357562"/>
              <a:gd name="connsiteY26" fmla="*/ 3243183 h 4951333"/>
              <a:gd name="connsiteX27" fmla="*/ 1057275 w 3357562"/>
              <a:gd name="connsiteY27" fmla="*/ 3119358 h 4951333"/>
              <a:gd name="connsiteX28" fmla="*/ 1014412 w 3357562"/>
              <a:gd name="connsiteY28" fmla="*/ 3043159 h 4951333"/>
              <a:gd name="connsiteX29" fmla="*/ 1033463 w 3357562"/>
              <a:gd name="connsiteY29" fmla="*/ 2957434 h 4951333"/>
              <a:gd name="connsiteX30" fmla="*/ 1133475 w 3357562"/>
              <a:gd name="connsiteY30" fmla="*/ 2871708 h 4951333"/>
              <a:gd name="connsiteX31" fmla="*/ 1176337 w 3357562"/>
              <a:gd name="connsiteY31" fmla="*/ 2785983 h 4951333"/>
              <a:gd name="connsiteX32" fmla="*/ 1200149 w 3357562"/>
              <a:gd name="connsiteY32" fmla="*/ 2809795 h 4951333"/>
              <a:gd name="connsiteX33" fmla="*/ 1295399 w 3357562"/>
              <a:gd name="connsiteY33" fmla="*/ 2785983 h 4951333"/>
              <a:gd name="connsiteX34" fmla="*/ 1447799 w 3357562"/>
              <a:gd name="connsiteY34" fmla="*/ 2695495 h 4951333"/>
              <a:gd name="connsiteX35" fmla="*/ 1490662 w 3357562"/>
              <a:gd name="connsiteY35" fmla="*/ 2643108 h 4951333"/>
              <a:gd name="connsiteX36" fmla="*/ 1543049 w 3357562"/>
              <a:gd name="connsiteY36" fmla="*/ 2538333 h 4951333"/>
              <a:gd name="connsiteX37" fmla="*/ 1552574 w 3357562"/>
              <a:gd name="connsiteY37" fmla="*/ 2424033 h 4951333"/>
              <a:gd name="connsiteX38" fmla="*/ 1462087 w 3357562"/>
              <a:gd name="connsiteY38" fmla="*/ 2347833 h 4951333"/>
              <a:gd name="connsiteX39" fmla="*/ 1409700 w 3357562"/>
              <a:gd name="connsiteY39" fmla="*/ 2311321 h 4951333"/>
              <a:gd name="connsiteX40" fmla="*/ 1325562 w 3357562"/>
              <a:gd name="connsiteY40" fmla="*/ 2284333 h 4951333"/>
              <a:gd name="connsiteX41" fmla="*/ 1225550 w 3357562"/>
              <a:gd name="connsiteY41" fmla="*/ 2290683 h 4951333"/>
              <a:gd name="connsiteX42" fmla="*/ 1028699 w 3357562"/>
              <a:gd name="connsiteY42" fmla="*/ 2311320 h 4951333"/>
              <a:gd name="connsiteX43" fmla="*/ 919162 w 3357562"/>
              <a:gd name="connsiteY43" fmla="*/ 2343071 h 4951333"/>
              <a:gd name="connsiteX44" fmla="*/ 895349 w 3357562"/>
              <a:gd name="connsiteY44" fmla="*/ 2262108 h 4951333"/>
              <a:gd name="connsiteX45" fmla="*/ 914399 w 3357562"/>
              <a:gd name="connsiteY45" fmla="*/ 2138283 h 4951333"/>
              <a:gd name="connsiteX46" fmla="*/ 938212 w 3357562"/>
              <a:gd name="connsiteY46" fmla="*/ 2004933 h 4951333"/>
              <a:gd name="connsiteX47" fmla="*/ 985837 w 3357562"/>
              <a:gd name="connsiteY47" fmla="*/ 1843008 h 4951333"/>
              <a:gd name="connsiteX48" fmla="*/ 957262 w 3357562"/>
              <a:gd name="connsiteY48" fmla="*/ 1766808 h 4951333"/>
              <a:gd name="connsiteX49" fmla="*/ 938212 w 3357562"/>
              <a:gd name="connsiteY49" fmla="*/ 1700133 h 4951333"/>
              <a:gd name="connsiteX50" fmla="*/ 771525 w 3357562"/>
              <a:gd name="connsiteY50" fmla="*/ 1642983 h 4951333"/>
              <a:gd name="connsiteX51" fmla="*/ 614362 w 3357562"/>
              <a:gd name="connsiteY51" fmla="*/ 1614408 h 4951333"/>
              <a:gd name="connsiteX52" fmla="*/ 633412 w 3357562"/>
              <a:gd name="connsiteY52" fmla="*/ 1509633 h 4951333"/>
              <a:gd name="connsiteX53" fmla="*/ 741362 w 3357562"/>
              <a:gd name="connsiteY53" fmla="*/ 1395333 h 4951333"/>
              <a:gd name="connsiteX54" fmla="*/ 842962 w 3357562"/>
              <a:gd name="connsiteY54" fmla="*/ 1319133 h 4951333"/>
              <a:gd name="connsiteX55" fmla="*/ 890587 w 3357562"/>
              <a:gd name="connsiteY55" fmla="*/ 1281033 h 4951333"/>
              <a:gd name="connsiteX56" fmla="*/ 890587 w 3357562"/>
              <a:gd name="connsiteY56" fmla="*/ 1223883 h 4951333"/>
              <a:gd name="connsiteX57" fmla="*/ 909637 w 3357562"/>
              <a:gd name="connsiteY57" fmla="*/ 1157208 h 4951333"/>
              <a:gd name="connsiteX58" fmla="*/ 938212 w 3357562"/>
              <a:gd name="connsiteY58" fmla="*/ 1128633 h 4951333"/>
              <a:gd name="connsiteX59" fmla="*/ 947737 w 3357562"/>
              <a:gd name="connsiteY59" fmla="*/ 1061958 h 4951333"/>
              <a:gd name="connsiteX60" fmla="*/ 947737 w 3357562"/>
              <a:gd name="connsiteY60" fmla="*/ 976233 h 4951333"/>
              <a:gd name="connsiteX61" fmla="*/ 1017587 w 3357562"/>
              <a:gd name="connsiteY61" fmla="*/ 861933 h 4951333"/>
              <a:gd name="connsiteX62" fmla="*/ 1281112 w 3357562"/>
              <a:gd name="connsiteY62" fmla="*/ 925433 h 4951333"/>
              <a:gd name="connsiteX63" fmla="*/ 1485900 w 3357562"/>
              <a:gd name="connsiteY63" fmla="*/ 819071 h 4951333"/>
              <a:gd name="connsiteX64" fmla="*/ 1619250 w 3357562"/>
              <a:gd name="connsiteY64" fmla="*/ 693658 h 4951333"/>
              <a:gd name="connsiteX65" fmla="*/ 1739899 w 3357562"/>
              <a:gd name="connsiteY65" fmla="*/ 682546 h 4951333"/>
              <a:gd name="connsiteX66" fmla="*/ 1895474 w 3357562"/>
              <a:gd name="connsiteY66" fmla="*/ 685720 h 4951333"/>
              <a:gd name="connsiteX67" fmla="*/ 2066924 w 3357562"/>
              <a:gd name="connsiteY67" fmla="*/ 742871 h 4951333"/>
              <a:gd name="connsiteX68" fmla="*/ 2200275 w 3357562"/>
              <a:gd name="connsiteY68" fmla="*/ 828596 h 4951333"/>
              <a:gd name="connsiteX69" fmla="*/ 2295525 w 3357562"/>
              <a:gd name="connsiteY69" fmla="*/ 904796 h 4951333"/>
              <a:gd name="connsiteX70" fmla="*/ 2609849 w 3357562"/>
              <a:gd name="connsiteY70" fmla="*/ 938133 h 4951333"/>
              <a:gd name="connsiteX71" fmla="*/ 2754312 w 3357562"/>
              <a:gd name="connsiteY71" fmla="*/ 965121 h 4951333"/>
              <a:gd name="connsiteX72" fmla="*/ 2886074 w 3357562"/>
              <a:gd name="connsiteY72" fmla="*/ 1014333 h 4951333"/>
              <a:gd name="connsiteX73" fmla="*/ 3090862 w 3357562"/>
              <a:gd name="connsiteY73" fmla="*/ 966708 h 4951333"/>
              <a:gd name="connsiteX74" fmla="*/ 3176587 w 3357562"/>
              <a:gd name="connsiteY74" fmla="*/ 980996 h 4951333"/>
              <a:gd name="connsiteX75" fmla="*/ 3297237 w 3357562"/>
              <a:gd name="connsiteY75" fmla="*/ 963533 h 4951333"/>
              <a:gd name="connsiteX76" fmla="*/ 3325812 w 3357562"/>
              <a:gd name="connsiteY76" fmla="*/ 941308 h 4951333"/>
              <a:gd name="connsiteX77" fmla="*/ 3357562 w 3357562"/>
              <a:gd name="connsiteY77" fmla="*/ 880983 h 4951333"/>
              <a:gd name="connsiteX78" fmla="*/ 3336924 w 3357562"/>
              <a:gd name="connsiteY78" fmla="*/ 712708 h 4951333"/>
              <a:gd name="connsiteX79" fmla="*/ 3301999 w 3357562"/>
              <a:gd name="connsiteY79" fmla="*/ 650795 h 4951333"/>
              <a:gd name="connsiteX80" fmla="*/ 3182937 w 3357562"/>
              <a:gd name="connsiteY80" fmla="*/ 585708 h 4951333"/>
              <a:gd name="connsiteX81" fmla="*/ 3167062 w 3357562"/>
              <a:gd name="connsiteY81" fmla="*/ 528558 h 4951333"/>
              <a:gd name="connsiteX82" fmla="*/ 3119437 w 3357562"/>
              <a:gd name="connsiteY82" fmla="*/ 490458 h 4951333"/>
              <a:gd name="connsiteX83" fmla="*/ 3090862 w 3357562"/>
              <a:gd name="connsiteY83" fmla="*/ 512683 h 4951333"/>
              <a:gd name="connsiteX84" fmla="*/ 3071812 w 3357562"/>
              <a:gd name="connsiteY84" fmla="*/ 563483 h 4951333"/>
              <a:gd name="connsiteX85" fmla="*/ 3062287 w 3357562"/>
              <a:gd name="connsiteY85" fmla="*/ 614283 h 4951333"/>
              <a:gd name="connsiteX86" fmla="*/ 3019425 w 3357562"/>
              <a:gd name="connsiteY86" fmla="*/ 628571 h 4951333"/>
              <a:gd name="connsiteX87" fmla="*/ 2947987 w 3357562"/>
              <a:gd name="connsiteY87" fmla="*/ 595233 h 4951333"/>
              <a:gd name="connsiteX88" fmla="*/ 2852737 w 3357562"/>
              <a:gd name="connsiteY88" fmla="*/ 652383 h 4951333"/>
              <a:gd name="connsiteX89" fmla="*/ 2833687 w 3357562"/>
              <a:gd name="connsiteY89" fmla="*/ 680958 h 4951333"/>
              <a:gd name="connsiteX90" fmla="*/ 2824162 w 3357562"/>
              <a:gd name="connsiteY90" fmla="*/ 719058 h 4951333"/>
              <a:gd name="connsiteX91" fmla="*/ 2747962 w 3357562"/>
              <a:gd name="connsiteY91" fmla="*/ 680958 h 4951333"/>
              <a:gd name="connsiteX92" fmla="*/ 2657475 w 3357562"/>
              <a:gd name="connsiteY92" fmla="*/ 652383 h 4951333"/>
              <a:gd name="connsiteX93" fmla="*/ 2557462 w 3357562"/>
              <a:gd name="connsiteY93" fmla="*/ 604758 h 4951333"/>
              <a:gd name="connsiteX94" fmla="*/ 2433637 w 3357562"/>
              <a:gd name="connsiteY94" fmla="*/ 538083 h 4951333"/>
              <a:gd name="connsiteX95" fmla="*/ 2333624 w 3357562"/>
              <a:gd name="connsiteY95" fmla="*/ 452358 h 4951333"/>
              <a:gd name="connsiteX96" fmla="*/ 2190750 w 3357562"/>
              <a:gd name="connsiteY96" fmla="*/ 423783 h 4951333"/>
              <a:gd name="connsiteX97" fmla="*/ 2157412 w 3357562"/>
              <a:gd name="connsiteY97" fmla="*/ 309483 h 4951333"/>
              <a:gd name="connsiteX98" fmla="*/ 2143124 w 3357562"/>
              <a:gd name="connsiteY98" fmla="*/ 179308 h 4951333"/>
              <a:gd name="connsiteX99" fmla="*/ 1600654 w 3357562"/>
              <a:gd name="connsiteY99" fmla="*/ 127001 h 4951333"/>
              <a:gd name="connsiteX100" fmla="*/ 1518104 w 3357562"/>
              <a:gd name="connsiteY100" fmla="*/ 111126 h 4951333"/>
              <a:gd name="connsiteX101" fmla="*/ 1372054 w 3357562"/>
              <a:gd name="connsiteY101" fmla="*/ 25401 h 4951333"/>
              <a:gd name="connsiteX102" fmla="*/ 1235529 w 3357562"/>
              <a:gd name="connsiteY102" fmla="*/ 0 h 4951333"/>
              <a:gd name="connsiteX103" fmla="*/ 1162504 w 3357562"/>
              <a:gd name="connsiteY103" fmla="*/ 73025 h 4951333"/>
              <a:gd name="connsiteX104" fmla="*/ 1198562 w 3357562"/>
              <a:gd name="connsiteY104" fmla="*/ 176133 h 4951333"/>
              <a:gd name="connsiteX105" fmla="*/ 1166812 w 3357562"/>
              <a:gd name="connsiteY105" fmla="*/ 309483 h 4951333"/>
              <a:gd name="connsiteX106" fmla="*/ 1128712 w 3357562"/>
              <a:gd name="connsiteY106" fmla="*/ 414258 h 4951333"/>
              <a:gd name="connsiteX107" fmla="*/ 919162 w 3357562"/>
              <a:gd name="connsiteY107" fmla="*/ 576183 h 4951333"/>
              <a:gd name="connsiteX108" fmla="*/ 909637 w 3357562"/>
              <a:gd name="connsiteY108" fmla="*/ 633333 h 4951333"/>
              <a:gd name="connsiteX109" fmla="*/ 785812 w 3357562"/>
              <a:gd name="connsiteY109" fmla="*/ 652383 h 4951333"/>
              <a:gd name="connsiteX110" fmla="*/ 614362 w 3357562"/>
              <a:gd name="connsiteY110" fmla="*/ 709533 h 4951333"/>
              <a:gd name="connsiteX111" fmla="*/ 566737 w 3357562"/>
              <a:gd name="connsiteY111" fmla="*/ 820658 h 4951333"/>
              <a:gd name="connsiteX112" fmla="*/ 461962 w 3357562"/>
              <a:gd name="connsiteY112" fmla="*/ 938133 h 4951333"/>
              <a:gd name="connsiteX113" fmla="*/ 452437 w 3357562"/>
              <a:gd name="connsiteY113" fmla="*/ 1014333 h 4951333"/>
              <a:gd name="connsiteX114" fmla="*/ 461962 w 3357562"/>
              <a:gd name="connsiteY114" fmla="*/ 1138158 h 4951333"/>
              <a:gd name="connsiteX115" fmla="*/ 414337 w 3357562"/>
              <a:gd name="connsiteY115" fmla="*/ 1185783 h 4951333"/>
              <a:gd name="connsiteX116" fmla="*/ 233362 w 3357562"/>
              <a:gd name="connsiteY116" fmla="*/ 1157208 h 4951333"/>
              <a:gd name="connsiteX117" fmla="*/ 166687 w 3357562"/>
              <a:gd name="connsiteY117" fmla="*/ 1166733 h 4951333"/>
              <a:gd name="connsiteX118" fmla="*/ 61912 w 3357562"/>
              <a:gd name="connsiteY118" fmla="*/ 1242933 h 4951333"/>
              <a:gd name="connsiteX119" fmla="*/ 42862 w 3357562"/>
              <a:gd name="connsiteY119" fmla="*/ 1338183 h 4951333"/>
              <a:gd name="connsiteX120" fmla="*/ 42862 w 3357562"/>
              <a:gd name="connsiteY120" fmla="*/ 1471533 h 4951333"/>
              <a:gd name="connsiteX121" fmla="*/ 14287 w 3357562"/>
              <a:gd name="connsiteY121" fmla="*/ 1585833 h 4951333"/>
              <a:gd name="connsiteX122" fmla="*/ 0 w 3357562"/>
              <a:gd name="connsiteY122" fmla="*/ 1700133 h 4951333"/>
              <a:gd name="connsiteX123" fmla="*/ 90487 w 3357562"/>
              <a:gd name="connsiteY123" fmla="*/ 1833483 h 4951333"/>
              <a:gd name="connsiteX124" fmla="*/ 147637 w 3357562"/>
              <a:gd name="connsiteY124" fmla="*/ 2014458 h 4951333"/>
              <a:gd name="connsiteX125" fmla="*/ 204787 w 3357562"/>
              <a:gd name="connsiteY125" fmla="*/ 2224008 h 4951333"/>
              <a:gd name="connsiteX126" fmla="*/ 261937 w 3357562"/>
              <a:gd name="connsiteY126" fmla="*/ 2490708 h 4951333"/>
              <a:gd name="connsiteX127" fmla="*/ 347662 w 3357562"/>
              <a:gd name="connsiteY127" fmla="*/ 2595483 h 4951333"/>
              <a:gd name="connsiteX128" fmla="*/ 319087 w 3357562"/>
              <a:gd name="connsiteY128" fmla="*/ 2805033 h 4951333"/>
              <a:gd name="connsiteX129" fmla="*/ 390524 w 3357562"/>
              <a:gd name="connsiteY129" fmla="*/ 2962195 h 4951333"/>
              <a:gd name="connsiteX130" fmla="*/ 366712 w 3357562"/>
              <a:gd name="connsiteY130" fmla="*/ 3052683 h 4951333"/>
              <a:gd name="connsiteX131" fmla="*/ 430212 w 3357562"/>
              <a:gd name="connsiteY131" fmla="*/ 3449558 h 4951333"/>
              <a:gd name="connsiteX132" fmla="*/ 420687 w 3357562"/>
              <a:gd name="connsiteY132" fmla="*/ 3557508 h 4951333"/>
              <a:gd name="connsiteX133" fmla="*/ 369887 w 3357562"/>
              <a:gd name="connsiteY133" fmla="*/ 3694033 h 4951333"/>
              <a:gd name="connsiteX134" fmla="*/ 385762 w 3357562"/>
              <a:gd name="connsiteY134" fmla="*/ 3817858 h 4951333"/>
              <a:gd name="connsiteX135" fmla="*/ 452437 w 3357562"/>
              <a:gd name="connsiteY135" fmla="*/ 4005183 h 4951333"/>
              <a:gd name="connsiteX136" fmla="*/ 495300 w 3357562"/>
              <a:gd name="connsiteY136" fmla="*/ 4095671 h 4951333"/>
              <a:gd name="connsiteX137" fmla="*/ 519112 w 3357562"/>
              <a:gd name="connsiteY137" fmla="*/ 4200445 h 4951333"/>
              <a:gd name="connsiteX138" fmla="*/ 447674 w 3357562"/>
              <a:gd name="connsiteY138" fmla="*/ 4262358 h 4951333"/>
              <a:gd name="connsiteX139" fmla="*/ 609599 w 3357562"/>
              <a:gd name="connsiteY139" fmla="*/ 4338557 h 4951333"/>
              <a:gd name="connsiteX140" fmla="*/ 690562 w 3357562"/>
              <a:gd name="connsiteY140" fmla="*/ 4476670 h 4951333"/>
              <a:gd name="connsiteX141" fmla="*/ 750887 w 3357562"/>
              <a:gd name="connsiteY141" fmla="*/ 4513183 h 4951333"/>
              <a:gd name="connsiteX142" fmla="*/ 841375 w 3357562"/>
              <a:gd name="connsiteY142" fmla="*/ 4452858 h 4951333"/>
              <a:gd name="connsiteX143" fmla="*/ 928687 w 3357562"/>
              <a:gd name="connsiteY143" fmla="*/ 4478258 h 4951333"/>
              <a:gd name="connsiteX144" fmla="*/ 1092199 w 3357562"/>
              <a:gd name="connsiteY144" fmla="*/ 4632245 h 4951333"/>
              <a:gd name="connsiteX145" fmla="*/ 1203324 w 3357562"/>
              <a:gd name="connsiteY145" fmla="*/ 4692570 h 4951333"/>
              <a:gd name="connsiteX146" fmla="*/ 1381124 w 3357562"/>
              <a:gd name="connsiteY146" fmla="*/ 4805283 h 4951333"/>
              <a:gd name="connsiteX147" fmla="*/ 1662112 w 3357562"/>
              <a:gd name="connsiteY147" fmla="*/ 4938633 h 4951333"/>
              <a:gd name="connsiteX148" fmla="*/ 1779587 w 3357562"/>
              <a:gd name="connsiteY148" fmla="*/ 4951333 h 4951333"/>
              <a:gd name="connsiteX0" fmla="*/ 1779587 w 3357562"/>
              <a:gd name="connsiteY0" fmla="*/ 4951333 h 4951333"/>
              <a:gd name="connsiteX1" fmla="*/ 1855787 w 3357562"/>
              <a:gd name="connsiteY1" fmla="*/ 4900533 h 4951333"/>
              <a:gd name="connsiteX2" fmla="*/ 1855787 w 3357562"/>
              <a:gd name="connsiteY2" fmla="*/ 4821158 h 4951333"/>
              <a:gd name="connsiteX3" fmla="*/ 1838325 w 3357562"/>
              <a:gd name="connsiteY3" fmla="*/ 4762421 h 4951333"/>
              <a:gd name="connsiteX4" fmla="*/ 1725612 w 3357562"/>
              <a:gd name="connsiteY4" fmla="*/ 4724320 h 4951333"/>
              <a:gd name="connsiteX5" fmla="*/ 1660525 w 3357562"/>
              <a:gd name="connsiteY5" fmla="*/ 4748133 h 4951333"/>
              <a:gd name="connsiteX6" fmla="*/ 1660525 w 3357562"/>
              <a:gd name="connsiteY6" fmla="*/ 4702096 h 4951333"/>
              <a:gd name="connsiteX7" fmla="*/ 1682749 w 3357562"/>
              <a:gd name="connsiteY7" fmla="*/ 4633833 h 4951333"/>
              <a:gd name="connsiteX8" fmla="*/ 1719262 w 3357562"/>
              <a:gd name="connsiteY8" fmla="*/ 4533821 h 4951333"/>
              <a:gd name="connsiteX9" fmla="*/ 1652587 w 3357562"/>
              <a:gd name="connsiteY9" fmla="*/ 4490958 h 4951333"/>
              <a:gd name="connsiteX10" fmla="*/ 1585912 w 3357562"/>
              <a:gd name="connsiteY10" fmla="*/ 4462383 h 4951333"/>
              <a:gd name="connsiteX11" fmla="*/ 1544637 w 3357562"/>
              <a:gd name="connsiteY11" fmla="*/ 4444920 h 4951333"/>
              <a:gd name="connsiteX12" fmla="*/ 1465262 w 3357562"/>
              <a:gd name="connsiteY12" fmla="*/ 4452858 h 4951333"/>
              <a:gd name="connsiteX13" fmla="*/ 1406525 w 3357562"/>
              <a:gd name="connsiteY13" fmla="*/ 4319508 h 4951333"/>
              <a:gd name="connsiteX14" fmla="*/ 1333500 w 3357562"/>
              <a:gd name="connsiteY14" fmla="*/ 4209970 h 4951333"/>
              <a:gd name="connsiteX15" fmla="*/ 1214437 w 3357562"/>
              <a:gd name="connsiteY15" fmla="*/ 4157583 h 4951333"/>
              <a:gd name="connsiteX16" fmla="*/ 1128712 w 3357562"/>
              <a:gd name="connsiteY16" fmla="*/ 4148058 h 4951333"/>
              <a:gd name="connsiteX17" fmla="*/ 1100137 w 3357562"/>
              <a:gd name="connsiteY17" fmla="*/ 4109958 h 4951333"/>
              <a:gd name="connsiteX18" fmla="*/ 1081087 w 3357562"/>
              <a:gd name="connsiteY18" fmla="*/ 4014708 h 4951333"/>
              <a:gd name="connsiteX19" fmla="*/ 1109662 w 3357562"/>
              <a:gd name="connsiteY19" fmla="*/ 3957558 h 4951333"/>
              <a:gd name="connsiteX20" fmla="*/ 1252537 w 3357562"/>
              <a:gd name="connsiteY20" fmla="*/ 3948033 h 4951333"/>
              <a:gd name="connsiteX21" fmla="*/ 1376362 w 3357562"/>
              <a:gd name="connsiteY21" fmla="*/ 3728958 h 4951333"/>
              <a:gd name="connsiteX22" fmla="*/ 1428750 w 3357562"/>
              <a:gd name="connsiteY22" fmla="*/ 3617833 h 4951333"/>
              <a:gd name="connsiteX23" fmla="*/ 1366837 w 3357562"/>
              <a:gd name="connsiteY23" fmla="*/ 3447971 h 4951333"/>
              <a:gd name="connsiteX24" fmla="*/ 1295399 w 3357562"/>
              <a:gd name="connsiteY24" fmla="*/ 3367008 h 4951333"/>
              <a:gd name="connsiteX25" fmla="*/ 1200150 w 3357562"/>
              <a:gd name="connsiteY25" fmla="*/ 3324145 h 4951333"/>
              <a:gd name="connsiteX26" fmla="*/ 1109662 w 3357562"/>
              <a:gd name="connsiteY26" fmla="*/ 3243183 h 4951333"/>
              <a:gd name="connsiteX27" fmla="*/ 1057275 w 3357562"/>
              <a:gd name="connsiteY27" fmla="*/ 3119358 h 4951333"/>
              <a:gd name="connsiteX28" fmla="*/ 1014412 w 3357562"/>
              <a:gd name="connsiteY28" fmla="*/ 3043159 h 4951333"/>
              <a:gd name="connsiteX29" fmla="*/ 1033463 w 3357562"/>
              <a:gd name="connsiteY29" fmla="*/ 2957434 h 4951333"/>
              <a:gd name="connsiteX30" fmla="*/ 1133475 w 3357562"/>
              <a:gd name="connsiteY30" fmla="*/ 2871708 h 4951333"/>
              <a:gd name="connsiteX31" fmla="*/ 1176337 w 3357562"/>
              <a:gd name="connsiteY31" fmla="*/ 2785983 h 4951333"/>
              <a:gd name="connsiteX32" fmla="*/ 1200149 w 3357562"/>
              <a:gd name="connsiteY32" fmla="*/ 2809795 h 4951333"/>
              <a:gd name="connsiteX33" fmla="*/ 1295399 w 3357562"/>
              <a:gd name="connsiteY33" fmla="*/ 2785983 h 4951333"/>
              <a:gd name="connsiteX34" fmla="*/ 1447799 w 3357562"/>
              <a:gd name="connsiteY34" fmla="*/ 2695495 h 4951333"/>
              <a:gd name="connsiteX35" fmla="*/ 1490662 w 3357562"/>
              <a:gd name="connsiteY35" fmla="*/ 2643108 h 4951333"/>
              <a:gd name="connsiteX36" fmla="*/ 1543049 w 3357562"/>
              <a:gd name="connsiteY36" fmla="*/ 2538333 h 4951333"/>
              <a:gd name="connsiteX37" fmla="*/ 1552574 w 3357562"/>
              <a:gd name="connsiteY37" fmla="*/ 2424033 h 4951333"/>
              <a:gd name="connsiteX38" fmla="*/ 1462087 w 3357562"/>
              <a:gd name="connsiteY38" fmla="*/ 2347833 h 4951333"/>
              <a:gd name="connsiteX39" fmla="*/ 1409700 w 3357562"/>
              <a:gd name="connsiteY39" fmla="*/ 2311321 h 4951333"/>
              <a:gd name="connsiteX40" fmla="*/ 1325562 w 3357562"/>
              <a:gd name="connsiteY40" fmla="*/ 2284333 h 4951333"/>
              <a:gd name="connsiteX41" fmla="*/ 1225550 w 3357562"/>
              <a:gd name="connsiteY41" fmla="*/ 2290683 h 4951333"/>
              <a:gd name="connsiteX42" fmla="*/ 1028699 w 3357562"/>
              <a:gd name="connsiteY42" fmla="*/ 2311320 h 4951333"/>
              <a:gd name="connsiteX43" fmla="*/ 919162 w 3357562"/>
              <a:gd name="connsiteY43" fmla="*/ 2343071 h 4951333"/>
              <a:gd name="connsiteX44" fmla="*/ 895349 w 3357562"/>
              <a:gd name="connsiteY44" fmla="*/ 2262108 h 4951333"/>
              <a:gd name="connsiteX45" fmla="*/ 914399 w 3357562"/>
              <a:gd name="connsiteY45" fmla="*/ 2138283 h 4951333"/>
              <a:gd name="connsiteX46" fmla="*/ 938212 w 3357562"/>
              <a:gd name="connsiteY46" fmla="*/ 2004933 h 4951333"/>
              <a:gd name="connsiteX47" fmla="*/ 985837 w 3357562"/>
              <a:gd name="connsiteY47" fmla="*/ 1843008 h 4951333"/>
              <a:gd name="connsiteX48" fmla="*/ 957262 w 3357562"/>
              <a:gd name="connsiteY48" fmla="*/ 1766808 h 4951333"/>
              <a:gd name="connsiteX49" fmla="*/ 938212 w 3357562"/>
              <a:gd name="connsiteY49" fmla="*/ 1700133 h 4951333"/>
              <a:gd name="connsiteX50" fmla="*/ 771525 w 3357562"/>
              <a:gd name="connsiteY50" fmla="*/ 1642983 h 4951333"/>
              <a:gd name="connsiteX51" fmla="*/ 614362 w 3357562"/>
              <a:gd name="connsiteY51" fmla="*/ 1614408 h 4951333"/>
              <a:gd name="connsiteX52" fmla="*/ 633412 w 3357562"/>
              <a:gd name="connsiteY52" fmla="*/ 1509633 h 4951333"/>
              <a:gd name="connsiteX53" fmla="*/ 741362 w 3357562"/>
              <a:gd name="connsiteY53" fmla="*/ 1395333 h 4951333"/>
              <a:gd name="connsiteX54" fmla="*/ 842962 w 3357562"/>
              <a:gd name="connsiteY54" fmla="*/ 1319133 h 4951333"/>
              <a:gd name="connsiteX55" fmla="*/ 890587 w 3357562"/>
              <a:gd name="connsiteY55" fmla="*/ 1281033 h 4951333"/>
              <a:gd name="connsiteX56" fmla="*/ 890587 w 3357562"/>
              <a:gd name="connsiteY56" fmla="*/ 1223883 h 4951333"/>
              <a:gd name="connsiteX57" fmla="*/ 909637 w 3357562"/>
              <a:gd name="connsiteY57" fmla="*/ 1157208 h 4951333"/>
              <a:gd name="connsiteX58" fmla="*/ 938212 w 3357562"/>
              <a:gd name="connsiteY58" fmla="*/ 1128633 h 4951333"/>
              <a:gd name="connsiteX59" fmla="*/ 947737 w 3357562"/>
              <a:gd name="connsiteY59" fmla="*/ 1061958 h 4951333"/>
              <a:gd name="connsiteX60" fmla="*/ 947737 w 3357562"/>
              <a:gd name="connsiteY60" fmla="*/ 976233 h 4951333"/>
              <a:gd name="connsiteX61" fmla="*/ 1017587 w 3357562"/>
              <a:gd name="connsiteY61" fmla="*/ 861933 h 4951333"/>
              <a:gd name="connsiteX62" fmla="*/ 1281112 w 3357562"/>
              <a:gd name="connsiteY62" fmla="*/ 925433 h 4951333"/>
              <a:gd name="connsiteX63" fmla="*/ 1485900 w 3357562"/>
              <a:gd name="connsiteY63" fmla="*/ 819071 h 4951333"/>
              <a:gd name="connsiteX64" fmla="*/ 1619250 w 3357562"/>
              <a:gd name="connsiteY64" fmla="*/ 693658 h 4951333"/>
              <a:gd name="connsiteX65" fmla="*/ 1739899 w 3357562"/>
              <a:gd name="connsiteY65" fmla="*/ 682546 h 4951333"/>
              <a:gd name="connsiteX66" fmla="*/ 1895474 w 3357562"/>
              <a:gd name="connsiteY66" fmla="*/ 685720 h 4951333"/>
              <a:gd name="connsiteX67" fmla="*/ 2066924 w 3357562"/>
              <a:gd name="connsiteY67" fmla="*/ 742871 h 4951333"/>
              <a:gd name="connsiteX68" fmla="*/ 2200275 w 3357562"/>
              <a:gd name="connsiteY68" fmla="*/ 828596 h 4951333"/>
              <a:gd name="connsiteX69" fmla="*/ 2295525 w 3357562"/>
              <a:gd name="connsiteY69" fmla="*/ 904796 h 4951333"/>
              <a:gd name="connsiteX70" fmla="*/ 2609849 w 3357562"/>
              <a:gd name="connsiteY70" fmla="*/ 938133 h 4951333"/>
              <a:gd name="connsiteX71" fmla="*/ 2754312 w 3357562"/>
              <a:gd name="connsiteY71" fmla="*/ 965121 h 4951333"/>
              <a:gd name="connsiteX72" fmla="*/ 2886074 w 3357562"/>
              <a:gd name="connsiteY72" fmla="*/ 1014333 h 4951333"/>
              <a:gd name="connsiteX73" fmla="*/ 3090862 w 3357562"/>
              <a:gd name="connsiteY73" fmla="*/ 966708 h 4951333"/>
              <a:gd name="connsiteX74" fmla="*/ 3176587 w 3357562"/>
              <a:gd name="connsiteY74" fmla="*/ 980996 h 4951333"/>
              <a:gd name="connsiteX75" fmla="*/ 3297237 w 3357562"/>
              <a:gd name="connsiteY75" fmla="*/ 963533 h 4951333"/>
              <a:gd name="connsiteX76" fmla="*/ 3325812 w 3357562"/>
              <a:gd name="connsiteY76" fmla="*/ 941308 h 4951333"/>
              <a:gd name="connsiteX77" fmla="*/ 3357562 w 3357562"/>
              <a:gd name="connsiteY77" fmla="*/ 880983 h 4951333"/>
              <a:gd name="connsiteX78" fmla="*/ 3336924 w 3357562"/>
              <a:gd name="connsiteY78" fmla="*/ 712708 h 4951333"/>
              <a:gd name="connsiteX79" fmla="*/ 3301999 w 3357562"/>
              <a:gd name="connsiteY79" fmla="*/ 650795 h 4951333"/>
              <a:gd name="connsiteX80" fmla="*/ 3182937 w 3357562"/>
              <a:gd name="connsiteY80" fmla="*/ 585708 h 4951333"/>
              <a:gd name="connsiteX81" fmla="*/ 3167062 w 3357562"/>
              <a:gd name="connsiteY81" fmla="*/ 528558 h 4951333"/>
              <a:gd name="connsiteX82" fmla="*/ 3119437 w 3357562"/>
              <a:gd name="connsiteY82" fmla="*/ 490458 h 4951333"/>
              <a:gd name="connsiteX83" fmla="*/ 3090862 w 3357562"/>
              <a:gd name="connsiteY83" fmla="*/ 512683 h 4951333"/>
              <a:gd name="connsiteX84" fmla="*/ 3071812 w 3357562"/>
              <a:gd name="connsiteY84" fmla="*/ 563483 h 4951333"/>
              <a:gd name="connsiteX85" fmla="*/ 3062287 w 3357562"/>
              <a:gd name="connsiteY85" fmla="*/ 614283 h 4951333"/>
              <a:gd name="connsiteX86" fmla="*/ 3019425 w 3357562"/>
              <a:gd name="connsiteY86" fmla="*/ 628571 h 4951333"/>
              <a:gd name="connsiteX87" fmla="*/ 2947987 w 3357562"/>
              <a:gd name="connsiteY87" fmla="*/ 595233 h 4951333"/>
              <a:gd name="connsiteX88" fmla="*/ 2852737 w 3357562"/>
              <a:gd name="connsiteY88" fmla="*/ 652383 h 4951333"/>
              <a:gd name="connsiteX89" fmla="*/ 2833687 w 3357562"/>
              <a:gd name="connsiteY89" fmla="*/ 680958 h 4951333"/>
              <a:gd name="connsiteX90" fmla="*/ 2824162 w 3357562"/>
              <a:gd name="connsiteY90" fmla="*/ 719058 h 4951333"/>
              <a:gd name="connsiteX91" fmla="*/ 2747962 w 3357562"/>
              <a:gd name="connsiteY91" fmla="*/ 680958 h 4951333"/>
              <a:gd name="connsiteX92" fmla="*/ 2657475 w 3357562"/>
              <a:gd name="connsiteY92" fmla="*/ 652383 h 4951333"/>
              <a:gd name="connsiteX93" fmla="*/ 2557462 w 3357562"/>
              <a:gd name="connsiteY93" fmla="*/ 604758 h 4951333"/>
              <a:gd name="connsiteX94" fmla="*/ 2433637 w 3357562"/>
              <a:gd name="connsiteY94" fmla="*/ 538083 h 4951333"/>
              <a:gd name="connsiteX95" fmla="*/ 2333624 w 3357562"/>
              <a:gd name="connsiteY95" fmla="*/ 452358 h 4951333"/>
              <a:gd name="connsiteX96" fmla="*/ 2190750 w 3357562"/>
              <a:gd name="connsiteY96" fmla="*/ 423783 h 4951333"/>
              <a:gd name="connsiteX97" fmla="*/ 2157412 w 3357562"/>
              <a:gd name="connsiteY97" fmla="*/ 309483 h 4951333"/>
              <a:gd name="connsiteX98" fmla="*/ 2143124 w 3357562"/>
              <a:gd name="connsiteY98" fmla="*/ 179308 h 4951333"/>
              <a:gd name="connsiteX99" fmla="*/ 1594304 w 3357562"/>
              <a:gd name="connsiteY99" fmla="*/ 101601 h 4951333"/>
              <a:gd name="connsiteX100" fmla="*/ 1518104 w 3357562"/>
              <a:gd name="connsiteY100" fmla="*/ 111126 h 4951333"/>
              <a:gd name="connsiteX101" fmla="*/ 1372054 w 3357562"/>
              <a:gd name="connsiteY101" fmla="*/ 25401 h 4951333"/>
              <a:gd name="connsiteX102" fmla="*/ 1235529 w 3357562"/>
              <a:gd name="connsiteY102" fmla="*/ 0 h 4951333"/>
              <a:gd name="connsiteX103" fmla="*/ 1162504 w 3357562"/>
              <a:gd name="connsiteY103" fmla="*/ 73025 h 4951333"/>
              <a:gd name="connsiteX104" fmla="*/ 1198562 w 3357562"/>
              <a:gd name="connsiteY104" fmla="*/ 176133 h 4951333"/>
              <a:gd name="connsiteX105" fmla="*/ 1166812 w 3357562"/>
              <a:gd name="connsiteY105" fmla="*/ 309483 h 4951333"/>
              <a:gd name="connsiteX106" fmla="*/ 1128712 w 3357562"/>
              <a:gd name="connsiteY106" fmla="*/ 414258 h 4951333"/>
              <a:gd name="connsiteX107" fmla="*/ 919162 w 3357562"/>
              <a:gd name="connsiteY107" fmla="*/ 576183 h 4951333"/>
              <a:gd name="connsiteX108" fmla="*/ 909637 w 3357562"/>
              <a:gd name="connsiteY108" fmla="*/ 633333 h 4951333"/>
              <a:gd name="connsiteX109" fmla="*/ 785812 w 3357562"/>
              <a:gd name="connsiteY109" fmla="*/ 652383 h 4951333"/>
              <a:gd name="connsiteX110" fmla="*/ 614362 w 3357562"/>
              <a:gd name="connsiteY110" fmla="*/ 709533 h 4951333"/>
              <a:gd name="connsiteX111" fmla="*/ 566737 w 3357562"/>
              <a:gd name="connsiteY111" fmla="*/ 820658 h 4951333"/>
              <a:gd name="connsiteX112" fmla="*/ 461962 w 3357562"/>
              <a:gd name="connsiteY112" fmla="*/ 938133 h 4951333"/>
              <a:gd name="connsiteX113" fmla="*/ 452437 w 3357562"/>
              <a:gd name="connsiteY113" fmla="*/ 1014333 h 4951333"/>
              <a:gd name="connsiteX114" fmla="*/ 461962 w 3357562"/>
              <a:gd name="connsiteY114" fmla="*/ 1138158 h 4951333"/>
              <a:gd name="connsiteX115" fmla="*/ 414337 w 3357562"/>
              <a:gd name="connsiteY115" fmla="*/ 1185783 h 4951333"/>
              <a:gd name="connsiteX116" fmla="*/ 233362 w 3357562"/>
              <a:gd name="connsiteY116" fmla="*/ 1157208 h 4951333"/>
              <a:gd name="connsiteX117" fmla="*/ 166687 w 3357562"/>
              <a:gd name="connsiteY117" fmla="*/ 1166733 h 4951333"/>
              <a:gd name="connsiteX118" fmla="*/ 61912 w 3357562"/>
              <a:gd name="connsiteY118" fmla="*/ 1242933 h 4951333"/>
              <a:gd name="connsiteX119" fmla="*/ 42862 w 3357562"/>
              <a:gd name="connsiteY119" fmla="*/ 1338183 h 4951333"/>
              <a:gd name="connsiteX120" fmla="*/ 42862 w 3357562"/>
              <a:gd name="connsiteY120" fmla="*/ 1471533 h 4951333"/>
              <a:gd name="connsiteX121" fmla="*/ 14287 w 3357562"/>
              <a:gd name="connsiteY121" fmla="*/ 1585833 h 4951333"/>
              <a:gd name="connsiteX122" fmla="*/ 0 w 3357562"/>
              <a:gd name="connsiteY122" fmla="*/ 1700133 h 4951333"/>
              <a:gd name="connsiteX123" fmla="*/ 90487 w 3357562"/>
              <a:gd name="connsiteY123" fmla="*/ 1833483 h 4951333"/>
              <a:gd name="connsiteX124" fmla="*/ 147637 w 3357562"/>
              <a:gd name="connsiteY124" fmla="*/ 2014458 h 4951333"/>
              <a:gd name="connsiteX125" fmla="*/ 204787 w 3357562"/>
              <a:gd name="connsiteY125" fmla="*/ 2224008 h 4951333"/>
              <a:gd name="connsiteX126" fmla="*/ 261937 w 3357562"/>
              <a:gd name="connsiteY126" fmla="*/ 2490708 h 4951333"/>
              <a:gd name="connsiteX127" fmla="*/ 347662 w 3357562"/>
              <a:gd name="connsiteY127" fmla="*/ 2595483 h 4951333"/>
              <a:gd name="connsiteX128" fmla="*/ 319087 w 3357562"/>
              <a:gd name="connsiteY128" fmla="*/ 2805033 h 4951333"/>
              <a:gd name="connsiteX129" fmla="*/ 390524 w 3357562"/>
              <a:gd name="connsiteY129" fmla="*/ 2962195 h 4951333"/>
              <a:gd name="connsiteX130" fmla="*/ 366712 w 3357562"/>
              <a:gd name="connsiteY130" fmla="*/ 3052683 h 4951333"/>
              <a:gd name="connsiteX131" fmla="*/ 430212 w 3357562"/>
              <a:gd name="connsiteY131" fmla="*/ 3449558 h 4951333"/>
              <a:gd name="connsiteX132" fmla="*/ 420687 w 3357562"/>
              <a:gd name="connsiteY132" fmla="*/ 3557508 h 4951333"/>
              <a:gd name="connsiteX133" fmla="*/ 369887 w 3357562"/>
              <a:gd name="connsiteY133" fmla="*/ 3694033 h 4951333"/>
              <a:gd name="connsiteX134" fmla="*/ 385762 w 3357562"/>
              <a:gd name="connsiteY134" fmla="*/ 3817858 h 4951333"/>
              <a:gd name="connsiteX135" fmla="*/ 452437 w 3357562"/>
              <a:gd name="connsiteY135" fmla="*/ 4005183 h 4951333"/>
              <a:gd name="connsiteX136" fmla="*/ 495300 w 3357562"/>
              <a:gd name="connsiteY136" fmla="*/ 4095671 h 4951333"/>
              <a:gd name="connsiteX137" fmla="*/ 519112 w 3357562"/>
              <a:gd name="connsiteY137" fmla="*/ 4200445 h 4951333"/>
              <a:gd name="connsiteX138" fmla="*/ 447674 w 3357562"/>
              <a:gd name="connsiteY138" fmla="*/ 4262358 h 4951333"/>
              <a:gd name="connsiteX139" fmla="*/ 609599 w 3357562"/>
              <a:gd name="connsiteY139" fmla="*/ 4338557 h 4951333"/>
              <a:gd name="connsiteX140" fmla="*/ 690562 w 3357562"/>
              <a:gd name="connsiteY140" fmla="*/ 4476670 h 4951333"/>
              <a:gd name="connsiteX141" fmla="*/ 750887 w 3357562"/>
              <a:gd name="connsiteY141" fmla="*/ 4513183 h 4951333"/>
              <a:gd name="connsiteX142" fmla="*/ 841375 w 3357562"/>
              <a:gd name="connsiteY142" fmla="*/ 4452858 h 4951333"/>
              <a:gd name="connsiteX143" fmla="*/ 928687 w 3357562"/>
              <a:gd name="connsiteY143" fmla="*/ 4478258 h 4951333"/>
              <a:gd name="connsiteX144" fmla="*/ 1092199 w 3357562"/>
              <a:gd name="connsiteY144" fmla="*/ 4632245 h 4951333"/>
              <a:gd name="connsiteX145" fmla="*/ 1203324 w 3357562"/>
              <a:gd name="connsiteY145" fmla="*/ 4692570 h 4951333"/>
              <a:gd name="connsiteX146" fmla="*/ 1381124 w 3357562"/>
              <a:gd name="connsiteY146" fmla="*/ 4805283 h 4951333"/>
              <a:gd name="connsiteX147" fmla="*/ 1662112 w 3357562"/>
              <a:gd name="connsiteY147" fmla="*/ 4938633 h 4951333"/>
              <a:gd name="connsiteX148" fmla="*/ 1779587 w 3357562"/>
              <a:gd name="connsiteY148" fmla="*/ 4951333 h 4951333"/>
              <a:gd name="connsiteX0" fmla="*/ 1779587 w 3357562"/>
              <a:gd name="connsiteY0" fmla="*/ 4951333 h 4951333"/>
              <a:gd name="connsiteX1" fmla="*/ 1855787 w 3357562"/>
              <a:gd name="connsiteY1" fmla="*/ 4900533 h 4951333"/>
              <a:gd name="connsiteX2" fmla="*/ 1855787 w 3357562"/>
              <a:gd name="connsiteY2" fmla="*/ 4821158 h 4951333"/>
              <a:gd name="connsiteX3" fmla="*/ 1838325 w 3357562"/>
              <a:gd name="connsiteY3" fmla="*/ 4762421 h 4951333"/>
              <a:gd name="connsiteX4" fmla="*/ 1725612 w 3357562"/>
              <a:gd name="connsiteY4" fmla="*/ 4724320 h 4951333"/>
              <a:gd name="connsiteX5" fmla="*/ 1660525 w 3357562"/>
              <a:gd name="connsiteY5" fmla="*/ 4748133 h 4951333"/>
              <a:gd name="connsiteX6" fmla="*/ 1660525 w 3357562"/>
              <a:gd name="connsiteY6" fmla="*/ 4702096 h 4951333"/>
              <a:gd name="connsiteX7" fmla="*/ 1682749 w 3357562"/>
              <a:gd name="connsiteY7" fmla="*/ 4633833 h 4951333"/>
              <a:gd name="connsiteX8" fmla="*/ 1719262 w 3357562"/>
              <a:gd name="connsiteY8" fmla="*/ 4533821 h 4951333"/>
              <a:gd name="connsiteX9" fmla="*/ 1652587 w 3357562"/>
              <a:gd name="connsiteY9" fmla="*/ 4490958 h 4951333"/>
              <a:gd name="connsiteX10" fmla="*/ 1585912 w 3357562"/>
              <a:gd name="connsiteY10" fmla="*/ 4462383 h 4951333"/>
              <a:gd name="connsiteX11" fmla="*/ 1544637 w 3357562"/>
              <a:gd name="connsiteY11" fmla="*/ 4444920 h 4951333"/>
              <a:gd name="connsiteX12" fmla="*/ 1465262 w 3357562"/>
              <a:gd name="connsiteY12" fmla="*/ 4452858 h 4951333"/>
              <a:gd name="connsiteX13" fmla="*/ 1406525 w 3357562"/>
              <a:gd name="connsiteY13" fmla="*/ 4319508 h 4951333"/>
              <a:gd name="connsiteX14" fmla="*/ 1333500 w 3357562"/>
              <a:gd name="connsiteY14" fmla="*/ 4209970 h 4951333"/>
              <a:gd name="connsiteX15" fmla="*/ 1214437 w 3357562"/>
              <a:gd name="connsiteY15" fmla="*/ 4157583 h 4951333"/>
              <a:gd name="connsiteX16" fmla="*/ 1128712 w 3357562"/>
              <a:gd name="connsiteY16" fmla="*/ 4148058 h 4951333"/>
              <a:gd name="connsiteX17" fmla="*/ 1100137 w 3357562"/>
              <a:gd name="connsiteY17" fmla="*/ 4109958 h 4951333"/>
              <a:gd name="connsiteX18" fmla="*/ 1081087 w 3357562"/>
              <a:gd name="connsiteY18" fmla="*/ 4014708 h 4951333"/>
              <a:gd name="connsiteX19" fmla="*/ 1109662 w 3357562"/>
              <a:gd name="connsiteY19" fmla="*/ 3957558 h 4951333"/>
              <a:gd name="connsiteX20" fmla="*/ 1252537 w 3357562"/>
              <a:gd name="connsiteY20" fmla="*/ 3948033 h 4951333"/>
              <a:gd name="connsiteX21" fmla="*/ 1376362 w 3357562"/>
              <a:gd name="connsiteY21" fmla="*/ 3728958 h 4951333"/>
              <a:gd name="connsiteX22" fmla="*/ 1428750 w 3357562"/>
              <a:gd name="connsiteY22" fmla="*/ 3617833 h 4951333"/>
              <a:gd name="connsiteX23" fmla="*/ 1366837 w 3357562"/>
              <a:gd name="connsiteY23" fmla="*/ 3447971 h 4951333"/>
              <a:gd name="connsiteX24" fmla="*/ 1295399 w 3357562"/>
              <a:gd name="connsiteY24" fmla="*/ 3367008 h 4951333"/>
              <a:gd name="connsiteX25" fmla="*/ 1200150 w 3357562"/>
              <a:gd name="connsiteY25" fmla="*/ 3324145 h 4951333"/>
              <a:gd name="connsiteX26" fmla="*/ 1109662 w 3357562"/>
              <a:gd name="connsiteY26" fmla="*/ 3243183 h 4951333"/>
              <a:gd name="connsiteX27" fmla="*/ 1057275 w 3357562"/>
              <a:gd name="connsiteY27" fmla="*/ 3119358 h 4951333"/>
              <a:gd name="connsiteX28" fmla="*/ 1014412 w 3357562"/>
              <a:gd name="connsiteY28" fmla="*/ 3043159 h 4951333"/>
              <a:gd name="connsiteX29" fmla="*/ 1033463 w 3357562"/>
              <a:gd name="connsiteY29" fmla="*/ 2957434 h 4951333"/>
              <a:gd name="connsiteX30" fmla="*/ 1133475 w 3357562"/>
              <a:gd name="connsiteY30" fmla="*/ 2871708 h 4951333"/>
              <a:gd name="connsiteX31" fmla="*/ 1176337 w 3357562"/>
              <a:gd name="connsiteY31" fmla="*/ 2785983 h 4951333"/>
              <a:gd name="connsiteX32" fmla="*/ 1200149 w 3357562"/>
              <a:gd name="connsiteY32" fmla="*/ 2809795 h 4951333"/>
              <a:gd name="connsiteX33" fmla="*/ 1295399 w 3357562"/>
              <a:gd name="connsiteY33" fmla="*/ 2785983 h 4951333"/>
              <a:gd name="connsiteX34" fmla="*/ 1447799 w 3357562"/>
              <a:gd name="connsiteY34" fmla="*/ 2695495 h 4951333"/>
              <a:gd name="connsiteX35" fmla="*/ 1490662 w 3357562"/>
              <a:gd name="connsiteY35" fmla="*/ 2643108 h 4951333"/>
              <a:gd name="connsiteX36" fmla="*/ 1543049 w 3357562"/>
              <a:gd name="connsiteY36" fmla="*/ 2538333 h 4951333"/>
              <a:gd name="connsiteX37" fmla="*/ 1552574 w 3357562"/>
              <a:gd name="connsiteY37" fmla="*/ 2424033 h 4951333"/>
              <a:gd name="connsiteX38" fmla="*/ 1462087 w 3357562"/>
              <a:gd name="connsiteY38" fmla="*/ 2347833 h 4951333"/>
              <a:gd name="connsiteX39" fmla="*/ 1409700 w 3357562"/>
              <a:gd name="connsiteY39" fmla="*/ 2311321 h 4951333"/>
              <a:gd name="connsiteX40" fmla="*/ 1325562 w 3357562"/>
              <a:gd name="connsiteY40" fmla="*/ 2284333 h 4951333"/>
              <a:gd name="connsiteX41" fmla="*/ 1225550 w 3357562"/>
              <a:gd name="connsiteY41" fmla="*/ 2290683 h 4951333"/>
              <a:gd name="connsiteX42" fmla="*/ 1028699 w 3357562"/>
              <a:gd name="connsiteY42" fmla="*/ 2311320 h 4951333"/>
              <a:gd name="connsiteX43" fmla="*/ 919162 w 3357562"/>
              <a:gd name="connsiteY43" fmla="*/ 2343071 h 4951333"/>
              <a:gd name="connsiteX44" fmla="*/ 895349 w 3357562"/>
              <a:gd name="connsiteY44" fmla="*/ 2262108 h 4951333"/>
              <a:gd name="connsiteX45" fmla="*/ 914399 w 3357562"/>
              <a:gd name="connsiteY45" fmla="*/ 2138283 h 4951333"/>
              <a:gd name="connsiteX46" fmla="*/ 938212 w 3357562"/>
              <a:gd name="connsiteY46" fmla="*/ 2004933 h 4951333"/>
              <a:gd name="connsiteX47" fmla="*/ 985837 w 3357562"/>
              <a:gd name="connsiteY47" fmla="*/ 1843008 h 4951333"/>
              <a:gd name="connsiteX48" fmla="*/ 957262 w 3357562"/>
              <a:gd name="connsiteY48" fmla="*/ 1766808 h 4951333"/>
              <a:gd name="connsiteX49" fmla="*/ 938212 w 3357562"/>
              <a:gd name="connsiteY49" fmla="*/ 1700133 h 4951333"/>
              <a:gd name="connsiteX50" fmla="*/ 771525 w 3357562"/>
              <a:gd name="connsiteY50" fmla="*/ 1642983 h 4951333"/>
              <a:gd name="connsiteX51" fmla="*/ 614362 w 3357562"/>
              <a:gd name="connsiteY51" fmla="*/ 1614408 h 4951333"/>
              <a:gd name="connsiteX52" fmla="*/ 633412 w 3357562"/>
              <a:gd name="connsiteY52" fmla="*/ 1509633 h 4951333"/>
              <a:gd name="connsiteX53" fmla="*/ 741362 w 3357562"/>
              <a:gd name="connsiteY53" fmla="*/ 1395333 h 4951333"/>
              <a:gd name="connsiteX54" fmla="*/ 842962 w 3357562"/>
              <a:gd name="connsiteY54" fmla="*/ 1319133 h 4951333"/>
              <a:gd name="connsiteX55" fmla="*/ 890587 w 3357562"/>
              <a:gd name="connsiteY55" fmla="*/ 1281033 h 4951333"/>
              <a:gd name="connsiteX56" fmla="*/ 890587 w 3357562"/>
              <a:gd name="connsiteY56" fmla="*/ 1223883 h 4951333"/>
              <a:gd name="connsiteX57" fmla="*/ 909637 w 3357562"/>
              <a:gd name="connsiteY57" fmla="*/ 1157208 h 4951333"/>
              <a:gd name="connsiteX58" fmla="*/ 938212 w 3357562"/>
              <a:gd name="connsiteY58" fmla="*/ 1128633 h 4951333"/>
              <a:gd name="connsiteX59" fmla="*/ 947737 w 3357562"/>
              <a:gd name="connsiteY59" fmla="*/ 1061958 h 4951333"/>
              <a:gd name="connsiteX60" fmla="*/ 947737 w 3357562"/>
              <a:gd name="connsiteY60" fmla="*/ 976233 h 4951333"/>
              <a:gd name="connsiteX61" fmla="*/ 1017587 w 3357562"/>
              <a:gd name="connsiteY61" fmla="*/ 861933 h 4951333"/>
              <a:gd name="connsiteX62" fmla="*/ 1281112 w 3357562"/>
              <a:gd name="connsiteY62" fmla="*/ 925433 h 4951333"/>
              <a:gd name="connsiteX63" fmla="*/ 1485900 w 3357562"/>
              <a:gd name="connsiteY63" fmla="*/ 819071 h 4951333"/>
              <a:gd name="connsiteX64" fmla="*/ 1619250 w 3357562"/>
              <a:gd name="connsiteY64" fmla="*/ 693658 h 4951333"/>
              <a:gd name="connsiteX65" fmla="*/ 1739899 w 3357562"/>
              <a:gd name="connsiteY65" fmla="*/ 682546 h 4951333"/>
              <a:gd name="connsiteX66" fmla="*/ 1895474 w 3357562"/>
              <a:gd name="connsiteY66" fmla="*/ 685720 h 4951333"/>
              <a:gd name="connsiteX67" fmla="*/ 2066924 w 3357562"/>
              <a:gd name="connsiteY67" fmla="*/ 742871 h 4951333"/>
              <a:gd name="connsiteX68" fmla="*/ 2200275 w 3357562"/>
              <a:gd name="connsiteY68" fmla="*/ 828596 h 4951333"/>
              <a:gd name="connsiteX69" fmla="*/ 2295525 w 3357562"/>
              <a:gd name="connsiteY69" fmla="*/ 904796 h 4951333"/>
              <a:gd name="connsiteX70" fmla="*/ 2609849 w 3357562"/>
              <a:gd name="connsiteY70" fmla="*/ 938133 h 4951333"/>
              <a:gd name="connsiteX71" fmla="*/ 2754312 w 3357562"/>
              <a:gd name="connsiteY71" fmla="*/ 965121 h 4951333"/>
              <a:gd name="connsiteX72" fmla="*/ 2886074 w 3357562"/>
              <a:gd name="connsiteY72" fmla="*/ 1014333 h 4951333"/>
              <a:gd name="connsiteX73" fmla="*/ 3090862 w 3357562"/>
              <a:gd name="connsiteY73" fmla="*/ 966708 h 4951333"/>
              <a:gd name="connsiteX74" fmla="*/ 3176587 w 3357562"/>
              <a:gd name="connsiteY74" fmla="*/ 980996 h 4951333"/>
              <a:gd name="connsiteX75" fmla="*/ 3297237 w 3357562"/>
              <a:gd name="connsiteY75" fmla="*/ 963533 h 4951333"/>
              <a:gd name="connsiteX76" fmla="*/ 3325812 w 3357562"/>
              <a:gd name="connsiteY76" fmla="*/ 941308 h 4951333"/>
              <a:gd name="connsiteX77" fmla="*/ 3357562 w 3357562"/>
              <a:gd name="connsiteY77" fmla="*/ 880983 h 4951333"/>
              <a:gd name="connsiteX78" fmla="*/ 3336924 w 3357562"/>
              <a:gd name="connsiteY78" fmla="*/ 712708 h 4951333"/>
              <a:gd name="connsiteX79" fmla="*/ 3301999 w 3357562"/>
              <a:gd name="connsiteY79" fmla="*/ 650795 h 4951333"/>
              <a:gd name="connsiteX80" fmla="*/ 3182937 w 3357562"/>
              <a:gd name="connsiteY80" fmla="*/ 585708 h 4951333"/>
              <a:gd name="connsiteX81" fmla="*/ 3167062 w 3357562"/>
              <a:gd name="connsiteY81" fmla="*/ 528558 h 4951333"/>
              <a:gd name="connsiteX82" fmla="*/ 3119437 w 3357562"/>
              <a:gd name="connsiteY82" fmla="*/ 490458 h 4951333"/>
              <a:gd name="connsiteX83" fmla="*/ 3090862 w 3357562"/>
              <a:gd name="connsiteY83" fmla="*/ 512683 h 4951333"/>
              <a:gd name="connsiteX84" fmla="*/ 3071812 w 3357562"/>
              <a:gd name="connsiteY84" fmla="*/ 563483 h 4951333"/>
              <a:gd name="connsiteX85" fmla="*/ 3062287 w 3357562"/>
              <a:gd name="connsiteY85" fmla="*/ 614283 h 4951333"/>
              <a:gd name="connsiteX86" fmla="*/ 3019425 w 3357562"/>
              <a:gd name="connsiteY86" fmla="*/ 628571 h 4951333"/>
              <a:gd name="connsiteX87" fmla="*/ 2947987 w 3357562"/>
              <a:gd name="connsiteY87" fmla="*/ 595233 h 4951333"/>
              <a:gd name="connsiteX88" fmla="*/ 2852737 w 3357562"/>
              <a:gd name="connsiteY88" fmla="*/ 652383 h 4951333"/>
              <a:gd name="connsiteX89" fmla="*/ 2833687 w 3357562"/>
              <a:gd name="connsiteY89" fmla="*/ 680958 h 4951333"/>
              <a:gd name="connsiteX90" fmla="*/ 2824162 w 3357562"/>
              <a:gd name="connsiteY90" fmla="*/ 719058 h 4951333"/>
              <a:gd name="connsiteX91" fmla="*/ 2747962 w 3357562"/>
              <a:gd name="connsiteY91" fmla="*/ 680958 h 4951333"/>
              <a:gd name="connsiteX92" fmla="*/ 2657475 w 3357562"/>
              <a:gd name="connsiteY92" fmla="*/ 652383 h 4951333"/>
              <a:gd name="connsiteX93" fmla="*/ 2557462 w 3357562"/>
              <a:gd name="connsiteY93" fmla="*/ 604758 h 4951333"/>
              <a:gd name="connsiteX94" fmla="*/ 2433637 w 3357562"/>
              <a:gd name="connsiteY94" fmla="*/ 538083 h 4951333"/>
              <a:gd name="connsiteX95" fmla="*/ 2333624 w 3357562"/>
              <a:gd name="connsiteY95" fmla="*/ 452358 h 4951333"/>
              <a:gd name="connsiteX96" fmla="*/ 2190750 w 3357562"/>
              <a:gd name="connsiteY96" fmla="*/ 423783 h 4951333"/>
              <a:gd name="connsiteX97" fmla="*/ 2157412 w 3357562"/>
              <a:gd name="connsiteY97" fmla="*/ 309483 h 4951333"/>
              <a:gd name="connsiteX98" fmla="*/ 2143124 w 3357562"/>
              <a:gd name="connsiteY98" fmla="*/ 179308 h 4951333"/>
              <a:gd name="connsiteX99" fmla="*/ 1638754 w 3357562"/>
              <a:gd name="connsiteY99" fmla="*/ 101601 h 4951333"/>
              <a:gd name="connsiteX100" fmla="*/ 1594304 w 3357562"/>
              <a:gd name="connsiteY100" fmla="*/ 101601 h 4951333"/>
              <a:gd name="connsiteX101" fmla="*/ 1518104 w 3357562"/>
              <a:gd name="connsiteY101" fmla="*/ 111126 h 4951333"/>
              <a:gd name="connsiteX102" fmla="*/ 1372054 w 3357562"/>
              <a:gd name="connsiteY102" fmla="*/ 25401 h 4951333"/>
              <a:gd name="connsiteX103" fmla="*/ 1235529 w 3357562"/>
              <a:gd name="connsiteY103" fmla="*/ 0 h 4951333"/>
              <a:gd name="connsiteX104" fmla="*/ 1162504 w 3357562"/>
              <a:gd name="connsiteY104" fmla="*/ 73025 h 4951333"/>
              <a:gd name="connsiteX105" fmla="*/ 1198562 w 3357562"/>
              <a:gd name="connsiteY105" fmla="*/ 176133 h 4951333"/>
              <a:gd name="connsiteX106" fmla="*/ 1166812 w 3357562"/>
              <a:gd name="connsiteY106" fmla="*/ 309483 h 4951333"/>
              <a:gd name="connsiteX107" fmla="*/ 1128712 w 3357562"/>
              <a:gd name="connsiteY107" fmla="*/ 414258 h 4951333"/>
              <a:gd name="connsiteX108" fmla="*/ 919162 w 3357562"/>
              <a:gd name="connsiteY108" fmla="*/ 576183 h 4951333"/>
              <a:gd name="connsiteX109" fmla="*/ 909637 w 3357562"/>
              <a:gd name="connsiteY109" fmla="*/ 633333 h 4951333"/>
              <a:gd name="connsiteX110" fmla="*/ 785812 w 3357562"/>
              <a:gd name="connsiteY110" fmla="*/ 652383 h 4951333"/>
              <a:gd name="connsiteX111" fmla="*/ 614362 w 3357562"/>
              <a:gd name="connsiteY111" fmla="*/ 709533 h 4951333"/>
              <a:gd name="connsiteX112" fmla="*/ 566737 w 3357562"/>
              <a:gd name="connsiteY112" fmla="*/ 820658 h 4951333"/>
              <a:gd name="connsiteX113" fmla="*/ 461962 w 3357562"/>
              <a:gd name="connsiteY113" fmla="*/ 938133 h 4951333"/>
              <a:gd name="connsiteX114" fmla="*/ 452437 w 3357562"/>
              <a:gd name="connsiteY114" fmla="*/ 1014333 h 4951333"/>
              <a:gd name="connsiteX115" fmla="*/ 461962 w 3357562"/>
              <a:gd name="connsiteY115" fmla="*/ 1138158 h 4951333"/>
              <a:gd name="connsiteX116" fmla="*/ 414337 w 3357562"/>
              <a:gd name="connsiteY116" fmla="*/ 1185783 h 4951333"/>
              <a:gd name="connsiteX117" fmla="*/ 233362 w 3357562"/>
              <a:gd name="connsiteY117" fmla="*/ 1157208 h 4951333"/>
              <a:gd name="connsiteX118" fmla="*/ 166687 w 3357562"/>
              <a:gd name="connsiteY118" fmla="*/ 1166733 h 4951333"/>
              <a:gd name="connsiteX119" fmla="*/ 61912 w 3357562"/>
              <a:gd name="connsiteY119" fmla="*/ 1242933 h 4951333"/>
              <a:gd name="connsiteX120" fmla="*/ 42862 w 3357562"/>
              <a:gd name="connsiteY120" fmla="*/ 1338183 h 4951333"/>
              <a:gd name="connsiteX121" fmla="*/ 42862 w 3357562"/>
              <a:gd name="connsiteY121" fmla="*/ 1471533 h 4951333"/>
              <a:gd name="connsiteX122" fmla="*/ 14287 w 3357562"/>
              <a:gd name="connsiteY122" fmla="*/ 1585833 h 4951333"/>
              <a:gd name="connsiteX123" fmla="*/ 0 w 3357562"/>
              <a:gd name="connsiteY123" fmla="*/ 1700133 h 4951333"/>
              <a:gd name="connsiteX124" fmla="*/ 90487 w 3357562"/>
              <a:gd name="connsiteY124" fmla="*/ 1833483 h 4951333"/>
              <a:gd name="connsiteX125" fmla="*/ 147637 w 3357562"/>
              <a:gd name="connsiteY125" fmla="*/ 2014458 h 4951333"/>
              <a:gd name="connsiteX126" fmla="*/ 204787 w 3357562"/>
              <a:gd name="connsiteY126" fmla="*/ 2224008 h 4951333"/>
              <a:gd name="connsiteX127" fmla="*/ 261937 w 3357562"/>
              <a:gd name="connsiteY127" fmla="*/ 2490708 h 4951333"/>
              <a:gd name="connsiteX128" fmla="*/ 347662 w 3357562"/>
              <a:gd name="connsiteY128" fmla="*/ 2595483 h 4951333"/>
              <a:gd name="connsiteX129" fmla="*/ 319087 w 3357562"/>
              <a:gd name="connsiteY129" fmla="*/ 2805033 h 4951333"/>
              <a:gd name="connsiteX130" fmla="*/ 390524 w 3357562"/>
              <a:gd name="connsiteY130" fmla="*/ 2962195 h 4951333"/>
              <a:gd name="connsiteX131" fmla="*/ 366712 w 3357562"/>
              <a:gd name="connsiteY131" fmla="*/ 3052683 h 4951333"/>
              <a:gd name="connsiteX132" fmla="*/ 430212 w 3357562"/>
              <a:gd name="connsiteY132" fmla="*/ 3449558 h 4951333"/>
              <a:gd name="connsiteX133" fmla="*/ 420687 w 3357562"/>
              <a:gd name="connsiteY133" fmla="*/ 3557508 h 4951333"/>
              <a:gd name="connsiteX134" fmla="*/ 369887 w 3357562"/>
              <a:gd name="connsiteY134" fmla="*/ 3694033 h 4951333"/>
              <a:gd name="connsiteX135" fmla="*/ 385762 w 3357562"/>
              <a:gd name="connsiteY135" fmla="*/ 3817858 h 4951333"/>
              <a:gd name="connsiteX136" fmla="*/ 452437 w 3357562"/>
              <a:gd name="connsiteY136" fmla="*/ 4005183 h 4951333"/>
              <a:gd name="connsiteX137" fmla="*/ 495300 w 3357562"/>
              <a:gd name="connsiteY137" fmla="*/ 4095671 h 4951333"/>
              <a:gd name="connsiteX138" fmla="*/ 519112 w 3357562"/>
              <a:gd name="connsiteY138" fmla="*/ 4200445 h 4951333"/>
              <a:gd name="connsiteX139" fmla="*/ 447674 w 3357562"/>
              <a:gd name="connsiteY139" fmla="*/ 4262358 h 4951333"/>
              <a:gd name="connsiteX140" fmla="*/ 609599 w 3357562"/>
              <a:gd name="connsiteY140" fmla="*/ 4338557 h 4951333"/>
              <a:gd name="connsiteX141" fmla="*/ 690562 w 3357562"/>
              <a:gd name="connsiteY141" fmla="*/ 4476670 h 4951333"/>
              <a:gd name="connsiteX142" fmla="*/ 750887 w 3357562"/>
              <a:gd name="connsiteY142" fmla="*/ 4513183 h 4951333"/>
              <a:gd name="connsiteX143" fmla="*/ 841375 w 3357562"/>
              <a:gd name="connsiteY143" fmla="*/ 4452858 h 4951333"/>
              <a:gd name="connsiteX144" fmla="*/ 928687 w 3357562"/>
              <a:gd name="connsiteY144" fmla="*/ 4478258 h 4951333"/>
              <a:gd name="connsiteX145" fmla="*/ 1092199 w 3357562"/>
              <a:gd name="connsiteY145" fmla="*/ 4632245 h 4951333"/>
              <a:gd name="connsiteX146" fmla="*/ 1203324 w 3357562"/>
              <a:gd name="connsiteY146" fmla="*/ 4692570 h 4951333"/>
              <a:gd name="connsiteX147" fmla="*/ 1381124 w 3357562"/>
              <a:gd name="connsiteY147" fmla="*/ 4805283 h 4951333"/>
              <a:gd name="connsiteX148" fmla="*/ 1662112 w 3357562"/>
              <a:gd name="connsiteY148" fmla="*/ 4938633 h 4951333"/>
              <a:gd name="connsiteX149" fmla="*/ 1779587 w 3357562"/>
              <a:gd name="connsiteY149" fmla="*/ 4951333 h 4951333"/>
              <a:gd name="connsiteX0" fmla="*/ 1779587 w 3357562"/>
              <a:gd name="connsiteY0" fmla="*/ 4951333 h 4951333"/>
              <a:gd name="connsiteX1" fmla="*/ 1855787 w 3357562"/>
              <a:gd name="connsiteY1" fmla="*/ 4900533 h 4951333"/>
              <a:gd name="connsiteX2" fmla="*/ 1855787 w 3357562"/>
              <a:gd name="connsiteY2" fmla="*/ 4821158 h 4951333"/>
              <a:gd name="connsiteX3" fmla="*/ 1838325 w 3357562"/>
              <a:gd name="connsiteY3" fmla="*/ 4762421 h 4951333"/>
              <a:gd name="connsiteX4" fmla="*/ 1725612 w 3357562"/>
              <a:gd name="connsiteY4" fmla="*/ 4724320 h 4951333"/>
              <a:gd name="connsiteX5" fmla="*/ 1660525 w 3357562"/>
              <a:gd name="connsiteY5" fmla="*/ 4748133 h 4951333"/>
              <a:gd name="connsiteX6" fmla="*/ 1660525 w 3357562"/>
              <a:gd name="connsiteY6" fmla="*/ 4702096 h 4951333"/>
              <a:gd name="connsiteX7" fmla="*/ 1682749 w 3357562"/>
              <a:gd name="connsiteY7" fmla="*/ 4633833 h 4951333"/>
              <a:gd name="connsiteX8" fmla="*/ 1719262 w 3357562"/>
              <a:gd name="connsiteY8" fmla="*/ 4533821 h 4951333"/>
              <a:gd name="connsiteX9" fmla="*/ 1652587 w 3357562"/>
              <a:gd name="connsiteY9" fmla="*/ 4490958 h 4951333"/>
              <a:gd name="connsiteX10" fmla="*/ 1585912 w 3357562"/>
              <a:gd name="connsiteY10" fmla="*/ 4462383 h 4951333"/>
              <a:gd name="connsiteX11" fmla="*/ 1544637 w 3357562"/>
              <a:gd name="connsiteY11" fmla="*/ 4444920 h 4951333"/>
              <a:gd name="connsiteX12" fmla="*/ 1465262 w 3357562"/>
              <a:gd name="connsiteY12" fmla="*/ 4452858 h 4951333"/>
              <a:gd name="connsiteX13" fmla="*/ 1406525 w 3357562"/>
              <a:gd name="connsiteY13" fmla="*/ 4319508 h 4951333"/>
              <a:gd name="connsiteX14" fmla="*/ 1333500 w 3357562"/>
              <a:gd name="connsiteY14" fmla="*/ 4209970 h 4951333"/>
              <a:gd name="connsiteX15" fmla="*/ 1214437 w 3357562"/>
              <a:gd name="connsiteY15" fmla="*/ 4157583 h 4951333"/>
              <a:gd name="connsiteX16" fmla="*/ 1128712 w 3357562"/>
              <a:gd name="connsiteY16" fmla="*/ 4148058 h 4951333"/>
              <a:gd name="connsiteX17" fmla="*/ 1100137 w 3357562"/>
              <a:gd name="connsiteY17" fmla="*/ 4109958 h 4951333"/>
              <a:gd name="connsiteX18" fmla="*/ 1081087 w 3357562"/>
              <a:gd name="connsiteY18" fmla="*/ 4014708 h 4951333"/>
              <a:gd name="connsiteX19" fmla="*/ 1109662 w 3357562"/>
              <a:gd name="connsiteY19" fmla="*/ 3957558 h 4951333"/>
              <a:gd name="connsiteX20" fmla="*/ 1252537 w 3357562"/>
              <a:gd name="connsiteY20" fmla="*/ 3948033 h 4951333"/>
              <a:gd name="connsiteX21" fmla="*/ 1376362 w 3357562"/>
              <a:gd name="connsiteY21" fmla="*/ 3728958 h 4951333"/>
              <a:gd name="connsiteX22" fmla="*/ 1428750 w 3357562"/>
              <a:gd name="connsiteY22" fmla="*/ 3617833 h 4951333"/>
              <a:gd name="connsiteX23" fmla="*/ 1366837 w 3357562"/>
              <a:gd name="connsiteY23" fmla="*/ 3447971 h 4951333"/>
              <a:gd name="connsiteX24" fmla="*/ 1295399 w 3357562"/>
              <a:gd name="connsiteY24" fmla="*/ 3367008 h 4951333"/>
              <a:gd name="connsiteX25" fmla="*/ 1200150 w 3357562"/>
              <a:gd name="connsiteY25" fmla="*/ 3324145 h 4951333"/>
              <a:gd name="connsiteX26" fmla="*/ 1109662 w 3357562"/>
              <a:gd name="connsiteY26" fmla="*/ 3243183 h 4951333"/>
              <a:gd name="connsiteX27" fmla="*/ 1057275 w 3357562"/>
              <a:gd name="connsiteY27" fmla="*/ 3119358 h 4951333"/>
              <a:gd name="connsiteX28" fmla="*/ 1014412 w 3357562"/>
              <a:gd name="connsiteY28" fmla="*/ 3043159 h 4951333"/>
              <a:gd name="connsiteX29" fmla="*/ 1033463 w 3357562"/>
              <a:gd name="connsiteY29" fmla="*/ 2957434 h 4951333"/>
              <a:gd name="connsiteX30" fmla="*/ 1133475 w 3357562"/>
              <a:gd name="connsiteY30" fmla="*/ 2871708 h 4951333"/>
              <a:gd name="connsiteX31" fmla="*/ 1176337 w 3357562"/>
              <a:gd name="connsiteY31" fmla="*/ 2785983 h 4951333"/>
              <a:gd name="connsiteX32" fmla="*/ 1200149 w 3357562"/>
              <a:gd name="connsiteY32" fmla="*/ 2809795 h 4951333"/>
              <a:gd name="connsiteX33" fmla="*/ 1295399 w 3357562"/>
              <a:gd name="connsiteY33" fmla="*/ 2785983 h 4951333"/>
              <a:gd name="connsiteX34" fmla="*/ 1447799 w 3357562"/>
              <a:gd name="connsiteY34" fmla="*/ 2695495 h 4951333"/>
              <a:gd name="connsiteX35" fmla="*/ 1490662 w 3357562"/>
              <a:gd name="connsiteY35" fmla="*/ 2643108 h 4951333"/>
              <a:gd name="connsiteX36" fmla="*/ 1543049 w 3357562"/>
              <a:gd name="connsiteY36" fmla="*/ 2538333 h 4951333"/>
              <a:gd name="connsiteX37" fmla="*/ 1552574 w 3357562"/>
              <a:gd name="connsiteY37" fmla="*/ 2424033 h 4951333"/>
              <a:gd name="connsiteX38" fmla="*/ 1462087 w 3357562"/>
              <a:gd name="connsiteY38" fmla="*/ 2347833 h 4951333"/>
              <a:gd name="connsiteX39" fmla="*/ 1409700 w 3357562"/>
              <a:gd name="connsiteY39" fmla="*/ 2311321 h 4951333"/>
              <a:gd name="connsiteX40" fmla="*/ 1325562 w 3357562"/>
              <a:gd name="connsiteY40" fmla="*/ 2284333 h 4951333"/>
              <a:gd name="connsiteX41" fmla="*/ 1225550 w 3357562"/>
              <a:gd name="connsiteY41" fmla="*/ 2290683 h 4951333"/>
              <a:gd name="connsiteX42" fmla="*/ 1028699 w 3357562"/>
              <a:gd name="connsiteY42" fmla="*/ 2311320 h 4951333"/>
              <a:gd name="connsiteX43" fmla="*/ 919162 w 3357562"/>
              <a:gd name="connsiteY43" fmla="*/ 2343071 h 4951333"/>
              <a:gd name="connsiteX44" fmla="*/ 895349 w 3357562"/>
              <a:gd name="connsiteY44" fmla="*/ 2262108 h 4951333"/>
              <a:gd name="connsiteX45" fmla="*/ 914399 w 3357562"/>
              <a:gd name="connsiteY45" fmla="*/ 2138283 h 4951333"/>
              <a:gd name="connsiteX46" fmla="*/ 938212 w 3357562"/>
              <a:gd name="connsiteY46" fmla="*/ 2004933 h 4951333"/>
              <a:gd name="connsiteX47" fmla="*/ 985837 w 3357562"/>
              <a:gd name="connsiteY47" fmla="*/ 1843008 h 4951333"/>
              <a:gd name="connsiteX48" fmla="*/ 957262 w 3357562"/>
              <a:gd name="connsiteY48" fmla="*/ 1766808 h 4951333"/>
              <a:gd name="connsiteX49" fmla="*/ 938212 w 3357562"/>
              <a:gd name="connsiteY49" fmla="*/ 1700133 h 4951333"/>
              <a:gd name="connsiteX50" fmla="*/ 771525 w 3357562"/>
              <a:gd name="connsiteY50" fmla="*/ 1642983 h 4951333"/>
              <a:gd name="connsiteX51" fmla="*/ 614362 w 3357562"/>
              <a:gd name="connsiteY51" fmla="*/ 1614408 h 4951333"/>
              <a:gd name="connsiteX52" fmla="*/ 633412 w 3357562"/>
              <a:gd name="connsiteY52" fmla="*/ 1509633 h 4951333"/>
              <a:gd name="connsiteX53" fmla="*/ 741362 w 3357562"/>
              <a:gd name="connsiteY53" fmla="*/ 1395333 h 4951333"/>
              <a:gd name="connsiteX54" fmla="*/ 842962 w 3357562"/>
              <a:gd name="connsiteY54" fmla="*/ 1319133 h 4951333"/>
              <a:gd name="connsiteX55" fmla="*/ 890587 w 3357562"/>
              <a:gd name="connsiteY55" fmla="*/ 1281033 h 4951333"/>
              <a:gd name="connsiteX56" fmla="*/ 890587 w 3357562"/>
              <a:gd name="connsiteY56" fmla="*/ 1223883 h 4951333"/>
              <a:gd name="connsiteX57" fmla="*/ 909637 w 3357562"/>
              <a:gd name="connsiteY57" fmla="*/ 1157208 h 4951333"/>
              <a:gd name="connsiteX58" fmla="*/ 938212 w 3357562"/>
              <a:gd name="connsiteY58" fmla="*/ 1128633 h 4951333"/>
              <a:gd name="connsiteX59" fmla="*/ 947737 w 3357562"/>
              <a:gd name="connsiteY59" fmla="*/ 1061958 h 4951333"/>
              <a:gd name="connsiteX60" fmla="*/ 947737 w 3357562"/>
              <a:gd name="connsiteY60" fmla="*/ 976233 h 4951333"/>
              <a:gd name="connsiteX61" fmla="*/ 1017587 w 3357562"/>
              <a:gd name="connsiteY61" fmla="*/ 861933 h 4951333"/>
              <a:gd name="connsiteX62" fmla="*/ 1281112 w 3357562"/>
              <a:gd name="connsiteY62" fmla="*/ 925433 h 4951333"/>
              <a:gd name="connsiteX63" fmla="*/ 1485900 w 3357562"/>
              <a:gd name="connsiteY63" fmla="*/ 819071 h 4951333"/>
              <a:gd name="connsiteX64" fmla="*/ 1619250 w 3357562"/>
              <a:gd name="connsiteY64" fmla="*/ 693658 h 4951333"/>
              <a:gd name="connsiteX65" fmla="*/ 1739899 w 3357562"/>
              <a:gd name="connsiteY65" fmla="*/ 682546 h 4951333"/>
              <a:gd name="connsiteX66" fmla="*/ 1895474 w 3357562"/>
              <a:gd name="connsiteY66" fmla="*/ 685720 h 4951333"/>
              <a:gd name="connsiteX67" fmla="*/ 2066924 w 3357562"/>
              <a:gd name="connsiteY67" fmla="*/ 742871 h 4951333"/>
              <a:gd name="connsiteX68" fmla="*/ 2200275 w 3357562"/>
              <a:gd name="connsiteY68" fmla="*/ 828596 h 4951333"/>
              <a:gd name="connsiteX69" fmla="*/ 2295525 w 3357562"/>
              <a:gd name="connsiteY69" fmla="*/ 904796 h 4951333"/>
              <a:gd name="connsiteX70" fmla="*/ 2609849 w 3357562"/>
              <a:gd name="connsiteY70" fmla="*/ 938133 h 4951333"/>
              <a:gd name="connsiteX71" fmla="*/ 2754312 w 3357562"/>
              <a:gd name="connsiteY71" fmla="*/ 965121 h 4951333"/>
              <a:gd name="connsiteX72" fmla="*/ 2886074 w 3357562"/>
              <a:gd name="connsiteY72" fmla="*/ 1014333 h 4951333"/>
              <a:gd name="connsiteX73" fmla="*/ 3090862 w 3357562"/>
              <a:gd name="connsiteY73" fmla="*/ 966708 h 4951333"/>
              <a:gd name="connsiteX74" fmla="*/ 3176587 w 3357562"/>
              <a:gd name="connsiteY74" fmla="*/ 980996 h 4951333"/>
              <a:gd name="connsiteX75" fmla="*/ 3297237 w 3357562"/>
              <a:gd name="connsiteY75" fmla="*/ 963533 h 4951333"/>
              <a:gd name="connsiteX76" fmla="*/ 3325812 w 3357562"/>
              <a:gd name="connsiteY76" fmla="*/ 941308 h 4951333"/>
              <a:gd name="connsiteX77" fmla="*/ 3357562 w 3357562"/>
              <a:gd name="connsiteY77" fmla="*/ 880983 h 4951333"/>
              <a:gd name="connsiteX78" fmla="*/ 3336924 w 3357562"/>
              <a:gd name="connsiteY78" fmla="*/ 712708 h 4951333"/>
              <a:gd name="connsiteX79" fmla="*/ 3301999 w 3357562"/>
              <a:gd name="connsiteY79" fmla="*/ 650795 h 4951333"/>
              <a:gd name="connsiteX80" fmla="*/ 3182937 w 3357562"/>
              <a:gd name="connsiteY80" fmla="*/ 585708 h 4951333"/>
              <a:gd name="connsiteX81" fmla="*/ 3167062 w 3357562"/>
              <a:gd name="connsiteY81" fmla="*/ 528558 h 4951333"/>
              <a:gd name="connsiteX82" fmla="*/ 3119437 w 3357562"/>
              <a:gd name="connsiteY82" fmla="*/ 490458 h 4951333"/>
              <a:gd name="connsiteX83" fmla="*/ 3090862 w 3357562"/>
              <a:gd name="connsiteY83" fmla="*/ 512683 h 4951333"/>
              <a:gd name="connsiteX84" fmla="*/ 3071812 w 3357562"/>
              <a:gd name="connsiteY84" fmla="*/ 563483 h 4951333"/>
              <a:gd name="connsiteX85" fmla="*/ 3062287 w 3357562"/>
              <a:gd name="connsiteY85" fmla="*/ 614283 h 4951333"/>
              <a:gd name="connsiteX86" fmla="*/ 3019425 w 3357562"/>
              <a:gd name="connsiteY86" fmla="*/ 628571 h 4951333"/>
              <a:gd name="connsiteX87" fmla="*/ 2947987 w 3357562"/>
              <a:gd name="connsiteY87" fmla="*/ 595233 h 4951333"/>
              <a:gd name="connsiteX88" fmla="*/ 2852737 w 3357562"/>
              <a:gd name="connsiteY88" fmla="*/ 652383 h 4951333"/>
              <a:gd name="connsiteX89" fmla="*/ 2833687 w 3357562"/>
              <a:gd name="connsiteY89" fmla="*/ 680958 h 4951333"/>
              <a:gd name="connsiteX90" fmla="*/ 2824162 w 3357562"/>
              <a:gd name="connsiteY90" fmla="*/ 719058 h 4951333"/>
              <a:gd name="connsiteX91" fmla="*/ 2747962 w 3357562"/>
              <a:gd name="connsiteY91" fmla="*/ 680958 h 4951333"/>
              <a:gd name="connsiteX92" fmla="*/ 2657475 w 3357562"/>
              <a:gd name="connsiteY92" fmla="*/ 652383 h 4951333"/>
              <a:gd name="connsiteX93" fmla="*/ 2557462 w 3357562"/>
              <a:gd name="connsiteY93" fmla="*/ 604758 h 4951333"/>
              <a:gd name="connsiteX94" fmla="*/ 2433637 w 3357562"/>
              <a:gd name="connsiteY94" fmla="*/ 538083 h 4951333"/>
              <a:gd name="connsiteX95" fmla="*/ 2333624 w 3357562"/>
              <a:gd name="connsiteY95" fmla="*/ 452358 h 4951333"/>
              <a:gd name="connsiteX96" fmla="*/ 2190750 w 3357562"/>
              <a:gd name="connsiteY96" fmla="*/ 423783 h 4951333"/>
              <a:gd name="connsiteX97" fmla="*/ 2157412 w 3357562"/>
              <a:gd name="connsiteY97" fmla="*/ 309483 h 4951333"/>
              <a:gd name="connsiteX98" fmla="*/ 2143124 w 3357562"/>
              <a:gd name="connsiteY98" fmla="*/ 179308 h 4951333"/>
              <a:gd name="connsiteX99" fmla="*/ 1632404 w 3357562"/>
              <a:gd name="connsiteY99" fmla="*/ 53976 h 4951333"/>
              <a:gd name="connsiteX100" fmla="*/ 1594304 w 3357562"/>
              <a:gd name="connsiteY100" fmla="*/ 101601 h 4951333"/>
              <a:gd name="connsiteX101" fmla="*/ 1518104 w 3357562"/>
              <a:gd name="connsiteY101" fmla="*/ 111126 h 4951333"/>
              <a:gd name="connsiteX102" fmla="*/ 1372054 w 3357562"/>
              <a:gd name="connsiteY102" fmla="*/ 25401 h 4951333"/>
              <a:gd name="connsiteX103" fmla="*/ 1235529 w 3357562"/>
              <a:gd name="connsiteY103" fmla="*/ 0 h 4951333"/>
              <a:gd name="connsiteX104" fmla="*/ 1162504 w 3357562"/>
              <a:gd name="connsiteY104" fmla="*/ 73025 h 4951333"/>
              <a:gd name="connsiteX105" fmla="*/ 1198562 w 3357562"/>
              <a:gd name="connsiteY105" fmla="*/ 176133 h 4951333"/>
              <a:gd name="connsiteX106" fmla="*/ 1166812 w 3357562"/>
              <a:gd name="connsiteY106" fmla="*/ 309483 h 4951333"/>
              <a:gd name="connsiteX107" fmla="*/ 1128712 w 3357562"/>
              <a:gd name="connsiteY107" fmla="*/ 414258 h 4951333"/>
              <a:gd name="connsiteX108" fmla="*/ 919162 w 3357562"/>
              <a:gd name="connsiteY108" fmla="*/ 576183 h 4951333"/>
              <a:gd name="connsiteX109" fmla="*/ 909637 w 3357562"/>
              <a:gd name="connsiteY109" fmla="*/ 633333 h 4951333"/>
              <a:gd name="connsiteX110" fmla="*/ 785812 w 3357562"/>
              <a:gd name="connsiteY110" fmla="*/ 652383 h 4951333"/>
              <a:gd name="connsiteX111" fmla="*/ 614362 w 3357562"/>
              <a:gd name="connsiteY111" fmla="*/ 709533 h 4951333"/>
              <a:gd name="connsiteX112" fmla="*/ 566737 w 3357562"/>
              <a:gd name="connsiteY112" fmla="*/ 820658 h 4951333"/>
              <a:gd name="connsiteX113" fmla="*/ 461962 w 3357562"/>
              <a:gd name="connsiteY113" fmla="*/ 938133 h 4951333"/>
              <a:gd name="connsiteX114" fmla="*/ 452437 w 3357562"/>
              <a:gd name="connsiteY114" fmla="*/ 1014333 h 4951333"/>
              <a:gd name="connsiteX115" fmla="*/ 461962 w 3357562"/>
              <a:gd name="connsiteY115" fmla="*/ 1138158 h 4951333"/>
              <a:gd name="connsiteX116" fmla="*/ 414337 w 3357562"/>
              <a:gd name="connsiteY116" fmla="*/ 1185783 h 4951333"/>
              <a:gd name="connsiteX117" fmla="*/ 233362 w 3357562"/>
              <a:gd name="connsiteY117" fmla="*/ 1157208 h 4951333"/>
              <a:gd name="connsiteX118" fmla="*/ 166687 w 3357562"/>
              <a:gd name="connsiteY118" fmla="*/ 1166733 h 4951333"/>
              <a:gd name="connsiteX119" fmla="*/ 61912 w 3357562"/>
              <a:gd name="connsiteY119" fmla="*/ 1242933 h 4951333"/>
              <a:gd name="connsiteX120" fmla="*/ 42862 w 3357562"/>
              <a:gd name="connsiteY120" fmla="*/ 1338183 h 4951333"/>
              <a:gd name="connsiteX121" fmla="*/ 42862 w 3357562"/>
              <a:gd name="connsiteY121" fmla="*/ 1471533 h 4951333"/>
              <a:gd name="connsiteX122" fmla="*/ 14287 w 3357562"/>
              <a:gd name="connsiteY122" fmla="*/ 1585833 h 4951333"/>
              <a:gd name="connsiteX123" fmla="*/ 0 w 3357562"/>
              <a:gd name="connsiteY123" fmla="*/ 1700133 h 4951333"/>
              <a:gd name="connsiteX124" fmla="*/ 90487 w 3357562"/>
              <a:gd name="connsiteY124" fmla="*/ 1833483 h 4951333"/>
              <a:gd name="connsiteX125" fmla="*/ 147637 w 3357562"/>
              <a:gd name="connsiteY125" fmla="*/ 2014458 h 4951333"/>
              <a:gd name="connsiteX126" fmla="*/ 204787 w 3357562"/>
              <a:gd name="connsiteY126" fmla="*/ 2224008 h 4951333"/>
              <a:gd name="connsiteX127" fmla="*/ 261937 w 3357562"/>
              <a:gd name="connsiteY127" fmla="*/ 2490708 h 4951333"/>
              <a:gd name="connsiteX128" fmla="*/ 347662 w 3357562"/>
              <a:gd name="connsiteY128" fmla="*/ 2595483 h 4951333"/>
              <a:gd name="connsiteX129" fmla="*/ 319087 w 3357562"/>
              <a:gd name="connsiteY129" fmla="*/ 2805033 h 4951333"/>
              <a:gd name="connsiteX130" fmla="*/ 390524 w 3357562"/>
              <a:gd name="connsiteY130" fmla="*/ 2962195 h 4951333"/>
              <a:gd name="connsiteX131" fmla="*/ 366712 w 3357562"/>
              <a:gd name="connsiteY131" fmla="*/ 3052683 h 4951333"/>
              <a:gd name="connsiteX132" fmla="*/ 430212 w 3357562"/>
              <a:gd name="connsiteY132" fmla="*/ 3449558 h 4951333"/>
              <a:gd name="connsiteX133" fmla="*/ 420687 w 3357562"/>
              <a:gd name="connsiteY133" fmla="*/ 3557508 h 4951333"/>
              <a:gd name="connsiteX134" fmla="*/ 369887 w 3357562"/>
              <a:gd name="connsiteY134" fmla="*/ 3694033 h 4951333"/>
              <a:gd name="connsiteX135" fmla="*/ 385762 w 3357562"/>
              <a:gd name="connsiteY135" fmla="*/ 3817858 h 4951333"/>
              <a:gd name="connsiteX136" fmla="*/ 452437 w 3357562"/>
              <a:gd name="connsiteY136" fmla="*/ 4005183 h 4951333"/>
              <a:gd name="connsiteX137" fmla="*/ 495300 w 3357562"/>
              <a:gd name="connsiteY137" fmla="*/ 4095671 h 4951333"/>
              <a:gd name="connsiteX138" fmla="*/ 519112 w 3357562"/>
              <a:gd name="connsiteY138" fmla="*/ 4200445 h 4951333"/>
              <a:gd name="connsiteX139" fmla="*/ 447674 w 3357562"/>
              <a:gd name="connsiteY139" fmla="*/ 4262358 h 4951333"/>
              <a:gd name="connsiteX140" fmla="*/ 609599 w 3357562"/>
              <a:gd name="connsiteY140" fmla="*/ 4338557 h 4951333"/>
              <a:gd name="connsiteX141" fmla="*/ 690562 w 3357562"/>
              <a:gd name="connsiteY141" fmla="*/ 4476670 h 4951333"/>
              <a:gd name="connsiteX142" fmla="*/ 750887 w 3357562"/>
              <a:gd name="connsiteY142" fmla="*/ 4513183 h 4951333"/>
              <a:gd name="connsiteX143" fmla="*/ 841375 w 3357562"/>
              <a:gd name="connsiteY143" fmla="*/ 4452858 h 4951333"/>
              <a:gd name="connsiteX144" fmla="*/ 928687 w 3357562"/>
              <a:gd name="connsiteY144" fmla="*/ 4478258 h 4951333"/>
              <a:gd name="connsiteX145" fmla="*/ 1092199 w 3357562"/>
              <a:gd name="connsiteY145" fmla="*/ 4632245 h 4951333"/>
              <a:gd name="connsiteX146" fmla="*/ 1203324 w 3357562"/>
              <a:gd name="connsiteY146" fmla="*/ 4692570 h 4951333"/>
              <a:gd name="connsiteX147" fmla="*/ 1381124 w 3357562"/>
              <a:gd name="connsiteY147" fmla="*/ 4805283 h 4951333"/>
              <a:gd name="connsiteX148" fmla="*/ 1662112 w 3357562"/>
              <a:gd name="connsiteY148" fmla="*/ 4938633 h 4951333"/>
              <a:gd name="connsiteX149" fmla="*/ 1779587 w 3357562"/>
              <a:gd name="connsiteY149" fmla="*/ 4951333 h 4951333"/>
              <a:gd name="connsiteX0" fmla="*/ 1779587 w 3357562"/>
              <a:gd name="connsiteY0" fmla="*/ 4951333 h 4951333"/>
              <a:gd name="connsiteX1" fmla="*/ 1855787 w 3357562"/>
              <a:gd name="connsiteY1" fmla="*/ 4900533 h 4951333"/>
              <a:gd name="connsiteX2" fmla="*/ 1855787 w 3357562"/>
              <a:gd name="connsiteY2" fmla="*/ 4821158 h 4951333"/>
              <a:gd name="connsiteX3" fmla="*/ 1838325 w 3357562"/>
              <a:gd name="connsiteY3" fmla="*/ 4762421 h 4951333"/>
              <a:gd name="connsiteX4" fmla="*/ 1725612 w 3357562"/>
              <a:gd name="connsiteY4" fmla="*/ 4724320 h 4951333"/>
              <a:gd name="connsiteX5" fmla="*/ 1660525 w 3357562"/>
              <a:gd name="connsiteY5" fmla="*/ 4748133 h 4951333"/>
              <a:gd name="connsiteX6" fmla="*/ 1660525 w 3357562"/>
              <a:gd name="connsiteY6" fmla="*/ 4702096 h 4951333"/>
              <a:gd name="connsiteX7" fmla="*/ 1682749 w 3357562"/>
              <a:gd name="connsiteY7" fmla="*/ 4633833 h 4951333"/>
              <a:gd name="connsiteX8" fmla="*/ 1719262 w 3357562"/>
              <a:gd name="connsiteY8" fmla="*/ 4533821 h 4951333"/>
              <a:gd name="connsiteX9" fmla="*/ 1652587 w 3357562"/>
              <a:gd name="connsiteY9" fmla="*/ 4490958 h 4951333"/>
              <a:gd name="connsiteX10" fmla="*/ 1585912 w 3357562"/>
              <a:gd name="connsiteY10" fmla="*/ 4462383 h 4951333"/>
              <a:gd name="connsiteX11" fmla="*/ 1544637 w 3357562"/>
              <a:gd name="connsiteY11" fmla="*/ 4444920 h 4951333"/>
              <a:gd name="connsiteX12" fmla="*/ 1465262 w 3357562"/>
              <a:gd name="connsiteY12" fmla="*/ 4452858 h 4951333"/>
              <a:gd name="connsiteX13" fmla="*/ 1406525 w 3357562"/>
              <a:gd name="connsiteY13" fmla="*/ 4319508 h 4951333"/>
              <a:gd name="connsiteX14" fmla="*/ 1333500 w 3357562"/>
              <a:gd name="connsiteY14" fmla="*/ 4209970 h 4951333"/>
              <a:gd name="connsiteX15" fmla="*/ 1214437 w 3357562"/>
              <a:gd name="connsiteY15" fmla="*/ 4157583 h 4951333"/>
              <a:gd name="connsiteX16" fmla="*/ 1128712 w 3357562"/>
              <a:gd name="connsiteY16" fmla="*/ 4148058 h 4951333"/>
              <a:gd name="connsiteX17" fmla="*/ 1100137 w 3357562"/>
              <a:gd name="connsiteY17" fmla="*/ 4109958 h 4951333"/>
              <a:gd name="connsiteX18" fmla="*/ 1081087 w 3357562"/>
              <a:gd name="connsiteY18" fmla="*/ 4014708 h 4951333"/>
              <a:gd name="connsiteX19" fmla="*/ 1109662 w 3357562"/>
              <a:gd name="connsiteY19" fmla="*/ 3957558 h 4951333"/>
              <a:gd name="connsiteX20" fmla="*/ 1252537 w 3357562"/>
              <a:gd name="connsiteY20" fmla="*/ 3948033 h 4951333"/>
              <a:gd name="connsiteX21" fmla="*/ 1376362 w 3357562"/>
              <a:gd name="connsiteY21" fmla="*/ 3728958 h 4951333"/>
              <a:gd name="connsiteX22" fmla="*/ 1428750 w 3357562"/>
              <a:gd name="connsiteY22" fmla="*/ 3617833 h 4951333"/>
              <a:gd name="connsiteX23" fmla="*/ 1366837 w 3357562"/>
              <a:gd name="connsiteY23" fmla="*/ 3447971 h 4951333"/>
              <a:gd name="connsiteX24" fmla="*/ 1295399 w 3357562"/>
              <a:gd name="connsiteY24" fmla="*/ 3367008 h 4951333"/>
              <a:gd name="connsiteX25" fmla="*/ 1200150 w 3357562"/>
              <a:gd name="connsiteY25" fmla="*/ 3324145 h 4951333"/>
              <a:gd name="connsiteX26" fmla="*/ 1109662 w 3357562"/>
              <a:gd name="connsiteY26" fmla="*/ 3243183 h 4951333"/>
              <a:gd name="connsiteX27" fmla="*/ 1057275 w 3357562"/>
              <a:gd name="connsiteY27" fmla="*/ 3119358 h 4951333"/>
              <a:gd name="connsiteX28" fmla="*/ 1014412 w 3357562"/>
              <a:gd name="connsiteY28" fmla="*/ 3043159 h 4951333"/>
              <a:gd name="connsiteX29" fmla="*/ 1033463 w 3357562"/>
              <a:gd name="connsiteY29" fmla="*/ 2957434 h 4951333"/>
              <a:gd name="connsiteX30" fmla="*/ 1133475 w 3357562"/>
              <a:gd name="connsiteY30" fmla="*/ 2871708 h 4951333"/>
              <a:gd name="connsiteX31" fmla="*/ 1176337 w 3357562"/>
              <a:gd name="connsiteY31" fmla="*/ 2785983 h 4951333"/>
              <a:gd name="connsiteX32" fmla="*/ 1200149 w 3357562"/>
              <a:gd name="connsiteY32" fmla="*/ 2809795 h 4951333"/>
              <a:gd name="connsiteX33" fmla="*/ 1295399 w 3357562"/>
              <a:gd name="connsiteY33" fmla="*/ 2785983 h 4951333"/>
              <a:gd name="connsiteX34" fmla="*/ 1447799 w 3357562"/>
              <a:gd name="connsiteY34" fmla="*/ 2695495 h 4951333"/>
              <a:gd name="connsiteX35" fmla="*/ 1490662 w 3357562"/>
              <a:gd name="connsiteY35" fmla="*/ 2643108 h 4951333"/>
              <a:gd name="connsiteX36" fmla="*/ 1543049 w 3357562"/>
              <a:gd name="connsiteY36" fmla="*/ 2538333 h 4951333"/>
              <a:gd name="connsiteX37" fmla="*/ 1552574 w 3357562"/>
              <a:gd name="connsiteY37" fmla="*/ 2424033 h 4951333"/>
              <a:gd name="connsiteX38" fmla="*/ 1462087 w 3357562"/>
              <a:gd name="connsiteY38" fmla="*/ 2347833 h 4951333"/>
              <a:gd name="connsiteX39" fmla="*/ 1409700 w 3357562"/>
              <a:gd name="connsiteY39" fmla="*/ 2311321 h 4951333"/>
              <a:gd name="connsiteX40" fmla="*/ 1325562 w 3357562"/>
              <a:gd name="connsiteY40" fmla="*/ 2284333 h 4951333"/>
              <a:gd name="connsiteX41" fmla="*/ 1225550 w 3357562"/>
              <a:gd name="connsiteY41" fmla="*/ 2290683 h 4951333"/>
              <a:gd name="connsiteX42" fmla="*/ 1028699 w 3357562"/>
              <a:gd name="connsiteY42" fmla="*/ 2311320 h 4951333"/>
              <a:gd name="connsiteX43" fmla="*/ 919162 w 3357562"/>
              <a:gd name="connsiteY43" fmla="*/ 2343071 h 4951333"/>
              <a:gd name="connsiteX44" fmla="*/ 895349 w 3357562"/>
              <a:gd name="connsiteY44" fmla="*/ 2262108 h 4951333"/>
              <a:gd name="connsiteX45" fmla="*/ 914399 w 3357562"/>
              <a:gd name="connsiteY45" fmla="*/ 2138283 h 4951333"/>
              <a:gd name="connsiteX46" fmla="*/ 938212 w 3357562"/>
              <a:gd name="connsiteY46" fmla="*/ 2004933 h 4951333"/>
              <a:gd name="connsiteX47" fmla="*/ 985837 w 3357562"/>
              <a:gd name="connsiteY47" fmla="*/ 1843008 h 4951333"/>
              <a:gd name="connsiteX48" fmla="*/ 957262 w 3357562"/>
              <a:gd name="connsiteY48" fmla="*/ 1766808 h 4951333"/>
              <a:gd name="connsiteX49" fmla="*/ 938212 w 3357562"/>
              <a:gd name="connsiteY49" fmla="*/ 1700133 h 4951333"/>
              <a:gd name="connsiteX50" fmla="*/ 771525 w 3357562"/>
              <a:gd name="connsiteY50" fmla="*/ 1642983 h 4951333"/>
              <a:gd name="connsiteX51" fmla="*/ 614362 w 3357562"/>
              <a:gd name="connsiteY51" fmla="*/ 1614408 h 4951333"/>
              <a:gd name="connsiteX52" fmla="*/ 633412 w 3357562"/>
              <a:gd name="connsiteY52" fmla="*/ 1509633 h 4951333"/>
              <a:gd name="connsiteX53" fmla="*/ 741362 w 3357562"/>
              <a:gd name="connsiteY53" fmla="*/ 1395333 h 4951333"/>
              <a:gd name="connsiteX54" fmla="*/ 842962 w 3357562"/>
              <a:gd name="connsiteY54" fmla="*/ 1319133 h 4951333"/>
              <a:gd name="connsiteX55" fmla="*/ 890587 w 3357562"/>
              <a:gd name="connsiteY55" fmla="*/ 1281033 h 4951333"/>
              <a:gd name="connsiteX56" fmla="*/ 890587 w 3357562"/>
              <a:gd name="connsiteY56" fmla="*/ 1223883 h 4951333"/>
              <a:gd name="connsiteX57" fmla="*/ 909637 w 3357562"/>
              <a:gd name="connsiteY57" fmla="*/ 1157208 h 4951333"/>
              <a:gd name="connsiteX58" fmla="*/ 938212 w 3357562"/>
              <a:gd name="connsiteY58" fmla="*/ 1128633 h 4951333"/>
              <a:gd name="connsiteX59" fmla="*/ 947737 w 3357562"/>
              <a:gd name="connsiteY59" fmla="*/ 1061958 h 4951333"/>
              <a:gd name="connsiteX60" fmla="*/ 947737 w 3357562"/>
              <a:gd name="connsiteY60" fmla="*/ 976233 h 4951333"/>
              <a:gd name="connsiteX61" fmla="*/ 1017587 w 3357562"/>
              <a:gd name="connsiteY61" fmla="*/ 861933 h 4951333"/>
              <a:gd name="connsiteX62" fmla="*/ 1281112 w 3357562"/>
              <a:gd name="connsiteY62" fmla="*/ 925433 h 4951333"/>
              <a:gd name="connsiteX63" fmla="*/ 1485900 w 3357562"/>
              <a:gd name="connsiteY63" fmla="*/ 819071 h 4951333"/>
              <a:gd name="connsiteX64" fmla="*/ 1619250 w 3357562"/>
              <a:gd name="connsiteY64" fmla="*/ 693658 h 4951333"/>
              <a:gd name="connsiteX65" fmla="*/ 1739899 w 3357562"/>
              <a:gd name="connsiteY65" fmla="*/ 682546 h 4951333"/>
              <a:gd name="connsiteX66" fmla="*/ 1895474 w 3357562"/>
              <a:gd name="connsiteY66" fmla="*/ 685720 h 4951333"/>
              <a:gd name="connsiteX67" fmla="*/ 2066924 w 3357562"/>
              <a:gd name="connsiteY67" fmla="*/ 742871 h 4951333"/>
              <a:gd name="connsiteX68" fmla="*/ 2200275 w 3357562"/>
              <a:gd name="connsiteY68" fmla="*/ 828596 h 4951333"/>
              <a:gd name="connsiteX69" fmla="*/ 2295525 w 3357562"/>
              <a:gd name="connsiteY69" fmla="*/ 904796 h 4951333"/>
              <a:gd name="connsiteX70" fmla="*/ 2609849 w 3357562"/>
              <a:gd name="connsiteY70" fmla="*/ 938133 h 4951333"/>
              <a:gd name="connsiteX71" fmla="*/ 2754312 w 3357562"/>
              <a:gd name="connsiteY71" fmla="*/ 965121 h 4951333"/>
              <a:gd name="connsiteX72" fmla="*/ 2886074 w 3357562"/>
              <a:gd name="connsiteY72" fmla="*/ 1014333 h 4951333"/>
              <a:gd name="connsiteX73" fmla="*/ 3090862 w 3357562"/>
              <a:gd name="connsiteY73" fmla="*/ 966708 h 4951333"/>
              <a:gd name="connsiteX74" fmla="*/ 3176587 w 3357562"/>
              <a:gd name="connsiteY74" fmla="*/ 980996 h 4951333"/>
              <a:gd name="connsiteX75" fmla="*/ 3297237 w 3357562"/>
              <a:gd name="connsiteY75" fmla="*/ 963533 h 4951333"/>
              <a:gd name="connsiteX76" fmla="*/ 3325812 w 3357562"/>
              <a:gd name="connsiteY76" fmla="*/ 941308 h 4951333"/>
              <a:gd name="connsiteX77" fmla="*/ 3357562 w 3357562"/>
              <a:gd name="connsiteY77" fmla="*/ 880983 h 4951333"/>
              <a:gd name="connsiteX78" fmla="*/ 3336924 w 3357562"/>
              <a:gd name="connsiteY78" fmla="*/ 712708 h 4951333"/>
              <a:gd name="connsiteX79" fmla="*/ 3301999 w 3357562"/>
              <a:gd name="connsiteY79" fmla="*/ 650795 h 4951333"/>
              <a:gd name="connsiteX80" fmla="*/ 3182937 w 3357562"/>
              <a:gd name="connsiteY80" fmla="*/ 585708 h 4951333"/>
              <a:gd name="connsiteX81" fmla="*/ 3167062 w 3357562"/>
              <a:gd name="connsiteY81" fmla="*/ 528558 h 4951333"/>
              <a:gd name="connsiteX82" fmla="*/ 3119437 w 3357562"/>
              <a:gd name="connsiteY82" fmla="*/ 490458 h 4951333"/>
              <a:gd name="connsiteX83" fmla="*/ 3090862 w 3357562"/>
              <a:gd name="connsiteY83" fmla="*/ 512683 h 4951333"/>
              <a:gd name="connsiteX84" fmla="*/ 3071812 w 3357562"/>
              <a:gd name="connsiteY84" fmla="*/ 563483 h 4951333"/>
              <a:gd name="connsiteX85" fmla="*/ 3062287 w 3357562"/>
              <a:gd name="connsiteY85" fmla="*/ 614283 h 4951333"/>
              <a:gd name="connsiteX86" fmla="*/ 3019425 w 3357562"/>
              <a:gd name="connsiteY86" fmla="*/ 628571 h 4951333"/>
              <a:gd name="connsiteX87" fmla="*/ 2947987 w 3357562"/>
              <a:gd name="connsiteY87" fmla="*/ 595233 h 4951333"/>
              <a:gd name="connsiteX88" fmla="*/ 2852737 w 3357562"/>
              <a:gd name="connsiteY88" fmla="*/ 652383 h 4951333"/>
              <a:gd name="connsiteX89" fmla="*/ 2833687 w 3357562"/>
              <a:gd name="connsiteY89" fmla="*/ 680958 h 4951333"/>
              <a:gd name="connsiteX90" fmla="*/ 2824162 w 3357562"/>
              <a:gd name="connsiteY90" fmla="*/ 719058 h 4951333"/>
              <a:gd name="connsiteX91" fmla="*/ 2747962 w 3357562"/>
              <a:gd name="connsiteY91" fmla="*/ 680958 h 4951333"/>
              <a:gd name="connsiteX92" fmla="*/ 2657475 w 3357562"/>
              <a:gd name="connsiteY92" fmla="*/ 652383 h 4951333"/>
              <a:gd name="connsiteX93" fmla="*/ 2557462 w 3357562"/>
              <a:gd name="connsiteY93" fmla="*/ 604758 h 4951333"/>
              <a:gd name="connsiteX94" fmla="*/ 2433637 w 3357562"/>
              <a:gd name="connsiteY94" fmla="*/ 538083 h 4951333"/>
              <a:gd name="connsiteX95" fmla="*/ 2333624 w 3357562"/>
              <a:gd name="connsiteY95" fmla="*/ 452358 h 4951333"/>
              <a:gd name="connsiteX96" fmla="*/ 2190750 w 3357562"/>
              <a:gd name="connsiteY96" fmla="*/ 423783 h 4951333"/>
              <a:gd name="connsiteX97" fmla="*/ 2157412 w 3357562"/>
              <a:gd name="connsiteY97" fmla="*/ 309483 h 4951333"/>
              <a:gd name="connsiteX98" fmla="*/ 2143124 w 3357562"/>
              <a:gd name="connsiteY98" fmla="*/ 179308 h 4951333"/>
              <a:gd name="connsiteX99" fmla="*/ 1683204 w 3357562"/>
              <a:gd name="connsiteY99" fmla="*/ 60326 h 4951333"/>
              <a:gd name="connsiteX100" fmla="*/ 1632404 w 3357562"/>
              <a:gd name="connsiteY100" fmla="*/ 53976 h 4951333"/>
              <a:gd name="connsiteX101" fmla="*/ 1594304 w 3357562"/>
              <a:gd name="connsiteY101" fmla="*/ 101601 h 4951333"/>
              <a:gd name="connsiteX102" fmla="*/ 1518104 w 3357562"/>
              <a:gd name="connsiteY102" fmla="*/ 111126 h 4951333"/>
              <a:gd name="connsiteX103" fmla="*/ 1372054 w 3357562"/>
              <a:gd name="connsiteY103" fmla="*/ 25401 h 4951333"/>
              <a:gd name="connsiteX104" fmla="*/ 1235529 w 3357562"/>
              <a:gd name="connsiteY104" fmla="*/ 0 h 4951333"/>
              <a:gd name="connsiteX105" fmla="*/ 1162504 w 3357562"/>
              <a:gd name="connsiteY105" fmla="*/ 73025 h 4951333"/>
              <a:gd name="connsiteX106" fmla="*/ 1198562 w 3357562"/>
              <a:gd name="connsiteY106" fmla="*/ 176133 h 4951333"/>
              <a:gd name="connsiteX107" fmla="*/ 1166812 w 3357562"/>
              <a:gd name="connsiteY107" fmla="*/ 309483 h 4951333"/>
              <a:gd name="connsiteX108" fmla="*/ 1128712 w 3357562"/>
              <a:gd name="connsiteY108" fmla="*/ 414258 h 4951333"/>
              <a:gd name="connsiteX109" fmla="*/ 919162 w 3357562"/>
              <a:gd name="connsiteY109" fmla="*/ 576183 h 4951333"/>
              <a:gd name="connsiteX110" fmla="*/ 909637 w 3357562"/>
              <a:gd name="connsiteY110" fmla="*/ 633333 h 4951333"/>
              <a:gd name="connsiteX111" fmla="*/ 785812 w 3357562"/>
              <a:gd name="connsiteY111" fmla="*/ 652383 h 4951333"/>
              <a:gd name="connsiteX112" fmla="*/ 614362 w 3357562"/>
              <a:gd name="connsiteY112" fmla="*/ 709533 h 4951333"/>
              <a:gd name="connsiteX113" fmla="*/ 566737 w 3357562"/>
              <a:gd name="connsiteY113" fmla="*/ 820658 h 4951333"/>
              <a:gd name="connsiteX114" fmla="*/ 461962 w 3357562"/>
              <a:gd name="connsiteY114" fmla="*/ 938133 h 4951333"/>
              <a:gd name="connsiteX115" fmla="*/ 452437 w 3357562"/>
              <a:gd name="connsiteY115" fmla="*/ 1014333 h 4951333"/>
              <a:gd name="connsiteX116" fmla="*/ 461962 w 3357562"/>
              <a:gd name="connsiteY116" fmla="*/ 1138158 h 4951333"/>
              <a:gd name="connsiteX117" fmla="*/ 414337 w 3357562"/>
              <a:gd name="connsiteY117" fmla="*/ 1185783 h 4951333"/>
              <a:gd name="connsiteX118" fmla="*/ 233362 w 3357562"/>
              <a:gd name="connsiteY118" fmla="*/ 1157208 h 4951333"/>
              <a:gd name="connsiteX119" fmla="*/ 166687 w 3357562"/>
              <a:gd name="connsiteY119" fmla="*/ 1166733 h 4951333"/>
              <a:gd name="connsiteX120" fmla="*/ 61912 w 3357562"/>
              <a:gd name="connsiteY120" fmla="*/ 1242933 h 4951333"/>
              <a:gd name="connsiteX121" fmla="*/ 42862 w 3357562"/>
              <a:gd name="connsiteY121" fmla="*/ 1338183 h 4951333"/>
              <a:gd name="connsiteX122" fmla="*/ 42862 w 3357562"/>
              <a:gd name="connsiteY122" fmla="*/ 1471533 h 4951333"/>
              <a:gd name="connsiteX123" fmla="*/ 14287 w 3357562"/>
              <a:gd name="connsiteY123" fmla="*/ 1585833 h 4951333"/>
              <a:gd name="connsiteX124" fmla="*/ 0 w 3357562"/>
              <a:gd name="connsiteY124" fmla="*/ 1700133 h 4951333"/>
              <a:gd name="connsiteX125" fmla="*/ 90487 w 3357562"/>
              <a:gd name="connsiteY125" fmla="*/ 1833483 h 4951333"/>
              <a:gd name="connsiteX126" fmla="*/ 147637 w 3357562"/>
              <a:gd name="connsiteY126" fmla="*/ 2014458 h 4951333"/>
              <a:gd name="connsiteX127" fmla="*/ 204787 w 3357562"/>
              <a:gd name="connsiteY127" fmla="*/ 2224008 h 4951333"/>
              <a:gd name="connsiteX128" fmla="*/ 261937 w 3357562"/>
              <a:gd name="connsiteY128" fmla="*/ 2490708 h 4951333"/>
              <a:gd name="connsiteX129" fmla="*/ 347662 w 3357562"/>
              <a:gd name="connsiteY129" fmla="*/ 2595483 h 4951333"/>
              <a:gd name="connsiteX130" fmla="*/ 319087 w 3357562"/>
              <a:gd name="connsiteY130" fmla="*/ 2805033 h 4951333"/>
              <a:gd name="connsiteX131" fmla="*/ 390524 w 3357562"/>
              <a:gd name="connsiteY131" fmla="*/ 2962195 h 4951333"/>
              <a:gd name="connsiteX132" fmla="*/ 366712 w 3357562"/>
              <a:gd name="connsiteY132" fmla="*/ 3052683 h 4951333"/>
              <a:gd name="connsiteX133" fmla="*/ 430212 w 3357562"/>
              <a:gd name="connsiteY133" fmla="*/ 3449558 h 4951333"/>
              <a:gd name="connsiteX134" fmla="*/ 420687 w 3357562"/>
              <a:gd name="connsiteY134" fmla="*/ 3557508 h 4951333"/>
              <a:gd name="connsiteX135" fmla="*/ 369887 w 3357562"/>
              <a:gd name="connsiteY135" fmla="*/ 3694033 h 4951333"/>
              <a:gd name="connsiteX136" fmla="*/ 385762 w 3357562"/>
              <a:gd name="connsiteY136" fmla="*/ 3817858 h 4951333"/>
              <a:gd name="connsiteX137" fmla="*/ 452437 w 3357562"/>
              <a:gd name="connsiteY137" fmla="*/ 4005183 h 4951333"/>
              <a:gd name="connsiteX138" fmla="*/ 495300 w 3357562"/>
              <a:gd name="connsiteY138" fmla="*/ 4095671 h 4951333"/>
              <a:gd name="connsiteX139" fmla="*/ 519112 w 3357562"/>
              <a:gd name="connsiteY139" fmla="*/ 4200445 h 4951333"/>
              <a:gd name="connsiteX140" fmla="*/ 447674 w 3357562"/>
              <a:gd name="connsiteY140" fmla="*/ 4262358 h 4951333"/>
              <a:gd name="connsiteX141" fmla="*/ 609599 w 3357562"/>
              <a:gd name="connsiteY141" fmla="*/ 4338557 h 4951333"/>
              <a:gd name="connsiteX142" fmla="*/ 690562 w 3357562"/>
              <a:gd name="connsiteY142" fmla="*/ 4476670 h 4951333"/>
              <a:gd name="connsiteX143" fmla="*/ 750887 w 3357562"/>
              <a:gd name="connsiteY143" fmla="*/ 4513183 h 4951333"/>
              <a:gd name="connsiteX144" fmla="*/ 841375 w 3357562"/>
              <a:gd name="connsiteY144" fmla="*/ 4452858 h 4951333"/>
              <a:gd name="connsiteX145" fmla="*/ 928687 w 3357562"/>
              <a:gd name="connsiteY145" fmla="*/ 4478258 h 4951333"/>
              <a:gd name="connsiteX146" fmla="*/ 1092199 w 3357562"/>
              <a:gd name="connsiteY146" fmla="*/ 4632245 h 4951333"/>
              <a:gd name="connsiteX147" fmla="*/ 1203324 w 3357562"/>
              <a:gd name="connsiteY147" fmla="*/ 4692570 h 4951333"/>
              <a:gd name="connsiteX148" fmla="*/ 1381124 w 3357562"/>
              <a:gd name="connsiteY148" fmla="*/ 4805283 h 4951333"/>
              <a:gd name="connsiteX149" fmla="*/ 1662112 w 3357562"/>
              <a:gd name="connsiteY149" fmla="*/ 4938633 h 4951333"/>
              <a:gd name="connsiteX150" fmla="*/ 1779587 w 3357562"/>
              <a:gd name="connsiteY150" fmla="*/ 4951333 h 4951333"/>
              <a:gd name="connsiteX0" fmla="*/ 1779587 w 3357562"/>
              <a:gd name="connsiteY0" fmla="*/ 4951333 h 4951333"/>
              <a:gd name="connsiteX1" fmla="*/ 1855787 w 3357562"/>
              <a:gd name="connsiteY1" fmla="*/ 4900533 h 4951333"/>
              <a:gd name="connsiteX2" fmla="*/ 1855787 w 3357562"/>
              <a:gd name="connsiteY2" fmla="*/ 4821158 h 4951333"/>
              <a:gd name="connsiteX3" fmla="*/ 1838325 w 3357562"/>
              <a:gd name="connsiteY3" fmla="*/ 4762421 h 4951333"/>
              <a:gd name="connsiteX4" fmla="*/ 1725612 w 3357562"/>
              <a:gd name="connsiteY4" fmla="*/ 4724320 h 4951333"/>
              <a:gd name="connsiteX5" fmla="*/ 1660525 w 3357562"/>
              <a:gd name="connsiteY5" fmla="*/ 4748133 h 4951333"/>
              <a:gd name="connsiteX6" fmla="*/ 1660525 w 3357562"/>
              <a:gd name="connsiteY6" fmla="*/ 4702096 h 4951333"/>
              <a:gd name="connsiteX7" fmla="*/ 1682749 w 3357562"/>
              <a:gd name="connsiteY7" fmla="*/ 4633833 h 4951333"/>
              <a:gd name="connsiteX8" fmla="*/ 1719262 w 3357562"/>
              <a:gd name="connsiteY8" fmla="*/ 4533821 h 4951333"/>
              <a:gd name="connsiteX9" fmla="*/ 1652587 w 3357562"/>
              <a:gd name="connsiteY9" fmla="*/ 4490958 h 4951333"/>
              <a:gd name="connsiteX10" fmla="*/ 1585912 w 3357562"/>
              <a:gd name="connsiteY10" fmla="*/ 4462383 h 4951333"/>
              <a:gd name="connsiteX11" fmla="*/ 1544637 w 3357562"/>
              <a:gd name="connsiteY11" fmla="*/ 4444920 h 4951333"/>
              <a:gd name="connsiteX12" fmla="*/ 1465262 w 3357562"/>
              <a:gd name="connsiteY12" fmla="*/ 4452858 h 4951333"/>
              <a:gd name="connsiteX13" fmla="*/ 1406525 w 3357562"/>
              <a:gd name="connsiteY13" fmla="*/ 4319508 h 4951333"/>
              <a:gd name="connsiteX14" fmla="*/ 1333500 w 3357562"/>
              <a:gd name="connsiteY14" fmla="*/ 4209970 h 4951333"/>
              <a:gd name="connsiteX15" fmla="*/ 1214437 w 3357562"/>
              <a:gd name="connsiteY15" fmla="*/ 4157583 h 4951333"/>
              <a:gd name="connsiteX16" fmla="*/ 1128712 w 3357562"/>
              <a:gd name="connsiteY16" fmla="*/ 4148058 h 4951333"/>
              <a:gd name="connsiteX17" fmla="*/ 1100137 w 3357562"/>
              <a:gd name="connsiteY17" fmla="*/ 4109958 h 4951333"/>
              <a:gd name="connsiteX18" fmla="*/ 1081087 w 3357562"/>
              <a:gd name="connsiteY18" fmla="*/ 4014708 h 4951333"/>
              <a:gd name="connsiteX19" fmla="*/ 1109662 w 3357562"/>
              <a:gd name="connsiteY19" fmla="*/ 3957558 h 4951333"/>
              <a:gd name="connsiteX20" fmla="*/ 1252537 w 3357562"/>
              <a:gd name="connsiteY20" fmla="*/ 3948033 h 4951333"/>
              <a:gd name="connsiteX21" fmla="*/ 1376362 w 3357562"/>
              <a:gd name="connsiteY21" fmla="*/ 3728958 h 4951333"/>
              <a:gd name="connsiteX22" fmla="*/ 1428750 w 3357562"/>
              <a:gd name="connsiteY22" fmla="*/ 3617833 h 4951333"/>
              <a:gd name="connsiteX23" fmla="*/ 1366837 w 3357562"/>
              <a:gd name="connsiteY23" fmla="*/ 3447971 h 4951333"/>
              <a:gd name="connsiteX24" fmla="*/ 1295399 w 3357562"/>
              <a:gd name="connsiteY24" fmla="*/ 3367008 h 4951333"/>
              <a:gd name="connsiteX25" fmla="*/ 1200150 w 3357562"/>
              <a:gd name="connsiteY25" fmla="*/ 3324145 h 4951333"/>
              <a:gd name="connsiteX26" fmla="*/ 1109662 w 3357562"/>
              <a:gd name="connsiteY26" fmla="*/ 3243183 h 4951333"/>
              <a:gd name="connsiteX27" fmla="*/ 1057275 w 3357562"/>
              <a:gd name="connsiteY27" fmla="*/ 3119358 h 4951333"/>
              <a:gd name="connsiteX28" fmla="*/ 1014412 w 3357562"/>
              <a:gd name="connsiteY28" fmla="*/ 3043159 h 4951333"/>
              <a:gd name="connsiteX29" fmla="*/ 1033463 w 3357562"/>
              <a:gd name="connsiteY29" fmla="*/ 2957434 h 4951333"/>
              <a:gd name="connsiteX30" fmla="*/ 1133475 w 3357562"/>
              <a:gd name="connsiteY30" fmla="*/ 2871708 h 4951333"/>
              <a:gd name="connsiteX31" fmla="*/ 1176337 w 3357562"/>
              <a:gd name="connsiteY31" fmla="*/ 2785983 h 4951333"/>
              <a:gd name="connsiteX32" fmla="*/ 1200149 w 3357562"/>
              <a:gd name="connsiteY32" fmla="*/ 2809795 h 4951333"/>
              <a:gd name="connsiteX33" fmla="*/ 1295399 w 3357562"/>
              <a:gd name="connsiteY33" fmla="*/ 2785983 h 4951333"/>
              <a:gd name="connsiteX34" fmla="*/ 1447799 w 3357562"/>
              <a:gd name="connsiteY34" fmla="*/ 2695495 h 4951333"/>
              <a:gd name="connsiteX35" fmla="*/ 1490662 w 3357562"/>
              <a:gd name="connsiteY35" fmla="*/ 2643108 h 4951333"/>
              <a:gd name="connsiteX36" fmla="*/ 1543049 w 3357562"/>
              <a:gd name="connsiteY36" fmla="*/ 2538333 h 4951333"/>
              <a:gd name="connsiteX37" fmla="*/ 1552574 w 3357562"/>
              <a:gd name="connsiteY37" fmla="*/ 2424033 h 4951333"/>
              <a:gd name="connsiteX38" fmla="*/ 1462087 w 3357562"/>
              <a:gd name="connsiteY38" fmla="*/ 2347833 h 4951333"/>
              <a:gd name="connsiteX39" fmla="*/ 1409700 w 3357562"/>
              <a:gd name="connsiteY39" fmla="*/ 2311321 h 4951333"/>
              <a:gd name="connsiteX40" fmla="*/ 1325562 w 3357562"/>
              <a:gd name="connsiteY40" fmla="*/ 2284333 h 4951333"/>
              <a:gd name="connsiteX41" fmla="*/ 1225550 w 3357562"/>
              <a:gd name="connsiteY41" fmla="*/ 2290683 h 4951333"/>
              <a:gd name="connsiteX42" fmla="*/ 1028699 w 3357562"/>
              <a:gd name="connsiteY42" fmla="*/ 2311320 h 4951333"/>
              <a:gd name="connsiteX43" fmla="*/ 919162 w 3357562"/>
              <a:gd name="connsiteY43" fmla="*/ 2343071 h 4951333"/>
              <a:gd name="connsiteX44" fmla="*/ 895349 w 3357562"/>
              <a:gd name="connsiteY44" fmla="*/ 2262108 h 4951333"/>
              <a:gd name="connsiteX45" fmla="*/ 914399 w 3357562"/>
              <a:gd name="connsiteY45" fmla="*/ 2138283 h 4951333"/>
              <a:gd name="connsiteX46" fmla="*/ 938212 w 3357562"/>
              <a:gd name="connsiteY46" fmla="*/ 2004933 h 4951333"/>
              <a:gd name="connsiteX47" fmla="*/ 985837 w 3357562"/>
              <a:gd name="connsiteY47" fmla="*/ 1843008 h 4951333"/>
              <a:gd name="connsiteX48" fmla="*/ 957262 w 3357562"/>
              <a:gd name="connsiteY48" fmla="*/ 1766808 h 4951333"/>
              <a:gd name="connsiteX49" fmla="*/ 938212 w 3357562"/>
              <a:gd name="connsiteY49" fmla="*/ 1700133 h 4951333"/>
              <a:gd name="connsiteX50" fmla="*/ 771525 w 3357562"/>
              <a:gd name="connsiteY50" fmla="*/ 1642983 h 4951333"/>
              <a:gd name="connsiteX51" fmla="*/ 614362 w 3357562"/>
              <a:gd name="connsiteY51" fmla="*/ 1614408 h 4951333"/>
              <a:gd name="connsiteX52" fmla="*/ 633412 w 3357562"/>
              <a:gd name="connsiteY52" fmla="*/ 1509633 h 4951333"/>
              <a:gd name="connsiteX53" fmla="*/ 741362 w 3357562"/>
              <a:gd name="connsiteY53" fmla="*/ 1395333 h 4951333"/>
              <a:gd name="connsiteX54" fmla="*/ 842962 w 3357562"/>
              <a:gd name="connsiteY54" fmla="*/ 1319133 h 4951333"/>
              <a:gd name="connsiteX55" fmla="*/ 890587 w 3357562"/>
              <a:gd name="connsiteY55" fmla="*/ 1281033 h 4951333"/>
              <a:gd name="connsiteX56" fmla="*/ 890587 w 3357562"/>
              <a:gd name="connsiteY56" fmla="*/ 1223883 h 4951333"/>
              <a:gd name="connsiteX57" fmla="*/ 909637 w 3357562"/>
              <a:gd name="connsiteY57" fmla="*/ 1157208 h 4951333"/>
              <a:gd name="connsiteX58" fmla="*/ 938212 w 3357562"/>
              <a:gd name="connsiteY58" fmla="*/ 1128633 h 4951333"/>
              <a:gd name="connsiteX59" fmla="*/ 947737 w 3357562"/>
              <a:gd name="connsiteY59" fmla="*/ 1061958 h 4951333"/>
              <a:gd name="connsiteX60" fmla="*/ 947737 w 3357562"/>
              <a:gd name="connsiteY60" fmla="*/ 976233 h 4951333"/>
              <a:gd name="connsiteX61" fmla="*/ 1017587 w 3357562"/>
              <a:gd name="connsiteY61" fmla="*/ 861933 h 4951333"/>
              <a:gd name="connsiteX62" fmla="*/ 1281112 w 3357562"/>
              <a:gd name="connsiteY62" fmla="*/ 925433 h 4951333"/>
              <a:gd name="connsiteX63" fmla="*/ 1485900 w 3357562"/>
              <a:gd name="connsiteY63" fmla="*/ 819071 h 4951333"/>
              <a:gd name="connsiteX64" fmla="*/ 1619250 w 3357562"/>
              <a:gd name="connsiteY64" fmla="*/ 693658 h 4951333"/>
              <a:gd name="connsiteX65" fmla="*/ 1739899 w 3357562"/>
              <a:gd name="connsiteY65" fmla="*/ 682546 h 4951333"/>
              <a:gd name="connsiteX66" fmla="*/ 1895474 w 3357562"/>
              <a:gd name="connsiteY66" fmla="*/ 685720 h 4951333"/>
              <a:gd name="connsiteX67" fmla="*/ 2066924 w 3357562"/>
              <a:gd name="connsiteY67" fmla="*/ 742871 h 4951333"/>
              <a:gd name="connsiteX68" fmla="*/ 2200275 w 3357562"/>
              <a:gd name="connsiteY68" fmla="*/ 828596 h 4951333"/>
              <a:gd name="connsiteX69" fmla="*/ 2295525 w 3357562"/>
              <a:gd name="connsiteY69" fmla="*/ 904796 h 4951333"/>
              <a:gd name="connsiteX70" fmla="*/ 2609849 w 3357562"/>
              <a:gd name="connsiteY70" fmla="*/ 938133 h 4951333"/>
              <a:gd name="connsiteX71" fmla="*/ 2754312 w 3357562"/>
              <a:gd name="connsiteY71" fmla="*/ 965121 h 4951333"/>
              <a:gd name="connsiteX72" fmla="*/ 2886074 w 3357562"/>
              <a:gd name="connsiteY72" fmla="*/ 1014333 h 4951333"/>
              <a:gd name="connsiteX73" fmla="*/ 3090862 w 3357562"/>
              <a:gd name="connsiteY73" fmla="*/ 966708 h 4951333"/>
              <a:gd name="connsiteX74" fmla="*/ 3176587 w 3357562"/>
              <a:gd name="connsiteY74" fmla="*/ 980996 h 4951333"/>
              <a:gd name="connsiteX75" fmla="*/ 3297237 w 3357562"/>
              <a:gd name="connsiteY75" fmla="*/ 963533 h 4951333"/>
              <a:gd name="connsiteX76" fmla="*/ 3325812 w 3357562"/>
              <a:gd name="connsiteY76" fmla="*/ 941308 h 4951333"/>
              <a:gd name="connsiteX77" fmla="*/ 3357562 w 3357562"/>
              <a:gd name="connsiteY77" fmla="*/ 880983 h 4951333"/>
              <a:gd name="connsiteX78" fmla="*/ 3336924 w 3357562"/>
              <a:gd name="connsiteY78" fmla="*/ 712708 h 4951333"/>
              <a:gd name="connsiteX79" fmla="*/ 3301999 w 3357562"/>
              <a:gd name="connsiteY79" fmla="*/ 650795 h 4951333"/>
              <a:gd name="connsiteX80" fmla="*/ 3182937 w 3357562"/>
              <a:gd name="connsiteY80" fmla="*/ 585708 h 4951333"/>
              <a:gd name="connsiteX81" fmla="*/ 3167062 w 3357562"/>
              <a:gd name="connsiteY81" fmla="*/ 528558 h 4951333"/>
              <a:gd name="connsiteX82" fmla="*/ 3119437 w 3357562"/>
              <a:gd name="connsiteY82" fmla="*/ 490458 h 4951333"/>
              <a:gd name="connsiteX83" fmla="*/ 3090862 w 3357562"/>
              <a:gd name="connsiteY83" fmla="*/ 512683 h 4951333"/>
              <a:gd name="connsiteX84" fmla="*/ 3071812 w 3357562"/>
              <a:gd name="connsiteY84" fmla="*/ 563483 h 4951333"/>
              <a:gd name="connsiteX85" fmla="*/ 3062287 w 3357562"/>
              <a:gd name="connsiteY85" fmla="*/ 614283 h 4951333"/>
              <a:gd name="connsiteX86" fmla="*/ 3019425 w 3357562"/>
              <a:gd name="connsiteY86" fmla="*/ 628571 h 4951333"/>
              <a:gd name="connsiteX87" fmla="*/ 2947987 w 3357562"/>
              <a:gd name="connsiteY87" fmla="*/ 595233 h 4951333"/>
              <a:gd name="connsiteX88" fmla="*/ 2852737 w 3357562"/>
              <a:gd name="connsiteY88" fmla="*/ 652383 h 4951333"/>
              <a:gd name="connsiteX89" fmla="*/ 2833687 w 3357562"/>
              <a:gd name="connsiteY89" fmla="*/ 680958 h 4951333"/>
              <a:gd name="connsiteX90" fmla="*/ 2824162 w 3357562"/>
              <a:gd name="connsiteY90" fmla="*/ 719058 h 4951333"/>
              <a:gd name="connsiteX91" fmla="*/ 2747962 w 3357562"/>
              <a:gd name="connsiteY91" fmla="*/ 680958 h 4951333"/>
              <a:gd name="connsiteX92" fmla="*/ 2657475 w 3357562"/>
              <a:gd name="connsiteY92" fmla="*/ 652383 h 4951333"/>
              <a:gd name="connsiteX93" fmla="*/ 2557462 w 3357562"/>
              <a:gd name="connsiteY93" fmla="*/ 604758 h 4951333"/>
              <a:gd name="connsiteX94" fmla="*/ 2433637 w 3357562"/>
              <a:gd name="connsiteY94" fmla="*/ 538083 h 4951333"/>
              <a:gd name="connsiteX95" fmla="*/ 2333624 w 3357562"/>
              <a:gd name="connsiteY95" fmla="*/ 452358 h 4951333"/>
              <a:gd name="connsiteX96" fmla="*/ 2190750 w 3357562"/>
              <a:gd name="connsiteY96" fmla="*/ 423783 h 4951333"/>
              <a:gd name="connsiteX97" fmla="*/ 2157412 w 3357562"/>
              <a:gd name="connsiteY97" fmla="*/ 309483 h 4951333"/>
              <a:gd name="connsiteX98" fmla="*/ 2143124 w 3357562"/>
              <a:gd name="connsiteY98" fmla="*/ 179308 h 4951333"/>
              <a:gd name="connsiteX99" fmla="*/ 1680029 w 3357562"/>
              <a:gd name="connsiteY99" fmla="*/ 73026 h 4951333"/>
              <a:gd name="connsiteX100" fmla="*/ 1632404 w 3357562"/>
              <a:gd name="connsiteY100" fmla="*/ 53976 h 4951333"/>
              <a:gd name="connsiteX101" fmla="*/ 1594304 w 3357562"/>
              <a:gd name="connsiteY101" fmla="*/ 101601 h 4951333"/>
              <a:gd name="connsiteX102" fmla="*/ 1518104 w 3357562"/>
              <a:gd name="connsiteY102" fmla="*/ 111126 h 4951333"/>
              <a:gd name="connsiteX103" fmla="*/ 1372054 w 3357562"/>
              <a:gd name="connsiteY103" fmla="*/ 25401 h 4951333"/>
              <a:gd name="connsiteX104" fmla="*/ 1235529 w 3357562"/>
              <a:gd name="connsiteY104" fmla="*/ 0 h 4951333"/>
              <a:gd name="connsiteX105" fmla="*/ 1162504 w 3357562"/>
              <a:gd name="connsiteY105" fmla="*/ 73025 h 4951333"/>
              <a:gd name="connsiteX106" fmla="*/ 1198562 w 3357562"/>
              <a:gd name="connsiteY106" fmla="*/ 176133 h 4951333"/>
              <a:gd name="connsiteX107" fmla="*/ 1166812 w 3357562"/>
              <a:gd name="connsiteY107" fmla="*/ 309483 h 4951333"/>
              <a:gd name="connsiteX108" fmla="*/ 1128712 w 3357562"/>
              <a:gd name="connsiteY108" fmla="*/ 414258 h 4951333"/>
              <a:gd name="connsiteX109" fmla="*/ 919162 w 3357562"/>
              <a:gd name="connsiteY109" fmla="*/ 576183 h 4951333"/>
              <a:gd name="connsiteX110" fmla="*/ 909637 w 3357562"/>
              <a:gd name="connsiteY110" fmla="*/ 633333 h 4951333"/>
              <a:gd name="connsiteX111" fmla="*/ 785812 w 3357562"/>
              <a:gd name="connsiteY111" fmla="*/ 652383 h 4951333"/>
              <a:gd name="connsiteX112" fmla="*/ 614362 w 3357562"/>
              <a:gd name="connsiteY112" fmla="*/ 709533 h 4951333"/>
              <a:gd name="connsiteX113" fmla="*/ 566737 w 3357562"/>
              <a:gd name="connsiteY113" fmla="*/ 820658 h 4951333"/>
              <a:gd name="connsiteX114" fmla="*/ 461962 w 3357562"/>
              <a:gd name="connsiteY114" fmla="*/ 938133 h 4951333"/>
              <a:gd name="connsiteX115" fmla="*/ 452437 w 3357562"/>
              <a:gd name="connsiteY115" fmla="*/ 1014333 h 4951333"/>
              <a:gd name="connsiteX116" fmla="*/ 461962 w 3357562"/>
              <a:gd name="connsiteY116" fmla="*/ 1138158 h 4951333"/>
              <a:gd name="connsiteX117" fmla="*/ 414337 w 3357562"/>
              <a:gd name="connsiteY117" fmla="*/ 1185783 h 4951333"/>
              <a:gd name="connsiteX118" fmla="*/ 233362 w 3357562"/>
              <a:gd name="connsiteY118" fmla="*/ 1157208 h 4951333"/>
              <a:gd name="connsiteX119" fmla="*/ 166687 w 3357562"/>
              <a:gd name="connsiteY119" fmla="*/ 1166733 h 4951333"/>
              <a:gd name="connsiteX120" fmla="*/ 61912 w 3357562"/>
              <a:gd name="connsiteY120" fmla="*/ 1242933 h 4951333"/>
              <a:gd name="connsiteX121" fmla="*/ 42862 w 3357562"/>
              <a:gd name="connsiteY121" fmla="*/ 1338183 h 4951333"/>
              <a:gd name="connsiteX122" fmla="*/ 42862 w 3357562"/>
              <a:gd name="connsiteY122" fmla="*/ 1471533 h 4951333"/>
              <a:gd name="connsiteX123" fmla="*/ 14287 w 3357562"/>
              <a:gd name="connsiteY123" fmla="*/ 1585833 h 4951333"/>
              <a:gd name="connsiteX124" fmla="*/ 0 w 3357562"/>
              <a:gd name="connsiteY124" fmla="*/ 1700133 h 4951333"/>
              <a:gd name="connsiteX125" fmla="*/ 90487 w 3357562"/>
              <a:gd name="connsiteY125" fmla="*/ 1833483 h 4951333"/>
              <a:gd name="connsiteX126" fmla="*/ 147637 w 3357562"/>
              <a:gd name="connsiteY126" fmla="*/ 2014458 h 4951333"/>
              <a:gd name="connsiteX127" fmla="*/ 204787 w 3357562"/>
              <a:gd name="connsiteY127" fmla="*/ 2224008 h 4951333"/>
              <a:gd name="connsiteX128" fmla="*/ 261937 w 3357562"/>
              <a:gd name="connsiteY128" fmla="*/ 2490708 h 4951333"/>
              <a:gd name="connsiteX129" fmla="*/ 347662 w 3357562"/>
              <a:gd name="connsiteY129" fmla="*/ 2595483 h 4951333"/>
              <a:gd name="connsiteX130" fmla="*/ 319087 w 3357562"/>
              <a:gd name="connsiteY130" fmla="*/ 2805033 h 4951333"/>
              <a:gd name="connsiteX131" fmla="*/ 390524 w 3357562"/>
              <a:gd name="connsiteY131" fmla="*/ 2962195 h 4951333"/>
              <a:gd name="connsiteX132" fmla="*/ 366712 w 3357562"/>
              <a:gd name="connsiteY132" fmla="*/ 3052683 h 4951333"/>
              <a:gd name="connsiteX133" fmla="*/ 430212 w 3357562"/>
              <a:gd name="connsiteY133" fmla="*/ 3449558 h 4951333"/>
              <a:gd name="connsiteX134" fmla="*/ 420687 w 3357562"/>
              <a:gd name="connsiteY134" fmla="*/ 3557508 h 4951333"/>
              <a:gd name="connsiteX135" fmla="*/ 369887 w 3357562"/>
              <a:gd name="connsiteY135" fmla="*/ 3694033 h 4951333"/>
              <a:gd name="connsiteX136" fmla="*/ 385762 w 3357562"/>
              <a:gd name="connsiteY136" fmla="*/ 3817858 h 4951333"/>
              <a:gd name="connsiteX137" fmla="*/ 452437 w 3357562"/>
              <a:gd name="connsiteY137" fmla="*/ 4005183 h 4951333"/>
              <a:gd name="connsiteX138" fmla="*/ 495300 w 3357562"/>
              <a:gd name="connsiteY138" fmla="*/ 4095671 h 4951333"/>
              <a:gd name="connsiteX139" fmla="*/ 519112 w 3357562"/>
              <a:gd name="connsiteY139" fmla="*/ 4200445 h 4951333"/>
              <a:gd name="connsiteX140" fmla="*/ 447674 w 3357562"/>
              <a:gd name="connsiteY140" fmla="*/ 4262358 h 4951333"/>
              <a:gd name="connsiteX141" fmla="*/ 609599 w 3357562"/>
              <a:gd name="connsiteY141" fmla="*/ 4338557 h 4951333"/>
              <a:gd name="connsiteX142" fmla="*/ 690562 w 3357562"/>
              <a:gd name="connsiteY142" fmla="*/ 4476670 h 4951333"/>
              <a:gd name="connsiteX143" fmla="*/ 750887 w 3357562"/>
              <a:gd name="connsiteY143" fmla="*/ 4513183 h 4951333"/>
              <a:gd name="connsiteX144" fmla="*/ 841375 w 3357562"/>
              <a:gd name="connsiteY144" fmla="*/ 4452858 h 4951333"/>
              <a:gd name="connsiteX145" fmla="*/ 928687 w 3357562"/>
              <a:gd name="connsiteY145" fmla="*/ 4478258 h 4951333"/>
              <a:gd name="connsiteX146" fmla="*/ 1092199 w 3357562"/>
              <a:gd name="connsiteY146" fmla="*/ 4632245 h 4951333"/>
              <a:gd name="connsiteX147" fmla="*/ 1203324 w 3357562"/>
              <a:gd name="connsiteY147" fmla="*/ 4692570 h 4951333"/>
              <a:gd name="connsiteX148" fmla="*/ 1381124 w 3357562"/>
              <a:gd name="connsiteY148" fmla="*/ 4805283 h 4951333"/>
              <a:gd name="connsiteX149" fmla="*/ 1662112 w 3357562"/>
              <a:gd name="connsiteY149" fmla="*/ 4938633 h 4951333"/>
              <a:gd name="connsiteX150" fmla="*/ 1779587 w 3357562"/>
              <a:gd name="connsiteY150" fmla="*/ 4951333 h 4951333"/>
              <a:gd name="connsiteX0" fmla="*/ 1779587 w 3357562"/>
              <a:gd name="connsiteY0" fmla="*/ 4951333 h 4951333"/>
              <a:gd name="connsiteX1" fmla="*/ 1855787 w 3357562"/>
              <a:gd name="connsiteY1" fmla="*/ 4900533 h 4951333"/>
              <a:gd name="connsiteX2" fmla="*/ 1855787 w 3357562"/>
              <a:gd name="connsiteY2" fmla="*/ 4821158 h 4951333"/>
              <a:gd name="connsiteX3" fmla="*/ 1838325 w 3357562"/>
              <a:gd name="connsiteY3" fmla="*/ 4762421 h 4951333"/>
              <a:gd name="connsiteX4" fmla="*/ 1725612 w 3357562"/>
              <a:gd name="connsiteY4" fmla="*/ 4724320 h 4951333"/>
              <a:gd name="connsiteX5" fmla="*/ 1660525 w 3357562"/>
              <a:gd name="connsiteY5" fmla="*/ 4748133 h 4951333"/>
              <a:gd name="connsiteX6" fmla="*/ 1660525 w 3357562"/>
              <a:gd name="connsiteY6" fmla="*/ 4702096 h 4951333"/>
              <a:gd name="connsiteX7" fmla="*/ 1682749 w 3357562"/>
              <a:gd name="connsiteY7" fmla="*/ 4633833 h 4951333"/>
              <a:gd name="connsiteX8" fmla="*/ 1719262 w 3357562"/>
              <a:gd name="connsiteY8" fmla="*/ 4533821 h 4951333"/>
              <a:gd name="connsiteX9" fmla="*/ 1652587 w 3357562"/>
              <a:gd name="connsiteY9" fmla="*/ 4490958 h 4951333"/>
              <a:gd name="connsiteX10" fmla="*/ 1585912 w 3357562"/>
              <a:gd name="connsiteY10" fmla="*/ 4462383 h 4951333"/>
              <a:gd name="connsiteX11" fmla="*/ 1544637 w 3357562"/>
              <a:gd name="connsiteY11" fmla="*/ 4444920 h 4951333"/>
              <a:gd name="connsiteX12" fmla="*/ 1465262 w 3357562"/>
              <a:gd name="connsiteY12" fmla="*/ 4452858 h 4951333"/>
              <a:gd name="connsiteX13" fmla="*/ 1406525 w 3357562"/>
              <a:gd name="connsiteY13" fmla="*/ 4319508 h 4951333"/>
              <a:gd name="connsiteX14" fmla="*/ 1333500 w 3357562"/>
              <a:gd name="connsiteY14" fmla="*/ 4209970 h 4951333"/>
              <a:gd name="connsiteX15" fmla="*/ 1214437 w 3357562"/>
              <a:gd name="connsiteY15" fmla="*/ 4157583 h 4951333"/>
              <a:gd name="connsiteX16" fmla="*/ 1128712 w 3357562"/>
              <a:gd name="connsiteY16" fmla="*/ 4148058 h 4951333"/>
              <a:gd name="connsiteX17" fmla="*/ 1100137 w 3357562"/>
              <a:gd name="connsiteY17" fmla="*/ 4109958 h 4951333"/>
              <a:gd name="connsiteX18" fmla="*/ 1081087 w 3357562"/>
              <a:gd name="connsiteY18" fmla="*/ 4014708 h 4951333"/>
              <a:gd name="connsiteX19" fmla="*/ 1109662 w 3357562"/>
              <a:gd name="connsiteY19" fmla="*/ 3957558 h 4951333"/>
              <a:gd name="connsiteX20" fmla="*/ 1252537 w 3357562"/>
              <a:gd name="connsiteY20" fmla="*/ 3948033 h 4951333"/>
              <a:gd name="connsiteX21" fmla="*/ 1376362 w 3357562"/>
              <a:gd name="connsiteY21" fmla="*/ 3728958 h 4951333"/>
              <a:gd name="connsiteX22" fmla="*/ 1428750 w 3357562"/>
              <a:gd name="connsiteY22" fmla="*/ 3617833 h 4951333"/>
              <a:gd name="connsiteX23" fmla="*/ 1366837 w 3357562"/>
              <a:gd name="connsiteY23" fmla="*/ 3447971 h 4951333"/>
              <a:gd name="connsiteX24" fmla="*/ 1295399 w 3357562"/>
              <a:gd name="connsiteY24" fmla="*/ 3367008 h 4951333"/>
              <a:gd name="connsiteX25" fmla="*/ 1200150 w 3357562"/>
              <a:gd name="connsiteY25" fmla="*/ 3324145 h 4951333"/>
              <a:gd name="connsiteX26" fmla="*/ 1109662 w 3357562"/>
              <a:gd name="connsiteY26" fmla="*/ 3243183 h 4951333"/>
              <a:gd name="connsiteX27" fmla="*/ 1057275 w 3357562"/>
              <a:gd name="connsiteY27" fmla="*/ 3119358 h 4951333"/>
              <a:gd name="connsiteX28" fmla="*/ 1014412 w 3357562"/>
              <a:gd name="connsiteY28" fmla="*/ 3043159 h 4951333"/>
              <a:gd name="connsiteX29" fmla="*/ 1033463 w 3357562"/>
              <a:gd name="connsiteY29" fmla="*/ 2957434 h 4951333"/>
              <a:gd name="connsiteX30" fmla="*/ 1133475 w 3357562"/>
              <a:gd name="connsiteY30" fmla="*/ 2871708 h 4951333"/>
              <a:gd name="connsiteX31" fmla="*/ 1176337 w 3357562"/>
              <a:gd name="connsiteY31" fmla="*/ 2785983 h 4951333"/>
              <a:gd name="connsiteX32" fmla="*/ 1200149 w 3357562"/>
              <a:gd name="connsiteY32" fmla="*/ 2809795 h 4951333"/>
              <a:gd name="connsiteX33" fmla="*/ 1295399 w 3357562"/>
              <a:gd name="connsiteY33" fmla="*/ 2785983 h 4951333"/>
              <a:gd name="connsiteX34" fmla="*/ 1447799 w 3357562"/>
              <a:gd name="connsiteY34" fmla="*/ 2695495 h 4951333"/>
              <a:gd name="connsiteX35" fmla="*/ 1490662 w 3357562"/>
              <a:gd name="connsiteY35" fmla="*/ 2643108 h 4951333"/>
              <a:gd name="connsiteX36" fmla="*/ 1543049 w 3357562"/>
              <a:gd name="connsiteY36" fmla="*/ 2538333 h 4951333"/>
              <a:gd name="connsiteX37" fmla="*/ 1552574 w 3357562"/>
              <a:gd name="connsiteY37" fmla="*/ 2424033 h 4951333"/>
              <a:gd name="connsiteX38" fmla="*/ 1462087 w 3357562"/>
              <a:gd name="connsiteY38" fmla="*/ 2347833 h 4951333"/>
              <a:gd name="connsiteX39" fmla="*/ 1409700 w 3357562"/>
              <a:gd name="connsiteY39" fmla="*/ 2311321 h 4951333"/>
              <a:gd name="connsiteX40" fmla="*/ 1325562 w 3357562"/>
              <a:gd name="connsiteY40" fmla="*/ 2284333 h 4951333"/>
              <a:gd name="connsiteX41" fmla="*/ 1225550 w 3357562"/>
              <a:gd name="connsiteY41" fmla="*/ 2290683 h 4951333"/>
              <a:gd name="connsiteX42" fmla="*/ 1028699 w 3357562"/>
              <a:gd name="connsiteY42" fmla="*/ 2311320 h 4951333"/>
              <a:gd name="connsiteX43" fmla="*/ 919162 w 3357562"/>
              <a:gd name="connsiteY43" fmla="*/ 2343071 h 4951333"/>
              <a:gd name="connsiteX44" fmla="*/ 895349 w 3357562"/>
              <a:gd name="connsiteY44" fmla="*/ 2262108 h 4951333"/>
              <a:gd name="connsiteX45" fmla="*/ 914399 w 3357562"/>
              <a:gd name="connsiteY45" fmla="*/ 2138283 h 4951333"/>
              <a:gd name="connsiteX46" fmla="*/ 938212 w 3357562"/>
              <a:gd name="connsiteY46" fmla="*/ 2004933 h 4951333"/>
              <a:gd name="connsiteX47" fmla="*/ 985837 w 3357562"/>
              <a:gd name="connsiteY47" fmla="*/ 1843008 h 4951333"/>
              <a:gd name="connsiteX48" fmla="*/ 957262 w 3357562"/>
              <a:gd name="connsiteY48" fmla="*/ 1766808 h 4951333"/>
              <a:gd name="connsiteX49" fmla="*/ 938212 w 3357562"/>
              <a:gd name="connsiteY49" fmla="*/ 1700133 h 4951333"/>
              <a:gd name="connsiteX50" fmla="*/ 771525 w 3357562"/>
              <a:gd name="connsiteY50" fmla="*/ 1642983 h 4951333"/>
              <a:gd name="connsiteX51" fmla="*/ 614362 w 3357562"/>
              <a:gd name="connsiteY51" fmla="*/ 1614408 h 4951333"/>
              <a:gd name="connsiteX52" fmla="*/ 633412 w 3357562"/>
              <a:gd name="connsiteY52" fmla="*/ 1509633 h 4951333"/>
              <a:gd name="connsiteX53" fmla="*/ 741362 w 3357562"/>
              <a:gd name="connsiteY53" fmla="*/ 1395333 h 4951333"/>
              <a:gd name="connsiteX54" fmla="*/ 842962 w 3357562"/>
              <a:gd name="connsiteY54" fmla="*/ 1319133 h 4951333"/>
              <a:gd name="connsiteX55" fmla="*/ 890587 w 3357562"/>
              <a:gd name="connsiteY55" fmla="*/ 1281033 h 4951333"/>
              <a:gd name="connsiteX56" fmla="*/ 890587 w 3357562"/>
              <a:gd name="connsiteY56" fmla="*/ 1223883 h 4951333"/>
              <a:gd name="connsiteX57" fmla="*/ 909637 w 3357562"/>
              <a:gd name="connsiteY57" fmla="*/ 1157208 h 4951333"/>
              <a:gd name="connsiteX58" fmla="*/ 938212 w 3357562"/>
              <a:gd name="connsiteY58" fmla="*/ 1128633 h 4951333"/>
              <a:gd name="connsiteX59" fmla="*/ 947737 w 3357562"/>
              <a:gd name="connsiteY59" fmla="*/ 1061958 h 4951333"/>
              <a:gd name="connsiteX60" fmla="*/ 947737 w 3357562"/>
              <a:gd name="connsiteY60" fmla="*/ 976233 h 4951333"/>
              <a:gd name="connsiteX61" fmla="*/ 1017587 w 3357562"/>
              <a:gd name="connsiteY61" fmla="*/ 861933 h 4951333"/>
              <a:gd name="connsiteX62" fmla="*/ 1281112 w 3357562"/>
              <a:gd name="connsiteY62" fmla="*/ 925433 h 4951333"/>
              <a:gd name="connsiteX63" fmla="*/ 1485900 w 3357562"/>
              <a:gd name="connsiteY63" fmla="*/ 819071 h 4951333"/>
              <a:gd name="connsiteX64" fmla="*/ 1619250 w 3357562"/>
              <a:gd name="connsiteY64" fmla="*/ 693658 h 4951333"/>
              <a:gd name="connsiteX65" fmla="*/ 1739899 w 3357562"/>
              <a:gd name="connsiteY65" fmla="*/ 682546 h 4951333"/>
              <a:gd name="connsiteX66" fmla="*/ 1895474 w 3357562"/>
              <a:gd name="connsiteY66" fmla="*/ 685720 h 4951333"/>
              <a:gd name="connsiteX67" fmla="*/ 2066924 w 3357562"/>
              <a:gd name="connsiteY67" fmla="*/ 742871 h 4951333"/>
              <a:gd name="connsiteX68" fmla="*/ 2200275 w 3357562"/>
              <a:gd name="connsiteY68" fmla="*/ 828596 h 4951333"/>
              <a:gd name="connsiteX69" fmla="*/ 2295525 w 3357562"/>
              <a:gd name="connsiteY69" fmla="*/ 904796 h 4951333"/>
              <a:gd name="connsiteX70" fmla="*/ 2609849 w 3357562"/>
              <a:gd name="connsiteY70" fmla="*/ 938133 h 4951333"/>
              <a:gd name="connsiteX71" fmla="*/ 2754312 w 3357562"/>
              <a:gd name="connsiteY71" fmla="*/ 965121 h 4951333"/>
              <a:gd name="connsiteX72" fmla="*/ 2886074 w 3357562"/>
              <a:gd name="connsiteY72" fmla="*/ 1014333 h 4951333"/>
              <a:gd name="connsiteX73" fmla="*/ 3090862 w 3357562"/>
              <a:gd name="connsiteY73" fmla="*/ 966708 h 4951333"/>
              <a:gd name="connsiteX74" fmla="*/ 3176587 w 3357562"/>
              <a:gd name="connsiteY74" fmla="*/ 980996 h 4951333"/>
              <a:gd name="connsiteX75" fmla="*/ 3297237 w 3357562"/>
              <a:gd name="connsiteY75" fmla="*/ 963533 h 4951333"/>
              <a:gd name="connsiteX76" fmla="*/ 3325812 w 3357562"/>
              <a:gd name="connsiteY76" fmla="*/ 941308 h 4951333"/>
              <a:gd name="connsiteX77" fmla="*/ 3357562 w 3357562"/>
              <a:gd name="connsiteY77" fmla="*/ 880983 h 4951333"/>
              <a:gd name="connsiteX78" fmla="*/ 3336924 w 3357562"/>
              <a:gd name="connsiteY78" fmla="*/ 712708 h 4951333"/>
              <a:gd name="connsiteX79" fmla="*/ 3301999 w 3357562"/>
              <a:gd name="connsiteY79" fmla="*/ 650795 h 4951333"/>
              <a:gd name="connsiteX80" fmla="*/ 3182937 w 3357562"/>
              <a:gd name="connsiteY80" fmla="*/ 585708 h 4951333"/>
              <a:gd name="connsiteX81" fmla="*/ 3167062 w 3357562"/>
              <a:gd name="connsiteY81" fmla="*/ 528558 h 4951333"/>
              <a:gd name="connsiteX82" fmla="*/ 3119437 w 3357562"/>
              <a:gd name="connsiteY82" fmla="*/ 490458 h 4951333"/>
              <a:gd name="connsiteX83" fmla="*/ 3090862 w 3357562"/>
              <a:gd name="connsiteY83" fmla="*/ 512683 h 4951333"/>
              <a:gd name="connsiteX84" fmla="*/ 3071812 w 3357562"/>
              <a:gd name="connsiteY84" fmla="*/ 563483 h 4951333"/>
              <a:gd name="connsiteX85" fmla="*/ 3062287 w 3357562"/>
              <a:gd name="connsiteY85" fmla="*/ 614283 h 4951333"/>
              <a:gd name="connsiteX86" fmla="*/ 3019425 w 3357562"/>
              <a:gd name="connsiteY86" fmla="*/ 628571 h 4951333"/>
              <a:gd name="connsiteX87" fmla="*/ 2947987 w 3357562"/>
              <a:gd name="connsiteY87" fmla="*/ 595233 h 4951333"/>
              <a:gd name="connsiteX88" fmla="*/ 2852737 w 3357562"/>
              <a:gd name="connsiteY88" fmla="*/ 652383 h 4951333"/>
              <a:gd name="connsiteX89" fmla="*/ 2833687 w 3357562"/>
              <a:gd name="connsiteY89" fmla="*/ 680958 h 4951333"/>
              <a:gd name="connsiteX90" fmla="*/ 2824162 w 3357562"/>
              <a:gd name="connsiteY90" fmla="*/ 719058 h 4951333"/>
              <a:gd name="connsiteX91" fmla="*/ 2747962 w 3357562"/>
              <a:gd name="connsiteY91" fmla="*/ 680958 h 4951333"/>
              <a:gd name="connsiteX92" fmla="*/ 2657475 w 3357562"/>
              <a:gd name="connsiteY92" fmla="*/ 652383 h 4951333"/>
              <a:gd name="connsiteX93" fmla="*/ 2557462 w 3357562"/>
              <a:gd name="connsiteY93" fmla="*/ 604758 h 4951333"/>
              <a:gd name="connsiteX94" fmla="*/ 2433637 w 3357562"/>
              <a:gd name="connsiteY94" fmla="*/ 538083 h 4951333"/>
              <a:gd name="connsiteX95" fmla="*/ 2333624 w 3357562"/>
              <a:gd name="connsiteY95" fmla="*/ 452358 h 4951333"/>
              <a:gd name="connsiteX96" fmla="*/ 2190750 w 3357562"/>
              <a:gd name="connsiteY96" fmla="*/ 423783 h 4951333"/>
              <a:gd name="connsiteX97" fmla="*/ 2157412 w 3357562"/>
              <a:gd name="connsiteY97" fmla="*/ 309483 h 4951333"/>
              <a:gd name="connsiteX98" fmla="*/ 2143124 w 3357562"/>
              <a:gd name="connsiteY98" fmla="*/ 179308 h 4951333"/>
              <a:gd name="connsiteX99" fmla="*/ 1740354 w 3357562"/>
              <a:gd name="connsiteY99" fmla="*/ 92076 h 4951333"/>
              <a:gd name="connsiteX100" fmla="*/ 1680029 w 3357562"/>
              <a:gd name="connsiteY100" fmla="*/ 73026 h 4951333"/>
              <a:gd name="connsiteX101" fmla="*/ 1632404 w 3357562"/>
              <a:gd name="connsiteY101" fmla="*/ 53976 h 4951333"/>
              <a:gd name="connsiteX102" fmla="*/ 1594304 w 3357562"/>
              <a:gd name="connsiteY102" fmla="*/ 101601 h 4951333"/>
              <a:gd name="connsiteX103" fmla="*/ 1518104 w 3357562"/>
              <a:gd name="connsiteY103" fmla="*/ 111126 h 4951333"/>
              <a:gd name="connsiteX104" fmla="*/ 1372054 w 3357562"/>
              <a:gd name="connsiteY104" fmla="*/ 25401 h 4951333"/>
              <a:gd name="connsiteX105" fmla="*/ 1235529 w 3357562"/>
              <a:gd name="connsiteY105" fmla="*/ 0 h 4951333"/>
              <a:gd name="connsiteX106" fmla="*/ 1162504 w 3357562"/>
              <a:gd name="connsiteY106" fmla="*/ 73025 h 4951333"/>
              <a:gd name="connsiteX107" fmla="*/ 1198562 w 3357562"/>
              <a:gd name="connsiteY107" fmla="*/ 176133 h 4951333"/>
              <a:gd name="connsiteX108" fmla="*/ 1166812 w 3357562"/>
              <a:gd name="connsiteY108" fmla="*/ 309483 h 4951333"/>
              <a:gd name="connsiteX109" fmla="*/ 1128712 w 3357562"/>
              <a:gd name="connsiteY109" fmla="*/ 414258 h 4951333"/>
              <a:gd name="connsiteX110" fmla="*/ 919162 w 3357562"/>
              <a:gd name="connsiteY110" fmla="*/ 576183 h 4951333"/>
              <a:gd name="connsiteX111" fmla="*/ 909637 w 3357562"/>
              <a:gd name="connsiteY111" fmla="*/ 633333 h 4951333"/>
              <a:gd name="connsiteX112" fmla="*/ 785812 w 3357562"/>
              <a:gd name="connsiteY112" fmla="*/ 652383 h 4951333"/>
              <a:gd name="connsiteX113" fmla="*/ 614362 w 3357562"/>
              <a:gd name="connsiteY113" fmla="*/ 709533 h 4951333"/>
              <a:gd name="connsiteX114" fmla="*/ 566737 w 3357562"/>
              <a:gd name="connsiteY114" fmla="*/ 820658 h 4951333"/>
              <a:gd name="connsiteX115" fmla="*/ 461962 w 3357562"/>
              <a:gd name="connsiteY115" fmla="*/ 938133 h 4951333"/>
              <a:gd name="connsiteX116" fmla="*/ 452437 w 3357562"/>
              <a:gd name="connsiteY116" fmla="*/ 1014333 h 4951333"/>
              <a:gd name="connsiteX117" fmla="*/ 461962 w 3357562"/>
              <a:gd name="connsiteY117" fmla="*/ 1138158 h 4951333"/>
              <a:gd name="connsiteX118" fmla="*/ 414337 w 3357562"/>
              <a:gd name="connsiteY118" fmla="*/ 1185783 h 4951333"/>
              <a:gd name="connsiteX119" fmla="*/ 233362 w 3357562"/>
              <a:gd name="connsiteY119" fmla="*/ 1157208 h 4951333"/>
              <a:gd name="connsiteX120" fmla="*/ 166687 w 3357562"/>
              <a:gd name="connsiteY120" fmla="*/ 1166733 h 4951333"/>
              <a:gd name="connsiteX121" fmla="*/ 61912 w 3357562"/>
              <a:gd name="connsiteY121" fmla="*/ 1242933 h 4951333"/>
              <a:gd name="connsiteX122" fmla="*/ 42862 w 3357562"/>
              <a:gd name="connsiteY122" fmla="*/ 1338183 h 4951333"/>
              <a:gd name="connsiteX123" fmla="*/ 42862 w 3357562"/>
              <a:gd name="connsiteY123" fmla="*/ 1471533 h 4951333"/>
              <a:gd name="connsiteX124" fmla="*/ 14287 w 3357562"/>
              <a:gd name="connsiteY124" fmla="*/ 1585833 h 4951333"/>
              <a:gd name="connsiteX125" fmla="*/ 0 w 3357562"/>
              <a:gd name="connsiteY125" fmla="*/ 1700133 h 4951333"/>
              <a:gd name="connsiteX126" fmla="*/ 90487 w 3357562"/>
              <a:gd name="connsiteY126" fmla="*/ 1833483 h 4951333"/>
              <a:gd name="connsiteX127" fmla="*/ 147637 w 3357562"/>
              <a:gd name="connsiteY127" fmla="*/ 2014458 h 4951333"/>
              <a:gd name="connsiteX128" fmla="*/ 204787 w 3357562"/>
              <a:gd name="connsiteY128" fmla="*/ 2224008 h 4951333"/>
              <a:gd name="connsiteX129" fmla="*/ 261937 w 3357562"/>
              <a:gd name="connsiteY129" fmla="*/ 2490708 h 4951333"/>
              <a:gd name="connsiteX130" fmla="*/ 347662 w 3357562"/>
              <a:gd name="connsiteY130" fmla="*/ 2595483 h 4951333"/>
              <a:gd name="connsiteX131" fmla="*/ 319087 w 3357562"/>
              <a:gd name="connsiteY131" fmla="*/ 2805033 h 4951333"/>
              <a:gd name="connsiteX132" fmla="*/ 390524 w 3357562"/>
              <a:gd name="connsiteY132" fmla="*/ 2962195 h 4951333"/>
              <a:gd name="connsiteX133" fmla="*/ 366712 w 3357562"/>
              <a:gd name="connsiteY133" fmla="*/ 3052683 h 4951333"/>
              <a:gd name="connsiteX134" fmla="*/ 430212 w 3357562"/>
              <a:gd name="connsiteY134" fmla="*/ 3449558 h 4951333"/>
              <a:gd name="connsiteX135" fmla="*/ 420687 w 3357562"/>
              <a:gd name="connsiteY135" fmla="*/ 3557508 h 4951333"/>
              <a:gd name="connsiteX136" fmla="*/ 369887 w 3357562"/>
              <a:gd name="connsiteY136" fmla="*/ 3694033 h 4951333"/>
              <a:gd name="connsiteX137" fmla="*/ 385762 w 3357562"/>
              <a:gd name="connsiteY137" fmla="*/ 3817858 h 4951333"/>
              <a:gd name="connsiteX138" fmla="*/ 452437 w 3357562"/>
              <a:gd name="connsiteY138" fmla="*/ 4005183 h 4951333"/>
              <a:gd name="connsiteX139" fmla="*/ 495300 w 3357562"/>
              <a:gd name="connsiteY139" fmla="*/ 4095671 h 4951333"/>
              <a:gd name="connsiteX140" fmla="*/ 519112 w 3357562"/>
              <a:gd name="connsiteY140" fmla="*/ 4200445 h 4951333"/>
              <a:gd name="connsiteX141" fmla="*/ 447674 w 3357562"/>
              <a:gd name="connsiteY141" fmla="*/ 4262358 h 4951333"/>
              <a:gd name="connsiteX142" fmla="*/ 609599 w 3357562"/>
              <a:gd name="connsiteY142" fmla="*/ 4338557 h 4951333"/>
              <a:gd name="connsiteX143" fmla="*/ 690562 w 3357562"/>
              <a:gd name="connsiteY143" fmla="*/ 4476670 h 4951333"/>
              <a:gd name="connsiteX144" fmla="*/ 750887 w 3357562"/>
              <a:gd name="connsiteY144" fmla="*/ 4513183 h 4951333"/>
              <a:gd name="connsiteX145" fmla="*/ 841375 w 3357562"/>
              <a:gd name="connsiteY145" fmla="*/ 4452858 h 4951333"/>
              <a:gd name="connsiteX146" fmla="*/ 928687 w 3357562"/>
              <a:gd name="connsiteY146" fmla="*/ 4478258 h 4951333"/>
              <a:gd name="connsiteX147" fmla="*/ 1092199 w 3357562"/>
              <a:gd name="connsiteY147" fmla="*/ 4632245 h 4951333"/>
              <a:gd name="connsiteX148" fmla="*/ 1203324 w 3357562"/>
              <a:gd name="connsiteY148" fmla="*/ 4692570 h 4951333"/>
              <a:gd name="connsiteX149" fmla="*/ 1381124 w 3357562"/>
              <a:gd name="connsiteY149" fmla="*/ 4805283 h 4951333"/>
              <a:gd name="connsiteX150" fmla="*/ 1662112 w 3357562"/>
              <a:gd name="connsiteY150" fmla="*/ 4938633 h 4951333"/>
              <a:gd name="connsiteX151" fmla="*/ 1779587 w 3357562"/>
              <a:gd name="connsiteY151" fmla="*/ 4951333 h 4951333"/>
              <a:gd name="connsiteX0" fmla="*/ 1779587 w 3357562"/>
              <a:gd name="connsiteY0" fmla="*/ 5005307 h 5005307"/>
              <a:gd name="connsiteX1" fmla="*/ 1855787 w 3357562"/>
              <a:gd name="connsiteY1" fmla="*/ 4954507 h 5005307"/>
              <a:gd name="connsiteX2" fmla="*/ 1855787 w 3357562"/>
              <a:gd name="connsiteY2" fmla="*/ 4875132 h 5005307"/>
              <a:gd name="connsiteX3" fmla="*/ 1838325 w 3357562"/>
              <a:gd name="connsiteY3" fmla="*/ 4816395 h 5005307"/>
              <a:gd name="connsiteX4" fmla="*/ 1725612 w 3357562"/>
              <a:gd name="connsiteY4" fmla="*/ 4778294 h 5005307"/>
              <a:gd name="connsiteX5" fmla="*/ 1660525 w 3357562"/>
              <a:gd name="connsiteY5" fmla="*/ 4802107 h 5005307"/>
              <a:gd name="connsiteX6" fmla="*/ 1660525 w 3357562"/>
              <a:gd name="connsiteY6" fmla="*/ 4756070 h 5005307"/>
              <a:gd name="connsiteX7" fmla="*/ 1682749 w 3357562"/>
              <a:gd name="connsiteY7" fmla="*/ 4687807 h 5005307"/>
              <a:gd name="connsiteX8" fmla="*/ 1719262 w 3357562"/>
              <a:gd name="connsiteY8" fmla="*/ 4587795 h 5005307"/>
              <a:gd name="connsiteX9" fmla="*/ 1652587 w 3357562"/>
              <a:gd name="connsiteY9" fmla="*/ 4544932 h 5005307"/>
              <a:gd name="connsiteX10" fmla="*/ 1585912 w 3357562"/>
              <a:gd name="connsiteY10" fmla="*/ 4516357 h 5005307"/>
              <a:gd name="connsiteX11" fmla="*/ 1544637 w 3357562"/>
              <a:gd name="connsiteY11" fmla="*/ 4498894 h 5005307"/>
              <a:gd name="connsiteX12" fmla="*/ 1465262 w 3357562"/>
              <a:gd name="connsiteY12" fmla="*/ 4506832 h 5005307"/>
              <a:gd name="connsiteX13" fmla="*/ 1406525 w 3357562"/>
              <a:gd name="connsiteY13" fmla="*/ 4373482 h 5005307"/>
              <a:gd name="connsiteX14" fmla="*/ 1333500 w 3357562"/>
              <a:gd name="connsiteY14" fmla="*/ 4263944 h 5005307"/>
              <a:gd name="connsiteX15" fmla="*/ 1214437 w 3357562"/>
              <a:gd name="connsiteY15" fmla="*/ 4211557 h 5005307"/>
              <a:gd name="connsiteX16" fmla="*/ 1128712 w 3357562"/>
              <a:gd name="connsiteY16" fmla="*/ 4202032 h 5005307"/>
              <a:gd name="connsiteX17" fmla="*/ 1100137 w 3357562"/>
              <a:gd name="connsiteY17" fmla="*/ 4163932 h 5005307"/>
              <a:gd name="connsiteX18" fmla="*/ 1081087 w 3357562"/>
              <a:gd name="connsiteY18" fmla="*/ 4068682 h 5005307"/>
              <a:gd name="connsiteX19" fmla="*/ 1109662 w 3357562"/>
              <a:gd name="connsiteY19" fmla="*/ 4011532 h 5005307"/>
              <a:gd name="connsiteX20" fmla="*/ 1252537 w 3357562"/>
              <a:gd name="connsiteY20" fmla="*/ 4002007 h 5005307"/>
              <a:gd name="connsiteX21" fmla="*/ 1376362 w 3357562"/>
              <a:gd name="connsiteY21" fmla="*/ 3782932 h 5005307"/>
              <a:gd name="connsiteX22" fmla="*/ 1428750 w 3357562"/>
              <a:gd name="connsiteY22" fmla="*/ 3671807 h 5005307"/>
              <a:gd name="connsiteX23" fmla="*/ 1366837 w 3357562"/>
              <a:gd name="connsiteY23" fmla="*/ 3501945 h 5005307"/>
              <a:gd name="connsiteX24" fmla="*/ 1295399 w 3357562"/>
              <a:gd name="connsiteY24" fmla="*/ 3420982 h 5005307"/>
              <a:gd name="connsiteX25" fmla="*/ 1200150 w 3357562"/>
              <a:gd name="connsiteY25" fmla="*/ 3378119 h 5005307"/>
              <a:gd name="connsiteX26" fmla="*/ 1109662 w 3357562"/>
              <a:gd name="connsiteY26" fmla="*/ 3297157 h 5005307"/>
              <a:gd name="connsiteX27" fmla="*/ 1057275 w 3357562"/>
              <a:gd name="connsiteY27" fmla="*/ 3173332 h 5005307"/>
              <a:gd name="connsiteX28" fmla="*/ 1014412 w 3357562"/>
              <a:gd name="connsiteY28" fmla="*/ 3097133 h 5005307"/>
              <a:gd name="connsiteX29" fmla="*/ 1033463 w 3357562"/>
              <a:gd name="connsiteY29" fmla="*/ 3011408 h 5005307"/>
              <a:gd name="connsiteX30" fmla="*/ 1133475 w 3357562"/>
              <a:gd name="connsiteY30" fmla="*/ 2925682 h 5005307"/>
              <a:gd name="connsiteX31" fmla="*/ 1176337 w 3357562"/>
              <a:gd name="connsiteY31" fmla="*/ 2839957 h 5005307"/>
              <a:gd name="connsiteX32" fmla="*/ 1200149 w 3357562"/>
              <a:gd name="connsiteY32" fmla="*/ 2863769 h 5005307"/>
              <a:gd name="connsiteX33" fmla="*/ 1295399 w 3357562"/>
              <a:gd name="connsiteY33" fmla="*/ 2839957 h 5005307"/>
              <a:gd name="connsiteX34" fmla="*/ 1447799 w 3357562"/>
              <a:gd name="connsiteY34" fmla="*/ 2749469 h 5005307"/>
              <a:gd name="connsiteX35" fmla="*/ 1490662 w 3357562"/>
              <a:gd name="connsiteY35" fmla="*/ 2697082 h 5005307"/>
              <a:gd name="connsiteX36" fmla="*/ 1543049 w 3357562"/>
              <a:gd name="connsiteY36" fmla="*/ 2592307 h 5005307"/>
              <a:gd name="connsiteX37" fmla="*/ 1552574 w 3357562"/>
              <a:gd name="connsiteY37" fmla="*/ 2478007 h 5005307"/>
              <a:gd name="connsiteX38" fmla="*/ 1462087 w 3357562"/>
              <a:gd name="connsiteY38" fmla="*/ 2401807 h 5005307"/>
              <a:gd name="connsiteX39" fmla="*/ 1409700 w 3357562"/>
              <a:gd name="connsiteY39" fmla="*/ 2365295 h 5005307"/>
              <a:gd name="connsiteX40" fmla="*/ 1325562 w 3357562"/>
              <a:gd name="connsiteY40" fmla="*/ 2338307 h 5005307"/>
              <a:gd name="connsiteX41" fmla="*/ 1225550 w 3357562"/>
              <a:gd name="connsiteY41" fmla="*/ 2344657 h 5005307"/>
              <a:gd name="connsiteX42" fmla="*/ 1028699 w 3357562"/>
              <a:gd name="connsiteY42" fmla="*/ 2365294 h 5005307"/>
              <a:gd name="connsiteX43" fmla="*/ 919162 w 3357562"/>
              <a:gd name="connsiteY43" fmla="*/ 2397045 h 5005307"/>
              <a:gd name="connsiteX44" fmla="*/ 895349 w 3357562"/>
              <a:gd name="connsiteY44" fmla="*/ 2316082 h 5005307"/>
              <a:gd name="connsiteX45" fmla="*/ 914399 w 3357562"/>
              <a:gd name="connsiteY45" fmla="*/ 2192257 h 5005307"/>
              <a:gd name="connsiteX46" fmla="*/ 938212 w 3357562"/>
              <a:gd name="connsiteY46" fmla="*/ 2058907 h 5005307"/>
              <a:gd name="connsiteX47" fmla="*/ 985837 w 3357562"/>
              <a:gd name="connsiteY47" fmla="*/ 1896982 h 5005307"/>
              <a:gd name="connsiteX48" fmla="*/ 957262 w 3357562"/>
              <a:gd name="connsiteY48" fmla="*/ 1820782 h 5005307"/>
              <a:gd name="connsiteX49" fmla="*/ 938212 w 3357562"/>
              <a:gd name="connsiteY49" fmla="*/ 1754107 h 5005307"/>
              <a:gd name="connsiteX50" fmla="*/ 771525 w 3357562"/>
              <a:gd name="connsiteY50" fmla="*/ 1696957 h 5005307"/>
              <a:gd name="connsiteX51" fmla="*/ 614362 w 3357562"/>
              <a:gd name="connsiteY51" fmla="*/ 1668382 h 5005307"/>
              <a:gd name="connsiteX52" fmla="*/ 633412 w 3357562"/>
              <a:gd name="connsiteY52" fmla="*/ 1563607 h 5005307"/>
              <a:gd name="connsiteX53" fmla="*/ 741362 w 3357562"/>
              <a:gd name="connsiteY53" fmla="*/ 1449307 h 5005307"/>
              <a:gd name="connsiteX54" fmla="*/ 842962 w 3357562"/>
              <a:gd name="connsiteY54" fmla="*/ 1373107 h 5005307"/>
              <a:gd name="connsiteX55" fmla="*/ 890587 w 3357562"/>
              <a:gd name="connsiteY55" fmla="*/ 1335007 h 5005307"/>
              <a:gd name="connsiteX56" fmla="*/ 890587 w 3357562"/>
              <a:gd name="connsiteY56" fmla="*/ 1277857 h 5005307"/>
              <a:gd name="connsiteX57" fmla="*/ 909637 w 3357562"/>
              <a:gd name="connsiteY57" fmla="*/ 1211182 h 5005307"/>
              <a:gd name="connsiteX58" fmla="*/ 938212 w 3357562"/>
              <a:gd name="connsiteY58" fmla="*/ 1182607 h 5005307"/>
              <a:gd name="connsiteX59" fmla="*/ 947737 w 3357562"/>
              <a:gd name="connsiteY59" fmla="*/ 1115932 h 5005307"/>
              <a:gd name="connsiteX60" fmla="*/ 947737 w 3357562"/>
              <a:gd name="connsiteY60" fmla="*/ 1030207 h 5005307"/>
              <a:gd name="connsiteX61" fmla="*/ 1017587 w 3357562"/>
              <a:gd name="connsiteY61" fmla="*/ 915907 h 5005307"/>
              <a:gd name="connsiteX62" fmla="*/ 1281112 w 3357562"/>
              <a:gd name="connsiteY62" fmla="*/ 979407 h 5005307"/>
              <a:gd name="connsiteX63" fmla="*/ 1485900 w 3357562"/>
              <a:gd name="connsiteY63" fmla="*/ 873045 h 5005307"/>
              <a:gd name="connsiteX64" fmla="*/ 1619250 w 3357562"/>
              <a:gd name="connsiteY64" fmla="*/ 747632 h 5005307"/>
              <a:gd name="connsiteX65" fmla="*/ 1739899 w 3357562"/>
              <a:gd name="connsiteY65" fmla="*/ 736520 h 5005307"/>
              <a:gd name="connsiteX66" fmla="*/ 1895474 w 3357562"/>
              <a:gd name="connsiteY66" fmla="*/ 739694 h 5005307"/>
              <a:gd name="connsiteX67" fmla="*/ 2066924 w 3357562"/>
              <a:gd name="connsiteY67" fmla="*/ 796845 h 5005307"/>
              <a:gd name="connsiteX68" fmla="*/ 2200275 w 3357562"/>
              <a:gd name="connsiteY68" fmla="*/ 882570 h 5005307"/>
              <a:gd name="connsiteX69" fmla="*/ 2295525 w 3357562"/>
              <a:gd name="connsiteY69" fmla="*/ 958770 h 5005307"/>
              <a:gd name="connsiteX70" fmla="*/ 2609849 w 3357562"/>
              <a:gd name="connsiteY70" fmla="*/ 992107 h 5005307"/>
              <a:gd name="connsiteX71" fmla="*/ 2754312 w 3357562"/>
              <a:gd name="connsiteY71" fmla="*/ 1019095 h 5005307"/>
              <a:gd name="connsiteX72" fmla="*/ 2886074 w 3357562"/>
              <a:gd name="connsiteY72" fmla="*/ 1068307 h 5005307"/>
              <a:gd name="connsiteX73" fmla="*/ 3090862 w 3357562"/>
              <a:gd name="connsiteY73" fmla="*/ 1020682 h 5005307"/>
              <a:gd name="connsiteX74" fmla="*/ 3176587 w 3357562"/>
              <a:gd name="connsiteY74" fmla="*/ 1034970 h 5005307"/>
              <a:gd name="connsiteX75" fmla="*/ 3297237 w 3357562"/>
              <a:gd name="connsiteY75" fmla="*/ 1017507 h 5005307"/>
              <a:gd name="connsiteX76" fmla="*/ 3325812 w 3357562"/>
              <a:gd name="connsiteY76" fmla="*/ 995282 h 5005307"/>
              <a:gd name="connsiteX77" fmla="*/ 3357562 w 3357562"/>
              <a:gd name="connsiteY77" fmla="*/ 934957 h 5005307"/>
              <a:gd name="connsiteX78" fmla="*/ 3336924 w 3357562"/>
              <a:gd name="connsiteY78" fmla="*/ 766682 h 5005307"/>
              <a:gd name="connsiteX79" fmla="*/ 3301999 w 3357562"/>
              <a:gd name="connsiteY79" fmla="*/ 704769 h 5005307"/>
              <a:gd name="connsiteX80" fmla="*/ 3182937 w 3357562"/>
              <a:gd name="connsiteY80" fmla="*/ 639682 h 5005307"/>
              <a:gd name="connsiteX81" fmla="*/ 3167062 w 3357562"/>
              <a:gd name="connsiteY81" fmla="*/ 582532 h 5005307"/>
              <a:gd name="connsiteX82" fmla="*/ 3119437 w 3357562"/>
              <a:gd name="connsiteY82" fmla="*/ 544432 h 5005307"/>
              <a:gd name="connsiteX83" fmla="*/ 3090862 w 3357562"/>
              <a:gd name="connsiteY83" fmla="*/ 566657 h 5005307"/>
              <a:gd name="connsiteX84" fmla="*/ 3071812 w 3357562"/>
              <a:gd name="connsiteY84" fmla="*/ 617457 h 5005307"/>
              <a:gd name="connsiteX85" fmla="*/ 3062287 w 3357562"/>
              <a:gd name="connsiteY85" fmla="*/ 668257 h 5005307"/>
              <a:gd name="connsiteX86" fmla="*/ 3019425 w 3357562"/>
              <a:gd name="connsiteY86" fmla="*/ 682545 h 5005307"/>
              <a:gd name="connsiteX87" fmla="*/ 2947987 w 3357562"/>
              <a:gd name="connsiteY87" fmla="*/ 649207 h 5005307"/>
              <a:gd name="connsiteX88" fmla="*/ 2852737 w 3357562"/>
              <a:gd name="connsiteY88" fmla="*/ 706357 h 5005307"/>
              <a:gd name="connsiteX89" fmla="*/ 2833687 w 3357562"/>
              <a:gd name="connsiteY89" fmla="*/ 734932 h 5005307"/>
              <a:gd name="connsiteX90" fmla="*/ 2824162 w 3357562"/>
              <a:gd name="connsiteY90" fmla="*/ 773032 h 5005307"/>
              <a:gd name="connsiteX91" fmla="*/ 2747962 w 3357562"/>
              <a:gd name="connsiteY91" fmla="*/ 734932 h 5005307"/>
              <a:gd name="connsiteX92" fmla="*/ 2657475 w 3357562"/>
              <a:gd name="connsiteY92" fmla="*/ 706357 h 5005307"/>
              <a:gd name="connsiteX93" fmla="*/ 2557462 w 3357562"/>
              <a:gd name="connsiteY93" fmla="*/ 658732 h 5005307"/>
              <a:gd name="connsiteX94" fmla="*/ 2433637 w 3357562"/>
              <a:gd name="connsiteY94" fmla="*/ 592057 h 5005307"/>
              <a:gd name="connsiteX95" fmla="*/ 2333624 w 3357562"/>
              <a:gd name="connsiteY95" fmla="*/ 506332 h 5005307"/>
              <a:gd name="connsiteX96" fmla="*/ 2190750 w 3357562"/>
              <a:gd name="connsiteY96" fmla="*/ 477757 h 5005307"/>
              <a:gd name="connsiteX97" fmla="*/ 2157412 w 3357562"/>
              <a:gd name="connsiteY97" fmla="*/ 363457 h 5005307"/>
              <a:gd name="connsiteX98" fmla="*/ 2143124 w 3357562"/>
              <a:gd name="connsiteY98" fmla="*/ 233282 h 5005307"/>
              <a:gd name="connsiteX99" fmla="*/ 1946729 w 3357562"/>
              <a:gd name="connsiteY99" fmla="*/ 0 h 5005307"/>
              <a:gd name="connsiteX100" fmla="*/ 1680029 w 3357562"/>
              <a:gd name="connsiteY100" fmla="*/ 127000 h 5005307"/>
              <a:gd name="connsiteX101" fmla="*/ 1632404 w 3357562"/>
              <a:gd name="connsiteY101" fmla="*/ 107950 h 5005307"/>
              <a:gd name="connsiteX102" fmla="*/ 1594304 w 3357562"/>
              <a:gd name="connsiteY102" fmla="*/ 155575 h 5005307"/>
              <a:gd name="connsiteX103" fmla="*/ 1518104 w 3357562"/>
              <a:gd name="connsiteY103" fmla="*/ 165100 h 5005307"/>
              <a:gd name="connsiteX104" fmla="*/ 1372054 w 3357562"/>
              <a:gd name="connsiteY104" fmla="*/ 79375 h 5005307"/>
              <a:gd name="connsiteX105" fmla="*/ 1235529 w 3357562"/>
              <a:gd name="connsiteY105" fmla="*/ 53974 h 5005307"/>
              <a:gd name="connsiteX106" fmla="*/ 1162504 w 3357562"/>
              <a:gd name="connsiteY106" fmla="*/ 126999 h 5005307"/>
              <a:gd name="connsiteX107" fmla="*/ 1198562 w 3357562"/>
              <a:gd name="connsiteY107" fmla="*/ 230107 h 5005307"/>
              <a:gd name="connsiteX108" fmla="*/ 1166812 w 3357562"/>
              <a:gd name="connsiteY108" fmla="*/ 363457 h 5005307"/>
              <a:gd name="connsiteX109" fmla="*/ 1128712 w 3357562"/>
              <a:gd name="connsiteY109" fmla="*/ 468232 h 5005307"/>
              <a:gd name="connsiteX110" fmla="*/ 919162 w 3357562"/>
              <a:gd name="connsiteY110" fmla="*/ 630157 h 5005307"/>
              <a:gd name="connsiteX111" fmla="*/ 909637 w 3357562"/>
              <a:gd name="connsiteY111" fmla="*/ 687307 h 5005307"/>
              <a:gd name="connsiteX112" fmla="*/ 785812 w 3357562"/>
              <a:gd name="connsiteY112" fmla="*/ 706357 h 5005307"/>
              <a:gd name="connsiteX113" fmla="*/ 614362 w 3357562"/>
              <a:gd name="connsiteY113" fmla="*/ 763507 h 5005307"/>
              <a:gd name="connsiteX114" fmla="*/ 566737 w 3357562"/>
              <a:gd name="connsiteY114" fmla="*/ 874632 h 5005307"/>
              <a:gd name="connsiteX115" fmla="*/ 461962 w 3357562"/>
              <a:gd name="connsiteY115" fmla="*/ 992107 h 5005307"/>
              <a:gd name="connsiteX116" fmla="*/ 452437 w 3357562"/>
              <a:gd name="connsiteY116" fmla="*/ 1068307 h 5005307"/>
              <a:gd name="connsiteX117" fmla="*/ 461962 w 3357562"/>
              <a:gd name="connsiteY117" fmla="*/ 1192132 h 5005307"/>
              <a:gd name="connsiteX118" fmla="*/ 414337 w 3357562"/>
              <a:gd name="connsiteY118" fmla="*/ 1239757 h 5005307"/>
              <a:gd name="connsiteX119" fmla="*/ 233362 w 3357562"/>
              <a:gd name="connsiteY119" fmla="*/ 1211182 h 5005307"/>
              <a:gd name="connsiteX120" fmla="*/ 166687 w 3357562"/>
              <a:gd name="connsiteY120" fmla="*/ 1220707 h 5005307"/>
              <a:gd name="connsiteX121" fmla="*/ 61912 w 3357562"/>
              <a:gd name="connsiteY121" fmla="*/ 1296907 h 5005307"/>
              <a:gd name="connsiteX122" fmla="*/ 42862 w 3357562"/>
              <a:gd name="connsiteY122" fmla="*/ 1392157 h 5005307"/>
              <a:gd name="connsiteX123" fmla="*/ 42862 w 3357562"/>
              <a:gd name="connsiteY123" fmla="*/ 1525507 h 5005307"/>
              <a:gd name="connsiteX124" fmla="*/ 14287 w 3357562"/>
              <a:gd name="connsiteY124" fmla="*/ 1639807 h 5005307"/>
              <a:gd name="connsiteX125" fmla="*/ 0 w 3357562"/>
              <a:gd name="connsiteY125" fmla="*/ 1754107 h 5005307"/>
              <a:gd name="connsiteX126" fmla="*/ 90487 w 3357562"/>
              <a:gd name="connsiteY126" fmla="*/ 1887457 h 5005307"/>
              <a:gd name="connsiteX127" fmla="*/ 147637 w 3357562"/>
              <a:gd name="connsiteY127" fmla="*/ 2068432 h 5005307"/>
              <a:gd name="connsiteX128" fmla="*/ 204787 w 3357562"/>
              <a:gd name="connsiteY128" fmla="*/ 2277982 h 5005307"/>
              <a:gd name="connsiteX129" fmla="*/ 261937 w 3357562"/>
              <a:gd name="connsiteY129" fmla="*/ 2544682 h 5005307"/>
              <a:gd name="connsiteX130" fmla="*/ 347662 w 3357562"/>
              <a:gd name="connsiteY130" fmla="*/ 2649457 h 5005307"/>
              <a:gd name="connsiteX131" fmla="*/ 319087 w 3357562"/>
              <a:gd name="connsiteY131" fmla="*/ 2859007 h 5005307"/>
              <a:gd name="connsiteX132" fmla="*/ 390524 w 3357562"/>
              <a:gd name="connsiteY132" fmla="*/ 3016169 h 5005307"/>
              <a:gd name="connsiteX133" fmla="*/ 366712 w 3357562"/>
              <a:gd name="connsiteY133" fmla="*/ 3106657 h 5005307"/>
              <a:gd name="connsiteX134" fmla="*/ 430212 w 3357562"/>
              <a:gd name="connsiteY134" fmla="*/ 3503532 h 5005307"/>
              <a:gd name="connsiteX135" fmla="*/ 420687 w 3357562"/>
              <a:gd name="connsiteY135" fmla="*/ 3611482 h 5005307"/>
              <a:gd name="connsiteX136" fmla="*/ 369887 w 3357562"/>
              <a:gd name="connsiteY136" fmla="*/ 3748007 h 5005307"/>
              <a:gd name="connsiteX137" fmla="*/ 385762 w 3357562"/>
              <a:gd name="connsiteY137" fmla="*/ 3871832 h 5005307"/>
              <a:gd name="connsiteX138" fmla="*/ 452437 w 3357562"/>
              <a:gd name="connsiteY138" fmla="*/ 4059157 h 5005307"/>
              <a:gd name="connsiteX139" fmla="*/ 495300 w 3357562"/>
              <a:gd name="connsiteY139" fmla="*/ 4149645 h 5005307"/>
              <a:gd name="connsiteX140" fmla="*/ 519112 w 3357562"/>
              <a:gd name="connsiteY140" fmla="*/ 4254419 h 5005307"/>
              <a:gd name="connsiteX141" fmla="*/ 447674 w 3357562"/>
              <a:gd name="connsiteY141" fmla="*/ 4316332 h 5005307"/>
              <a:gd name="connsiteX142" fmla="*/ 609599 w 3357562"/>
              <a:gd name="connsiteY142" fmla="*/ 4392531 h 5005307"/>
              <a:gd name="connsiteX143" fmla="*/ 690562 w 3357562"/>
              <a:gd name="connsiteY143" fmla="*/ 4530644 h 5005307"/>
              <a:gd name="connsiteX144" fmla="*/ 750887 w 3357562"/>
              <a:gd name="connsiteY144" fmla="*/ 4567157 h 5005307"/>
              <a:gd name="connsiteX145" fmla="*/ 841375 w 3357562"/>
              <a:gd name="connsiteY145" fmla="*/ 4506832 h 5005307"/>
              <a:gd name="connsiteX146" fmla="*/ 928687 w 3357562"/>
              <a:gd name="connsiteY146" fmla="*/ 4532232 h 5005307"/>
              <a:gd name="connsiteX147" fmla="*/ 1092199 w 3357562"/>
              <a:gd name="connsiteY147" fmla="*/ 4686219 h 5005307"/>
              <a:gd name="connsiteX148" fmla="*/ 1203324 w 3357562"/>
              <a:gd name="connsiteY148" fmla="*/ 4746544 h 5005307"/>
              <a:gd name="connsiteX149" fmla="*/ 1381124 w 3357562"/>
              <a:gd name="connsiteY149" fmla="*/ 4859257 h 5005307"/>
              <a:gd name="connsiteX150" fmla="*/ 1662112 w 3357562"/>
              <a:gd name="connsiteY150" fmla="*/ 4992607 h 5005307"/>
              <a:gd name="connsiteX151" fmla="*/ 1779587 w 3357562"/>
              <a:gd name="connsiteY151" fmla="*/ 5005307 h 5005307"/>
              <a:gd name="connsiteX0" fmla="*/ 1779587 w 3357562"/>
              <a:gd name="connsiteY0" fmla="*/ 5005307 h 5005307"/>
              <a:gd name="connsiteX1" fmla="*/ 1855787 w 3357562"/>
              <a:gd name="connsiteY1" fmla="*/ 4954507 h 5005307"/>
              <a:gd name="connsiteX2" fmla="*/ 1855787 w 3357562"/>
              <a:gd name="connsiteY2" fmla="*/ 4875132 h 5005307"/>
              <a:gd name="connsiteX3" fmla="*/ 1838325 w 3357562"/>
              <a:gd name="connsiteY3" fmla="*/ 4816395 h 5005307"/>
              <a:gd name="connsiteX4" fmla="*/ 1725612 w 3357562"/>
              <a:gd name="connsiteY4" fmla="*/ 4778294 h 5005307"/>
              <a:gd name="connsiteX5" fmla="*/ 1660525 w 3357562"/>
              <a:gd name="connsiteY5" fmla="*/ 4802107 h 5005307"/>
              <a:gd name="connsiteX6" fmla="*/ 1660525 w 3357562"/>
              <a:gd name="connsiteY6" fmla="*/ 4756070 h 5005307"/>
              <a:gd name="connsiteX7" fmla="*/ 1682749 w 3357562"/>
              <a:gd name="connsiteY7" fmla="*/ 4687807 h 5005307"/>
              <a:gd name="connsiteX8" fmla="*/ 1719262 w 3357562"/>
              <a:gd name="connsiteY8" fmla="*/ 4587795 h 5005307"/>
              <a:gd name="connsiteX9" fmla="*/ 1652587 w 3357562"/>
              <a:gd name="connsiteY9" fmla="*/ 4544932 h 5005307"/>
              <a:gd name="connsiteX10" fmla="*/ 1585912 w 3357562"/>
              <a:gd name="connsiteY10" fmla="*/ 4516357 h 5005307"/>
              <a:gd name="connsiteX11" fmla="*/ 1544637 w 3357562"/>
              <a:gd name="connsiteY11" fmla="*/ 4498894 h 5005307"/>
              <a:gd name="connsiteX12" fmla="*/ 1465262 w 3357562"/>
              <a:gd name="connsiteY12" fmla="*/ 4506832 h 5005307"/>
              <a:gd name="connsiteX13" fmla="*/ 1406525 w 3357562"/>
              <a:gd name="connsiteY13" fmla="*/ 4373482 h 5005307"/>
              <a:gd name="connsiteX14" fmla="*/ 1333500 w 3357562"/>
              <a:gd name="connsiteY14" fmla="*/ 4263944 h 5005307"/>
              <a:gd name="connsiteX15" fmla="*/ 1214437 w 3357562"/>
              <a:gd name="connsiteY15" fmla="*/ 4211557 h 5005307"/>
              <a:gd name="connsiteX16" fmla="*/ 1128712 w 3357562"/>
              <a:gd name="connsiteY16" fmla="*/ 4202032 h 5005307"/>
              <a:gd name="connsiteX17" fmla="*/ 1100137 w 3357562"/>
              <a:gd name="connsiteY17" fmla="*/ 4163932 h 5005307"/>
              <a:gd name="connsiteX18" fmla="*/ 1081087 w 3357562"/>
              <a:gd name="connsiteY18" fmla="*/ 4068682 h 5005307"/>
              <a:gd name="connsiteX19" fmla="*/ 1109662 w 3357562"/>
              <a:gd name="connsiteY19" fmla="*/ 4011532 h 5005307"/>
              <a:gd name="connsiteX20" fmla="*/ 1252537 w 3357562"/>
              <a:gd name="connsiteY20" fmla="*/ 4002007 h 5005307"/>
              <a:gd name="connsiteX21" fmla="*/ 1376362 w 3357562"/>
              <a:gd name="connsiteY21" fmla="*/ 3782932 h 5005307"/>
              <a:gd name="connsiteX22" fmla="*/ 1428750 w 3357562"/>
              <a:gd name="connsiteY22" fmla="*/ 3671807 h 5005307"/>
              <a:gd name="connsiteX23" fmla="*/ 1366837 w 3357562"/>
              <a:gd name="connsiteY23" fmla="*/ 3501945 h 5005307"/>
              <a:gd name="connsiteX24" fmla="*/ 1295399 w 3357562"/>
              <a:gd name="connsiteY24" fmla="*/ 3420982 h 5005307"/>
              <a:gd name="connsiteX25" fmla="*/ 1200150 w 3357562"/>
              <a:gd name="connsiteY25" fmla="*/ 3378119 h 5005307"/>
              <a:gd name="connsiteX26" fmla="*/ 1109662 w 3357562"/>
              <a:gd name="connsiteY26" fmla="*/ 3297157 h 5005307"/>
              <a:gd name="connsiteX27" fmla="*/ 1057275 w 3357562"/>
              <a:gd name="connsiteY27" fmla="*/ 3173332 h 5005307"/>
              <a:gd name="connsiteX28" fmla="*/ 1014412 w 3357562"/>
              <a:gd name="connsiteY28" fmla="*/ 3097133 h 5005307"/>
              <a:gd name="connsiteX29" fmla="*/ 1033463 w 3357562"/>
              <a:gd name="connsiteY29" fmla="*/ 3011408 h 5005307"/>
              <a:gd name="connsiteX30" fmla="*/ 1133475 w 3357562"/>
              <a:gd name="connsiteY30" fmla="*/ 2925682 h 5005307"/>
              <a:gd name="connsiteX31" fmla="*/ 1176337 w 3357562"/>
              <a:gd name="connsiteY31" fmla="*/ 2839957 h 5005307"/>
              <a:gd name="connsiteX32" fmla="*/ 1200149 w 3357562"/>
              <a:gd name="connsiteY32" fmla="*/ 2863769 h 5005307"/>
              <a:gd name="connsiteX33" fmla="*/ 1295399 w 3357562"/>
              <a:gd name="connsiteY33" fmla="*/ 2839957 h 5005307"/>
              <a:gd name="connsiteX34" fmla="*/ 1447799 w 3357562"/>
              <a:gd name="connsiteY34" fmla="*/ 2749469 h 5005307"/>
              <a:gd name="connsiteX35" fmla="*/ 1490662 w 3357562"/>
              <a:gd name="connsiteY35" fmla="*/ 2697082 h 5005307"/>
              <a:gd name="connsiteX36" fmla="*/ 1543049 w 3357562"/>
              <a:gd name="connsiteY36" fmla="*/ 2592307 h 5005307"/>
              <a:gd name="connsiteX37" fmla="*/ 1552574 w 3357562"/>
              <a:gd name="connsiteY37" fmla="*/ 2478007 h 5005307"/>
              <a:gd name="connsiteX38" fmla="*/ 1462087 w 3357562"/>
              <a:gd name="connsiteY38" fmla="*/ 2401807 h 5005307"/>
              <a:gd name="connsiteX39" fmla="*/ 1409700 w 3357562"/>
              <a:gd name="connsiteY39" fmla="*/ 2365295 h 5005307"/>
              <a:gd name="connsiteX40" fmla="*/ 1325562 w 3357562"/>
              <a:gd name="connsiteY40" fmla="*/ 2338307 h 5005307"/>
              <a:gd name="connsiteX41" fmla="*/ 1225550 w 3357562"/>
              <a:gd name="connsiteY41" fmla="*/ 2344657 h 5005307"/>
              <a:gd name="connsiteX42" fmla="*/ 1028699 w 3357562"/>
              <a:gd name="connsiteY42" fmla="*/ 2365294 h 5005307"/>
              <a:gd name="connsiteX43" fmla="*/ 919162 w 3357562"/>
              <a:gd name="connsiteY43" fmla="*/ 2397045 h 5005307"/>
              <a:gd name="connsiteX44" fmla="*/ 895349 w 3357562"/>
              <a:gd name="connsiteY44" fmla="*/ 2316082 h 5005307"/>
              <a:gd name="connsiteX45" fmla="*/ 914399 w 3357562"/>
              <a:gd name="connsiteY45" fmla="*/ 2192257 h 5005307"/>
              <a:gd name="connsiteX46" fmla="*/ 938212 w 3357562"/>
              <a:gd name="connsiteY46" fmla="*/ 2058907 h 5005307"/>
              <a:gd name="connsiteX47" fmla="*/ 985837 w 3357562"/>
              <a:gd name="connsiteY47" fmla="*/ 1896982 h 5005307"/>
              <a:gd name="connsiteX48" fmla="*/ 957262 w 3357562"/>
              <a:gd name="connsiteY48" fmla="*/ 1820782 h 5005307"/>
              <a:gd name="connsiteX49" fmla="*/ 938212 w 3357562"/>
              <a:gd name="connsiteY49" fmla="*/ 1754107 h 5005307"/>
              <a:gd name="connsiteX50" fmla="*/ 771525 w 3357562"/>
              <a:gd name="connsiteY50" fmla="*/ 1696957 h 5005307"/>
              <a:gd name="connsiteX51" fmla="*/ 614362 w 3357562"/>
              <a:gd name="connsiteY51" fmla="*/ 1668382 h 5005307"/>
              <a:gd name="connsiteX52" fmla="*/ 633412 w 3357562"/>
              <a:gd name="connsiteY52" fmla="*/ 1563607 h 5005307"/>
              <a:gd name="connsiteX53" fmla="*/ 741362 w 3357562"/>
              <a:gd name="connsiteY53" fmla="*/ 1449307 h 5005307"/>
              <a:gd name="connsiteX54" fmla="*/ 842962 w 3357562"/>
              <a:gd name="connsiteY54" fmla="*/ 1373107 h 5005307"/>
              <a:gd name="connsiteX55" fmla="*/ 890587 w 3357562"/>
              <a:gd name="connsiteY55" fmla="*/ 1335007 h 5005307"/>
              <a:gd name="connsiteX56" fmla="*/ 890587 w 3357562"/>
              <a:gd name="connsiteY56" fmla="*/ 1277857 h 5005307"/>
              <a:gd name="connsiteX57" fmla="*/ 909637 w 3357562"/>
              <a:gd name="connsiteY57" fmla="*/ 1211182 h 5005307"/>
              <a:gd name="connsiteX58" fmla="*/ 938212 w 3357562"/>
              <a:gd name="connsiteY58" fmla="*/ 1182607 h 5005307"/>
              <a:gd name="connsiteX59" fmla="*/ 947737 w 3357562"/>
              <a:gd name="connsiteY59" fmla="*/ 1115932 h 5005307"/>
              <a:gd name="connsiteX60" fmla="*/ 947737 w 3357562"/>
              <a:gd name="connsiteY60" fmla="*/ 1030207 h 5005307"/>
              <a:gd name="connsiteX61" fmla="*/ 1017587 w 3357562"/>
              <a:gd name="connsiteY61" fmla="*/ 915907 h 5005307"/>
              <a:gd name="connsiteX62" fmla="*/ 1281112 w 3357562"/>
              <a:gd name="connsiteY62" fmla="*/ 979407 h 5005307"/>
              <a:gd name="connsiteX63" fmla="*/ 1485900 w 3357562"/>
              <a:gd name="connsiteY63" fmla="*/ 873045 h 5005307"/>
              <a:gd name="connsiteX64" fmla="*/ 1619250 w 3357562"/>
              <a:gd name="connsiteY64" fmla="*/ 747632 h 5005307"/>
              <a:gd name="connsiteX65" fmla="*/ 1739899 w 3357562"/>
              <a:gd name="connsiteY65" fmla="*/ 736520 h 5005307"/>
              <a:gd name="connsiteX66" fmla="*/ 1895474 w 3357562"/>
              <a:gd name="connsiteY66" fmla="*/ 739694 h 5005307"/>
              <a:gd name="connsiteX67" fmla="*/ 2066924 w 3357562"/>
              <a:gd name="connsiteY67" fmla="*/ 796845 h 5005307"/>
              <a:gd name="connsiteX68" fmla="*/ 2200275 w 3357562"/>
              <a:gd name="connsiteY68" fmla="*/ 882570 h 5005307"/>
              <a:gd name="connsiteX69" fmla="*/ 2295525 w 3357562"/>
              <a:gd name="connsiteY69" fmla="*/ 958770 h 5005307"/>
              <a:gd name="connsiteX70" fmla="*/ 2609849 w 3357562"/>
              <a:gd name="connsiteY70" fmla="*/ 992107 h 5005307"/>
              <a:gd name="connsiteX71" fmla="*/ 2754312 w 3357562"/>
              <a:gd name="connsiteY71" fmla="*/ 1019095 h 5005307"/>
              <a:gd name="connsiteX72" fmla="*/ 2886074 w 3357562"/>
              <a:gd name="connsiteY72" fmla="*/ 1068307 h 5005307"/>
              <a:gd name="connsiteX73" fmla="*/ 3090862 w 3357562"/>
              <a:gd name="connsiteY73" fmla="*/ 1020682 h 5005307"/>
              <a:gd name="connsiteX74" fmla="*/ 3176587 w 3357562"/>
              <a:gd name="connsiteY74" fmla="*/ 1034970 h 5005307"/>
              <a:gd name="connsiteX75" fmla="*/ 3297237 w 3357562"/>
              <a:gd name="connsiteY75" fmla="*/ 1017507 h 5005307"/>
              <a:gd name="connsiteX76" fmla="*/ 3325812 w 3357562"/>
              <a:gd name="connsiteY76" fmla="*/ 995282 h 5005307"/>
              <a:gd name="connsiteX77" fmla="*/ 3357562 w 3357562"/>
              <a:gd name="connsiteY77" fmla="*/ 934957 h 5005307"/>
              <a:gd name="connsiteX78" fmla="*/ 3336924 w 3357562"/>
              <a:gd name="connsiteY78" fmla="*/ 766682 h 5005307"/>
              <a:gd name="connsiteX79" fmla="*/ 3301999 w 3357562"/>
              <a:gd name="connsiteY79" fmla="*/ 704769 h 5005307"/>
              <a:gd name="connsiteX80" fmla="*/ 3182937 w 3357562"/>
              <a:gd name="connsiteY80" fmla="*/ 639682 h 5005307"/>
              <a:gd name="connsiteX81" fmla="*/ 3167062 w 3357562"/>
              <a:gd name="connsiteY81" fmla="*/ 582532 h 5005307"/>
              <a:gd name="connsiteX82" fmla="*/ 3119437 w 3357562"/>
              <a:gd name="connsiteY82" fmla="*/ 544432 h 5005307"/>
              <a:gd name="connsiteX83" fmla="*/ 3090862 w 3357562"/>
              <a:gd name="connsiteY83" fmla="*/ 566657 h 5005307"/>
              <a:gd name="connsiteX84" fmla="*/ 3071812 w 3357562"/>
              <a:gd name="connsiteY84" fmla="*/ 617457 h 5005307"/>
              <a:gd name="connsiteX85" fmla="*/ 3062287 w 3357562"/>
              <a:gd name="connsiteY85" fmla="*/ 668257 h 5005307"/>
              <a:gd name="connsiteX86" fmla="*/ 3019425 w 3357562"/>
              <a:gd name="connsiteY86" fmla="*/ 682545 h 5005307"/>
              <a:gd name="connsiteX87" fmla="*/ 2947987 w 3357562"/>
              <a:gd name="connsiteY87" fmla="*/ 649207 h 5005307"/>
              <a:gd name="connsiteX88" fmla="*/ 2852737 w 3357562"/>
              <a:gd name="connsiteY88" fmla="*/ 706357 h 5005307"/>
              <a:gd name="connsiteX89" fmla="*/ 2833687 w 3357562"/>
              <a:gd name="connsiteY89" fmla="*/ 734932 h 5005307"/>
              <a:gd name="connsiteX90" fmla="*/ 2824162 w 3357562"/>
              <a:gd name="connsiteY90" fmla="*/ 773032 h 5005307"/>
              <a:gd name="connsiteX91" fmla="*/ 2747962 w 3357562"/>
              <a:gd name="connsiteY91" fmla="*/ 734932 h 5005307"/>
              <a:gd name="connsiteX92" fmla="*/ 2657475 w 3357562"/>
              <a:gd name="connsiteY92" fmla="*/ 706357 h 5005307"/>
              <a:gd name="connsiteX93" fmla="*/ 2557462 w 3357562"/>
              <a:gd name="connsiteY93" fmla="*/ 658732 h 5005307"/>
              <a:gd name="connsiteX94" fmla="*/ 2433637 w 3357562"/>
              <a:gd name="connsiteY94" fmla="*/ 592057 h 5005307"/>
              <a:gd name="connsiteX95" fmla="*/ 2333624 w 3357562"/>
              <a:gd name="connsiteY95" fmla="*/ 506332 h 5005307"/>
              <a:gd name="connsiteX96" fmla="*/ 2190750 w 3357562"/>
              <a:gd name="connsiteY96" fmla="*/ 477757 h 5005307"/>
              <a:gd name="connsiteX97" fmla="*/ 2157412 w 3357562"/>
              <a:gd name="connsiteY97" fmla="*/ 363457 h 5005307"/>
              <a:gd name="connsiteX98" fmla="*/ 2143124 w 3357562"/>
              <a:gd name="connsiteY98" fmla="*/ 233282 h 5005307"/>
              <a:gd name="connsiteX99" fmla="*/ 1946729 w 3357562"/>
              <a:gd name="connsiteY99" fmla="*/ 0 h 5005307"/>
              <a:gd name="connsiteX100" fmla="*/ 1772104 w 3357562"/>
              <a:gd name="connsiteY100" fmla="*/ 76200 h 5005307"/>
              <a:gd name="connsiteX101" fmla="*/ 1680029 w 3357562"/>
              <a:gd name="connsiteY101" fmla="*/ 127000 h 5005307"/>
              <a:gd name="connsiteX102" fmla="*/ 1632404 w 3357562"/>
              <a:gd name="connsiteY102" fmla="*/ 107950 h 5005307"/>
              <a:gd name="connsiteX103" fmla="*/ 1594304 w 3357562"/>
              <a:gd name="connsiteY103" fmla="*/ 155575 h 5005307"/>
              <a:gd name="connsiteX104" fmla="*/ 1518104 w 3357562"/>
              <a:gd name="connsiteY104" fmla="*/ 165100 h 5005307"/>
              <a:gd name="connsiteX105" fmla="*/ 1372054 w 3357562"/>
              <a:gd name="connsiteY105" fmla="*/ 79375 h 5005307"/>
              <a:gd name="connsiteX106" fmla="*/ 1235529 w 3357562"/>
              <a:gd name="connsiteY106" fmla="*/ 53974 h 5005307"/>
              <a:gd name="connsiteX107" fmla="*/ 1162504 w 3357562"/>
              <a:gd name="connsiteY107" fmla="*/ 126999 h 5005307"/>
              <a:gd name="connsiteX108" fmla="*/ 1198562 w 3357562"/>
              <a:gd name="connsiteY108" fmla="*/ 230107 h 5005307"/>
              <a:gd name="connsiteX109" fmla="*/ 1166812 w 3357562"/>
              <a:gd name="connsiteY109" fmla="*/ 363457 h 5005307"/>
              <a:gd name="connsiteX110" fmla="*/ 1128712 w 3357562"/>
              <a:gd name="connsiteY110" fmla="*/ 468232 h 5005307"/>
              <a:gd name="connsiteX111" fmla="*/ 919162 w 3357562"/>
              <a:gd name="connsiteY111" fmla="*/ 630157 h 5005307"/>
              <a:gd name="connsiteX112" fmla="*/ 909637 w 3357562"/>
              <a:gd name="connsiteY112" fmla="*/ 687307 h 5005307"/>
              <a:gd name="connsiteX113" fmla="*/ 785812 w 3357562"/>
              <a:gd name="connsiteY113" fmla="*/ 706357 h 5005307"/>
              <a:gd name="connsiteX114" fmla="*/ 614362 w 3357562"/>
              <a:gd name="connsiteY114" fmla="*/ 763507 h 5005307"/>
              <a:gd name="connsiteX115" fmla="*/ 566737 w 3357562"/>
              <a:gd name="connsiteY115" fmla="*/ 874632 h 5005307"/>
              <a:gd name="connsiteX116" fmla="*/ 461962 w 3357562"/>
              <a:gd name="connsiteY116" fmla="*/ 992107 h 5005307"/>
              <a:gd name="connsiteX117" fmla="*/ 452437 w 3357562"/>
              <a:gd name="connsiteY117" fmla="*/ 1068307 h 5005307"/>
              <a:gd name="connsiteX118" fmla="*/ 461962 w 3357562"/>
              <a:gd name="connsiteY118" fmla="*/ 1192132 h 5005307"/>
              <a:gd name="connsiteX119" fmla="*/ 414337 w 3357562"/>
              <a:gd name="connsiteY119" fmla="*/ 1239757 h 5005307"/>
              <a:gd name="connsiteX120" fmla="*/ 233362 w 3357562"/>
              <a:gd name="connsiteY120" fmla="*/ 1211182 h 5005307"/>
              <a:gd name="connsiteX121" fmla="*/ 166687 w 3357562"/>
              <a:gd name="connsiteY121" fmla="*/ 1220707 h 5005307"/>
              <a:gd name="connsiteX122" fmla="*/ 61912 w 3357562"/>
              <a:gd name="connsiteY122" fmla="*/ 1296907 h 5005307"/>
              <a:gd name="connsiteX123" fmla="*/ 42862 w 3357562"/>
              <a:gd name="connsiteY123" fmla="*/ 1392157 h 5005307"/>
              <a:gd name="connsiteX124" fmla="*/ 42862 w 3357562"/>
              <a:gd name="connsiteY124" fmla="*/ 1525507 h 5005307"/>
              <a:gd name="connsiteX125" fmla="*/ 14287 w 3357562"/>
              <a:gd name="connsiteY125" fmla="*/ 1639807 h 5005307"/>
              <a:gd name="connsiteX126" fmla="*/ 0 w 3357562"/>
              <a:gd name="connsiteY126" fmla="*/ 1754107 h 5005307"/>
              <a:gd name="connsiteX127" fmla="*/ 90487 w 3357562"/>
              <a:gd name="connsiteY127" fmla="*/ 1887457 h 5005307"/>
              <a:gd name="connsiteX128" fmla="*/ 147637 w 3357562"/>
              <a:gd name="connsiteY128" fmla="*/ 2068432 h 5005307"/>
              <a:gd name="connsiteX129" fmla="*/ 204787 w 3357562"/>
              <a:gd name="connsiteY129" fmla="*/ 2277982 h 5005307"/>
              <a:gd name="connsiteX130" fmla="*/ 261937 w 3357562"/>
              <a:gd name="connsiteY130" fmla="*/ 2544682 h 5005307"/>
              <a:gd name="connsiteX131" fmla="*/ 347662 w 3357562"/>
              <a:gd name="connsiteY131" fmla="*/ 2649457 h 5005307"/>
              <a:gd name="connsiteX132" fmla="*/ 319087 w 3357562"/>
              <a:gd name="connsiteY132" fmla="*/ 2859007 h 5005307"/>
              <a:gd name="connsiteX133" fmla="*/ 390524 w 3357562"/>
              <a:gd name="connsiteY133" fmla="*/ 3016169 h 5005307"/>
              <a:gd name="connsiteX134" fmla="*/ 366712 w 3357562"/>
              <a:gd name="connsiteY134" fmla="*/ 3106657 h 5005307"/>
              <a:gd name="connsiteX135" fmla="*/ 430212 w 3357562"/>
              <a:gd name="connsiteY135" fmla="*/ 3503532 h 5005307"/>
              <a:gd name="connsiteX136" fmla="*/ 420687 w 3357562"/>
              <a:gd name="connsiteY136" fmla="*/ 3611482 h 5005307"/>
              <a:gd name="connsiteX137" fmla="*/ 369887 w 3357562"/>
              <a:gd name="connsiteY137" fmla="*/ 3748007 h 5005307"/>
              <a:gd name="connsiteX138" fmla="*/ 385762 w 3357562"/>
              <a:gd name="connsiteY138" fmla="*/ 3871832 h 5005307"/>
              <a:gd name="connsiteX139" fmla="*/ 452437 w 3357562"/>
              <a:gd name="connsiteY139" fmla="*/ 4059157 h 5005307"/>
              <a:gd name="connsiteX140" fmla="*/ 495300 w 3357562"/>
              <a:gd name="connsiteY140" fmla="*/ 4149645 h 5005307"/>
              <a:gd name="connsiteX141" fmla="*/ 519112 w 3357562"/>
              <a:gd name="connsiteY141" fmla="*/ 4254419 h 5005307"/>
              <a:gd name="connsiteX142" fmla="*/ 447674 w 3357562"/>
              <a:gd name="connsiteY142" fmla="*/ 4316332 h 5005307"/>
              <a:gd name="connsiteX143" fmla="*/ 609599 w 3357562"/>
              <a:gd name="connsiteY143" fmla="*/ 4392531 h 5005307"/>
              <a:gd name="connsiteX144" fmla="*/ 690562 w 3357562"/>
              <a:gd name="connsiteY144" fmla="*/ 4530644 h 5005307"/>
              <a:gd name="connsiteX145" fmla="*/ 750887 w 3357562"/>
              <a:gd name="connsiteY145" fmla="*/ 4567157 h 5005307"/>
              <a:gd name="connsiteX146" fmla="*/ 841375 w 3357562"/>
              <a:gd name="connsiteY146" fmla="*/ 4506832 h 5005307"/>
              <a:gd name="connsiteX147" fmla="*/ 928687 w 3357562"/>
              <a:gd name="connsiteY147" fmla="*/ 4532232 h 5005307"/>
              <a:gd name="connsiteX148" fmla="*/ 1092199 w 3357562"/>
              <a:gd name="connsiteY148" fmla="*/ 4686219 h 5005307"/>
              <a:gd name="connsiteX149" fmla="*/ 1203324 w 3357562"/>
              <a:gd name="connsiteY149" fmla="*/ 4746544 h 5005307"/>
              <a:gd name="connsiteX150" fmla="*/ 1381124 w 3357562"/>
              <a:gd name="connsiteY150" fmla="*/ 4859257 h 5005307"/>
              <a:gd name="connsiteX151" fmla="*/ 1662112 w 3357562"/>
              <a:gd name="connsiteY151" fmla="*/ 4992607 h 5005307"/>
              <a:gd name="connsiteX152" fmla="*/ 1779587 w 3357562"/>
              <a:gd name="connsiteY152" fmla="*/ 5005307 h 5005307"/>
              <a:gd name="connsiteX0" fmla="*/ 1779587 w 3357562"/>
              <a:gd name="connsiteY0" fmla="*/ 5005307 h 5005307"/>
              <a:gd name="connsiteX1" fmla="*/ 1855787 w 3357562"/>
              <a:gd name="connsiteY1" fmla="*/ 4954507 h 5005307"/>
              <a:gd name="connsiteX2" fmla="*/ 1855787 w 3357562"/>
              <a:gd name="connsiteY2" fmla="*/ 4875132 h 5005307"/>
              <a:gd name="connsiteX3" fmla="*/ 1838325 w 3357562"/>
              <a:gd name="connsiteY3" fmla="*/ 4816395 h 5005307"/>
              <a:gd name="connsiteX4" fmla="*/ 1725612 w 3357562"/>
              <a:gd name="connsiteY4" fmla="*/ 4778294 h 5005307"/>
              <a:gd name="connsiteX5" fmla="*/ 1660525 w 3357562"/>
              <a:gd name="connsiteY5" fmla="*/ 4802107 h 5005307"/>
              <a:gd name="connsiteX6" fmla="*/ 1660525 w 3357562"/>
              <a:gd name="connsiteY6" fmla="*/ 4756070 h 5005307"/>
              <a:gd name="connsiteX7" fmla="*/ 1682749 w 3357562"/>
              <a:gd name="connsiteY7" fmla="*/ 4687807 h 5005307"/>
              <a:gd name="connsiteX8" fmla="*/ 1719262 w 3357562"/>
              <a:gd name="connsiteY8" fmla="*/ 4587795 h 5005307"/>
              <a:gd name="connsiteX9" fmla="*/ 1652587 w 3357562"/>
              <a:gd name="connsiteY9" fmla="*/ 4544932 h 5005307"/>
              <a:gd name="connsiteX10" fmla="*/ 1585912 w 3357562"/>
              <a:gd name="connsiteY10" fmla="*/ 4516357 h 5005307"/>
              <a:gd name="connsiteX11" fmla="*/ 1544637 w 3357562"/>
              <a:gd name="connsiteY11" fmla="*/ 4498894 h 5005307"/>
              <a:gd name="connsiteX12" fmla="*/ 1465262 w 3357562"/>
              <a:gd name="connsiteY12" fmla="*/ 4506832 h 5005307"/>
              <a:gd name="connsiteX13" fmla="*/ 1406525 w 3357562"/>
              <a:gd name="connsiteY13" fmla="*/ 4373482 h 5005307"/>
              <a:gd name="connsiteX14" fmla="*/ 1333500 w 3357562"/>
              <a:gd name="connsiteY14" fmla="*/ 4263944 h 5005307"/>
              <a:gd name="connsiteX15" fmla="*/ 1214437 w 3357562"/>
              <a:gd name="connsiteY15" fmla="*/ 4211557 h 5005307"/>
              <a:gd name="connsiteX16" fmla="*/ 1128712 w 3357562"/>
              <a:gd name="connsiteY16" fmla="*/ 4202032 h 5005307"/>
              <a:gd name="connsiteX17" fmla="*/ 1100137 w 3357562"/>
              <a:gd name="connsiteY17" fmla="*/ 4163932 h 5005307"/>
              <a:gd name="connsiteX18" fmla="*/ 1081087 w 3357562"/>
              <a:gd name="connsiteY18" fmla="*/ 4068682 h 5005307"/>
              <a:gd name="connsiteX19" fmla="*/ 1109662 w 3357562"/>
              <a:gd name="connsiteY19" fmla="*/ 4011532 h 5005307"/>
              <a:gd name="connsiteX20" fmla="*/ 1252537 w 3357562"/>
              <a:gd name="connsiteY20" fmla="*/ 4002007 h 5005307"/>
              <a:gd name="connsiteX21" fmla="*/ 1376362 w 3357562"/>
              <a:gd name="connsiteY21" fmla="*/ 3782932 h 5005307"/>
              <a:gd name="connsiteX22" fmla="*/ 1428750 w 3357562"/>
              <a:gd name="connsiteY22" fmla="*/ 3671807 h 5005307"/>
              <a:gd name="connsiteX23" fmla="*/ 1366837 w 3357562"/>
              <a:gd name="connsiteY23" fmla="*/ 3501945 h 5005307"/>
              <a:gd name="connsiteX24" fmla="*/ 1295399 w 3357562"/>
              <a:gd name="connsiteY24" fmla="*/ 3420982 h 5005307"/>
              <a:gd name="connsiteX25" fmla="*/ 1200150 w 3357562"/>
              <a:gd name="connsiteY25" fmla="*/ 3378119 h 5005307"/>
              <a:gd name="connsiteX26" fmla="*/ 1109662 w 3357562"/>
              <a:gd name="connsiteY26" fmla="*/ 3297157 h 5005307"/>
              <a:gd name="connsiteX27" fmla="*/ 1057275 w 3357562"/>
              <a:gd name="connsiteY27" fmla="*/ 3173332 h 5005307"/>
              <a:gd name="connsiteX28" fmla="*/ 1014412 w 3357562"/>
              <a:gd name="connsiteY28" fmla="*/ 3097133 h 5005307"/>
              <a:gd name="connsiteX29" fmla="*/ 1033463 w 3357562"/>
              <a:gd name="connsiteY29" fmla="*/ 3011408 h 5005307"/>
              <a:gd name="connsiteX30" fmla="*/ 1133475 w 3357562"/>
              <a:gd name="connsiteY30" fmla="*/ 2925682 h 5005307"/>
              <a:gd name="connsiteX31" fmla="*/ 1176337 w 3357562"/>
              <a:gd name="connsiteY31" fmla="*/ 2839957 h 5005307"/>
              <a:gd name="connsiteX32" fmla="*/ 1200149 w 3357562"/>
              <a:gd name="connsiteY32" fmla="*/ 2863769 h 5005307"/>
              <a:gd name="connsiteX33" fmla="*/ 1295399 w 3357562"/>
              <a:gd name="connsiteY33" fmla="*/ 2839957 h 5005307"/>
              <a:gd name="connsiteX34" fmla="*/ 1447799 w 3357562"/>
              <a:gd name="connsiteY34" fmla="*/ 2749469 h 5005307"/>
              <a:gd name="connsiteX35" fmla="*/ 1490662 w 3357562"/>
              <a:gd name="connsiteY35" fmla="*/ 2697082 h 5005307"/>
              <a:gd name="connsiteX36" fmla="*/ 1543049 w 3357562"/>
              <a:gd name="connsiteY36" fmla="*/ 2592307 h 5005307"/>
              <a:gd name="connsiteX37" fmla="*/ 1552574 w 3357562"/>
              <a:gd name="connsiteY37" fmla="*/ 2478007 h 5005307"/>
              <a:gd name="connsiteX38" fmla="*/ 1462087 w 3357562"/>
              <a:gd name="connsiteY38" fmla="*/ 2401807 h 5005307"/>
              <a:gd name="connsiteX39" fmla="*/ 1409700 w 3357562"/>
              <a:gd name="connsiteY39" fmla="*/ 2365295 h 5005307"/>
              <a:gd name="connsiteX40" fmla="*/ 1325562 w 3357562"/>
              <a:gd name="connsiteY40" fmla="*/ 2338307 h 5005307"/>
              <a:gd name="connsiteX41" fmla="*/ 1225550 w 3357562"/>
              <a:gd name="connsiteY41" fmla="*/ 2344657 h 5005307"/>
              <a:gd name="connsiteX42" fmla="*/ 1028699 w 3357562"/>
              <a:gd name="connsiteY42" fmla="*/ 2365294 h 5005307"/>
              <a:gd name="connsiteX43" fmla="*/ 919162 w 3357562"/>
              <a:gd name="connsiteY43" fmla="*/ 2397045 h 5005307"/>
              <a:gd name="connsiteX44" fmla="*/ 895349 w 3357562"/>
              <a:gd name="connsiteY44" fmla="*/ 2316082 h 5005307"/>
              <a:gd name="connsiteX45" fmla="*/ 914399 w 3357562"/>
              <a:gd name="connsiteY45" fmla="*/ 2192257 h 5005307"/>
              <a:gd name="connsiteX46" fmla="*/ 938212 w 3357562"/>
              <a:gd name="connsiteY46" fmla="*/ 2058907 h 5005307"/>
              <a:gd name="connsiteX47" fmla="*/ 985837 w 3357562"/>
              <a:gd name="connsiteY47" fmla="*/ 1896982 h 5005307"/>
              <a:gd name="connsiteX48" fmla="*/ 957262 w 3357562"/>
              <a:gd name="connsiteY48" fmla="*/ 1820782 h 5005307"/>
              <a:gd name="connsiteX49" fmla="*/ 938212 w 3357562"/>
              <a:gd name="connsiteY49" fmla="*/ 1754107 h 5005307"/>
              <a:gd name="connsiteX50" fmla="*/ 771525 w 3357562"/>
              <a:gd name="connsiteY50" fmla="*/ 1696957 h 5005307"/>
              <a:gd name="connsiteX51" fmla="*/ 614362 w 3357562"/>
              <a:gd name="connsiteY51" fmla="*/ 1668382 h 5005307"/>
              <a:gd name="connsiteX52" fmla="*/ 633412 w 3357562"/>
              <a:gd name="connsiteY52" fmla="*/ 1563607 h 5005307"/>
              <a:gd name="connsiteX53" fmla="*/ 741362 w 3357562"/>
              <a:gd name="connsiteY53" fmla="*/ 1449307 h 5005307"/>
              <a:gd name="connsiteX54" fmla="*/ 842962 w 3357562"/>
              <a:gd name="connsiteY54" fmla="*/ 1373107 h 5005307"/>
              <a:gd name="connsiteX55" fmla="*/ 890587 w 3357562"/>
              <a:gd name="connsiteY55" fmla="*/ 1335007 h 5005307"/>
              <a:gd name="connsiteX56" fmla="*/ 890587 w 3357562"/>
              <a:gd name="connsiteY56" fmla="*/ 1277857 h 5005307"/>
              <a:gd name="connsiteX57" fmla="*/ 909637 w 3357562"/>
              <a:gd name="connsiteY57" fmla="*/ 1211182 h 5005307"/>
              <a:gd name="connsiteX58" fmla="*/ 938212 w 3357562"/>
              <a:gd name="connsiteY58" fmla="*/ 1182607 h 5005307"/>
              <a:gd name="connsiteX59" fmla="*/ 947737 w 3357562"/>
              <a:gd name="connsiteY59" fmla="*/ 1115932 h 5005307"/>
              <a:gd name="connsiteX60" fmla="*/ 947737 w 3357562"/>
              <a:gd name="connsiteY60" fmla="*/ 1030207 h 5005307"/>
              <a:gd name="connsiteX61" fmla="*/ 1017587 w 3357562"/>
              <a:gd name="connsiteY61" fmla="*/ 915907 h 5005307"/>
              <a:gd name="connsiteX62" fmla="*/ 1281112 w 3357562"/>
              <a:gd name="connsiteY62" fmla="*/ 979407 h 5005307"/>
              <a:gd name="connsiteX63" fmla="*/ 1485900 w 3357562"/>
              <a:gd name="connsiteY63" fmla="*/ 873045 h 5005307"/>
              <a:gd name="connsiteX64" fmla="*/ 1619250 w 3357562"/>
              <a:gd name="connsiteY64" fmla="*/ 747632 h 5005307"/>
              <a:gd name="connsiteX65" fmla="*/ 1739899 w 3357562"/>
              <a:gd name="connsiteY65" fmla="*/ 736520 h 5005307"/>
              <a:gd name="connsiteX66" fmla="*/ 1895474 w 3357562"/>
              <a:gd name="connsiteY66" fmla="*/ 739694 h 5005307"/>
              <a:gd name="connsiteX67" fmla="*/ 2066924 w 3357562"/>
              <a:gd name="connsiteY67" fmla="*/ 796845 h 5005307"/>
              <a:gd name="connsiteX68" fmla="*/ 2200275 w 3357562"/>
              <a:gd name="connsiteY68" fmla="*/ 882570 h 5005307"/>
              <a:gd name="connsiteX69" fmla="*/ 2295525 w 3357562"/>
              <a:gd name="connsiteY69" fmla="*/ 958770 h 5005307"/>
              <a:gd name="connsiteX70" fmla="*/ 2609849 w 3357562"/>
              <a:gd name="connsiteY70" fmla="*/ 992107 h 5005307"/>
              <a:gd name="connsiteX71" fmla="*/ 2754312 w 3357562"/>
              <a:gd name="connsiteY71" fmla="*/ 1019095 h 5005307"/>
              <a:gd name="connsiteX72" fmla="*/ 2886074 w 3357562"/>
              <a:gd name="connsiteY72" fmla="*/ 1068307 h 5005307"/>
              <a:gd name="connsiteX73" fmla="*/ 3090862 w 3357562"/>
              <a:gd name="connsiteY73" fmla="*/ 1020682 h 5005307"/>
              <a:gd name="connsiteX74" fmla="*/ 3176587 w 3357562"/>
              <a:gd name="connsiteY74" fmla="*/ 1034970 h 5005307"/>
              <a:gd name="connsiteX75" fmla="*/ 3297237 w 3357562"/>
              <a:gd name="connsiteY75" fmla="*/ 1017507 h 5005307"/>
              <a:gd name="connsiteX76" fmla="*/ 3325812 w 3357562"/>
              <a:gd name="connsiteY76" fmla="*/ 995282 h 5005307"/>
              <a:gd name="connsiteX77" fmla="*/ 3357562 w 3357562"/>
              <a:gd name="connsiteY77" fmla="*/ 934957 h 5005307"/>
              <a:gd name="connsiteX78" fmla="*/ 3336924 w 3357562"/>
              <a:gd name="connsiteY78" fmla="*/ 766682 h 5005307"/>
              <a:gd name="connsiteX79" fmla="*/ 3301999 w 3357562"/>
              <a:gd name="connsiteY79" fmla="*/ 704769 h 5005307"/>
              <a:gd name="connsiteX80" fmla="*/ 3182937 w 3357562"/>
              <a:gd name="connsiteY80" fmla="*/ 639682 h 5005307"/>
              <a:gd name="connsiteX81" fmla="*/ 3167062 w 3357562"/>
              <a:gd name="connsiteY81" fmla="*/ 582532 h 5005307"/>
              <a:gd name="connsiteX82" fmla="*/ 3119437 w 3357562"/>
              <a:gd name="connsiteY82" fmla="*/ 544432 h 5005307"/>
              <a:gd name="connsiteX83" fmla="*/ 3090862 w 3357562"/>
              <a:gd name="connsiteY83" fmla="*/ 566657 h 5005307"/>
              <a:gd name="connsiteX84" fmla="*/ 3071812 w 3357562"/>
              <a:gd name="connsiteY84" fmla="*/ 617457 h 5005307"/>
              <a:gd name="connsiteX85" fmla="*/ 3062287 w 3357562"/>
              <a:gd name="connsiteY85" fmla="*/ 668257 h 5005307"/>
              <a:gd name="connsiteX86" fmla="*/ 3019425 w 3357562"/>
              <a:gd name="connsiteY86" fmla="*/ 682545 h 5005307"/>
              <a:gd name="connsiteX87" fmla="*/ 2947987 w 3357562"/>
              <a:gd name="connsiteY87" fmla="*/ 649207 h 5005307"/>
              <a:gd name="connsiteX88" fmla="*/ 2852737 w 3357562"/>
              <a:gd name="connsiteY88" fmla="*/ 706357 h 5005307"/>
              <a:gd name="connsiteX89" fmla="*/ 2833687 w 3357562"/>
              <a:gd name="connsiteY89" fmla="*/ 734932 h 5005307"/>
              <a:gd name="connsiteX90" fmla="*/ 2824162 w 3357562"/>
              <a:gd name="connsiteY90" fmla="*/ 773032 h 5005307"/>
              <a:gd name="connsiteX91" fmla="*/ 2747962 w 3357562"/>
              <a:gd name="connsiteY91" fmla="*/ 734932 h 5005307"/>
              <a:gd name="connsiteX92" fmla="*/ 2657475 w 3357562"/>
              <a:gd name="connsiteY92" fmla="*/ 706357 h 5005307"/>
              <a:gd name="connsiteX93" fmla="*/ 2557462 w 3357562"/>
              <a:gd name="connsiteY93" fmla="*/ 658732 h 5005307"/>
              <a:gd name="connsiteX94" fmla="*/ 2433637 w 3357562"/>
              <a:gd name="connsiteY94" fmla="*/ 592057 h 5005307"/>
              <a:gd name="connsiteX95" fmla="*/ 2333624 w 3357562"/>
              <a:gd name="connsiteY95" fmla="*/ 506332 h 5005307"/>
              <a:gd name="connsiteX96" fmla="*/ 2190750 w 3357562"/>
              <a:gd name="connsiteY96" fmla="*/ 477757 h 5005307"/>
              <a:gd name="connsiteX97" fmla="*/ 2157412 w 3357562"/>
              <a:gd name="connsiteY97" fmla="*/ 363457 h 5005307"/>
              <a:gd name="connsiteX98" fmla="*/ 2143124 w 3357562"/>
              <a:gd name="connsiteY98" fmla="*/ 233282 h 5005307"/>
              <a:gd name="connsiteX99" fmla="*/ 1946729 w 3357562"/>
              <a:gd name="connsiteY99" fmla="*/ 0 h 5005307"/>
              <a:gd name="connsiteX100" fmla="*/ 1775279 w 3357562"/>
              <a:gd name="connsiteY100" fmla="*/ 88900 h 5005307"/>
              <a:gd name="connsiteX101" fmla="*/ 1680029 w 3357562"/>
              <a:gd name="connsiteY101" fmla="*/ 127000 h 5005307"/>
              <a:gd name="connsiteX102" fmla="*/ 1632404 w 3357562"/>
              <a:gd name="connsiteY102" fmla="*/ 107950 h 5005307"/>
              <a:gd name="connsiteX103" fmla="*/ 1594304 w 3357562"/>
              <a:gd name="connsiteY103" fmla="*/ 155575 h 5005307"/>
              <a:gd name="connsiteX104" fmla="*/ 1518104 w 3357562"/>
              <a:gd name="connsiteY104" fmla="*/ 165100 h 5005307"/>
              <a:gd name="connsiteX105" fmla="*/ 1372054 w 3357562"/>
              <a:gd name="connsiteY105" fmla="*/ 79375 h 5005307"/>
              <a:gd name="connsiteX106" fmla="*/ 1235529 w 3357562"/>
              <a:gd name="connsiteY106" fmla="*/ 53974 h 5005307"/>
              <a:gd name="connsiteX107" fmla="*/ 1162504 w 3357562"/>
              <a:gd name="connsiteY107" fmla="*/ 126999 h 5005307"/>
              <a:gd name="connsiteX108" fmla="*/ 1198562 w 3357562"/>
              <a:gd name="connsiteY108" fmla="*/ 230107 h 5005307"/>
              <a:gd name="connsiteX109" fmla="*/ 1166812 w 3357562"/>
              <a:gd name="connsiteY109" fmla="*/ 363457 h 5005307"/>
              <a:gd name="connsiteX110" fmla="*/ 1128712 w 3357562"/>
              <a:gd name="connsiteY110" fmla="*/ 468232 h 5005307"/>
              <a:gd name="connsiteX111" fmla="*/ 919162 w 3357562"/>
              <a:gd name="connsiteY111" fmla="*/ 630157 h 5005307"/>
              <a:gd name="connsiteX112" fmla="*/ 909637 w 3357562"/>
              <a:gd name="connsiteY112" fmla="*/ 687307 h 5005307"/>
              <a:gd name="connsiteX113" fmla="*/ 785812 w 3357562"/>
              <a:gd name="connsiteY113" fmla="*/ 706357 h 5005307"/>
              <a:gd name="connsiteX114" fmla="*/ 614362 w 3357562"/>
              <a:gd name="connsiteY114" fmla="*/ 763507 h 5005307"/>
              <a:gd name="connsiteX115" fmla="*/ 566737 w 3357562"/>
              <a:gd name="connsiteY115" fmla="*/ 874632 h 5005307"/>
              <a:gd name="connsiteX116" fmla="*/ 461962 w 3357562"/>
              <a:gd name="connsiteY116" fmla="*/ 992107 h 5005307"/>
              <a:gd name="connsiteX117" fmla="*/ 452437 w 3357562"/>
              <a:gd name="connsiteY117" fmla="*/ 1068307 h 5005307"/>
              <a:gd name="connsiteX118" fmla="*/ 461962 w 3357562"/>
              <a:gd name="connsiteY118" fmla="*/ 1192132 h 5005307"/>
              <a:gd name="connsiteX119" fmla="*/ 414337 w 3357562"/>
              <a:gd name="connsiteY119" fmla="*/ 1239757 h 5005307"/>
              <a:gd name="connsiteX120" fmla="*/ 233362 w 3357562"/>
              <a:gd name="connsiteY120" fmla="*/ 1211182 h 5005307"/>
              <a:gd name="connsiteX121" fmla="*/ 166687 w 3357562"/>
              <a:gd name="connsiteY121" fmla="*/ 1220707 h 5005307"/>
              <a:gd name="connsiteX122" fmla="*/ 61912 w 3357562"/>
              <a:gd name="connsiteY122" fmla="*/ 1296907 h 5005307"/>
              <a:gd name="connsiteX123" fmla="*/ 42862 w 3357562"/>
              <a:gd name="connsiteY123" fmla="*/ 1392157 h 5005307"/>
              <a:gd name="connsiteX124" fmla="*/ 42862 w 3357562"/>
              <a:gd name="connsiteY124" fmla="*/ 1525507 h 5005307"/>
              <a:gd name="connsiteX125" fmla="*/ 14287 w 3357562"/>
              <a:gd name="connsiteY125" fmla="*/ 1639807 h 5005307"/>
              <a:gd name="connsiteX126" fmla="*/ 0 w 3357562"/>
              <a:gd name="connsiteY126" fmla="*/ 1754107 h 5005307"/>
              <a:gd name="connsiteX127" fmla="*/ 90487 w 3357562"/>
              <a:gd name="connsiteY127" fmla="*/ 1887457 h 5005307"/>
              <a:gd name="connsiteX128" fmla="*/ 147637 w 3357562"/>
              <a:gd name="connsiteY128" fmla="*/ 2068432 h 5005307"/>
              <a:gd name="connsiteX129" fmla="*/ 204787 w 3357562"/>
              <a:gd name="connsiteY129" fmla="*/ 2277982 h 5005307"/>
              <a:gd name="connsiteX130" fmla="*/ 261937 w 3357562"/>
              <a:gd name="connsiteY130" fmla="*/ 2544682 h 5005307"/>
              <a:gd name="connsiteX131" fmla="*/ 347662 w 3357562"/>
              <a:gd name="connsiteY131" fmla="*/ 2649457 h 5005307"/>
              <a:gd name="connsiteX132" fmla="*/ 319087 w 3357562"/>
              <a:gd name="connsiteY132" fmla="*/ 2859007 h 5005307"/>
              <a:gd name="connsiteX133" fmla="*/ 390524 w 3357562"/>
              <a:gd name="connsiteY133" fmla="*/ 3016169 h 5005307"/>
              <a:gd name="connsiteX134" fmla="*/ 366712 w 3357562"/>
              <a:gd name="connsiteY134" fmla="*/ 3106657 h 5005307"/>
              <a:gd name="connsiteX135" fmla="*/ 430212 w 3357562"/>
              <a:gd name="connsiteY135" fmla="*/ 3503532 h 5005307"/>
              <a:gd name="connsiteX136" fmla="*/ 420687 w 3357562"/>
              <a:gd name="connsiteY136" fmla="*/ 3611482 h 5005307"/>
              <a:gd name="connsiteX137" fmla="*/ 369887 w 3357562"/>
              <a:gd name="connsiteY137" fmla="*/ 3748007 h 5005307"/>
              <a:gd name="connsiteX138" fmla="*/ 385762 w 3357562"/>
              <a:gd name="connsiteY138" fmla="*/ 3871832 h 5005307"/>
              <a:gd name="connsiteX139" fmla="*/ 452437 w 3357562"/>
              <a:gd name="connsiteY139" fmla="*/ 4059157 h 5005307"/>
              <a:gd name="connsiteX140" fmla="*/ 495300 w 3357562"/>
              <a:gd name="connsiteY140" fmla="*/ 4149645 h 5005307"/>
              <a:gd name="connsiteX141" fmla="*/ 519112 w 3357562"/>
              <a:gd name="connsiteY141" fmla="*/ 4254419 h 5005307"/>
              <a:gd name="connsiteX142" fmla="*/ 447674 w 3357562"/>
              <a:gd name="connsiteY142" fmla="*/ 4316332 h 5005307"/>
              <a:gd name="connsiteX143" fmla="*/ 609599 w 3357562"/>
              <a:gd name="connsiteY143" fmla="*/ 4392531 h 5005307"/>
              <a:gd name="connsiteX144" fmla="*/ 690562 w 3357562"/>
              <a:gd name="connsiteY144" fmla="*/ 4530644 h 5005307"/>
              <a:gd name="connsiteX145" fmla="*/ 750887 w 3357562"/>
              <a:gd name="connsiteY145" fmla="*/ 4567157 h 5005307"/>
              <a:gd name="connsiteX146" fmla="*/ 841375 w 3357562"/>
              <a:gd name="connsiteY146" fmla="*/ 4506832 h 5005307"/>
              <a:gd name="connsiteX147" fmla="*/ 928687 w 3357562"/>
              <a:gd name="connsiteY147" fmla="*/ 4532232 h 5005307"/>
              <a:gd name="connsiteX148" fmla="*/ 1092199 w 3357562"/>
              <a:gd name="connsiteY148" fmla="*/ 4686219 h 5005307"/>
              <a:gd name="connsiteX149" fmla="*/ 1203324 w 3357562"/>
              <a:gd name="connsiteY149" fmla="*/ 4746544 h 5005307"/>
              <a:gd name="connsiteX150" fmla="*/ 1381124 w 3357562"/>
              <a:gd name="connsiteY150" fmla="*/ 4859257 h 5005307"/>
              <a:gd name="connsiteX151" fmla="*/ 1662112 w 3357562"/>
              <a:gd name="connsiteY151" fmla="*/ 4992607 h 5005307"/>
              <a:gd name="connsiteX152" fmla="*/ 1779587 w 3357562"/>
              <a:gd name="connsiteY152" fmla="*/ 5005307 h 5005307"/>
              <a:gd name="connsiteX0" fmla="*/ 1779587 w 3357562"/>
              <a:gd name="connsiteY0" fmla="*/ 5005307 h 5005307"/>
              <a:gd name="connsiteX1" fmla="*/ 1855787 w 3357562"/>
              <a:gd name="connsiteY1" fmla="*/ 4954507 h 5005307"/>
              <a:gd name="connsiteX2" fmla="*/ 1855787 w 3357562"/>
              <a:gd name="connsiteY2" fmla="*/ 4875132 h 5005307"/>
              <a:gd name="connsiteX3" fmla="*/ 1838325 w 3357562"/>
              <a:gd name="connsiteY3" fmla="*/ 4816395 h 5005307"/>
              <a:gd name="connsiteX4" fmla="*/ 1725612 w 3357562"/>
              <a:gd name="connsiteY4" fmla="*/ 4778294 h 5005307"/>
              <a:gd name="connsiteX5" fmla="*/ 1660525 w 3357562"/>
              <a:gd name="connsiteY5" fmla="*/ 4802107 h 5005307"/>
              <a:gd name="connsiteX6" fmla="*/ 1660525 w 3357562"/>
              <a:gd name="connsiteY6" fmla="*/ 4756070 h 5005307"/>
              <a:gd name="connsiteX7" fmla="*/ 1682749 w 3357562"/>
              <a:gd name="connsiteY7" fmla="*/ 4687807 h 5005307"/>
              <a:gd name="connsiteX8" fmla="*/ 1719262 w 3357562"/>
              <a:gd name="connsiteY8" fmla="*/ 4587795 h 5005307"/>
              <a:gd name="connsiteX9" fmla="*/ 1652587 w 3357562"/>
              <a:gd name="connsiteY9" fmla="*/ 4544932 h 5005307"/>
              <a:gd name="connsiteX10" fmla="*/ 1585912 w 3357562"/>
              <a:gd name="connsiteY10" fmla="*/ 4516357 h 5005307"/>
              <a:gd name="connsiteX11" fmla="*/ 1544637 w 3357562"/>
              <a:gd name="connsiteY11" fmla="*/ 4498894 h 5005307"/>
              <a:gd name="connsiteX12" fmla="*/ 1465262 w 3357562"/>
              <a:gd name="connsiteY12" fmla="*/ 4506832 h 5005307"/>
              <a:gd name="connsiteX13" fmla="*/ 1406525 w 3357562"/>
              <a:gd name="connsiteY13" fmla="*/ 4373482 h 5005307"/>
              <a:gd name="connsiteX14" fmla="*/ 1333500 w 3357562"/>
              <a:gd name="connsiteY14" fmla="*/ 4263944 h 5005307"/>
              <a:gd name="connsiteX15" fmla="*/ 1214437 w 3357562"/>
              <a:gd name="connsiteY15" fmla="*/ 4211557 h 5005307"/>
              <a:gd name="connsiteX16" fmla="*/ 1128712 w 3357562"/>
              <a:gd name="connsiteY16" fmla="*/ 4202032 h 5005307"/>
              <a:gd name="connsiteX17" fmla="*/ 1100137 w 3357562"/>
              <a:gd name="connsiteY17" fmla="*/ 4163932 h 5005307"/>
              <a:gd name="connsiteX18" fmla="*/ 1081087 w 3357562"/>
              <a:gd name="connsiteY18" fmla="*/ 4068682 h 5005307"/>
              <a:gd name="connsiteX19" fmla="*/ 1109662 w 3357562"/>
              <a:gd name="connsiteY19" fmla="*/ 4011532 h 5005307"/>
              <a:gd name="connsiteX20" fmla="*/ 1252537 w 3357562"/>
              <a:gd name="connsiteY20" fmla="*/ 4002007 h 5005307"/>
              <a:gd name="connsiteX21" fmla="*/ 1376362 w 3357562"/>
              <a:gd name="connsiteY21" fmla="*/ 3782932 h 5005307"/>
              <a:gd name="connsiteX22" fmla="*/ 1428750 w 3357562"/>
              <a:gd name="connsiteY22" fmla="*/ 3671807 h 5005307"/>
              <a:gd name="connsiteX23" fmla="*/ 1366837 w 3357562"/>
              <a:gd name="connsiteY23" fmla="*/ 3501945 h 5005307"/>
              <a:gd name="connsiteX24" fmla="*/ 1295399 w 3357562"/>
              <a:gd name="connsiteY24" fmla="*/ 3420982 h 5005307"/>
              <a:gd name="connsiteX25" fmla="*/ 1200150 w 3357562"/>
              <a:gd name="connsiteY25" fmla="*/ 3378119 h 5005307"/>
              <a:gd name="connsiteX26" fmla="*/ 1109662 w 3357562"/>
              <a:gd name="connsiteY26" fmla="*/ 3297157 h 5005307"/>
              <a:gd name="connsiteX27" fmla="*/ 1057275 w 3357562"/>
              <a:gd name="connsiteY27" fmla="*/ 3173332 h 5005307"/>
              <a:gd name="connsiteX28" fmla="*/ 1014412 w 3357562"/>
              <a:gd name="connsiteY28" fmla="*/ 3097133 h 5005307"/>
              <a:gd name="connsiteX29" fmla="*/ 1033463 w 3357562"/>
              <a:gd name="connsiteY29" fmla="*/ 3011408 h 5005307"/>
              <a:gd name="connsiteX30" fmla="*/ 1133475 w 3357562"/>
              <a:gd name="connsiteY30" fmla="*/ 2925682 h 5005307"/>
              <a:gd name="connsiteX31" fmla="*/ 1176337 w 3357562"/>
              <a:gd name="connsiteY31" fmla="*/ 2839957 h 5005307"/>
              <a:gd name="connsiteX32" fmla="*/ 1200149 w 3357562"/>
              <a:gd name="connsiteY32" fmla="*/ 2863769 h 5005307"/>
              <a:gd name="connsiteX33" fmla="*/ 1295399 w 3357562"/>
              <a:gd name="connsiteY33" fmla="*/ 2839957 h 5005307"/>
              <a:gd name="connsiteX34" fmla="*/ 1447799 w 3357562"/>
              <a:gd name="connsiteY34" fmla="*/ 2749469 h 5005307"/>
              <a:gd name="connsiteX35" fmla="*/ 1490662 w 3357562"/>
              <a:gd name="connsiteY35" fmla="*/ 2697082 h 5005307"/>
              <a:gd name="connsiteX36" fmla="*/ 1543049 w 3357562"/>
              <a:gd name="connsiteY36" fmla="*/ 2592307 h 5005307"/>
              <a:gd name="connsiteX37" fmla="*/ 1552574 w 3357562"/>
              <a:gd name="connsiteY37" fmla="*/ 2478007 h 5005307"/>
              <a:gd name="connsiteX38" fmla="*/ 1462087 w 3357562"/>
              <a:gd name="connsiteY38" fmla="*/ 2401807 h 5005307"/>
              <a:gd name="connsiteX39" fmla="*/ 1409700 w 3357562"/>
              <a:gd name="connsiteY39" fmla="*/ 2365295 h 5005307"/>
              <a:gd name="connsiteX40" fmla="*/ 1325562 w 3357562"/>
              <a:gd name="connsiteY40" fmla="*/ 2338307 h 5005307"/>
              <a:gd name="connsiteX41" fmla="*/ 1225550 w 3357562"/>
              <a:gd name="connsiteY41" fmla="*/ 2344657 h 5005307"/>
              <a:gd name="connsiteX42" fmla="*/ 1028699 w 3357562"/>
              <a:gd name="connsiteY42" fmla="*/ 2365294 h 5005307"/>
              <a:gd name="connsiteX43" fmla="*/ 919162 w 3357562"/>
              <a:gd name="connsiteY43" fmla="*/ 2397045 h 5005307"/>
              <a:gd name="connsiteX44" fmla="*/ 895349 w 3357562"/>
              <a:gd name="connsiteY44" fmla="*/ 2316082 h 5005307"/>
              <a:gd name="connsiteX45" fmla="*/ 914399 w 3357562"/>
              <a:gd name="connsiteY45" fmla="*/ 2192257 h 5005307"/>
              <a:gd name="connsiteX46" fmla="*/ 938212 w 3357562"/>
              <a:gd name="connsiteY46" fmla="*/ 2058907 h 5005307"/>
              <a:gd name="connsiteX47" fmla="*/ 985837 w 3357562"/>
              <a:gd name="connsiteY47" fmla="*/ 1896982 h 5005307"/>
              <a:gd name="connsiteX48" fmla="*/ 957262 w 3357562"/>
              <a:gd name="connsiteY48" fmla="*/ 1820782 h 5005307"/>
              <a:gd name="connsiteX49" fmla="*/ 938212 w 3357562"/>
              <a:gd name="connsiteY49" fmla="*/ 1754107 h 5005307"/>
              <a:gd name="connsiteX50" fmla="*/ 771525 w 3357562"/>
              <a:gd name="connsiteY50" fmla="*/ 1696957 h 5005307"/>
              <a:gd name="connsiteX51" fmla="*/ 614362 w 3357562"/>
              <a:gd name="connsiteY51" fmla="*/ 1668382 h 5005307"/>
              <a:gd name="connsiteX52" fmla="*/ 633412 w 3357562"/>
              <a:gd name="connsiteY52" fmla="*/ 1563607 h 5005307"/>
              <a:gd name="connsiteX53" fmla="*/ 741362 w 3357562"/>
              <a:gd name="connsiteY53" fmla="*/ 1449307 h 5005307"/>
              <a:gd name="connsiteX54" fmla="*/ 842962 w 3357562"/>
              <a:gd name="connsiteY54" fmla="*/ 1373107 h 5005307"/>
              <a:gd name="connsiteX55" fmla="*/ 890587 w 3357562"/>
              <a:gd name="connsiteY55" fmla="*/ 1335007 h 5005307"/>
              <a:gd name="connsiteX56" fmla="*/ 890587 w 3357562"/>
              <a:gd name="connsiteY56" fmla="*/ 1277857 h 5005307"/>
              <a:gd name="connsiteX57" fmla="*/ 909637 w 3357562"/>
              <a:gd name="connsiteY57" fmla="*/ 1211182 h 5005307"/>
              <a:gd name="connsiteX58" fmla="*/ 938212 w 3357562"/>
              <a:gd name="connsiteY58" fmla="*/ 1182607 h 5005307"/>
              <a:gd name="connsiteX59" fmla="*/ 947737 w 3357562"/>
              <a:gd name="connsiteY59" fmla="*/ 1115932 h 5005307"/>
              <a:gd name="connsiteX60" fmla="*/ 947737 w 3357562"/>
              <a:gd name="connsiteY60" fmla="*/ 1030207 h 5005307"/>
              <a:gd name="connsiteX61" fmla="*/ 1017587 w 3357562"/>
              <a:gd name="connsiteY61" fmla="*/ 915907 h 5005307"/>
              <a:gd name="connsiteX62" fmla="*/ 1281112 w 3357562"/>
              <a:gd name="connsiteY62" fmla="*/ 979407 h 5005307"/>
              <a:gd name="connsiteX63" fmla="*/ 1485900 w 3357562"/>
              <a:gd name="connsiteY63" fmla="*/ 873045 h 5005307"/>
              <a:gd name="connsiteX64" fmla="*/ 1619250 w 3357562"/>
              <a:gd name="connsiteY64" fmla="*/ 747632 h 5005307"/>
              <a:gd name="connsiteX65" fmla="*/ 1739899 w 3357562"/>
              <a:gd name="connsiteY65" fmla="*/ 736520 h 5005307"/>
              <a:gd name="connsiteX66" fmla="*/ 1895474 w 3357562"/>
              <a:gd name="connsiteY66" fmla="*/ 739694 h 5005307"/>
              <a:gd name="connsiteX67" fmla="*/ 2066924 w 3357562"/>
              <a:gd name="connsiteY67" fmla="*/ 796845 h 5005307"/>
              <a:gd name="connsiteX68" fmla="*/ 2200275 w 3357562"/>
              <a:gd name="connsiteY68" fmla="*/ 882570 h 5005307"/>
              <a:gd name="connsiteX69" fmla="*/ 2295525 w 3357562"/>
              <a:gd name="connsiteY69" fmla="*/ 958770 h 5005307"/>
              <a:gd name="connsiteX70" fmla="*/ 2609849 w 3357562"/>
              <a:gd name="connsiteY70" fmla="*/ 992107 h 5005307"/>
              <a:gd name="connsiteX71" fmla="*/ 2754312 w 3357562"/>
              <a:gd name="connsiteY71" fmla="*/ 1019095 h 5005307"/>
              <a:gd name="connsiteX72" fmla="*/ 2886074 w 3357562"/>
              <a:gd name="connsiteY72" fmla="*/ 1068307 h 5005307"/>
              <a:gd name="connsiteX73" fmla="*/ 3090862 w 3357562"/>
              <a:gd name="connsiteY73" fmla="*/ 1020682 h 5005307"/>
              <a:gd name="connsiteX74" fmla="*/ 3176587 w 3357562"/>
              <a:gd name="connsiteY74" fmla="*/ 1034970 h 5005307"/>
              <a:gd name="connsiteX75" fmla="*/ 3297237 w 3357562"/>
              <a:gd name="connsiteY75" fmla="*/ 1017507 h 5005307"/>
              <a:gd name="connsiteX76" fmla="*/ 3325812 w 3357562"/>
              <a:gd name="connsiteY76" fmla="*/ 995282 h 5005307"/>
              <a:gd name="connsiteX77" fmla="*/ 3357562 w 3357562"/>
              <a:gd name="connsiteY77" fmla="*/ 934957 h 5005307"/>
              <a:gd name="connsiteX78" fmla="*/ 3336924 w 3357562"/>
              <a:gd name="connsiteY78" fmla="*/ 766682 h 5005307"/>
              <a:gd name="connsiteX79" fmla="*/ 3301999 w 3357562"/>
              <a:gd name="connsiteY79" fmla="*/ 704769 h 5005307"/>
              <a:gd name="connsiteX80" fmla="*/ 3182937 w 3357562"/>
              <a:gd name="connsiteY80" fmla="*/ 639682 h 5005307"/>
              <a:gd name="connsiteX81" fmla="*/ 3167062 w 3357562"/>
              <a:gd name="connsiteY81" fmla="*/ 582532 h 5005307"/>
              <a:gd name="connsiteX82" fmla="*/ 3119437 w 3357562"/>
              <a:gd name="connsiteY82" fmla="*/ 544432 h 5005307"/>
              <a:gd name="connsiteX83" fmla="*/ 3090862 w 3357562"/>
              <a:gd name="connsiteY83" fmla="*/ 566657 h 5005307"/>
              <a:gd name="connsiteX84" fmla="*/ 3071812 w 3357562"/>
              <a:gd name="connsiteY84" fmla="*/ 617457 h 5005307"/>
              <a:gd name="connsiteX85" fmla="*/ 3062287 w 3357562"/>
              <a:gd name="connsiteY85" fmla="*/ 668257 h 5005307"/>
              <a:gd name="connsiteX86" fmla="*/ 3019425 w 3357562"/>
              <a:gd name="connsiteY86" fmla="*/ 682545 h 5005307"/>
              <a:gd name="connsiteX87" fmla="*/ 2947987 w 3357562"/>
              <a:gd name="connsiteY87" fmla="*/ 649207 h 5005307"/>
              <a:gd name="connsiteX88" fmla="*/ 2852737 w 3357562"/>
              <a:gd name="connsiteY88" fmla="*/ 706357 h 5005307"/>
              <a:gd name="connsiteX89" fmla="*/ 2833687 w 3357562"/>
              <a:gd name="connsiteY89" fmla="*/ 734932 h 5005307"/>
              <a:gd name="connsiteX90" fmla="*/ 2824162 w 3357562"/>
              <a:gd name="connsiteY90" fmla="*/ 773032 h 5005307"/>
              <a:gd name="connsiteX91" fmla="*/ 2747962 w 3357562"/>
              <a:gd name="connsiteY91" fmla="*/ 734932 h 5005307"/>
              <a:gd name="connsiteX92" fmla="*/ 2657475 w 3357562"/>
              <a:gd name="connsiteY92" fmla="*/ 706357 h 5005307"/>
              <a:gd name="connsiteX93" fmla="*/ 2557462 w 3357562"/>
              <a:gd name="connsiteY93" fmla="*/ 658732 h 5005307"/>
              <a:gd name="connsiteX94" fmla="*/ 2433637 w 3357562"/>
              <a:gd name="connsiteY94" fmla="*/ 592057 h 5005307"/>
              <a:gd name="connsiteX95" fmla="*/ 2333624 w 3357562"/>
              <a:gd name="connsiteY95" fmla="*/ 506332 h 5005307"/>
              <a:gd name="connsiteX96" fmla="*/ 2190750 w 3357562"/>
              <a:gd name="connsiteY96" fmla="*/ 477757 h 5005307"/>
              <a:gd name="connsiteX97" fmla="*/ 2157412 w 3357562"/>
              <a:gd name="connsiteY97" fmla="*/ 363457 h 5005307"/>
              <a:gd name="connsiteX98" fmla="*/ 2143124 w 3357562"/>
              <a:gd name="connsiteY98" fmla="*/ 233282 h 5005307"/>
              <a:gd name="connsiteX99" fmla="*/ 2022929 w 3357562"/>
              <a:gd name="connsiteY99" fmla="*/ 95250 h 5005307"/>
              <a:gd name="connsiteX100" fmla="*/ 1946729 w 3357562"/>
              <a:gd name="connsiteY100" fmla="*/ 0 h 5005307"/>
              <a:gd name="connsiteX101" fmla="*/ 1775279 w 3357562"/>
              <a:gd name="connsiteY101" fmla="*/ 88900 h 5005307"/>
              <a:gd name="connsiteX102" fmla="*/ 1680029 w 3357562"/>
              <a:gd name="connsiteY102" fmla="*/ 127000 h 5005307"/>
              <a:gd name="connsiteX103" fmla="*/ 1632404 w 3357562"/>
              <a:gd name="connsiteY103" fmla="*/ 107950 h 5005307"/>
              <a:gd name="connsiteX104" fmla="*/ 1594304 w 3357562"/>
              <a:gd name="connsiteY104" fmla="*/ 155575 h 5005307"/>
              <a:gd name="connsiteX105" fmla="*/ 1518104 w 3357562"/>
              <a:gd name="connsiteY105" fmla="*/ 165100 h 5005307"/>
              <a:gd name="connsiteX106" fmla="*/ 1372054 w 3357562"/>
              <a:gd name="connsiteY106" fmla="*/ 79375 h 5005307"/>
              <a:gd name="connsiteX107" fmla="*/ 1235529 w 3357562"/>
              <a:gd name="connsiteY107" fmla="*/ 53974 h 5005307"/>
              <a:gd name="connsiteX108" fmla="*/ 1162504 w 3357562"/>
              <a:gd name="connsiteY108" fmla="*/ 126999 h 5005307"/>
              <a:gd name="connsiteX109" fmla="*/ 1198562 w 3357562"/>
              <a:gd name="connsiteY109" fmla="*/ 230107 h 5005307"/>
              <a:gd name="connsiteX110" fmla="*/ 1166812 w 3357562"/>
              <a:gd name="connsiteY110" fmla="*/ 363457 h 5005307"/>
              <a:gd name="connsiteX111" fmla="*/ 1128712 w 3357562"/>
              <a:gd name="connsiteY111" fmla="*/ 468232 h 5005307"/>
              <a:gd name="connsiteX112" fmla="*/ 919162 w 3357562"/>
              <a:gd name="connsiteY112" fmla="*/ 630157 h 5005307"/>
              <a:gd name="connsiteX113" fmla="*/ 909637 w 3357562"/>
              <a:gd name="connsiteY113" fmla="*/ 687307 h 5005307"/>
              <a:gd name="connsiteX114" fmla="*/ 785812 w 3357562"/>
              <a:gd name="connsiteY114" fmla="*/ 706357 h 5005307"/>
              <a:gd name="connsiteX115" fmla="*/ 614362 w 3357562"/>
              <a:gd name="connsiteY115" fmla="*/ 763507 h 5005307"/>
              <a:gd name="connsiteX116" fmla="*/ 566737 w 3357562"/>
              <a:gd name="connsiteY116" fmla="*/ 874632 h 5005307"/>
              <a:gd name="connsiteX117" fmla="*/ 461962 w 3357562"/>
              <a:gd name="connsiteY117" fmla="*/ 992107 h 5005307"/>
              <a:gd name="connsiteX118" fmla="*/ 452437 w 3357562"/>
              <a:gd name="connsiteY118" fmla="*/ 1068307 h 5005307"/>
              <a:gd name="connsiteX119" fmla="*/ 461962 w 3357562"/>
              <a:gd name="connsiteY119" fmla="*/ 1192132 h 5005307"/>
              <a:gd name="connsiteX120" fmla="*/ 414337 w 3357562"/>
              <a:gd name="connsiteY120" fmla="*/ 1239757 h 5005307"/>
              <a:gd name="connsiteX121" fmla="*/ 233362 w 3357562"/>
              <a:gd name="connsiteY121" fmla="*/ 1211182 h 5005307"/>
              <a:gd name="connsiteX122" fmla="*/ 166687 w 3357562"/>
              <a:gd name="connsiteY122" fmla="*/ 1220707 h 5005307"/>
              <a:gd name="connsiteX123" fmla="*/ 61912 w 3357562"/>
              <a:gd name="connsiteY123" fmla="*/ 1296907 h 5005307"/>
              <a:gd name="connsiteX124" fmla="*/ 42862 w 3357562"/>
              <a:gd name="connsiteY124" fmla="*/ 1392157 h 5005307"/>
              <a:gd name="connsiteX125" fmla="*/ 42862 w 3357562"/>
              <a:gd name="connsiteY125" fmla="*/ 1525507 h 5005307"/>
              <a:gd name="connsiteX126" fmla="*/ 14287 w 3357562"/>
              <a:gd name="connsiteY126" fmla="*/ 1639807 h 5005307"/>
              <a:gd name="connsiteX127" fmla="*/ 0 w 3357562"/>
              <a:gd name="connsiteY127" fmla="*/ 1754107 h 5005307"/>
              <a:gd name="connsiteX128" fmla="*/ 90487 w 3357562"/>
              <a:gd name="connsiteY128" fmla="*/ 1887457 h 5005307"/>
              <a:gd name="connsiteX129" fmla="*/ 147637 w 3357562"/>
              <a:gd name="connsiteY129" fmla="*/ 2068432 h 5005307"/>
              <a:gd name="connsiteX130" fmla="*/ 204787 w 3357562"/>
              <a:gd name="connsiteY130" fmla="*/ 2277982 h 5005307"/>
              <a:gd name="connsiteX131" fmla="*/ 261937 w 3357562"/>
              <a:gd name="connsiteY131" fmla="*/ 2544682 h 5005307"/>
              <a:gd name="connsiteX132" fmla="*/ 347662 w 3357562"/>
              <a:gd name="connsiteY132" fmla="*/ 2649457 h 5005307"/>
              <a:gd name="connsiteX133" fmla="*/ 319087 w 3357562"/>
              <a:gd name="connsiteY133" fmla="*/ 2859007 h 5005307"/>
              <a:gd name="connsiteX134" fmla="*/ 390524 w 3357562"/>
              <a:gd name="connsiteY134" fmla="*/ 3016169 h 5005307"/>
              <a:gd name="connsiteX135" fmla="*/ 366712 w 3357562"/>
              <a:gd name="connsiteY135" fmla="*/ 3106657 h 5005307"/>
              <a:gd name="connsiteX136" fmla="*/ 430212 w 3357562"/>
              <a:gd name="connsiteY136" fmla="*/ 3503532 h 5005307"/>
              <a:gd name="connsiteX137" fmla="*/ 420687 w 3357562"/>
              <a:gd name="connsiteY137" fmla="*/ 3611482 h 5005307"/>
              <a:gd name="connsiteX138" fmla="*/ 369887 w 3357562"/>
              <a:gd name="connsiteY138" fmla="*/ 3748007 h 5005307"/>
              <a:gd name="connsiteX139" fmla="*/ 385762 w 3357562"/>
              <a:gd name="connsiteY139" fmla="*/ 3871832 h 5005307"/>
              <a:gd name="connsiteX140" fmla="*/ 452437 w 3357562"/>
              <a:gd name="connsiteY140" fmla="*/ 4059157 h 5005307"/>
              <a:gd name="connsiteX141" fmla="*/ 495300 w 3357562"/>
              <a:gd name="connsiteY141" fmla="*/ 4149645 h 5005307"/>
              <a:gd name="connsiteX142" fmla="*/ 519112 w 3357562"/>
              <a:gd name="connsiteY142" fmla="*/ 4254419 h 5005307"/>
              <a:gd name="connsiteX143" fmla="*/ 447674 w 3357562"/>
              <a:gd name="connsiteY143" fmla="*/ 4316332 h 5005307"/>
              <a:gd name="connsiteX144" fmla="*/ 609599 w 3357562"/>
              <a:gd name="connsiteY144" fmla="*/ 4392531 h 5005307"/>
              <a:gd name="connsiteX145" fmla="*/ 690562 w 3357562"/>
              <a:gd name="connsiteY145" fmla="*/ 4530644 h 5005307"/>
              <a:gd name="connsiteX146" fmla="*/ 750887 w 3357562"/>
              <a:gd name="connsiteY146" fmla="*/ 4567157 h 5005307"/>
              <a:gd name="connsiteX147" fmla="*/ 841375 w 3357562"/>
              <a:gd name="connsiteY147" fmla="*/ 4506832 h 5005307"/>
              <a:gd name="connsiteX148" fmla="*/ 928687 w 3357562"/>
              <a:gd name="connsiteY148" fmla="*/ 4532232 h 5005307"/>
              <a:gd name="connsiteX149" fmla="*/ 1092199 w 3357562"/>
              <a:gd name="connsiteY149" fmla="*/ 4686219 h 5005307"/>
              <a:gd name="connsiteX150" fmla="*/ 1203324 w 3357562"/>
              <a:gd name="connsiteY150" fmla="*/ 4746544 h 5005307"/>
              <a:gd name="connsiteX151" fmla="*/ 1381124 w 3357562"/>
              <a:gd name="connsiteY151" fmla="*/ 4859257 h 5005307"/>
              <a:gd name="connsiteX152" fmla="*/ 1662112 w 3357562"/>
              <a:gd name="connsiteY152" fmla="*/ 4992607 h 5005307"/>
              <a:gd name="connsiteX153" fmla="*/ 1779587 w 3357562"/>
              <a:gd name="connsiteY153" fmla="*/ 5005307 h 5005307"/>
              <a:gd name="connsiteX0" fmla="*/ 1779587 w 3357562"/>
              <a:gd name="connsiteY0" fmla="*/ 5005307 h 5005307"/>
              <a:gd name="connsiteX1" fmla="*/ 1855787 w 3357562"/>
              <a:gd name="connsiteY1" fmla="*/ 4954507 h 5005307"/>
              <a:gd name="connsiteX2" fmla="*/ 1855787 w 3357562"/>
              <a:gd name="connsiteY2" fmla="*/ 4875132 h 5005307"/>
              <a:gd name="connsiteX3" fmla="*/ 1838325 w 3357562"/>
              <a:gd name="connsiteY3" fmla="*/ 4816395 h 5005307"/>
              <a:gd name="connsiteX4" fmla="*/ 1725612 w 3357562"/>
              <a:gd name="connsiteY4" fmla="*/ 4778294 h 5005307"/>
              <a:gd name="connsiteX5" fmla="*/ 1660525 w 3357562"/>
              <a:gd name="connsiteY5" fmla="*/ 4802107 h 5005307"/>
              <a:gd name="connsiteX6" fmla="*/ 1660525 w 3357562"/>
              <a:gd name="connsiteY6" fmla="*/ 4756070 h 5005307"/>
              <a:gd name="connsiteX7" fmla="*/ 1682749 w 3357562"/>
              <a:gd name="connsiteY7" fmla="*/ 4687807 h 5005307"/>
              <a:gd name="connsiteX8" fmla="*/ 1719262 w 3357562"/>
              <a:gd name="connsiteY8" fmla="*/ 4587795 h 5005307"/>
              <a:gd name="connsiteX9" fmla="*/ 1652587 w 3357562"/>
              <a:gd name="connsiteY9" fmla="*/ 4544932 h 5005307"/>
              <a:gd name="connsiteX10" fmla="*/ 1585912 w 3357562"/>
              <a:gd name="connsiteY10" fmla="*/ 4516357 h 5005307"/>
              <a:gd name="connsiteX11" fmla="*/ 1544637 w 3357562"/>
              <a:gd name="connsiteY11" fmla="*/ 4498894 h 5005307"/>
              <a:gd name="connsiteX12" fmla="*/ 1465262 w 3357562"/>
              <a:gd name="connsiteY12" fmla="*/ 4506832 h 5005307"/>
              <a:gd name="connsiteX13" fmla="*/ 1406525 w 3357562"/>
              <a:gd name="connsiteY13" fmla="*/ 4373482 h 5005307"/>
              <a:gd name="connsiteX14" fmla="*/ 1333500 w 3357562"/>
              <a:gd name="connsiteY14" fmla="*/ 4263944 h 5005307"/>
              <a:gd name="connsiteX15" fmla="*/ 1214437 w 3357562"/>
              <a:gd name="connsiteY15" fmla="*/ 4211557 h 5005307"/>
              <a:gd name="connsiteX16" fmla="*/ 1128712 w 3357562"/>
              <a:gd name="connsiteY16" fmla="*/ 4202032 h 5005307"/>
              <a:gd name="connsiteX17" fmla="*/ 1100137 w 3357562"/>
              <a:gd name="connsiteY17" fmla="*/ 4163932 h 5005307"/>
              <a:gd name="connsiteX18" fmla="*/ 1081087 w 3357562"/>
              <a:gd name="connsiteY18" fmla="*/ 4068682 h 5005307"/>
              <a:gd name="connsiteX19" fmla="*/ 1109662 w 3357562"/>
              <a:gd name="connsiteY19" fmla="*/ 4011532 h 5005307"/>
              <a:gd name="connsiteX20" fmla="*/ 1252537 w 3357562"/>
              <a:gd name="connsiteY20" fmla="*/ 4002007 h 5005307"/>
              <a:gd name="connsiteX21" fmla="*/ 1376362 w 3357562"/>
              <a:gd name="connsiteY21" fmla="*/ 3782932 h 5005307"/>
              <a:gd name="connsiteX22" fmla="*/ 1428750 w 3357562"/>
              <a:gd name="connsiteY22" fmla="*/ 3671807 h 5005307"/>
              <a:gd name="connsiteX23" fmla="*/ 1366837 w 3357562"/>
              <a:gd name="connsiteY23" fmla="*/ 3501945 h 5005307"/>
              <a:gd name="connsiteX24" fmla="*/ 1295399 w 3357562"/>
              <a:gd name="connsiteY24" fmla="*/ 3420982 h 5005307"/>
              <a:gd name="connsiteX25" fmla="*/ 1200150 w 3357562"/>
              <a:gd name="connsiteY25" fmla="*/ 3378119 h 5005307"/>
              <a:gd name="connsiteX26" fmla="*/ 1109662 w 3357562"/>
              <a:gd name="connsiteY26" fmla="*/ 3297157 h 5005307"/>
              <a:gd name="connsiteX27" fmla="*/ 1057275 w 3357562"/>
              <a:gd name="connsiteY27" fmla="*/ 3173332 h 5005307"/>
              <a:gd name="connsiteX28" fmla="*/ 1014412 w 3357562"/>
              <a:gd name="connsiteY28" fmla="*/ 3097133 h 5005307"/>
              <a:gd name="connsiteX29" fmla="*/ 1033463 w 3357562"/>
              <a:gd name="connsiteY29" fmla="*/ 3011408 h 5005307"/>
              <a:gd name="connsiteX30" fmla="*/ 1133475 w 3357562"/>
              <a:gd name="connsiteY30" fmla="*/ 2925682 h 5005307"/>
              <a:gd name="connsiteX31" fmla="*/ 1176337 w 3357562"/>
              <a:gd name="connsiteY31" fmla="*/ 2839957 h 5005307"/>
              <a:gd name="connsiteX32" fmla="*/ 1200149 w 3357562"/>
              <a:gd name="connsiteY32" fmla="*/ 2863769 h 5005307"/>
              <a:gd name="connsiteX33" fmla="*/ 1295399 w 3357562"/>
              <a:gd name="connsiteY33" fmla="*/ 2839957 h 5005307"/>
              <a:gd name="connsiteX34" fmla="*/ 1447799 w 3357562"/>
              <a:gd name="connsiteY34" fmla="*/ 2749469 h 5005307"/>
              <a:gd name="connsiteX35" fmla="*/ 1490662 w 3357562"/>
              <a:gd name="connsiteY35" fmla="*/ 2697082 h 5005307"/>
              <a:gd name="connsiteX36" fmla="*/ 1543049 w 3357562"/>
              <a:gd name="connsiteY36" fmla="*/ 2592307 h 5005307"/>
              <a:gd name="connsiteX37" fmla="*/ 1552574 w 3357562"/>
              <a:gd name="connsiteY37" fmla="*/ 2478007 h 5005307"/>
              <a:gd name="connsiteX38" fmla="*/ 1462087 w 3357562"/>
              <a:gd name="connsiteY38" fmla="*/ 2401807 h 5005307"/>
              <a:gd name="connsiteX39" fmla="*/ 1409700 w 3357562"/>
              <a:gd name="connsiteY39" fmla="*/ 2365295 h 5005307"/>
              <a:gd name="connsiteX40" fmla="*/ 1325562 w 3357562"/>
              <a:gd name="connsiteY40" fmla="*/ 2338307 h 5005307"/>
              <a:gd name="connsiteX41" fmla="*/ 1225550 w 3357562"/>
              <a:gd name="connsiteY41" fmla="*/ 2344657 h 5005307"/>
              <a:gd name="connsiteX42" fmla="*/ 1028699 w 3357562"/>
              <a:gd name="connsiteY42" fmla="*/ 2365294 h 5005307"/>
              <a:gd name="connsiteX43" fmla="*/ 919162 w 3357562"/>
              <a:gd name="connsiteY43" fmla="*/ 2397045 h 5005307"/>
              <a:gd name="connsiteX44" fmla="*/ 895349 w 3357562"/>
              <a:gd name="connsiteY44" fmla="*/ 2316082 h 5005307"/>
              <a:gd name="connsiteX45" fmla="*/ 914399 w 3357562"/>
              <a:gd name="connsiteY45" fmla="*/ 2192257 h 5005307"/>
              <a:gd name="connsiteX46" fmla="*/ 938212 w 3357562"/>
              <a:gd name="connsiteY46" fmla="*/ 2058907 h 5005307"/>
              <a:gd name="connsiteX47" fmla="*/ 985837 w 3357562"/>
              <a:gd name="connsiteY47" fmla="*/ 1896982 h 5005307"/>
              <a:gd name="connsiteX48" fmla="*/ 957262 w 3357562"/>
              <a:gd name="connsiteY48" fmla="*/ 1820782 h 5005307"/>
              <a:gd name="connsiteX49" fmla="*/ 938212 w 3357562"/>
              <a:gd name="connsiteY49" fmla="*/ 1754107 h 5005307"/>
              <a:gd name="connsiteX50" fmla="*/ 771525 w 3357562"/>
              <a:gd name="connsiteY50" fmla="*/ 1696957 h 5005307"/>
              <a:gd name="connsiteX51" fmla="*/ 614362 w 3357562"/>
              <a:gd name="connsiteY51" fmla="*/ 1668382 h 5005307"/>
              <a:gd name="connsiteX52" fmla="*/ 633412 w 3357562"/>
              <a:gd name="connsiteY52" fmla="*/ 1563607 h 5005307"/>
              <a:gd name="connsiteX53" fmla="*/ 741362 w 3357562"/>
              <a:gd name="connsiteY53" fmla="*/ 1449307 h 5005307"/>
              <a:gd name="connsiteX54" fmla="*/ 842962 w 3357562"/>
              <a:gd name="connsiteY54" fmla="*/ 1373107 h 5005307"/>
              <a:gd name="connsiteX55" fmla="*/ 890587 w 3357562"/>
              <a:gd name="connsiteY55" fmla="*/ 1335007 h 5005307"/>
              <a:gd name="connsiteX56" fmla="*/ 890587 w 3357562"/>
              <a:gd name="connsiteY56" fmla="*/ 1277857 h 5005307"/>
              <a:gd name="connsiteX57" fmla="*/ 909637 w 3357562"/>
              <a:gd name="connsiteY57" fmla="*/ 1211182 h 5005307"/>
              <a:gd name="connsiteX58" fmla="*/ 938212 w 3357562"/>
              <a:gd name="connsiteY58" fmla="*/ 1182607 h 5005307"/>
              <a:gd name="connsiteX59" fmla="*/ 947737 w 3357562"/>
              <a:gd name="connsiteY59" fmla="*/ 1115932 h 5005307"/>
              <a:gd name="connsiteX60" fmla="*/ 947737 w 3357562"/>
              <a:gd name="connsiteY60" fmla="*/ 1030207 h 5005307"/>
              <a:gd name="connsiteX61" fmla="*/ 1017587 w 3357562"/>
              <a:gd name="connsiteY61" fmla="*/ 915907 h 5005307"/>
              <a:gd name="connsiteX62" fmla="*/ 1281112 w 3357562"/>
              <a:gd name="connsiteY62" fmla="*/ 979407 h 5005307"/>
              <a:gd name="connsiteX63" fmla="*/ 1485900 w 3357562"/>
              <a:gd name="connsiteY63" fmla="*/ 873045 h 5005307"/>
              <a:gd name="connsiteX64" fmla="*/ 1619250 w 3357562"/>
              <a:gd name="connsiteY64" fmla="*/ 747632 h 5005307"/>
              <a:gd name="connsiteX65" fmla="*/ 1739899 w 3357562"/>
              <a:gd name="connsiteY65" fmla="*/ 736520 h 5005307"/>
              <a:gd name="connsiteX66" fmla="*/ 1895474 w 3357562"/>
              <a:gd name="connsiteY66" fmla="*/ 739694 h 5005307"/>
              <a:gd name="connsiteX67" fmla="*/ 2066924 w 3357562"/>
              <a:gd name="connsiteY67" fmla="*/ 796845 h 5005307"/>
              <a:gd name="connsiteX68" fmla="*/ 2200275 w 3357562"/>
              <a:gd name="connsiteY68" fmla="*/ 882570 h 5005307"/>
              <a:gd name="connsiteX69" fmla="*/ 2295525 w 3357562"/>
              <a:gd name="connsiteY69" fmla="*/ 958770 h 5005307"/>
              <a:gd name="connsiteX70" fmla="*/ 2609849 w 3357562"/>
              <a:gd name="connsiteY70" fmla="*/ 992107 h 5005307"/>
              <a:gd name="connsiteX71" fmla="*/ 2754312 w 3357562"/>
              <a:gd name="connsiteY71" fmla="*/ 1019095 h 5005307"/>
              <a:gd name="connsiteX72" fmla="*/ 2886074 w 3357562"/>
              <a:gd name="connsiteY72" fmla="*/ 1068307 h 5005307"/>
              <a:gd name="connsiteX73" fmla="*/ 3090862 w 3357562"/>
              <a:gd name="connsiteY73" fmla="*/ 1020682 h 5005307"/>
              <a:gd name="connsiteX74" fmla="*/ 3176587 w 3357562"/>
              <a:gd name="connsiteY74" fmla="*/ 1034970 h 5005307"/>
              <a:gd name="connsiteX75" fmla="*/ 3297237 w 3357562"/>
              <a:gd name="connsiteY75" fmla="*/ 1017507 h 5005307"/>
              <a:gd name="connsiteX76" fmla="*/ 3325812 w 3357562"/>
              <a:gd name="connsiteY76" fmla="*/ 995282 h 5005307"/>
              <a:gd name="connsiteX77" fmla="*/ 3357562 w 3357562"/>
              <a:gd name="connsiteY77" fmla="*/ 934957 h 5005307"/>
              <a:gd name="connsiteX78" fmla="*/ 3336924 w 3357562"/>
              <a:gd name="connsiteY78" fmla="*/ 766682 h 5005307"/>
              <a:gd name="connsiteX79" fmla="*/ 3301999 w 3357562"/>
              <a:gd name="connsiteY79" fmla="*/ 704769 h 5005307"/>
              <a:gd name="connsiteX80" fmla="*/ 3182937 w 3357562"/>
              <a:gd name="connsiteY80" fmla="*/ 639682 h 5005307"/>
              <a:gd name="connsiteX81" fmla="*/ 3167062 w 3357562"/>
              <a:gd name="connsiteY81" fmla="*/ 582532 h 5005307"/>
              <a:gd name="connsiteX82" fmla="*/ 3119437 w 3357562"/>
              <a:gd name="connsiteY82" fmla="*/ 544432 h 5005307"/>
              <a:gd name="connsiteX83" fmla="*/ 3090862 w 3357562"/>
              <a:gd name="connsiteY83" fmla="*/ 566657 h 5005307"/>
              <a:gd name="connsiteX84" fmla="*/ 3071812 w 3357562"/>
              <a:gd name="connsiteY84" fmla="*/ 617457 h 5005307"/>
              <a:gd name="connsiteX85" fmla="*/ 3062287 w 3357562"/>
              <a:gd name="connsiteY85" fmla="*/ 668257 h 5005307"/>
              <a:gd name="connsiteX86" fmla="*/ 3019425 w 3357562"/>
              <a:gd name="connsiteY86" fmla="*/ 682545 h 5005307"/>
              <a:gd name="connsiteX87" fmla="*/ 2947987 w 3357562"/>
              <a:gd name="connsiteY87" fmla="*/ 649207 h 5005307"/>
              <a:gd name="connsiteX88" fmla="*/ 2852737 w 3357562"/>
              <a:gd name="connsiteY88" fmla="*/ 706357 h 5005307"/>
              <a:gd name="connsiteX89" fmla="*/ 2833687 w 3357562"/>
              <a:gd name="connsiteY89" fmla="*/ 734932 h 5005307"/>
              <a:gd name="connsiteX90" fmla="*/ 2824162 w 3357562"/>
              <a:gd name="connsiteY90" fmla="*/ 773032 h 5005307"/>
              <a:gd name="connsiteX91" fmla="*/ 2747962 w 3357562"/>
              <a:gd name="connsiteY91" fmla="*/ 734932 h 5005307"/>
              <a:gd name="connsiteX92" fmla="*/ 2657475 w 3357562"/>
              <a:gd name="connsiteY92" fmla="*/ 706357 h 5005307"/>
              <a:gd name="connsiteX93" fmla="*/ 2557462 w 3357562"/>
              <a:gd name="connsiteY93" fmla="*/ 658732 h 5005307"/>
              <a:gd name="connsiteX94" fmla="*/ 2433637 w 3357562"/>
              <a:gd name="connsiteY94" fmla="*/ 592057 h 5005307"/>
              <a:gd name="connsiteX95" fmla="*/ 2333624 w 3357562"/>
              <a:gd name="connsiteY95" fmla="*/ 506332 h 5005307"/>
              <a:gd name="connsiteX96" fmla="*/ 2190750 w 3357562"/>
              <a:gd name="connsiteY96" fmla="*/ 477757 h 5005307"/>
              <a:gd name="connsiteX97" fmla="*/ 2157412 w 3357562"/>
              <a:gd name="connsiteY97" fmla="*/ 363457 h 5005307"/>
              <a:gd name="connsiteX98" fmla="*/ 2143124 w 3357562"/>
              <a:gd name="connsiteY98" fmla="*/ 233282 h 5005307"/>
              <a:gd name="connsiteX99" fmla="*/ 2041979 w 3357562"/>
              <a:gd name="connsiteY99" fmla="*/ 82550 h 5005307"/>
              <a:gd name="connsiteX100" fmla="*/ 1946729 w 3357562"/>
              <a:gd name="connsiteY100" fmla="*/ 0 h 5005307"/>
              <a:gd name="connsiteX101" fmla="*/ 1775279 w 3357562"/>
              <a:gd name="connsiteY101" fmla="*/ 88900 h 5005307"/>
              <a:gd name="connsiteX102" fmla="*/ 1680029 w 3357562"/>
              <a:gd name="connsiteY102" fmla="*/ 127000 h 5005307"/>
              <a:gd name="connsiteX103" fmla="*/ 1632404 w 3357562"/>
              <a:gd name="connsiteY103" fmla="*/ 107950 h 5005307"/>
              <a:gd name="connsiteX104" fmla="*/ 1594304 w 3357562"/>
              <a:gd name="connsiteY104" fmla="*/ 155575 h 5005307"/>
              <a:gd name="connsiteX105" fmla="*/ 1518104 w 3357562"/>
              <a:gd name="connsiteY105" fmla="*/ 165100 h 5005307"/>
              <a:gd name="connsiteX106" fmla="*/ 1372054 w 3357562"/>
              <a:gd name="connsiteY106" fmla="*/ 79375 h 5005307"/>
              <a:gd name="connsiteX107" fmla="*/ 1235529 w 3357562"/>
              <a:gd name="connsiteY107" fmla="*/ 53974 h 5005307"/>
              <a:gd name="connsiteX108" fmla="*/ 1162504 w 3357562"/>
              <a:gd name="connsiteY108" fmla="*/ 126999 h 5005307"/>
              <a:gd name="connsiteX109" fmla="*/ 1198562 w 3357562"/>
              <a:gd name="connsiteY109" fmla="*/ 230107 h 5005307"/>
              <a:gd name="connsiteX110" fmla="*/ 1166812 w 3357562"/>
              <a:gd name="connsiteY110" fmla="*/ 363457 h 5005307"/>
              <a:gd name="connsiteX111" fmla="*/ 1128712 w 3357562"/>
              <a:gd name="connsiteY111" fmla="*/ 468232 h 5005307"/>
              <a:gd name="connsiteX112" fmla="*/ 919162 w 3357562"/>
              <a:gd name="connsiteY112" fmla="*/ 630157 h 5005307"/>
              <a:gd name="connsiteX113" fmla="*/ 909637 w 3357562"/>
              <a:gd name="connsiteY113" fmla="*/ 687307 h 5005307"/>
              <a:gd name="connsiteX114" fmla="*/ 785812 w 3357562"/>
              <a:gd name="connsiteY114" fmla="*/ 706357 h 5005307"/>
              <a:gd name="connsiteX115" fmla="*/ 614362 w 3357562"/>
              <a:gd name="connsiteY115" fmla="*/ 763507 h 5005307"/>
              <a:gd name="connsiteX116" fmla="*/ 566737 w 3357562"/>
              <a:gd name="connsiteY116" fmla="*/ 874632 h 5005307"/>
              <a:gd name="connsiteX117" fmla="*/ 461962 w 3357562"/>
              <a:gd name="connsiteY117" fmla="*/ 992107 h 5005307"/>
              <a:gd name="connsiteX118" fmla="*/ 452437 w 3357562"/>
              <a:gd name="connsiteY118" fmla="*/ 1068307 h 5005307"/>
              <a:gd name="connsiteX119" fmla="*/ 461962 w 3357562"/>
              <a:gd name="connsiteY119" fmla="*/ 1192132 h 5005307"/>
              <a:gd name="connsiteX120" fmla="*/ 414337 w 3357562"/>
              <a:gd name="connsiteY120" fmla="*/ 1239757 h 5005307"/>
              <a:gd name="connsiteX121" fmla="*/ 233362 w 3357562"/>
              <a:gd name="connsiteY121" fmla="*/ 1211182 h 5005307"/>
              <a:gd name="connsiteX122" fmla="*/ 166687 w 3357562"/>
              <a:gd name="connsiteY122" fmla="*/ 1220707 h 5005307"/>
              <a:gd name="connsiteX123" fmla="*/ 61912 w 3357562"/>
              <a:gd name="connsiteY123" fmla="*/ 1296907 h 5005307"/>
              <a:gd name="connsiteX124" fmla="*/ 42862 w 3357562"/>
              <a:gd name="connsiteY124" fmla="*/ 1392157 h 5005307"/>
              <a:gd name="connsiteX125" fmla="*/ 42862 w 3357562"/>
              <a:gd name="connsiteY125" fmla="*/ 1525507 h 5005307"/>
              <a:gd name="connsiteX126" fmla="*/ 14287 w 3357562"/>
              <a:gd name="connsiteY126" fmla="*/ 1639807 h 5005307"/>
              <a:gd name="connsiteX127" fmla="*/ 0 w 3357562"/>
              <a:gd name="connsiteY127" fmla="*/ 1754107 h 5005307"/>
              <a:gd name="connsiteX128" fmla="*/ 90487 w 3357562"/>
              <a:gd name="connsiteY128" fmla="*/ 1887457 h 5005307"/>
              <a:gd name="connsiteX129" fmla="*/ 147637 w 3357562"/>
              <a:gd name="connsiteY129" fmla="*/ 2068432 h 5005307"/>
              <a:gd name="connsiteX130" fmla="*/ 204787 w 3357562"/>
              <a:gd name="connsiteY130" fmla="*/ 2277982 h 5005307"/>
              <a:gd name="connsiteX131" fmla="*/ 261937 w 3357562"/>
              <a:gd name="connsiteY131" fmla="*/ 2544682 h 5005307"/>
              <a:gd name="connsiteX132" fmla="*/ 347662 w 3357562"/>
              <a:gd name="connsiteY132" fmla="*/ 2649457 h 5005307"/>
              <a:gd name="connsiteX133" fmla="*/ 319087 w 3357562"/>
              <a:gd name="connsiteY133" fmla="*/ 2859007 h 5005307"/>
              <a:gd name="connsiteX134" fmla="*/ 390524 w 3357562"/>
              <a:gd name="connsiteY134" fmla="*/ 3016169 h 5005307"/>
              <a:gd name="connsiteX135" fmla="*/ 366712 w 3357562"/>
              <a:gd name="connsiteY135" fmla="*/ 3106657 h 5005307"/>
              <a:gd name="connsiteX136" fmla="*/ 430212 w 3357562"/>
              <a:gd name="connsiteY136" fmla="*/ 3503532 h 5005307"/>
              <a:gd name="connsiteX137" fmla="*/ 420687 w 3357562"/>
              <a:gd name="connsiteY137" fmla="*/ 3611482 h 5005307"/>
              <a:gd name="connsiteX138" fmla="*/ 369887 w 3357562"/>
              <a:gd name="connsiteY138" fmla="*/ 3748007 h 5005307"/>
              <a:gd name="connsiteX139" fmla="*/ 385762 w 3357562"/>
              <a:gd name="connsiteY139" fmla="*/ 3871832 h 5005307"/>
              <a:gd name="connsiteX140" fmla="*/ 452437 w 3357562"/>
              <a:gd name="connsiteY140" fmla="*/ 4059157 h 5005307"/>
              <a:gd name="connsiteX141" fmla="*/ 495300 w 3357562"/>
              <a:gd name="connsiteY141" fmla="*/ 4149645 h 5005307"/>
              <a:gd name="connsiteX142" fmla="*/ 519112 w 3357562"/>
              <a:gd name="connsiteY142" fmla="*/ 4254419 h 5005307"/>
              <a:gd name="connsiteX143" fmla="*/ 447674 w 3357562"/>
              <a:gd name="connsiteY143" fmla="*/ 4316332 h 5005307"/>
              <a:gd name="connsiteX144" fmla="*/ 609599 w 3357562"/>
              <a:gd name="connsiteY144" fmla="*/ 4392531 h 5005307"/>
              <a:gd name="connsiteX145" fmla="*/ 690562 w 3357562"/>
              <a:gd name="connsiteY145" fmla="*/ 4530644 h 5005307"/>
              <a:gd name="connsiteX146" fmla="*/ 750887 w 3357562"/>
              <a:gd name="connsiteY146" fmla="*/ 4567157 h 5005307"/>
              <a:gd name="connsiteX147" fmla="*/ 841375 w 3357562"/>
              <a:gd name="connsiteY147" fmla="*/ 4506832 h 5005307"/>
              <a:gd name="connsiteX148" fmla="*/ 928687 w 3357562"/>
              <a:gd name="connsiteY148" fmla="*/ 4532232 h 5005307"/>
              <a:gd name="connsiteX149" fmla="*/ 1092199 w 3357562"/>
              <a:gd name="connsiteY149" fmla="*/ 4686219 h 5005307"/>
              <a:gd name="connsiteX150" fmla="*/ 1203324 w 3357562"/>
              <a:gd name="connsiteY150" fmla="*/ 4746544 h 5005307"/>
              <a:gd name="connsiteX151" fmla="*/ 1381124 w 3357562"/>
              <a:gd name="connsiteY151" fmla="*/ 4859257 h 5005307"/>
              <a:gd name="connsiteX152" fmla="*/ 1662112 w 3357562"/>
              <a:gd name="connsiteY152" fmla="*/ 4992607 h 5005307"/>
              <a:gd name="connsiteX153" fmla="*/ 1779587 w 3357562"/>
              <a:gd name="connsiteY153" fmla="*/ 5005307 h 5005307"/>
              <a:gd name="connsiteX0" fmla="*/ 1779587 w 3357562"/>
              <a:gd name="connsiteY0" fmla="*/ 5005307 h 5005307"/>
              <a:gd name="connsiteX1" fmla="*/ 1855787 w 3357562"/>
              <a:gd name="connsiteY1" fmla="*/ 4954507 h 5005307"/>
              <a:gd name="connsiteX2" fmla="*/ 1855787 w 3357562"/>
              <a:gd name="connsiteY2" fmla="*/ 4875132 h 5005307"/>
              <a:gd name="connsiteX3" fmla="*/ 1838325 w 3357562"/>
              <a:gd name="connsiteY3" fmla="*/ 4816395 h 5005307"/>
              <a:gd name="connsiteX4" fmla="*/ 1725612 w 3357562"/>
              <a:gd name="connsiteY4" fmla="*/ 4778294 h 5005307"/>
              <a:gd name="connsiteX5" fmla="*/ 1660525 w 3357562"/>
              <a:gd name="connsiteY5" fmla="*/ 4802107 h 5005307"/>
              <a:gd name="connsiteX6" fmla="*/ 1660525 w 3357562"/>
              <a:gd name="connsiteY6" fmla="*/ 4756070 h 5005307"/>
              <a:gd name="connsiteX7" fmla="*/ 1682749 w 3357562"/>
              <a:gd name="connsiteY7" fmla="*/ 4687807 h 5005307"/>
              <a:gd name="connsiteX8" fmla="*/ 1719262 w 3357562"/>
              <a:gd name="connsiteY8" fmla="*/ 4587795 h 5005307"/>
              <a:gd name="connsiteX9" fmla="*/ 1652587 w 3357562"/>
              <a:gd name="connsiteY9" fmla="*/ 4544932 h 5005307"/>
              <a:gd name="connsiteX10" fmla="*/ 1585912 w 3357562"/>
              <a:gd name="connsiteY10" fmla="*/ 4516357 h 5005307"/>
              <a:gd name="connsiteX11" fmla="*/ 1544637 w 3357562"/>
              <a:gd name="connsiteY11" fmla="*/ 4498894 h 5005307"/>
              <a:gd name="connsiteX12" fmla="*/ 1465262 w 3357562"/>
              <a:gd name="connsiteY12" fmla="*/ 4506832 h 5005307"/>
              <a:gd name="connsiteX13" fmla="*/ 1406525 w 3357562"/>
              <a:gd name="connsiteY13" fmla="*/ 4373482 h 5005307"/>
              <a:gd name="connsiteX14" fmla="*/ 1333500 w 3357562"/>
              <a:gd name="connsiteY14" fmla="*/ 4263944 h 5005307"/>
              <a:gd name="connsiteX15" fmla="*/ 1214437 w 3357562"/>
              <a:gd name="connsiteY15" fmla="*/ 4211557 h 5005307"/>
              <a:gd name="connsiteX16" fmla="*/ 1128712 w 3357562"/>
              <a:gd name="connsiteY16" fmla="*/ 4202032 h 5005307"/>
              <a:gd name="connsiteX17" fmla="*/ 1100137 w 3357562"/>
              <a:gd name="connsiteY17" fmla="*/ 4163932 h 5005307"/>
              <a:gd name="connsiteX18" fmla="*/ 1081087 w 3357562"/>
              <a:gd name="connsiteY18" fmla="*/ 4068682 h 5005307"/>
              <a:gd name="connsiteX19" fmla="*/ 1109662 w 3357562"/>
              <a:gd name="connsiteY19" fmla="*/ 4011532 h 5005307"/>
              <a:gd name="connsiteX20" fmla="*/ 1252537 w 3357562"/>
              <a:gd name="connsiteY20" fmla="*/ 4002007 h 5005307"/>
              <a:gd name="connsiteX21" fmla="*/ 1376362 w 3357562"/>
              <a:gd name="connsiteY21" fmla="*/ 3782932 h 5005307"/>
              <a:gd name="connsiteX22" fmla="*/ 1428750 w 3357562"/>
              <a:gd name="connsiteY22" fmla="*/ 3671807 h 5005307"/>
              <a:gd name="connsiteX23" fmla="*/ 1366837 w 3357562"/>
              <a:gd name="connsiteY23" fmla="*/ 3501945 h 5005307"/>
              <a:gd name="connsiteX24" fmla="*/ 1295399 w 3357562"/>
              <a:gd name="connsiteY24" fmla="*/ 3420982 h 5005307"/>
              <a:gd name="connsiteX25" fmla="*/ 1200150 w 3357562"/>
              <a:gd name="connsiteY25" fmla="*/ 3378119 h 5005307"/>
              <a:gd name="connsiteX26" fmla="*/ 1109662 w 3357562"/>
              <a:gd name="connsiteY26" fmla="*/ 3297157 h 5005307"/>
              <a:gd name="connsiteX27" fmla="*/ 1057275 w 3357562"/>
              <a:gd name="connsiteY27" fmla="*/ 3173332 h 5005307"/>
              <a:gd name="connsiteX28" fmla="*/ 1014412 w 3357562"/>
              <a:gd name="connsiteY28" fmla="*/ 3097133 h 5005307"/>
              <a:gd name="connsiteX29" fmla="*/ 1033463 w 3357562"/>
              <a:gd name="connsiteY29" fmla="*/ 3011408 h 5005307"/>
              <a:gd name="connsiteX30" fmla="*/ 1133475 w 3357562"/>
              <a:gd name="connsiteY30" fmla="*/ 2925682 h 5005307"/>
              <a:gd name="connsiteX31" fmla="*/ 1176337 w 3357562"/>
              <a:gd name="connsiteY31" fmla="*/ 2839957 h 5005307"/>
              <a:gd name="connsiteX32" fmla="*/ 1200149 w 3357562"/>
              <a:gd name="connsiteY32" fmla="*/ 2863769 h 5005307"/>
              <a:gd name="connsiteX33" fmla="*/ 1295399 w 3357562"/>
              <a:gd name="connsiteY33" fmla="*/ 2839957 h 5005307"/>
              <a:gd name="connsiteX34" fmla="*/ 1447799 w 3357562"/>
              <a:gd name="connsiteY34" fmla="*/ 2749469 h 5005307"/>
              <a:gd name="connsiteX35" fmla="*/ 1490662 w 3357562"/>
              <a:gd name="connsiteY35" fmla="*/ 2697082 h 5005307"/>
              <a:gd name="connsiteX36" fmla="*/ 1543049 w 3357562"/>
              <a:gd name="connsiteY36" fmla="*/ 2592307 h 5005307"/>
              <a:gd name="connsiteX37" fmla="*/ 1552574 w 3357562"/>
              <a:gd name="connsiteY37" fmla="*/ 2478007 h 5005307"/>
              <a:gd name="connsiteX38" fmla="*/ 1462087 w 3357562"/>
              <a:gd name="connsiteY38" fmla="*/ 2401807 h 5005307"/>
              <a:gd name="connsiteX39" fmla="*/ 1409700 w 3357562"/>
              <a:gd name="connsiteY39" fmla="*/ 2365295 h 5005307"/>
              <a:gd name="connsiteX40" fmla="*/ 1325562 w 3357562"/>
              <a:gd name="connsiteY40" fmla="*/ 2338307 h 5005307"/>
              <a:gd name="connsiteX41" fmla="*/ 1225550 w 3357562"/>
              <a:gd name="connsiteY41" fmla="*/ 2344657 h 5005307"/>
              <a:gd name="connsiteX42" fmla="*/ 1028699 w 3357562"/>
              <a:gd name="connsiteY42" fmla="*/ 2365294 h 5005307"/>
              <a:gd name="connsiteX43" fmla="*/ 919162 w 3357562"/>
              <a:gd name="connsiteY43" fmla="*/ 2397045 h 5005307"/>
              <a:gd name="connsiteX44" fmla="*/ 895349 w 3357562"/>
              <a:gd name="connsiteY44" fmla="*/ 2316082 h 5005307"/>
              <a:gd name="connsiteX45" fmla="*/ 914399 w 3357562"/>
              <a:gd name="connsiteY45" fmla="*/ 2192257 h 5005307"/>
              <a:gd name="connsiteX46" fmla="*/ 938212 w 3357562"/>
              <a:gd name="connsiteY46" fmla="*/ 2058907 h 5005307"/>
              <a:gd name="connsiteX47" fmla="*/ 985837 w 3357562"/>
              <a:gd name="connsiteY47" fmla="*/ 1896982 h 5005307"/>
              <a:gd name="connsiteX48" fmla="*/ 957262 w 3357562"/>
              <a:gd name="connsiteY48" fmla="*/ 1820782 h 5005307"/>
              <a:gd name="connsiteX49" fmla="*/ 938212 w 3357562"/>
              <a:gd name="connsiteY49" fmla="*/ 1754107 h 5005307"/>
              <a:gd name="connsiteX50" fmla="*/ 771525 w 3357562"/>
              <a:gd name="connsiteY50" fmla="*/ 1696957 h 5005307"/>
              <a:gd name="connsiteX51" fmla="*/ 614362 w 3357562"/>
              <a:gd name="connsiteY51" fmla="*/ 1668382 h 5005307"/>
              <a:gd name="connsiteX52" fmla="*/ 633412 w 3357562"/>
              <a:gd name="connsiteY52" fmla="*/ 1563607 h 5005307"/>
              <a:gd name="connsiteX53" fmla="*/ 741362 w 3357562"/>
              <a:gd name="connsiteY53" fmla="*/ 1449307 h 5005307"/>
              <a:gd name="connsiteX54" fmla="*/ 842962 w 3357562"/>
              <a:gd name="connsiteY54" fmla="*/ 1373107 h 5005307"/>
              <a:gd name="connsiteX55" fmla="*/ 890587 w 3357562"/>
              <a:gd name="connsiteY55" fmla="*/ 1335007 h 5005307"/>
              <a:gd name="connsiteX56" fmla="*/ 890587 w 3357562"/>
              <a:gd name="connsiteY56" fmla="*/ 1277857 h 5005307"/>
              <a:gd name="connsiteX57" fmla="*/ 909637 w 3357562"/>
              <a:gd name="connsiteY57" fmla="*/ 1211182 h 5005307"/>
              <a:gd name="connsiteX58" fmla="*/ 938212 w 3357562"/>
              <a:gd name="connsiteY58" fmla="*/ 1182607 h 5005307"/>
              <a:gd name="connsiteX59" fmla="*/ 947737 w 3357562"/>
              <a:gd name="connsiteY59" fmla="*/ 1115932 h 5005307"/>
              <a:gd name="connsiteX60" fmla="*/ 947737 w 3357562"/>
              <a:gd name="connsiteY60" fmla="*/ 1030207 h 5005307"/>
              <a:gd name="connsiteX61" fmla="*/ 1017587 w 3357562"/>
              <a:gd name="connsiteY61" fmla="*/ 915907 h 5005307"/>
              <a:gd name="connsiteX62" fmla="*/ 1281112 w 3357562"/>
              <a:gd name="connsiteY62" fmla="*/ 979407 h 5005307"/>
              <a:gd name="connsiteX63" fmla="*/ 1485900 w 3357562"/>
              <a:gd name="connsiteY63" fmla="*/ 873045 h 5005307"/>
              <a:gd name="connsiteX64" fmla="*/ 1619250 w 3357562"/>
              <a:gd name="connsiteY64" fmla="*/ 747632 h 5005307"/>
              <a:gd name="connsiteX65" fmla="*/ 1739899 w 3357562"/>
              <a:gd name="connsiteY65" fmla="*/ 736520 h 5005307"/>
              <a:gd name="connsiteX66" fmla="*/ 1895474 w 3357562"/>
              <a:gd name="connsiteY66" fmla="*/ 739694 h 5005307"/>
              <a:gd name="connsiteX67" fmla="*/ 2066924 w 3357562"/>
              <a:gd name="connsiteY67" fmla="*/ 796845 h 5005307"/>
              <a:gd name="connsiteX68" fmla="*/ 2200275 w 3357562"/>
              <a:gd name="connsiteY68" fmla="*/ 882570 h 5005307"/>
              <a:gd name="connsiteX69" fmla="*/ 2295525 w 3357562"/>
              <a:gd name="connsiteY69" fmla="*/ 958770 h 5005307"/>
              <a:gd name="connsiteX70" fmla="*/ 2609849 w 3357562"/>
              <a:gd name="connsiteY70" fmla="*/ 992107 h 5005307"/>
              <a:gd name="connsiteX71" fmla="*/ 2754312 w 3357562"/>
              <a:gd name="connsiteY71" fmla="*/ 1019095 h 5005307"/>
              <a:gd name="connsiteX72" fmla="*/ 2886074 w 3357562"/>
              <a:gd name="connsiteY72" fmla="*/ 1068307 h 5005307"/>
              <a:gd name="connsiteX73" fmla="*/ 3090862 w 3357562"/>
              <a:gd name="connsiteY73" fmla="*/ 1020682 h 5005307"/>
              <a:gd name="connsiteX74" fmla="*/ 3176587 w 3357562"/>
              <a:gd name="connsiteY74" fmla="*/ 1034970 h 5005307"/>
              <a:gd name="connsiteX75" fmla="*/ 3297237 w 3357562"/>
              <a:gd name="connsiteY75" fmla="*/ 1017507 h 5005307"/>
              <a:gd name="connsiteX76" fmla="*/ 3325812 w 3357562"/>
              <a:gd name="connsiteY76" fmla="*/ 995282 h 5005307"/>
              <a:gd name="connsiteX77" fmla="*/ 3357562 w 3357562"/>
              <a:gd name="connsiteY77" fmla="*/ 934957 h 5005307"/>
              <a:gd name="connsiteX78" fmla="*/ 3336924 w 3357562"/>
              <a:gd name="connsiteY78" fmla="*/ 766682 h 5005307"/>
              <a:gd name="connsiteX79" fmla="*/ 3301999 w 3357562"/>
              <a:gd name="connsiteY79" fmla="*/ 704769 h 5005307"/>
              <a:gd name="connsiteX80" fmla="*/ 3182937 w 3357562"/>
              <a:gd name="connsiteY80" fmla="*/ 639682 h 5005307"/>
              <a:gd name="connsiteX81" fmla="*/ 3167062 w 3357562"/>
              <a:gd name="connsiteY81" fmla="*/ 582532 h 5005307"/>
              <a:gd name="connsiteX82" fmla="*/ 3119437 w 3357562"/>
              <a:gd name="connsiteY82" fmla="*/ 544432 h 5005307"/>
              <a:gd name="connsiteX83" fmla="*/ 3090862 w 3357562"/>
              <a:gd name="connsiteY83" fmla="*/ 566657 h 5005307"/>
              <a:gd name="connsiteX84" fmla="*/ 3071812 w 3357562"/>
              <a:gd name="connsiteY84" fmla="*/ 617457 h 5005307"/>
              <a:gd name="connsiteX85" fmla="*/ 3062287 w 3357562"/>
              <a:gd name="connsiteY85" fmla="*/ 668257 h 5005307"/>
              <a:gd name="connsiteX86" fmla="*/ 3019425 w 3357562"/>
              <a:gd name="connsiteY86" fmla="*/ 682545 h 5005307"/>
              <a:gd name="connsiteX87" fmla="*/ 2947987 w 3357562"/>
              <a:gd name="connsiteY87" fmla="*/ 649207 h 5005307"/>
              <a:gd name="connsiteX88" fmla="*/ 2852737 w 3357562"/>
              <a:gd name="connsiteY88" fmla="*/ 706357 h 5005307"/>
              <a:gd name="connsiteX89" fmla="*/ 2833687 w 3357562"/>
              <a:gd name="connsiteY89" fmla="*/ 734932 h 5005307"/>
              <a:gd name="connsiteX90" fmla="*/ 2824162 w 3357562"/>
              <a:gd name="connsiteY90" fmla="*/ 773032 h 5005307"/>
              <a:gd name="connsiteX91" fmla="*/ 2747962 w 3357562"/>
              <a:gd name="connsiteY91" fmla="*/ 734932 h 5005307"/>
              <a:gd name="connsiteX92" fmla="*/ 2657475 w 3357562"/>
              <a:gd name="connsiteY92" fmla="*/ 706357 h 5005307"/>
              <a:gd name="connsiteX93" fmla="*/ 2557462 w 3357562"/>
              <a:gd name="connsiteY93" fmla="*/ 658732 h 5005307"/>
              <a:gd name="connsiteX94" fmla="*/ 2433637 w 3357562"/>
              <a:gd name="connsiteY94" fmla="*/ 592057 h 5005307"/>
              <a:gd name="connsiteX95" fmla="*/ 2333624 w 3357562"/>
              <a:gd name="connsiteY95" fmla="*/ 506332 h 5005307"/>
              <a:gd name="connsiteX96" fmla="*/ 2190750 w 3357562"/>
              <a:gd name="connsiteY96" fmla="*/ 477757 h 5005307"/>
              <a:gd name="connsiteX97" fmla="*/ 2157412 w 3357562"/>
              <a:gd name="connsiteY97" fmla="*/ 363457 h 5005307"/>
              <a:gd name="connsiteX98" fmla="*/ 2133599 w 3357562"/>
              <a:gd name="connsiteY98" fmla="*/ 233282 h 5005307"/>
              <a:gd name="connsiteX99" fmla="*/ 2041979 w 3357562"/>
              <a:gd name="connsiteY99" fmla="*/ 82550 h 5005307"/>
              <a:gd name="connsiteX100" fmla="*/ 1946729 w 3357562"/>
              <a:gd name="connsiteY100" fmla="*/ 0 h 5005307"/>
              <a:gd name="connsiteX101" fmla="*/ 1775279 w 3357562"/>
              <a:gd name="connsiteY101" fmla="*/ 88900 h 5005307"/>
              <a:gd name="connsiteX102" fmla="*/ 1680029 w 3357562"/>
              <a:gd name="connsiteY102" fmla="*/ 127000 h 5005307"/>
              <a:gd name="connsiteX103" fmla="*/ 1632404 w 3357562"/>
              <a:gd name="connsiteY103" fmla="*/ 107950 h 5005307"/>
              <a:gd name="connsiteX104" fmla="*/ 1594304 w 3357562"/>
              <a:gd name="connsiteY104" fmla="*/ 155575 h 5005307"/>
              <a:gd name="connsiteX105" fmla="*/ 1518104 w 3357562"/>
              <a:gd name="connsiteY105" fmla="*/ 165100 h 5005307"/>
              <a:gd name="connsiteX106" fmla="*/ 1372054 w 3357562"/>
              <a:gd name="connsiteY106" fmla="*/ 79375 h 5005307"/>
              <a:gd name="connsiteX107" fmla="*/ 1235529 w 3357562"/>
              <a:gd name="connsiteY107" fmla="*/ 53974 h 5005307"/>
              <a:gd name="connsiteX108" fmla="*/ 1162504 w 3357562"/>
              <a:gd name="connsiteY108" fmla="*/ 126999 h 5005307"/>
              <a:gd name="connsiteX109" fmla="*/ 1198562 w 3357562"/>
              <a:gd name="connsiteY109" fmla="*/ 230107 h 5005307"/>
              <a:gd name="connsiteX110" fmla="*/ 1166812 w 3357562"/>
              <a:gd name="connsiteY110" fmla="*/ 363457 h 5005307"/>
              <a:gd name="connsiteX111" fmla="*/ 1128712 w 3357562"/>
              <a:gd name="connsiteY111" fmla="*/ 468232 h 5005307"/>
              <a:gd name="connsiteX112" fmla="*/ 919162 w 3357562"/>
              <a:gd name="connsiteY112" fmla="*/ 630157 h 5005307"/>
              <a:gd name="connsiteX113" fmla="*/ 909637 w 3357562"/>
              <a:gd name="connsiteY113" fmla="*/ 687307 h 5005307"/>
              <a:gd name="connsiteX114" fmla="*/ 785812 w 3357562"/>
              <a:gd name="connsiteY114" fmla="*/ 706357 h 5005307"/>
              <a:gd name="connsiteX115" fmla="*/ 614362 w 3357562"/>
              <a:gd name="connsiteY115" fmla="*/ 763507 h 5005307"/>
              <a:gd name="connsiteX116" fmla="*/ 566737 w 3357562"/>
              <a:gd name="connsiteY116" fmla="*/ 874632 h 5005307"/>
              <a:gd name="connsiteX117" fmla="*/ 461962 w 3357562"/>
              <a:gd name="connsiteY117" fmla="*/ 992107 h 5005307"/>
              <a:gd name="connsiteX118" fmla="*/ 452437 w 3357562"/>
              <a:gd name="connsiteY118" fmla="*/ 1068307 h 5005307"/>
              <a:gd name="connsiteX119" fmla="*/ 461962 w 3357562"/>
              <a:gd name="connsiteY119" fmla="*/ 1192132 h 5005307"/>
              <a:gd name="connsiteX120" fmla="*/ 414337 w 3357562"/>
              <a:gd name="connsiteY120" fmla="*/ 1239757 h 5005307"/>
              <a:gd name="connsiteX121" fmla="*/ 233362 w 3357562"/>
              <a:gd name="connsiteY121" fmla="*/ 1211182 h 5005307"/>
              <a:gd name="connsiteX122" fmla="*/ 166687 w 3357562"/>
              <a:gd name="connsiteY122" fmla="*/ 1220707 h 5005307"/>
              <a:gd name="connsiteX123" fmla="*/ 61912 w 3357562"/>
              <a:gd name="connsiteY123" fmla="*/ 1296907 h 5005307"/>
              <a:gd name="connsiteX124" fmla="*/ 42862 w 3357562"/>
              <a:gd name="connsiteY124" fmla="*/ 1392157 h 5005307"/>
              <a:gd name="connsiteX125" fmla="*/ 42862 w 3357562"/>
              <a:gd name="connsiteY125" fmla="*/ 1525507 h 5005307"/>
              <a:gd name="connsiteX126" fmla="*/ 14287 w 3357562"/>
              <a:gd name="connsiteY126" fmla="*/ 1639807 h 5005307"/>
              <a:gd name="connsiteX127" fmla="*/ 0 w 3357562"/>
              <a:gd name="connsiteY127" fmla="*/ 1754107 h 5005307"/>
              <a:gd name="connsiteX128" fmla="*/ 90487 w 3357562"/>
              <a:gd name="connsiteY128" fmla="*/ 1887457 h 5005307"/>
              <a:gd name="connsiteX129" fmla="*/ 147637 w 3357562"/>
              <a:gd name="connsiteY129" fmla="*/ 2068432 h 5005307"/>
              <a:gd name="connsiteX130" fmla="*/ 204787 w 3357562"/>
              <a:gd name="connsiteY130" fmla="*/ 2277982 h 5005307"/>
              <a:gd name="connsiteX131" fmla="*/ 261937 w 3357562"/>
              <a:gd name="connsiteY131" fmla="*/ 2544682 h 5005307"/>
              <a:gd name="connsiteX132" fmla="*/ 347662 w 3357562"/>
              <a:gd name="connsiteY132" fmla="*/ 2649457 h 5005307"/>
              <a:gd name="connsiteX133" fmla="*/ 319087 w 3357562"/>
              <a:gd name="connsiteY133" fmla="*/ 2859007 h 5005307"/>
              <a:gd name="connsiteX134" fmla="*/ 390524 w 3357562"/>
              <a:gd name="connsiteY134" fmla="*/ 3016169 h 5005307"/>
              <a:gd name="connsiteX135" fmla="*/ 366712 w 3357562"/>
              <a:gd name="connsiteY135" fmla="*/ 3106657 h 5005307"/>
              <a:gd name="connsiteX136" fmla="*/ 430212 w 3357562"/>
              <a:gd name="connsiteY136" fmla="*/ 3503532 h 5005307"/>
              <a:gd name="connsiteX137" fmla="*/ 420687 w 3357562"/>
              <a:gd name="connsiteY137" fmla="*/ 3611482 h 5005307"/>
              <a:gd name="connsiteX138" fmla="*/ 369887 w 3357562"/>
              <a:gd name="connsiteY138" fmla="*/ 3748007 h 5005307"/>
              <a:gd name="connsiteX139" fmla="*/ 385762 w 3357562"/>
              <a:gd name="connsiteY139" fmla="*/ 3871832 h 5005307"/>
              <a:gd name="connsiteX140" fmla="*/ 452437 w 3357562"/>
              <a:gd name="connsiteY140" fmla="*/ 4059157 h 5005307"/>
              <a:gd name="connsiteX141" fmla="*/ 495300 w 3357562"/>
              <a:gd name="connsiteY141" fmla="*/ 4149645 h 5005307"/>
              <a:gd name="connsiteX142" fmla="*/ 519112 w 3357562"/>
              <a:gd name="connsiteY142" fmla="*/ 4254419 h 5005307"/>
              <a:gd name="connsiteX143" fmla="*/ 447674 w 3357562"/>
              <a:gd name="connsiteY143" fmla="*/ 4316332 h 5005307"/>
              <a:gd name="connsiteX144" fmla="*/ 609599 w 3357562"/>
              <a:gd name="connsiteY144" fmla="*/ 4392531 h 5005307"/>
              <a:gd name="connsiteX145" fmla="*/ 690562 w 3357562"/>
              <a:gd name="connsiteY145" fmla="*/ 4530644 h 5005307"/>
              <a:gd name="connsiteX146" fmla="*/ 750887 w 3357562"/>
              <a:gd name="connsiteY146" fmla="*/ 4567157 h 5005307"/>
              <a:gd name="connsiteX147" fmla="*/ 841375 w 3357562"/>
              <a:gd name="connsiteY147" fmla="*/ 4506832 h 5005307"/>
              <a:gd name="connsiteX148" fmla="*/ 928687 w 3357562"/>
              <a:gd name="connsiteY148" fmla="*/ 4532232 h 5005307"/>
              <a:gd name="connsiteX149" fmla="*/ 1092199 w 3357562"/>
              <a:gd name="connsiteY149" fmla="*/ 4686219 h 5005307"/>
              <a:gd name="connsiteX150" fmla="*/ 1203324 w 3357562"/>
              <a:gd name="connsiteY150" fmla="*/ 4746544 h 5005307"/>
              <a:gd name="connsiteX151" fmla="*/ 1381124 w 3357562"/>
              <a:gd name="connsiteY151" fmla="*/ 4859257 h 5005307"/>
              <a:gd name="connsiteX152" fmla="*/ 1662112 w 3357562"/>
              <a:gd name="connsiteY152" fmla="*/ 4992607 h 5005307"/>
              <a:gd name="connsiteX153" fmla="*/ 1779587 w 3357562"/>
              <a:gd name="connsiteY153" fmla="*/ 5005307 h 5005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3357562" h="5005307">
                <a:moveTo>
                  <a:pt x="1779587" y="5005307"/>
                </a:moveTo>
                <a:lnTo>
                  <a:pt x="1855787" y="4954507"/>
                </a:lnTo>
                <a:lnTo>
                  <a:pt x="1855787" y="4875132"/>
                </a:lnTo>
                <a:lnTo>
                  <a:pt x="1838325" y="4816395"/>
                </a:lnTo>
                <a:lnTo>
                  <a:pt x="1725612" y="4778294"/>
                </a:lnTo>
                <a:lnTo>
                  <a:pt x="1660525" y="4802107"/>
                </a:lnTo>
                <a:lnTo>
                  <a:pt x="1660525" y="4756070"/>
                </a:lnTo>
                <a:lnTo>
                  <a:pt x="1682749" y="4687807"/>
                </a:lnTo>
                <a:lnTo>
                  <a:pt x="1719262" y="4587795"/>
                </a:lnTo>
                <a:lnTo>
                  <a:pt x="1652587" y="4544932"/>
                </a:lnTo>
                <a:lnTo>
                  <a:pt x="1585912" y="4516357"/>
                </a:lnTo>
                <a:lnTo>
                  <a:pt x="1544637" y="4498894"/>
                </a:lnTo>
                <a:lnTo>
                  <a:pt x="1465262" y="4506832"/>
                </a:lnTo>
                <a:lnTo>
                  <a:pt x="1406525" y="4373482"/>
                </a:lnTo>
                <a:lnTo>
                  <a:pt x="1333500" y="4263944"/>
                </a:lnTo>
                <a:lnTo>
                  <a:pt x="1214437" y="4211557"/>
                </a:lnTo>
                <a:lnTo>
                  <a:pt x="1128712" y="4202032"/>
                </a:lnTo>
                <a:lnTo>
                  <a:pt x="1100137" y="4163932"/>
                </a:lnTo>
                <a:lnTo>
                  <a:pt x="1081087" y="4068682"/>
                </a:lnTo>
                <a:lnTo>
                  <a:pt x="1109662" y="4011532"/>
                </a:lnTo>
                <a:lnTo>
                  <a:pt x="1252537" y="4002007"/>
                </a:lnTo>
                <a:lnTo>
                  <a:pt x="1376362" y="3782932"/>
                </a:lnTo>
                <a:lnTo>
                  <a:pt x="1428750" y="3671807"/>
                </a:lnTo>
                <a:cubicBezTo>
                  <a:pt x="1425575" y="3627886"/>
                  <a:pt x="1417637" y="3555391"/>
                  <a:pt x="1366837" y="3501945"/>
                </a:cubicBezTo>
                <a:lnTo>
                  <a:pt x="1295399" y="3420982"/>
                </a:lnTo>
                <a:lnTo>
                  <a:pt x="1200150" y="3378119"/>
                </a:lnTo>
                <a:lnTo>
                  <a:pt x="1109662" y="3297157"/>
                </a:lnTo>
                <a:lnTo>
                  <a:pt x="1057275" y="3173332"/>
                </a:lnTo>
                <a:lnTo>
                  <a:pt x="1014412" y="3097133"/>
                </a:lnTo>
                <a:lnTo>
                  <a:pt x="1033463" y="3011408"/>
                </a:lnTo>
                <a:lnTo>
                  <a:pt x="1133475" y="2925682"/>
                </a:lnTo>
                <a:lnTo>
                  <a:pt x="1176337" y="2839957"/>
                </a:lnTo>
                <a:lnTo>
                  <a:pt x="1200149" y="2863769"/>
                </a:lnTo>
                <a:lnTo>
                  <a:pt x="1295399" y="2839957"/>
                </a:lnTo>
                <a:lnTo>
                  <a:pt x="1447799" y="2749469"/>
                </a:lnTo>
                <a:lnTo>
                  <a:pt x="1490662" y="2697082"/>
                </a:lnTo>
                <a:lnTo>
                  <a:pt x="1543049" y="2592307"/>
                </a:lnTo>
                <a:lnTo>
                  <a:pt x="1552574" y="2478007"/>
                </a:lnTo>
                <a:lnTo>
                  <a:pt x="1462087" y="2401807"/>
                </a:lnTo>
                <a:cubicBezTo>
                  <a:pt x="1427162" y="2401807"/>
                  <a:pt x="1432454" y="2375878"/>
                  <a:pt x="1409700" y="2365295"/>
                </a:cubicBezTo>
                <a:cubicBezTo>
                  <a:pt x="1386946" y="2354712"/>
                  <a:pt x="1352020" y="2346774"/>
                  <a:pt x="1325562" y="2338307"/>
                </a:cubicBezTo>
                <a:cubicBezTo>
                  <a:pt x="1289579" y="2347832"/>
                  <a:pt x="1261533" y="2335132"/>
                  <a:pt x="1225550" y="2344657"/>
                </a:cubicBezTo>
                <a:lnTo>
                  <a:pt x="1028699" y="2365294"/>
                </a:lnTo>
                <a:lnTo>
                  <a:pt x="919162" y="2397045"/>
                </a:lnTo>
                <a:lnTo>
                  <a:pt x="895349" y="2316082"/>
                </a:lnTo>
                <a:lnTo>
                  <a:pt x="914399" y="2192257"/>
                </a:lnTo>
                <a:lnTo>
                  <a:pt x="938212" y="2058907"/>
                </a:lnTo>
                <a:lnTo>
                  <a:pt x="985837" y="1896982"/>
                </a:lnTo>
                <a:lnTo>
                  <a:pt x="957262" y="1820782"/>
                </a:lnTo>
                <a:lnTo>
                  <a:pt x="938212" y="1754107"/>
                </a:lnTo>
                <a:lnTo>
                  <a:pt x="771525" y="1696957"/>
                </a:lnTo>
                <a:lnTo>
                  <a:pt x="614362" y="1668382"/>
                </a:lnTo>
                <a:lnTo>
                  <a:pt x="633412" y="1563607"/>
                </a:lnTo>
                <a:lnTo>
                  <a:pt x="741362" y="1449307"/>
                </a:lnTo>
                <a:lnTo>
                  <a:pt x="842962" y="1373107"/>
                </a:lnTo>
                <a:lnTo>
                  <a:pt x="890587" y="1335007"/>
                </a:lnTo>
                <a:lnTo>
                  <a:pt x="890587" y="1277857"/>
                </a:lnTo>
                <a:lnTo>
                  <a:pt x="909637" y="1211182"/>
                </a:lnTo>
                <a:lnTo>
                  <a:pt x="938212" y="1182607"/>
                </a:lnTo>
                <a:lnTo>
                  <a:pt x="947737" y="1115932"/>
                </a:lnTo>
                <a:lnTo>
                  <a:pt x="947737" y="1030207"/>
                </a:lnTo>
                <a:lnTo>
                  <a:pt x="1017587" y="915907"/>
                </a:lnTo>
                <a:lnTo>
                  <a:pt x="1281112" y="979407"/>
                </a:lnTo>
                <a:lnTo>
                  <a:pt x="1485900" y="873045"/>
                </a:lnTo>
                <a:lnTo>
                  <a:pt x="1619250" y="747632"/>
                </a:lnTo>
                <a:lnTo>
                  <a:pt x="1739899" y="736520"/>
                </a:lnTo>
                <a:lnTo>
                  <a:pt x="1895474" y="739694"/>
                </a:lnTo>
                <a:lnTo>
                  <a:pt x="2066924" y="796845"/>
                </a:lnTo>
                <a:lnTo>
                  <a:pt x="2200275" y="882570"/>
                </a:lnTo>
                <a:lnTo>
                  <a:pt x="2295525" y="958770"/>
                </a:lnTo>
                <a:cubicBezTo>
                  <a:pt x="2386012" y="980995"/>
                  <a:pt x="2466974" y="1012745"/>
                  <a:pt x="2609849" y="992107"/>
                </a:cubicBezTo>
                <a:lnTo>
                  <a:pt x="2754312" y="1019095"/>
                </a:lnTo>
                <a:lnTo>
                  <a:pt x="2886074" y="1068307"/>
                </a:lnTo>
                <a:lnTo>
                  <a:pt x="3090862" y="1020682"/>
                </a:lnTo>
                <a:lnTo>
                  <a:pt x="3176587" y="1034970"/>
                </a:lnTo>
                <a:lnTo>
                  <a:pt x="3297237" y="1017507"/>
                </a:lnTo>
                <a:lnTo>
                  <a:pt x="3325812" y="995282"/>
                </a:lnTo>
                <a:lnTo>
                  <a:pt x="3357562" y="934957"/>
                </a:lnTo>
                <a:lnTo>
                  <a:pt x="3336924" y="766682"/>
                </a:lnTo>
                <a:lnTo>
                  <a:pt x="3301999" y="704769"/>
                </a:lnTo>
                <a:lnTo>
                  <a:pt x="3182937" y="639682"/>
                </a:lnTo>
                <a:lnTo>
                  <a:pt x="3167062" y="582532"/>
                </a:lnTo>
                <a:lnTo>
                  <a:pt x="3119437" y="544432"/>
                </a:lnTo>
                <a:lnTo>
                  <a:pt x="3090862" y="566657"/>
                </a:lnTo>
                <a:lnTo>
                  <a:pt x="3071812" y="617457"/>
                </a:lnTo>
                <a:lnTo>
                  <a:pt x="3062287" y="668257"/>
                </a:lnTo>
                <a:lnTo>
                  <a:pt x="3019425" y="682545"/>
                </a:lnTo>
                <a:lnTo>
                  <a:pt x="2947987" y="649207"/>
                </a:lnTo>
                <a:lnTo>
                  <a:pt x="2852737" y="706357"/>
                </a:lnTo>
                <a:lnTo>
                  <a:pt x="2833687" y="734932"/>
                </a:lnTo>
                <a:lnTo>
                  <a:pt x="2824162" y="773032"/>
                </a:lnTo>
                <a:lnTo>
                  <a:pt x="2747962" y="734932"/>
                </a:lnTo>
                <a:lnTo>
                  <a:pt x="2657475" y="706357"/>
                </a:lnTo>
                <a:lnTo>
                  <a:pt x="2557462" y="658732"/>
                </a:lnTo>
                <a:lnTo>
                  <a:pt x="2433637" y="592057"/>
                </a:lnTo>
                <a:lnTo>
                  <a:pt x="2333624" y="506332"/>
                </a:lnTo>
                <a:lnTo>
                  <a:pt x="2190750" y="477757"/>
                </a:lnTo>
                <a:lnTo>
                  <a:pt x="2157412" y="363457"/>
                </a:lnTo>
                <a:lnTo>
                  <a:pt x="2133599" y="233282"/>
                </a:lnTo>
                <a:lnTo>
                  <a:pt x="2041979" y="82550"/>
                </a:lnTo>
                <a:lnTo>
                  <a:pt x="1946729" y="0"/>
                </a:lnTo>
                <a:lnTo>
                  <a:pt x="1775279" y="88900"/>
                </a:lnTo>
                <a:lnTo>
                  <a:pt x="1680029" y="127000"/>
                </a:lnTo>
                <a:lnTo>
                  <a:pt x="1632404" y="107950"/>
                </a:lnTo>
                <a:lnTo>
                  <a:pt x="1594304" y="155575"/>
                </a:lnTo>
                <a:lnTo>
                  <a:pt x="1518104" y="165100"/>
                </a:lnTo>
                <a:lnTo>
                  <a:pt x="1372054" y="79375"/>
                </a:lnTo>
                <a:lnTo>
                  <a:pt x="1235529" y="53974"/>
                </a:lnTo>
                <a:lnTo>
                  <a:pt x="1162504" y="126999"/>
                </a:lnTo>
                <a:lnTo>
                  <a:pt x="1198562" y="230107"/>
                </a:lnTo>
                <a:lnTo>
                  <a:pt x="1166812" y="363457"/>
                </a:lnTo>
                <a:lnTo>
                  <a:pt x="1128712" y="468232"/>
                </a:lnTo>
                <a:lnTo>
                  <a:pt x="919162" y="630157"/>
                </a:lnTo>
                <a:lnTo>
                  <a:pt x="909637" y="687307"/>
                </a:lnTo>
                <a:lnTo>
                  <a:pt x="785812" y="706357"/>
                </a:lnTo>
                <a:lnTo>
                  <a:pt x="614362" y="763507"/>
                </a:lnTo>
                <a:lnTo>
                  <a:pt x="566737" y="874632"/>
                </a:lnTo>
                <a:lnTo>
                  <a:pt x="461962" y="992107"/>
                </a:lnTo>
                <a:lnTo>
                  <a:pt x="452437" y="1068307"/>
                </a:lnTo>
                <a:lnTo>
                  <a:pt x="461962" y="1192132"/>
                </a:lnTo>
                <a:lnTo>
                  <a:pt x="414337" y="1239757"/>
                </a:lnTo>
                <a:lnTo>
                  <a:pt x="233362" y="1211182"/>
                </a:lnTo>
                <a:lnTo>
                  <a:pt x="166687" y="1220707"/>
                </a:lnTo>
                <a:lnTo>
                  <a:pt x="61912" y="1296907"/>
                </a:lnTo>
                <a:lnTo>
                  <a:pt x="42862" y="1392157"/>
                </a:lnTo>
                <a:lnTo>
                  <a:pt x="42862" y="1525507"/>
                </a:lnTo>
                <a:lnTo>
                  <a:pt x="14287" y="1639807"/>
                </a:lnTo>
                <a:lnTo>
                  <a:pt x="0" y="1754107"/>
                </a:lnTo>
                <a:lnTo>
                  <a:pt x="90487" y="1887457"/>
                </a:lnTo>
                <a:lnTo>
                  <a:pt x="147637" y="2068432"/>
                </a:lnTo>
                <a:lnTo>
                  <a:pt x="204787" y="2277982"/>
                </a:lnTo>
                <a:lnTo>
                  <a:pt x="261937" y="2544682"/>
                </a:lnTo>
                <a:lnTo>
                  <a:pt x="347662" y="2649457"/>
                </a:lnTo>
                <a:lnTo>
                  <a:pt x="319087" y="2859007"/>
                </a:lnTo>
                <a:lnTo>
                  <a:pt x="390524" y="3016169"/>
                </a:lnTo>
                <a:lnTo>
                  <a:pt x="366712" y="3106657"/>
                </a:lnTo>
                <a:lnTo>
                  <a:pt x="430212" y="3503532"/>
                </a:lnTo>
                <a:cubicBezTo>
                  <a:pt x="431270" y="3539515"/>
                  <a:pt x="419629" y="3575499"/>
                  <a:pt x="420687" y="3611482"/>
                </a:cubicBezTo>
                <a:lnTo>
                  <a:pt x="369887" y="3748007"/>
                </a:lnTo>
                <a:lnTo>
                  <a:pt x="385762" y="3871832"/>
                </a:lnTo>
                <a:lnTo>
                  <a:pt x="452437" y="4059157"/>
                </a:lnTo>
                <a:lnTo>
                  <a:pt x="495300" y="4149645"/>
                </a:lnTo>
                <a:lnTo>
                  <a:pt x="519112" y="4254419"/>
                </a:lnTo>
                <a:lnTo>
                  <a:pt x="447674" y="4316332"/>
                </a:lnTo>
                <a:lnTo>
                  <a:pt x="609599" y="4392531"/>
                </a:lnTo>
                <a:lnTo>
                  <a:pt x="690562" y="4530644"/>
                </a:lnTo>
                <a:lnTo>
                  <a:pt x="750887" y="4567157"/>
                </a:lnTo>
                <a:lnTo>
                  <a:pt x="841375" y="4506832"/>
                </a:lnTo>
                <a:cubicBezTo>
                  <a:pt x="878417" y="4502599"/>
                  <a:pt x="894820" y="4523765"/>
                  <a:pt x="928687" y="4532232"/>
                </a:cubicBezTo>
                <a:lnTo>
                  <a:pt x="1092199" y="4686219"/>
                </a:lnTo>
                <a:lnTo>
                  <a:pt x="1203324" y="4746544"/>
                </a:lnTo>
                <a:lnTo>
                  <a:pt x="1381124" y="4859257"/>
                </a:lnTo>
                <a:lnTo>
                  <a:pt x="1662112" y="4992607"/>
                </a:lnTo>
                <a:lnTo>
                  <a:pt x="1779587" y="5005307"/>
                </a:lnTo>
                <a:close/>
              </a:path>
            </a:pathLst>
          </a:custGeom>
          <a:solidFill>
            <a:srgbClr val="00B050">
              <a:alpha val="2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tIns="36000" rIns="36000" bIns="36000" rtlCol="0" anchor="ctr"/>
          <a:lstStyle/>
          <a:p>
            <a:pPr algn="ctr" latinLnBrk="0">
              <a:spcBef>
                <a:spcPct val="50000"/>
              </a:spcBef>
            </a:pPr>
            <a:endParaRPr lang="ko-KR" altLang="en-US" sz="1200" b="0" smtClean="0"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74" name="그룹 473"/>
          <p:cNvGrpSpPr/>
          <p:nvPr/>
        </p:nvGrpSpPr>
        <p:grpSpPr>
          <a:xfrm>
            <a:off x="369933" y="861798"/>
            <a:ext cx="3507769" cy="2003688"/>
            <a:chOff x="5149601" y="851722"/>
            <a:chExt cx="3507769" cy="2003688"/>
          </a:xfrm>
        </p:grpSpPr>
        <p:sp>
          <p:nvSpPr>
            <p:cNvPr id="475" name="모서리가 둥근 직사각형 474"/>
            <p:cNvSpPr/>
            <p:nvPr/>
          </p:nvSpPr>
          <p:spPr bwMode="auto">
            <a:xfrm>
              <a:off x="5149601" y="851722"/>
              <a:ext cx="3507769" cy="2003688"/>
            </a:xfrm>
            <a:prstGeom prst="roundRect">
              <a:avLst>
                <a:gd name="adj" fmla="val 2511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ko-KR" altLang="en-US" sz="1200" b="0" smtClean="0">
                <a:latin typeface="맑은 고딕" pitchFamily="50" charset="-127"/>
                <a:ea typeface="맑은 고딕" pitchFamily="50" charset="-127"/>
              </a:endParaRPr>
            </a:p>
          </p:txBody>
        </p:sp>
        <p:pic>
          <p:nvPicPr>
            <p:cNvPr id="476" name="그림 47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753" b="10067"/>
            <a:stretch/>
          </p:blipFill>
          <p:spPr>
            <a:xfrm>
              <a:off x="5190198" y="905857"/>
              <a:ext cx="3435642" cy="1883099"/>
            </a:xfrm>
            <a:prstGeom prst="rect">
              <a:avLst/>
            </a:prstGeom>
          </p:spPr>
        </p:pic>
      </p:grpSp>
      <p:grpSp>
        <p:nvGrpSpPr>
          <p:cNvPr id="519" name="그룹 518"/>
          <p:cNvGrpSpPr/>
          <p:nvPr/>
        </p:nvGrpSpPr>
        <p:grpSpPr>
          <a:xfrm>
            <a:off x="4520149" y="5229825"/>
            <a:ext cx="1441082" cy="314965"/>
            <a:chOff x="4520149" y="5229825"/>
            <a:chExt cx="1441082" cy="314965"/>
          </a:xfrm>
        </p:grpSpPr>
        <p:grpSp>
          <p:nvGrpSpPr>
            <p:cNvPr id="520" name="그룹 519"/>
            <p:cNvGrpSpPr/>
            <p:nvPr/>
          </p:nvGrpSpPr>
          <p:grpSpPr>
            <a:xfrm>
              <a:off x="4520149" y="5229825"/>
              <a:ext cx="1441082" cy="314965"/>
              <a:chOff x="4494656" y="5191850"/>
              <a:chExt cx="1441082" cy="314965"/>
            </a:xfrm>
          </p:grpSpPr>
          <p:sp>
            <p:nvSpPr>
              <p:cNvPr id="522" name="TextBox 521"/>
              <p:cNvSpPr txBox="1"/>
              <p:nvPr/>
            </p:nvSpPr>
            <p:spPr>
              <a:xfrm>
                <a:off x="4697492" y="5221334"/>
                <a:ext cx="1238246" cy="159620"/>
              </a:xfrm>
              <a:prstGeom prst="rect">
                <a:avLst/>
              </a:prstGeom>
              <a:solidFill>
                <a:srgbClr val="FF0000"/>
              </a:solidFill>
            </p:spPr>
            <p:txBody>
              <a:bodyPr wrap="square" lIns="72000" tIns="0" rIns="72000" bIns="7200" rtlCol="0">
                <a:spAutoFit/>
              </a:bodyPr>
              <a:lstStyle>
                <a:defPPr>
                  <a:defRPr lang="ko-KR"/>
                </a:defPPr>
                <a:lvl1pPr algn="r" latinLnBrk="0">
                  <a:lnSpc>
                    <a:spcPct val="90000"/>
                  </a:lnSpc>
                  <a:defRPr sz="500" b="1">
                    <a:solidFill>
                      <a:schemeClr val="bg1"/>
                    </a:solidFill>
                    <a:latin typeface="Arial" panose="020B0604020202020204" pitchFamily="34" charset="0"/>
                    <a:ea typeface="맑은 고딕" pitchFamily="50" charset="-127"/>
                    <a:cs typeface="Arial" panose="020B0604020202020204" pitchFamily="34" charset="0"/>
                  </a:defRPr>
                </a:lvl1pPr>
              </a:lstStyle>
              <a:p>
                <a:pPr algn="l"/>
                <a:r>
                  <a:rPr lang="en-US" sz="1100" dirty="0" err="1"/>
                  <a:t>Gulpur</a:t>
                </a:r>
                <a:r>
                  <a:rPr lang="en-US" sz="1100" dirty="0"/>
                  <a:t> 102MW</a:t>
                </a:r>
              </a:p>
            </p:txBody>
          </p:sp>
          <p:pic>
            <p:nvPicPr>
              <p:cNvPr id="523" name="Picture 5" descr="Image result for daelim icon 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0839" y="5412706"/>
                <a:ext cx="722815" cy="941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24" name="Oval 803"/>
              <p:cNvSpPr/>
              <p:nvPr/>
            </p:nvSpPr>
            <p:spPr bwMode="auto">
              <a:xfrm>
                <a:off x="4494656" y="5191850"/>
                <a:ext cx="224539" cy="221990"/>
              </a:xfrm>
              <a:prstGeom prst="ellipse">
                <a:avLst/>
              </a:prstGeom>
              <a:solidFill>
                <a:srgbClr val="4C2B7D"/>
              </a:solidFill>
              <a:ln w="1905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6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525" name="Freeform 804"/>
              <p:cNvSpPr/>
              <p:nvPr/>
            </p:nvSpPr>
            <p:spPr bwMode="auto">
              <a:xfrm>
                <a:off x="4543909" y="5249859"/>
                <a:ext cx="141265" cy="111957"/>
              </a:xfrm>
              <a:custGeom>
                <a:avLst/>
                <a:gdLst>
                  <a:gd name="connsiteX0" fmla="*/ 0 w 2072081"/>
                  <a:gd name="connsiteY0" fmla="*/ 444617 h 1661021"/>
                  <a:gd name="connsiteX1" fmla="*/ 1392572 w 2072081"/>
                  <a:gd name="connsiteY1" fmla="*/ 1132514 h 1661021"/>
                  <a:gd name="connsiteX2" fmla="*/ 1342239 w 2072081"/>
                  <a:gd name="connsiteY2" fmla="*/ 1208015 h 1661021"/>
                  <a:gd name="connsiteX3" fmla="*/ 1208015 w 2072081"/>
                  <a:gd name="connsiteY3" fmla="*/ 1241571 h 1661021"/>
                  <a:gd name="connsiteX4" fmla="*/ 998290 w 2072081"/>
                  <a:gd name="connsiteY4" fmla="*/ 1661021 h 1661021"/>
                  <a:gd name="connsiteX5" fmla="*/ 2072081 w 2072081"/>
                  <a:gd name="connsiteY5" fmla="*/ 1661021 h 1661021"/>
                  <a:gd name="connsiteX6" fmla="*/ 1719743 w 2072081"/>
                  <a:gd name="connsiteY6" fmla="*/ 897622 h 1661021"/>
                  <a:gd name="connsiteX7" fmla="*/ 1644242 w 2072081"/>
                  <a:gd name="connsiteY7" fmla="*/ 855678 h 1661021"/>
                  <a:gd name="connsiteX8" fmla="*/ 1526796 w 2072081"/>
                  <a:gd name="connsiteY8" fmla="*/ 947956 h 1661021"/>
                  <a:gd name="connsiteX9" fmla="*/ 1468073 w 2072081"/>
                  <a:gd name="connsiteY9" fmla="*/ 1031846 h 1661021"/>
                  <a:gd name="connsiteX10" fmla="*/ 1166070 w 2072081"/>
                  <a:gd name="connsiteY10" fmla="*/ 880844 h 1661021"/>
                  <a:gd name="connsiteX11" fmla="*/ 1023457 w 2072081"/>
                  <a:gd name="connsiteY11" fmla="*/ 226503 h 1661021"/>
                  <a:gd name="connsiteX12" fmla="*/ 721453 w 2072081"/>
                  <a:gd name="connsiteY12" fmla="*/ 0 h 1661021"/>
                  <a:gd name="connsiteX13" fmla="*/ 377505 w 2072081"/>
                  <a:gd name="connsiteY13" fmla="*/ 16778 h 1661021"/>
                  <a:gd name="connsiteX14" fmla="*/ 75501 w 2072081"/>
                  <a:gd name="connsiteY14" fmla="*/ 352338 h 1661021"/>
                  <a:gd name="connsiteX15" fmla="*/ 218114 w 2072081"/>
                  <a:gd name="connsiteY15" fmla="*/ 427839 h 1661021"/>
                  <a:gd name="connsiteX16" fmla="*/ 402672 w 2072081"/>
                  <a:gd name="connsiteY16" fmla="*/ 234892 h 1661021"/>
                  <a:gd name="connsiteX17" fmla="*/ 494950 w 2072081"/>
                  <a:gd name="connsiteY17" fmla="*/ 226503 h 1661021"/>
                  <a:gd name="connsiteX18" fmla="*/ 343949 w 2072081"/>
                  <a:gd name="connsiteY18" fmla="*/ 478173 h 1661021"/>
                  <a:gd name="connsiteX19" fmla="*/ 738231 w 2072081"/>
                  <a:gd name="connsiteY19" fmla="*/ 671120 h 1661021"/>
                  <a:gd name="connsiteX20" fmla="*/ 880844 w 2072081"/>
                  <a:gd name="connsiteY20" fmla="*/ 453006 h 1661021"/>
                  <a:gd name="connsiteX21" fmla="*/ 981512 w 2072081"/>
                  <a:gd name="connsiteY21" fmla="*/ 805344 h 1661021"/>
                  <a:gd name="connsiteX22" fmla="*/ 75501 w 2072081"/>
                  <a:gd name="connsiteY22" fmla="*/ 352338 h 1661021"/>
                  <a:gd name="connsiteX23" fmla="*/ 8389 w 2072081"/>
                  <a:gd name="connsiteY23" fmla="*/ 377505 h 1661021"/>
                  <a:gd name="connsiteX24" fmla="*/ 0 w 2072081"/>
                  <a:gd name="connsiteY24" fmla="*/ 444617 h 1661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072081" h="1661021">
                    <a:moveTo>
                      <a:pt x="0" y="444617"/>
                    </a:moveTo>
                    <a:lnTo>
                      <a:pt x="1392572" y="1132514"/>
                    </a:lnTo>
                    <a:lnTo>
                      <a:pt x="1342239" y="1208015"/>
                    </a:lnTo>
                    <a:lnTo>
                      <a:pt x="1208015" y="1241571"/>
                    </a:lnTo>
                    <a:lnTo>
                      <a:pt x="998290" y="1661021"/>
                    </a:lnTo>
                    <a:lnTo>
                      <a:pt x="2072081" y="1661021"/>
                    </a:lnTo>
                    <a:lnTo>
                      <a:pt x="1719743" y="897622"/>
                    </a:lnTo>
                    <a:lnTo>
                      <a:pt x="1644242" y="855678"/>
                    </a:lnTo>
                    <a:lnTo>
                      <a:pt x="1526796" y="947956"/>
                    </a:lnTo>
                    <a:lnTo>
                      <a:pt x="1468073" y="1031846"/>
                    </a:lnTo>
                    <a:lnTo>
                      <a:pt x="1166070" y="880844"/>
                    </a:lnTo>
                    <a:lnTo>
                      <a:pt x="1023457" y="226503"/>
                    </a:lnTo>
                    <a:lnTo>
                      <a:pt x="721453" y="0"/>
                    </a:lnTo>
                    <a:lnTo>
                      <a:pt x="377505" y="16778"/>
                    </a:lnTo>
                    <a:lnTo>
                      <a:pt x="75501" y="352338"/>
                    </a:lnTo>
                    <a:lnTo>
                      <a:pt x="218114" y="427839"/>
                    </a:lnTo>
                    <a:lnTo>
                      <a:pt x="402672" y="234892"/>
                    </a:lnTo>
                    <a:lnTo>
                      <a:pt x="494950" y="226503"/>
                    </a:lnTo>
                    <a:lnTo>
                      <a:pt x="343949" y="478173"/>
                    </a:lnTo>
                    <a:lnTo>
                      <a:pt x="738231" y="671120"/>
                    </a:lnTo>
                    <a:lnTo>
                      <a:pt x="880844" y="453006"/>
                    </a:lnTo>
                    <a:lnTo>
                      <a:pt x="981512" y="805344"/>
                    </a:lnTo>
                    <a:lnTo>
                      <a:pt x="75501" y="352338"/>
                    </a:lnTo>
                    <a:lnTo>
                      <a:pt x="8389" y="377505"/>
                    </a:lnTo>
                    <a:lnTo>
                      <a:pt x="0" y="44461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6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526" name="Oval 805"/>
              <p:cNvSpPr/>
              <p:nvPr/>
            </p:nvSpPr>
            <p:spPr bwMode="auto">
              <a:xfrm>
                <a:off x="4598241" y="5224414"/>
                <a:ext cx="25737" cy="25445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rtlCol="0" anchor="ctr"/>
              <a:lstStyle/>
              <a:p>
                <a:pPr algn="ctr" latinLnBrk="0">
                  <a:spcBef>
                    <a:spcPct val="50000"/>
                  </a:spcBef>
                </a:pPr>
                <a:endParaRPr lang="en-US" sz="6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맑은 고딕" pitchFamily="50" charset="-127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21" name="Freeform 806"/>
            <p:cNvSpPr/>
            <p:nvPr/>
          </p:nvSpPr>
          <p:spPr bwMode="auto">
            <a:xfrm>
              <a:off x="4568420" y="5335288"/>
              <a:ext cx="60625" cy="66721"/>
            </a:xfrm>
            <a:custGeom>
              <a:avLst/>
              <a:gdLst>
                <a:gd name="connsiteX0" fmla="*/ 268448 w 889233"/>
                <a:gd name="connsiteY0" fmla="*/ 0 h 989901"/>
                <a:gd name="connsiteX1" fmla="*/ 763398 w 889233"/>
                <a:gd name="connsiteY1" fmla="*/ 234891 h 989901"/>
                <a:gd name="connsiteX2" fmla="*/ 880844 w 889233"/>
                <a:gd name="connsiteY2" fmla="*/ 461394 h 989901"/>
                <a:gd name="connsiteX3" fmla="*/ 889233 w 889233"/>
                <a:gd name="connsiteY3" fmla="*/ 947956 h 989901"/>
                <a:gd name="connsiteX4" fmla="*/ 864066 w 889233"/>
                <a:gd name="connsiteY4" fmla="*/ 989901 h 989901"/>
                <a:gd name="connsiteX5" fmla="*/ 746620 w 889233"/>
                <a:gd name="connsiteY5" fmla="*/ 964734 h 989901"/>
                <a:gd name="connsiteX6" fmla="*/ 679508 w 889233"/>
                <a:gd name="connsiteY6" fmla="*/ 469783 h 989901"/>
                <a:gd name="connsiteX7" fmla="*/ 444617 w 889233"/>
                <a:gd name="connsiteY7" fmla="*/ 293614 h 989901"/>
                <a:gd name="connsiteX8" fmla="*/ 184558 w 889233"/>
                <a:gd name="connsiteY8" fmla="*/ 939567 h 989901"/>
                <a:gd name="connsiteX9" fmla="*/ 83890 w 889233"/>
                <a:gd name="connsiteY9" fmla="*/ 964734 h 989901"/>
                <a:gd name="connsiteX10" fmla="*/ 0 w 889233"/>
                <a:gd name="connsiteY10" fmla="*/ 880844 h 989901"/>
                <a:gd name="connsiteX11" fmla="*/ 268448 w 889233"/>
                <a:gd name="connsiteY11" fmla="*/ 0 h 989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233" h="989901">
                  <a:moveTo>
                    <a:pt x="268448" y="0"/>
                  </a:moveTo>
                  <a:lnTo>
                    <a:pt x="763398" y="234891"/>
                  </a:lnTo>
                  <a:lnTo>
                    <a:pt x="880844" y="461394"/>
                  </a:lnTo>
                  <a:lnTo>
                    <a:pt x="889233" y="947956"/>
                  </a:lnTo>
                  <a:lnTo>
                    <a:pt x="864066" y="989901"/>
                  </a:lnTo>
                  <a:lnTo>
                    <a:pt x="746620" y="964734"/>
                  </a:lnTo>
                  <a:lnTo>
                    <a:pt x="679508" y="469783"/>
                  </a:lnTo>
                  <a:lnTo>
                    <a:pt x="444617" y="293614"/>
                  </a:lnTo>
                  <a:lnTo>
                    <a:pt x="184558" y="939567"/>
                  </a:lnTo>
                  <a:lnTo>
                    <a:pt x="83890" y="964734"/>
                  </a:lnTo>
                  <a:lnTo>
                    <a:pt x="0" y="880844"/>
                  </a:lnTo>
                  <a:lnTo>
                    <a:pt x="268448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rtlCol="0" anchor="ctr"/>
            <a:lstStyle/>
            <a:p>
              <a:pPr algn="ctr" latinLnBrk="0">
                <a:spcBef>
                  <a:spcPct val="50000"/>
                </a:spcBef>
              </a:pPr>
              <a:endParaRPr lang="en-US"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endParaRPr>
            </a:p>
          </p:txBody>
        </p:sp>
      </p:grpSp>
      <p:sp>
        <p:nvSpPr>
          <p:cNvPr id="527" name="TextBox 526"/>
          <p:cNvSpPr txBox="1"/>
          <p:nvPr/>
        </p:nvSpPr>
        <p:spPr>
          <a:xfrm>
            <a:off x="4161678" y="3695372"/>
            <a:ext cx="454035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latinLnBrk="0"/>
            <a:r>
              <a:rPr lang="en-US" sz="600" b="1" cap="all" spc="104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zad</a:t>
            </a:r>
          </a:p>
          <a:p>
            <a:pPr algn="ctr" latinLnBrk="0"/>
            <a:r>
              <a:rPr lang="en-US" sz="600" b="1" cap="all" spc="104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Jammu</a:t>
            </a:r>
          </a:p>
          <a:p>
            <a:pPr algn="ctr" latinLnBrk="0"/>
            <a:r>
              <a:rPr lang="en-US" sz="600" b="1" cap="all" spc="104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nd</a:t>
            </a:r>
          </a:p>
          <a:p>
            <a:pPr algn="ctr" latinLnBrk="0"/>
            <a:r>
              <a:rPr lang="en-US" sz="600" b="1" cap="all" spc="104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ashmir</a:t>
            </a:r>
            <a:endParaRPr lang="en-US" sz="600" b="1" cap="all" spc="104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28" name="TextBox 527"/>
          <p:cNvSpPr txBox="1"/>
          <p:nvPr/>
        </p:nvSpPr>
        <p:spPr>
          <a:xfrm>
            <a:off x="8836275" y="3561554"/>
            <a:ext cx="571054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latinLnBrk="0"/>
            <a:r>
              <a:rPr lang="en-US" sz="800" b="1" cap="all" spc="104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Jammu</a:t>
            </a:r>
            <a:endParaRPr lang="en-US" sz="800" b="1" cap="all" spc="104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  <a:p>
            <a:pPr algn="ctr" latinLnBrk="0"/>
            <a:r>
              <a:rPr lang="en-US" sz="800" b="1" cap="all" spc="104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nd</a:t>
            </a:r>
          </a:p>
          <a:p>
            <a:pPr algn="ctr" latinLnBrk="0"/>
            <a:r>
              <a:rPr lang="en-US" sz="800" b="1" cap="all" spc="104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Kashmir</a:t>
            </a:r>
            <a:endParaRPr lang="en-US" sz="800" b="1" cap="all" spc="104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29" name="TextBox 528"/>
          <p:cNvSpPr txBox="1"/>
          <p:nvPr/>
        </p:nvSpPr>
        <p:spPr>
          <a:xfrm>
            <a:off x="6084342" y="5064378"/>
            <a:ext cx="601368" cy="10772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ko-KR"/>
            </a:defPPr>
            <a:lvl1pPr algn="ctr" latinLnBrk="0">
              <a:defRPr sz="900" b="1">
                <a:solidFill>
                  <a:srgbClr val="3366FF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en-US" sz="700" b="0" i="1" dirty="0"/>
              <a:t>POONCH</a:t>
            </a:r>
          </a:p>
        </p:txBody>
      </p:sp>
      <p:sp>
        <p:nvSpPr>
          <p:cNvPr id="530" name="TextBox 529"/>
          <p:cNvSpPr txBox="1"/>
          <p:nvPr/>
        </p:nvSpPr>
        <p:spPr>
          <a:xfrm>
            <a:off x="7286307" y="4842646"/>
            <a:ext cx="531875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ko-KR"/>
            </a:defPPr>
            <a:lvl1pPr algn="ctr" latinLnBrk="0">
              <a:defRPr sz="900" b="1">
                <a:solidFill>
                  <a:srgbClr val="3366FF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defRPr>
            </a:lvl1pPr>
          </a:lstStyle>
          <a:p>
            <a:r>
              <a:rPr lang="en-US" i="1" dirty="0">
                <a:solidFill>
                  <a:schemeClr val="accent3">
                    <a:lumMod val="75000"/>
                  </a:schemeClr>
                </a:solidFill>
              </a:rPr>
              <a:t>JHELUM</a:t>
            </a:r>
          </a:p>
        </p:txBody>
      </p:sp>
      <p:graphicFrame>
        <p:nvGraphicFramePr>
          <p:cNvPr id="534" name="Table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6328826"/>
              </p:ext>
            </p:extLst>
          </p:nvPr>
        </p:nvGraphicFramePr>
        <p:xfrm>
          <a:off x="3909683" y="895056"/>
          <a:ext cx="3410208" cy="19170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68422"/>
                <a:gridCol w="2241786"/>
              </a:tblGrid>
              <a:tr h="273860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cap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Project</a:t>
                      </a:r>
                      <a:endParaRPr lang="ko-KR" altLang="en-US" sz="900" b="1" cap="non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2E5A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ulpur </a:t>
                      </a: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dropower Project</a:t>
                      </a:r>
                      <a:endParaRPr lang="en-US" altLang="ko-KR" sz="9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DF8">
                        <a:alpha val="90000"/>
                      </a:srgbClr>
                    </a:solidFill>
                  </a:tcPr>
                </a:tc>
              </a:tr>
              <a:tr h="273860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cap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Location</a:t>
                      </a: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2E5A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onch</a:t>
                      </a:r>
                      <a:r>
                        <a:rPr lang="en-US" altLang="ko-KR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ver, AJ&amp;K, Pakistan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DF8">
                        <a:alpha val="90000"/>
                      </a:srgbClr>
                    </a:solidFill>
                  </a:tcPr>
                </a:tc>
              </a:tr>
              <a:tr h="273860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cap="non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Capacity</a:t>
                      </a:r>
                      <a:endParaRPr lang="ko-KR" altLang="en-US" sz="900" b="1" cap="non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2E5A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</a:t>
                      </a: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W</a:t>
                      </a:r>
                      <a:endParaRPr lang="en-US" altLang="ko-KR" sz="9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DF8">
                        <a:alpha val="90000"/>
                      </a:srgbClr>
                    </a:solidFill>
                  </a:tcPr>
                </a:tc>
              </a:tr>
              <a:tr h="273860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cap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Generating</a:t>
                      </a:r>
                      <a:r>
                        <a:rPr lang="en-US" altLang="ko-KR" sz="900" b="1" cap="non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 Type</a:t>
                      </a:r>
                      <a:endParaRPr lang="ko-KR" altLang="en-US" sz="900" b="1" cap="non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2E5A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un</a:t>
                      </a: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River</a:t>
                      </a:r>
                      <a:endParaRPr lang="en-US" altLang="ko-KR" sz="9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DF8">
                        <a:alpha val="90000"/>
                      </a:srgbClr>
                    </a:solidFill>
                  </a:tcPr>
                </a:tc>
              </a:tr>
              <a:tr h="273860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cap="non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Project Type</a:t>
                      </a:r>
                      <a:endParaRPr lang="ko-KR" altLang="en-US" sz="900" b="1" cap="non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2E5A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P(Independent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ower Purchase)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DF8">
                        <a:alpha val="90000"/>
                      </a:srgbClr>
                    </a:solidFill>
                  </a:tcPr>
                </a:tc>
              </a:tr>
              <a:tr h="273860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cap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Period</a:t>
                      </a:r>
                      <a:endParaRPr lang="ko-KR" altLang="en-US" sz="900" b="1" cap="non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2E5A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ruction</a:t>
                      </a:r>
                      <a:r>
                        <a:rPr lang="en-US" altLang="ko-KR" sz="9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: 5 years, O&amp;M : 30 years</a:t>
                      </a:r>
                      <a:endParaRPr lang="en-US" altLang="ko-KR" sz="9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DF8">
                        <a:alpha val="90000"/>
                      </a:srgbClr>
                    </a:solidFill>
                  </a:tcPr>
                </a:tc>
              </a:tr>
              <a:tr h="273860">
                <a:tc>
                  <a:txBody>
                    <a:bodyPr/>
                    <a:lstStyle/>
                    <a:p>
                      <a:pPr marL="0" marR="0" indent="0" algn="ctr" defTabSz="9142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1" cap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맑은 고딕" pitchFamily="50" charset="-127"/>
                          <a:cs typeface="Arial" panose="020B0604020202020204" pitchFamily="34" charset="0"/>
                        </a:rPr>
                        <a:t>TIC</a:t>
                      </a:r>
                      <a:endParaRPr lang="ko-KR" altLang="en-US" sz="900" b="1" cap="non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맑은 고딕" pitchFamily="50" charset="-127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2E5A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D 367 Mil (EPC : USD 265 Mil)</a:t>
                      </a:r>
                    </a:p>
                  </a:txBody>
                  <a:tcPr marL="72000" marR="72000" marT="43200" marB="432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DF8">
                        <a:alpha val="9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535" name="한쪽 모서리가 잘린 사각형 534"/>
          <p:cNvSpPr/>
          <p:nvPr/>
        </p:nvSpPr>
        <p:spPr bwMode="auto">
          <a:xfrm>
            <a:off x="386881" y="569860"/>
            <a:ext cx="2406197" cy="292136"/>
          </a:xfrm>
          <a:prstGeom prst="snip1Rect">
            <a:avLst>
              <a:gd name="adj" fmla="val 34548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72000" tIns="0" rIns="0" bIns="0" rtlCol="0" anchor="t" anchorCtr="0"/>
          <a:lstStyle/>
          <a:p>
            <a:pPr latinLnBrk="0">
              <a:spcBef>
                <a:spcPct val="50000"/>
              </a:spcBef>
            </a:pPr>
            <a:r>
              <a:rPr lang="en-US" altLang="ko-KR" sz="1400" b="1" dirty="0" smtClean="0">
                <a:solidFill>
                  <a:schemeClr val="bg1"/>
                </a:solidFill>
                <a:latin typeface="Calibri" panose="020F0502020204030204" pitchFamily="34" charset="0"/>
                <a:ea typeface="맑은 고딕" pitchFamily="50" charset="-127"/>
              </a:rPr>
              <a:t>   Conspectus of the project</a:t>
            </a:r>
            <a:endParaRPr lang="ko-KR" altLang="en-US" sz="1400" b="1" dirty="0" smtClean="0">
              <a:solidFill>
                <a:schemeClr val="bg1"/>
              </a:solidFill>
              <a:latin typeface="Calibri" panose="020F0502020204030204" pitchFamily="34" charset="0"/>
              <a:ea typeface="맑은 고딕" pitchFamily="50" charset="-127"/>
            </a:endParaRPr>
          </a:p>
        </p:txBody>
      </p:sp>
      <p:cxnSp>
        <p:nvCxnSpPr>
          <p:cNvPr id="536" name="꺾인 연결선 535"/>
          <p:cNvCxnSpPr>
            <a:stCxn id="524" idx="2"/>
            <a:endCxn id="535" idx="2"/>
          </p:cNvCxnSpPr>
          <p:nvPr/>
        </p:nvCxnSpPr>
        <p:spPr>
          <a:xfrm rot="10800000">
            <a:off x="386881" y="715928"/>
            <a:ext cx="4133268" cy="4624892"/>
          </a:xfrm>
          <a:prstGeom prst="bentConnector3">
            <a:avLst>
              <a:gd name="adj1" fmla="val 105531"/>
            </a:avLst>
          </a:prstGeom>
          <a:ln w="12700">
            <a:solidFill>
              <a:srgbClr val="C00000"/>
            </a:solidFill>
            <a:head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4" name="실행 단추: 시작 353">
            <a:hlinkClick r:id="rId6" action="ppaction://hlinksldjump" highlightClick="1"/>
          </p:cNvPr>
          <p:cNvSpPr/>
          <p:nvPr/>
        </p:nvSpPr>
        <p:spPr bwMode="auto">
          <a:xfrm>
            <a:off x="9156435" y="629488"/>
            <a:ext cx="476515" cy="203525"/>
          </a:xfrm>
          <a:prstGeom prst="actionButtonBeginning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/>
          <a:extLst/>
        </p:spPr>
        <p:txBody>
          <a:bodyPr lIns="45720" tIns="27432" rIns="45720" bIns="27432" rtlCol="0" anchor="ctr"/>
          <a:lstStyle/>
          <a:p>
            <a:pPr algn="ctr" defTabSz="914400" latinLnBrk="0">
              <a:lnSpc>
                <a:spcPct val="90000"/>
              </a:lnSpc>
            </a:pPr>
            <a:endParaRPr lang="ko-KR" altLang="en-US" sz="1200" b="1" kern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15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n1jgpRd0mvNmZxWaNah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6HTNHF6Ei68IqhnqR3a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bLgChjWEmPl_qskmhN8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cowFp9.0mLRntD5bWjZ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xlUn2.kUOmtkGEFK4.N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EZhegy7EqkFrp_Oyqul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IKshcH1kqmvjuXafh5f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PJccpmw0GizEV83rl9.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xFOicSGkezHmTc4gnao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wmN.V_qEKRO1VZJI2Pz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4bQBgPvkOuinqFexmA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J9XskDrkqXbiEUMJpzc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Q0yFH3HkWYaptD5SQNo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CdejRJ7EinWjr2wput.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6iBizH30Sk8KylQw.b0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E8Az1Z50SKIbnRKS7A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zDPgFabEmnC7Dcbb_fa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6YrJyIq0SuhbS.NR6Ix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0y1ok9zkKg.3WPYo8Lx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6JO6vva0ykvGOBLoOA3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n95ynT3k2kC1JtNO2G_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4A3DMC7EuAQ9GiZ0RW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VbIEtcaUu6FI3.LuYo2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ef5TDsECLVhhzIlHgw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YZ8ht4xE.5IfCKumJVK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AUvd3gokOM9X5EioAfh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plW8bA0qSrgI0M_Tr5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WqEbRQYEmCh3jKeXAyo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X0gxhxUCdCcI7M2Dk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sIXYz0ezM9tE7baF2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bNVBMxeEaOcNNamI6.h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6UzscYq0.J0kp1bQk_v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ZTlMUJaUiRPXkKv2XL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J.cZgt02oHm6aAHIm9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tajK2K4UyORZKcbJgSB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VdOdNrkyf87v2TnSRz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tL61Aqp0q0FNf1nzhF.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dVfR032UGVsTF.xBIs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jQ38o10kS2KBiNr_.Yn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rhf3YRMUOxy9U2ox6yy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R95hCR2kOIl51OWQEJT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3z7RboO0Ow8kAGeqb7D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gubtxWQ0aVG8_9tmKy8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CJUMjal0.rC_VIy5MK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nNKMrU0iUf3.8Re4vR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rgZz5RH06_E6ZCbvv6O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K4vdf3Pk.mfnkh_5q9Z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WgUqwpnketGSqZ0FhKZ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KyyTyCIUuz8tP7mNDR.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TNDv23WUWPZNTLcPepJ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48K1GsL0.Z4wtGInr.i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cnQ8dBLkyLNdK3AOOip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dToFFnykGgLg3tmWA9n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RMQzqTGkWWb1f09d4H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GIfUtwjEyfNWZS8NnMy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wLWxb.rka_TrOtic1U0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6jFIF9DUSb832So2iqp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q72ELF_0CGGS1qQzAOR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BINZ1cYUSXho6eDUoM.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zqkx98nk.F5Ydduor63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Jz4.hlYkSPmdRT7_nN.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PWxttN7UufakuUpzf0J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7.olS0j0iWosiiNUo.W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eSjSnfLkWxb3Xlq.Ypd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1ux1otGUCkKHGqLIQ8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EMa4M9mkiC8jTOm_ks5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pIARw3M0KhCK3oSSMMb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r5BJMcGkuJzMS.DCq_J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KVefpujUSiYcIqsqfju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pGruzaNkeuWKeueoj3.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9sOlXnzUK.ZL04PYqih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KhORpg4Ey1ojxD.mb_W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esKcIAE0aBToTiC8A8o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acSgnFMkW5xJ3cJCBgI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toSufPk.aeUaK30rdw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InIMuqNEq6LtEHWk07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IrSnjjW0OIohYQf6VdT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aL115A2EeFBpCnwC2sw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wVlheeUkKlFhNexT0mk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8MDTHpBkSBIrv5wjmY3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w1OET0jk.E_tv7BTo2q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P3CUmtPUqpIR7a5wmce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fjIoD6AUudwz3kX.iCJ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VaWGVE30SAPvw_5hHy7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x73.eQIkyIeK7xJgc.U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ZfuAq9T0SHh.qGGfGVJ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L1HTW4EU2TtIq4JvoO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FQNV0geEmYNBJ82t8XJ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31XcXNREGNKBuBP1vIK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4BQVDyBUGVWOFPW7Rco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BmMgaK.kmZOWgkS5YUI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rkfWWet0iavs9oIgzrk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WhifA6cE.SLXjYWVNhX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vy2EjtYUmmBfjnydTJl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A7wj8G7U6MMCI7QTpNx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TyzmtOM0KAHwugRi4x_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SuuFBdLEyNpQzv7v5GA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i4llohUCrV84tsk2B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TAD3OTBECDBm9LNkzxp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fzqnsevkeFonqRaV26t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CILEZK7kCfxuDKxFr2q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Na8vekKkK1SJgkp5wHc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pcJEwKnkSvrcZIjJQc1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LMY5m8HUGsDfiF0hGW1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VvpflJckeMcWjwi.X0Z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53932AaEi2.xDZ1AuVq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5oHpV0lEeriOvShb3sf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HcXEBolE6s0.0U2hTYU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_5FwKvak.0tRG8eQ_a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1wr_7lQUiHTuoPQon6J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CCUv36LUmX_l_Ga_d.C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9V.5Oub0SCVKfG61u8Y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wHbzvcN0eWzdv0KlE9R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xJeMgnuUqYzXL_oNbM1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UGOPus00Ouj.BSC0Er_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P0yht5EGMp5Ra.4uhE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kEvmVv3ka6A0PUnVuG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Bv3OCzn0.GPn9joDRR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ea_lgLXUG65XnbdsRc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8OVmYAwUqMVi2fcy7x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Y_OD_370GAqepMVnZg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UFg0U9_Uujx2f9Uk0KR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ciNrq4UGIlNEj_p2q0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_WQyXAQESP5aKq.2PL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w7hA6DvE6EAsIz7uYW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qDLjU.9kuzECZhM0KAw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ICp3bohU6EDTn5ivh1k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UsfFJuUmEcQBdp1C9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l5XyDO_Uqx7g2Rz3fi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1IWP_CCEmrumFOPjW5n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hjFO6_QUOgovALLD32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tx5yu7J0uuwKHB8EgS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eO6cNX0WDWz2UI32G.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FSK9tKy0S6wetu_P8m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s1bFmsI0irqjrV0ixn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o8S0JjlEOzzL4gqe2Q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TN0nzFIUKytsE34olXU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q5SUikAEaiae92_LJh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cdbrzzIUWCvEzUVQQT_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twXPZDBEym7enBteVQ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YBMGrXfkmIkVEncxOW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uLQ1hkrE6V5bdiorQO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6zScd6JkihxjCb72ngD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biTK59hUS_vc80VnRHi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BQC5IZS0mgMRZ6HOb1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1vd2F62UaZfnqijgOHm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vfN89MIEuKRpkpjOBe3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zd4Et2jkC_z0sckArKv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A8lkITAUSM4zU2gVmfr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Yuo4GvkUaz9ne1tfUt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dR2SCJOkG_KETGiLVZu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dILT1kgEGyB0qOHEGm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r7c8SbU02eoj_jdOU_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8Eu_TCrkyivVpDBGo3W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prM8CdOU.qxC8gfL52e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EuUk_o0kCG2lzR6YBJp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lYM7oD3UyPYt2oJ08g5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vyIEBUmkuAdKODmmwg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hpq2YOLkW9smTzmV9Rc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e7otVhnUq2d96xriEap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zdYxjr8U.Dyg69LPjEX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vTQ.hGLkK8jSwpo5_IA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.PO6Ox.EmbC4vf0OOe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Z09lvBMUOtFf3TiCh9t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P.xeogkCOOOScHsoV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krdUBEtk2hXnOOwThd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liH41Uf06mL4cdnC.1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mvMqXVG0WUMeqwcLMJU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vPLBEQwUmgH2fmwq5t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yaEBtooUq_KLXjAG6q6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.q.nAxrEmh1MFhqTCEf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ChtaJBrkaxByHz8vd.h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HjKk2yBk.yh3IwgWzK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N7_Xy.D0qsQVPF0tuIR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2ewvlqM0m0Kvrppoqrf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rgOVmB7kOy4HJbe3KG9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VI.dUGAkSg.NuEB70mG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cY7dXcW02YpqXu62Gm5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P.03l.oUObjC6FnBBq6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jRl3QsRkiJbZh_0qSY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URvVSqbUa2JVDbM7VHl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dztYcC7UqeNVmas2I9U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b_fYyWzkS97LzYg_qdG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6mPwMV60mm6aFbODWDy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RkqiO3E06cL0Am78Yo4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Q6.Yt__kexNJWMScC2a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40mepFM0mChctNQbde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PXsf3sMUi95mz9Qrtl2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Uhd50yskuNzlkQ1ys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SeqOgCAUudk62ZXkHl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1tmKdUuU.Lvakppit_V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cRqKSXs0OdG1_mMETNp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XjPGrOEEKfry_bIgeTY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s7sJSvT0WZrxLi32aHn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gBFtypAEGMRhXYkjgM1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EPKbpY1UeZ6jw0jo4OR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sSb.kGKkaaRxp9Fv6mX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.qxk2p30mv2gvpAaYQC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7F8eVzVk.PGIro2cG_Y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bJbPf2S02YefJ5fuaw4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5Di3RvD0GH9aXoaPIi2A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경영개선팀 템플릿">
  <a:themeElements>
    <a:clrScheme name="대림산업 테마 색">
      <a:dk1>
        <a:srgbClr val="000000"/>
      </a:dk1>
      <a:lt1>
        <a:srgbClr val="FFFFFF"/>
      </a:lt1>
      <a:dk2>
        <a:srgbClr val="CECECE"/>
      </a:dk2>
      <a:lt2>
        <a:srgbClr val="919191"/>
      </a:lt2>
      <a:accent1>
        <a:srgbClr val="666666"/>
      </a:accent1>
      <a:accent2>
        <a:srgbClr val="A1A1A1"/>
      </a:accent2>
      <a:accent3>
        <a:srgbClr val="1B2E5A"/>
      </a:accent3>
      <a:accent4>
        <a:srgbClr val="008BB0"/>
      </a:accent4>
      <a:accent5>
        <a:srgbClr val="E87E00"/>
      </a:accent5>
      <a:accent6>
        <a:srgbClr val="5C4637"/>
      </a:accent6>
      <a:hlink>
        <a:srgbClr val="002060"/>
      </a:hlink>
      <a:folHlink>
        <a:srgbClr val="C000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175" cap="flat" cmpd="sng" algn="ctr">
          <a:noFill/>
          <a:prstDash val="solid"/>
          <a:miter lim="800000"/>
        </a:ln>
        <a:effectLst>
          <a:outerShdw blurRad="63500" dist="25400" dir="2700000" algn="tl" rotWithShape="0">
            <a:prstClr val="black">
              <a:alpha val="45000"/>
            </a:prstClr>
          </a:outerShdw>
        </a:effectLst>
        <a:extLst/>
      </a:spPr>
      <a:bodyPr lIns="45720" tIns="27432" rIns="45720" bIns="27432" rtlCol="0" anchor="ctr"/>
      <a:lstStyle>
        <a:defPPr algn="ctr" defTabSz="914400" latinLnBrk="0">
          <a:lnSpc>
            <a:spcPct val="90000"/>
          </a:lnSpc>
          <a:defRPr sz="1200" b="1" kern="0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36000" tIns="36000" rIns="36000" bIns="36000" rtlCol="0">
        <a:spAutoFit/>
      </a:bodyPr>
      <a:lstStyle>
        <a:defPPr algn="ctr" latinLnBrk="0">
          <a:defRPr sz="1200" b="0" dirty="0" smtClean="0">
            <a:latin typeface="맑은 고딕" pitchFamily="50" charset="-127"/>
            <a:ea typeface="맑은 고딕" pitchFamily="50" charset="-127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E9DDB74984370A4B9B5A8BA25A200292" ma:contentTypeVersion="0" ma:contentTypeDescription="새 문서를 만듭니다." ma:contentTypeScope="" ma:versionID="b6801e22b7f32ca2d5b772c26aba86e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d8f6c9257034a6ffde9c3b3e5e5b89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2244CC0-3040-4242-8F36-8023AF770CF8}">
  <ds:schemaRefs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EE6E954-86A2-452A-8EA8-3F1AD6C81C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813F09F-34E8-431F-A80C-B4A65112884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0262</TotalTime>
  <Words>1851</Words>
  <Application>Microsoft Office PowerPoint</Application>
  <PresentationFormat>Format A4 (210 x 297 mm)</PresentationFormat>
  <Paragraphs>837</Paragraphs>
  <Slides>17</Slides>
  <Notes>13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7</vt:i4>
      </vt:variant>
    </vt:vector>
  </HeadingPairs>
  <TitlesOfParts>
    <vt:vector size="21" baseType="lpstr">
      <vt:lpstr>디자인 사용자 지정</vt:lpstr>
      <vt:lpstr>경영개선팀 템플릿</vt:lpstr>
      <vt:lpstr>think-cell Slide</vt:lpstr>
      <vt:lpstr>차트</vt:lpstr>
      <vt:lpstr>Présentation PowerPoint</vt:lpstr>
      <vt:lpstr>Présentation PowerPoint</vt:lpstr>
      <vt:lpstr>Current State of South Korea’s Construction Industry</vt:lpstr>
      <vt:lpstr>Current State of South Korea’s Construction Industry</vt:lpstr>
      <vt:lpstr>Current State of South Korea’s Construction Industry</vt:lpstr>
      <vt:lpstr>Shinbundang DX Line PPP Project : Outline</vt:lpstr>
      <vt:lpstr>Shinbundang DX Line PPP Project : Business Model</vt:lpstr>
      <vt:lpstr>Shinbundang DX Line PPP Project : Cash Flow</vt:lpstr>
      <vt:lpstr>Présentation PowerPoint</vt:lpstr>
      <vt:lpstr>Pakistan Gulpur Hydropower Project : Business Model</vt:lpstr>
      <vt:lpstr>Pakistan Gulpur Hydropower Project : Cash Flow</vt:lpstr>
      <vt:lpstr>Turkey Canakkale Bridge Project : Outline</vt:lpstr>
      <vt:lpstr>Présentation PowerPoint</vt:lpstr>
      <vt:lpstr>Turkey Canakkale Bridge Project : Cash Flow</vt:lpstr>
      <vt:lpstr>Overseas PPP Project List </vt:lpstr>
      <vt:lpstr>Overseas PPP Project : Economic Impact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대림산업 경영개선팀</dc:creator>
  <cp:lastModifiedBy>Fanny DASTUGUE</cp:lastModifiedBy>
  <cp:revision>7540</cp:revision>
  <cp:lastPrinted>2018-04-13T01:58:30Z</cp:lastPrinted>
  <dcterms:created xsi:type="dcterms:W3CDTF">2012-12-12T04:21:44Z</dcterms:created>
  <dcterms:modified xsi:type="dcterms:W3CDTF">2018-04-27T09:0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DDB74984370A4B9B5A8BA25A200292</vt:lpwstr>
  </property>
  <property fmtid="{D5CDD505-2E9C-101B-9397-08002B2CF9AE}" pid="3" name="ItemRetentionFormula">
    <vt:lpwstr>&lt;formula id="Microsoft.Office.RecordsManagement.PolicyFeatures.Expiration.Formula.BuiltIn"&gt;&lt;number&gt;35&lt;/number&gt;&lt;property&gt;Created&lt;/property&gt;&lt;propertyId&gt;8c06beca-0777-48f7-91c7-6da68bc07b69&lt;/propertyId&gt;&lt;period&gt;months&lt;/period&gt;&lt;/formula&gt;</vt:lpwstr>
  </property>
  <property fmtid="{D5CDD505-2E9C-101B-9397-08002B2CF9AE}" pid="4" name="_dlc_policyId">
    <vt:lpwstr>0x010100F2474AE5FE53204C835D4C6F86621033|-2027218648</vt:lpwstr>
  </property>
</Properties>
</file>